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theme/themeOverride1.xml" ContentType="application/vnd.openxmlformats-officedocument.themeOverr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7.xml" ContentType="application/vnd.openxmlformats-officedocument.presentationml.notesSlid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32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0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1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43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44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45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819" r:id="rId1"/>
  </p:sldMasterIdLst>
  <p:notesMasterIdLst>
    <p:notesMasterId r:id="rId132"/>
  </p:notesMasterIdLst>
  <p:handoutMasterIdLst>
    <p:handoutMasterId r:id="rId133"/>
  </p:handoutMasterIdLst>
  <p:sldIdLst>
    <p:sldId id="2134807018" r:id="rId2"/>
    <p:sldId id="2134806976" r:id="rId3"/>
    <p:sldId id="2134806978" r:id="rId4"/>
    <p:sldId id="2134806977" r:id="rId5"/>
    <p:sldId id="2134806980" r:id="rId6"/>
    <p:sldId id="2134806981" r:id="rId7"/>
    <p:sldId id="2134806982" r:id="rId8"/>
    <p:sldId id="2134806983" r:id="rId9"/>
    <p:sldId id="2134806984" r:id="rId10"/>
    <p:sldId id="2134806985" r:id="rId11"/>
    <p:sldId id="2134806986" r:id="rId12"/>
    <p:sldId id="2134806987" r:id="rId13"/>
    <p:sldId id="2134806979" r:id="rId14"/>
    <p:sldId id="2134806988" r:id="rId15"/>
    <p:sldId id="2134806989" r:id="rId16"/>
    <p:sldId id="2134806990" r:id="rId17"/>
    <p:sldId id="2134806991" r:id="rId18"/>
    <p:sldId id="2134806992" r:id="rId19"/>
    <p:sldId id="2134806993" r:id="rId20"/>
    <p:sldId id="2134806996" r:id="rId21"/>
    <p:sldId id="2134806997" r:id="rId22"/>
    <p:sldId id="2134806998" r:id="rId23"/>
    <p:sldId id="2134806999" r:id="rId24"/>
    <p:sldId id="2134806974" r:id="rId25"/>
    <p:sldId id="2134807002" r:id="rId26"/>
    <p:sldId id="2134807003" r:id="rId27"/>
    <p:sldId id="2134807007" r:id="rId28"/>
    <p:sldId id="2134806672" r:id="rId29"/>
    <p:sldId id="2134806721" r:id="rId30"/>
    <p:sldId id="2134806539" r:id="rId31"/>
    <p:sldId id="292" r:id="rId32"/>
    <p:sldId id="2134806717" r:id="rId33"/>
    <p:sldId id="2134806624" r:id="rId34"/>
    <p:sldId id="302" r:id="rId35"/>
    <p:sldId id="2134807009" r:id="rId36"/>
    <p:sldId id="2134807008" r:id="rId37"/>
    <p:sldId id="2134806874" r:id="rId38"/>
    <p:sldId id="2134806882" r:id="rId39"/>
    <p:sldId id="2134807012" r:id="rId40"/>
    <p:sldId id="2134807010" r:id="rId41"/>
    <p:sldId id="2134806868" r:id="rId42"/>
    <p:sldId id="2134806925" r:id="rId43"/>
    <p:sldId id="2134806870" r:id="rId44"/>
    <p:sldId id="2134806871" r:id="rId45"/>
    <p:sldId id="2134806872" r:id="rId46"/>
    <p:sldId id="2134806873" r:id="rId47"/>
    <p:sldId id="2134806849" r:id="rId48"/>
    <p:sldId id="2134806550" r:id="rId49"/>
    <p:sldId id="287" r:id="rId50"/>
    <p:sldId id="284" r:id="rId51"/>
    <p:sldId id="2134806906" r:id="rId52"/>
    <p:sldId id="2134806851" r:id="rId53"/>
    <p:sldId id="2134806852" r:id="rId54"/>
    <p:sldId id="2134806926" r:id="rId55"/>
    <p:sldId id="2134806835" r:id="rId56"/>
    <p:sldId id="2134806838" r:id="rId57"/>
    <p:sldId id="2134806839" r:id="rId58"/>
    <p:sldId id="2134806840" r:id="rId59"/>
    <p:sldId id="2134806888" r:id="rId60"/>
    <p:sldId id="2134806907" r:id="rId61"/>
    <p:sldId id="2134806908" r:id="rId62"/>
    <p:sldId id="2134806909" r:id="rId63"/>
    <p:sldId id="2134806910" r:id="rId64"/>
    <p:sldId id="2134806915" r:id="rId65"/>
    <p:sldId id="2134806916" r:id="rId66"/>
    <p:sldId id="2134807013" r:id="rId67"/>
    <p:sldId id="2134806919" r:id="rId68"/>
    <p:sldId id="2134806920" r:id="rId69"/>
    <p:sldId id="2134806662" r:id="rId70"/>
    <p:sldId id="2134806889" r:id="rId71"/>
    <p:sldId id="2134806893" r:id="rId72"/>
    <p:sldId id="2134806894" r:id="rId73"/>
    <p:sldId id="2134806896" r:id="rId74"/>
    <p:sldId id="2134806897" r:id="rId75"/>
    <p:sldId id="2134806898" r:id="rId76"/>
    <p:sldId id="2134806899" r:id="rId77"/>
    <p:sldId id="2134806886" r:id="rId78"/>
    <p:sldId id="2134807022" r:id="rId79"/>
    <p:sldId id="2134807023" r:id="rId80"/>
    <p:sldId id="2134807024" r:id="rId81"/>
    <p:sldId id="2134806951" r:id="rId82"/>
    <p:sldId id="2134806952" r:id="rId83"/>
    <p:sldId id="2134806863" r:id="rId84"/>
    <p:sldId id="2134806864" r:id="rId85"/>
    <p:sldId id="2134806850" r:id="rId86"/>
    <p:sldId id="2134806973" r:id="rId87"/>
    <p:sldId id="2134806510" r:id="rId88"/>
    <p:sldId id="2134806509" r:id="rId89"/>
    <p:sldId id="2134806953" r:id="rId90"/>
    <p:sldId id="2134806547" r:id="rId91"/>
    <p:sldId id="2134806548" r:id="rId92"/>
    <p:sldId id="2134806363" r:id="rId93"/>
    <p:sldId id="2134806372" r:id="rId94"/>
    <p:sldId id="2134806364" r:id="rId95"/>
    <p:sldId id="2134806855" r:id="rId96"/>
    <p:sldId id="2134806956" r:id="rId97"/>
    <p:sldId id="2134806292" r:id="rId98"/>
    <p:sldId id="2134806616" r:id="rId99"/>
    <p:sldId id="2134806930" r:id="rId100"/>
    <p:sldId id="2134807025" r:id="rId101"/>
    <p:sldId id="2134806856" r:id="rId102"/>
    <p:sldId id="2134807026" r:id="rId103"/>
    <p:sldId id="2134807021" r:id="rId104"/>
    <p:sldId id="2134806957" r:id="rId105"/>
    <p:sldId id="293" r:id="rId106"/>
    <p:sldId id="296" r:id="rId107"/>
    <p:sldId id="297" r:id="rId108"/>
    <p:sldId id="2134806937" r:id="rId109"/>
    <p:sldId id="299" r:id="rId110"/>
    <p:sldId id="2134806938" r:id="rId111"/>
    <p:sldId id="2134806939" r:id="rId112"/>
    <p:sldId id="256" r:id="rId113"/>
    <p:sldId id="258" r:id="rId114"/>
    <p:sldId id="257" r:id="rId115"/>
    <p:sldId id="259" r:id="rId116"/>
    <p:sldId id="260" r:id="rId117"/>
    <p:sldId id="261" r:id="rId118"/>
    <p:sldId id="262" r:id="rId119"/>
    <p:sldId id="2134806958" r:id="rId120"/>
    <p:sldId id="2134806959" r:id="rId121"/>
    <p:sldId id="2134806960" r:id="rId122"/>
    <p:sldId id="2134806961" r:id="rId123"/>
    <p:sldId id="2134806962" r:id="rId124"/>
    <p:sldId id="2134806963" r:id="rId125"/>
    <p:sldId id="2134806964" r:id="rId126"/>
    <p:sldId id="2134806965" r:id="rId127"/>
    <p:sldId id="2134806966" r:id="rId128"/>
    <p:sldId id="2134806967" r:id="rId129"/>
    <p:sldId id="2134806968" r:id="rId130"/>
    <p:sldId id="2134807016" r:id="rId131"/>
  </p:sldIdLst>
  <p:sldSz cx="12192000" cy="6858000"/>
  <p:notesSz cx="6794500" cy="9906000"/>
  <p:custDataLst>
    <p:tags r:id="rId13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633B1486-BFF0-4141-BD34-5E17CF9DE4AD}">
          <p14:sldIdLst>
            <p14:sldId id="2134807018"/>
          </p14:sldIdLst>
        </p14:section>
        <p14:section name="СЛАЙДЫ С ТЕЗИСАМИ" id="{B04FE06B-68D7-43BB-B965-B88B5B4512EF}">
          <p14:sldIdLst>
            <p14:sldId id="2134806976"/>
            <p14:sldId id="2134806978"/>
            <p14:sldId id="2134806977"/>
            <p14:sldId id="2134806980"/>
            <p14:sldId id="2134806981"/>
            <p14:sldId id="2134806982"/>
            <p14:sldId id="2134806983"/>
            <p14:sldId id="2134806984"/>
            <p14:sldId id="2134806985"/>
            <p14:sldId id="2134806986"/>
            <p14:sldId id="2134806987"/>
            <p14:sldId id="2134806979"/>
            <p14:sldId id="2134806988"/>
            <p14:sldId id="2134806989"/>
            <p14:sldId id="2134806990"/>
            <p14:sldId id="2134806991"/>
            <p14:sldId id="2134806992"/>
            <p14:sldId id="2134806993"/>
            <p14:sldId id="2134806996"/>
            <p14:sldId id="2134806997"/>
            <p14:sldId id="2134806998"/>
            <p14:sldId id="2134806999"/>
            <p14:sldId id="2134806974"/>
            <p14:sldId id="2134807002"/>
            <p14:sldId id="2134807003"/>
          </p14:sldIdLst>
        </p14:section>
        <p14:section name="ДЭШБОРДЫ" id="{1B3E78EA-28F9-4363-87D8-FAF59D40A4D0}">
          <p14:sldIdLst>
            <p14:sldId id="2134807007"/>
            <p14:sldId id="2134806672"/>
            <p14:sldId id="2134806721"/>
            <p14:sldId id="2134806539"/>
            <p14:sldId id="292"/>
            <p14:sldId id="2134806717"/>
            <p14:sldId id="2134806624"/>
            <p14:sldId id="302"/>
            <p14:sldId id="2134807009"/>
          </p14:sldIdLst>
        </p14:section>
        <p14:section name="КЛЮЧЕВЫЕ ПОКАЗАТЕЛИ" id="{A4B24460-0892-0640-9123-6E66F125BEA3}">
          <p14:sldIdLst>
            <p14:sldId id="2134807008"/>
            <p14:sldId id="2134806874"/>
            <p14:sldId id="2134806882"/>
            <p14:sldId id="2134807012"/>
          </p14:sldIdLst>
        </p14:section>
        <p14:section name="КАРТЫ" id="{3F087247-541F-974C-9906-ADA65185F950}">
          <p14:sldIdLst>
            <p14:sldId id="2134807010"/>
            <p14:sldId id="2134806868"/>
            <p14:sldId id="2134806925"/>
            <p14:sldId id="2134806870"/>
            <p14:sldId id="2134806871"/>
            <p14:sldId id="2134806872"/>
            <p14:sldId id="2134806873"/>
          </p14:sldIdLst>
        </p14:section>
        <p14:section name="СПИСКИ" id="{FD921C65-8715-E245-8911-66DF4DC1E6EB}">
          <p14:sldIdLst>
            <p14:sldId id="2134806849"/>
            <p14:sldId id="2134806550"/>
            <p14:sldId id="287"/>
            <p14:sldId id="284"/>
            <p14:sldId id="2134806906"/>
          </p14:sldIdLst>
        </p14:section>
        <p14:section name="СЛАЙДЫ С ЭЛЕМЕНТАМИ" id="{01D9CA2E-C4F3-4113-BE4E-F42074E9E3E7}">
          <p14:sldIdLst>
            <p14:sldId id="2134806851"/>
            <p14:sldId id="2134806852"/>
            <p14:sldId id="2134806926"/>
            <p14:sldId id="2134806835"/>
            <p14:sldId id="2134806838"/>
            <p14:sldId id="2134806839"/>
            <p14:sldId id="2134806840"/>
            <p14:sldId id="2134806888"/>
            <p14:sldId id="2134806907"/>
            <p14:sldId id="2134806908"/>
            <p14:sldId id="2134806909"/>
            <p14:sldId id="2134806910"/>
            <p14:sldId id="2134806915"/>
            <p14:sldId id="2134806916"/>
            <p14:sldId id="2134807013"/>
            <p14:sldId id="2134806919"/>
            <p14:sldId id="2134806920"/>
            <p14:sldId id="2134806662"/>
            <p14:sldId id="2134806889"/>
            <p14:sldId id="2134806893"/>
            <p14:sldId id="2134806894"/>
            <p14:sldId id="2134806896"/>
            <p14:sldId id="2134806897"/>
            <p14:sldId id="2134806898"/>
            <p14:sldId id="2134806899"/>
            <p14:sldId id="2134806886"/>
            <p14:sldId id="2134807022"/>
            <p14:sldId id="2134807023"/>
            <p14:sldId id="2134807024"/>
          </p14:sldIdLst>
        </p14:section>
        <p14:section name="СЛАЙДЫ С ТАЙМИНГОМ" id="{F4DB33DC-D28D-504F-9B43-613B04B4D45E}">
          <p14:sldIdLst>
            <p14:sldId id="2134806951"/>
            <p14:sldId id="2134806952"/>
            <p14:sldId id="2134806863"/>
            <p14:sldId id="2134806864"/>
            <p14:sldId id="2134806850"/>
            <p14:sldId id="2134806973"/>
            <p14:sldId id="2134806510"/>
            <p14:sldId id="2134806509"/>
            <p14:sldId id="2134806953"/>
            <p14:sldId id="2134806547"/>
            <p14:sldId id="2134806548"/>
            <p14:sldId id="2134806363"/>
            <p14:sldId id="2134806372"/>
            <p14:sldId id="2134806364"/>
          </p14:sldIdLst>
        </p14:section>
        <p14:section name="СТРУКТУРНЫЕ СЛАЙДЫ" id="{3765C03F-AE8E-7043-A7A7-330DB7AFAFA0}">
          <p14:sldIdLst>
            <p14:sldId id="2134806855"/>
            <p14:sldId id="2134806956"/>
            <p14:sldId id="2134806292"/>
            <p14:sldId id="2134806616"/>
            <p14:sldId id="2134806930"/>
            <p14:sldId id="2134807025"/>
            <p14:sldId id="2134806856"/>
            <p14:sldId id="2134807026"/>
            <p14:sldId id="2134807021"/>
          </p14:sldIdLst>
        </p14:section>
        <p14:section name="БИБЛИОТЕКА ЭЛЕМЕНТОВ" id="{07D51C88-E0BA-3243-AF57-477BD9626DEC}">
          <p14:sldIdLst>
            <p14:sldId id="2134806957"/>
            <p14:sldId id="293"/>
            <p14:sldId id="296"/>
            <p14:sldId id="297"/>
            <p14:sldId id="2134806937"/>
            <p14:sldId id="299"/>
            <p14:sldId id="2134806938"/>
            <p14:sldId id="2134806939"/>
            <p14:sldId id="256"/>
            <p14:sldId id="258"/>
            <p14:sldId id="257"/>
            <p14:sldId id="259"/>
            <p14:sldId id="260"/>
            <p14:sldId id="261"/>
            <p14:sldId id="262"/>
            <p14:sldId id="2134806958"/>
            <p14:sldId id="2134806959"/>
            <p14:sldId id="2134806960"/>
            <p14:sldId id="2134806961"/>
            <p14:sldId id="2134806962"/>
            <p14:sldId id="2134806963"/>
            <p14:sldId id="2134806964"/>
            <p14:sldId id="2134806965"/>
            <p14:sldId id="2134806966"/>
            <p14:sldId id="2134806967"/>
            <p14:sldId id="2134806968"/>
            <p14:sldId id="21348070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Автор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200"/>
    <a:srgbClr val="28BE46"/>
    <a:srgbClr val="7E7E7E"/>
    <a:srgbClr val="0097D8"/>
    <a:srgbClr val="02A234"/>
    <a:srgbClr val="00469C"/>
    <a:srgbClr val="CCCCCC"/>
    <a:srgbClr val="D4C6E8"/>
    <a:srgbClr val="9F80CA"/>
    <a:srgbClr val="7F55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66" autoAdjust="0"/>
    <p:restoredTop sz="88291" autoAdjust="0"/>
  </p:normalViewPr>
  <p:slideViewPr>
    <p:cSldViewPr snapToGrid="0" snapToObjects="1">
      <p:cViewPr varScale="1">
        <p:scale>
          <a:sx n="73" d="100"/>
          <a:sy n="73" d="100"/>
        </p:scale>
        <p:origin x="389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" d="1"/>
        <a:sy n="1" d="1"/>
      </p:scale>
      <p:origin x="0" y="-5592"/>
    </p:cViewPr>
  </p:sorterViewPr>
  <p:notesViewPr>
    <p:cSldViewPr snapToGrid="0" snapToObjects="1">
      <p:cViewPr varScale="1">
        <p:scale>
          <a:sx n="88" d="100"/>
          <a:sy n="88" d="100"/>
        </p:scale>
        <p:origin x="388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handoutMaster" Target="handoutMasters/handoutMaster1.xml"/><Relationship Id="rId138" Type="http://schemas.openxmlformats.org/officeDocument/2006/relationships/theme" Target="theme/theme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tags" Target="tags/tag1.xml"/><Relationship Id="rId13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13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3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30" Type="http://schemas.openxmlformats.org/officeDocument/2006/relationships/slide" Target="slides/slide129.xml"/><Relationship Id="rId13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presProps" Target="presProps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44763538459789"/>
          <c:y val="6.2304308431610736E-2"/>
          <c:w val="0.56102507374631272"/>
          <c:h val="0.8945619395772741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rgbClr val="CCCCCC"/>
            </a:solidFill>
            <a:ln w="127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C17-4A1D-9C49-3232E86E1BBC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C17-4A1D-9C49-3232E86E1BBC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C17-4A1D-9C49-3232E86E1BBC}"/>
              </c:ext>
            </c:extLst>
          </c:dPt>
          <c:dPt>
            <c:idx val="3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C17-4A1D-9C49-3232E86E1BBC}"/>
              </c:ext>
            </c:extLst>
          </c:dPt>
          <c:dPt>
            <c:idx val="4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C17-4A1D-9C49-3232E86E1BBC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127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C17-4A1D-9C49-3232E86E1BBC}"/>
              </c:ext>
            </c:extLst>
          </c:dPt>
          <c:dLbls>
            <c:dLbl>
              <c:idx val="5"/>
              <c:layout>
                <c:manualLayout>
                  <c:x val="-2.4484193236193458E-2"/>
                  <c:y val="3.253363773205193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C17-4A1D-9C49-3232E86E1BB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Aeroflot</c:v>
                </c:pt>
                <c:pt idx="1">
                  <c:v>S7</c:v>
                </c:pt>
                <c:pt idx="2">
                  <c:v>Azur Air</c:v>
                </c:pt>
                <c:pt idx="3">
                  <c:v>Ural</c:v>
                </c:pt>
                <c:pt idx="4">
                  <c:v>Nordwind</c:v>
                </c:pt>
                <c:pt idx="5">
                  <c:v>Other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9.6</c:v>
                </c:pt>
                <c:pt idx="1">
                  <c:v>11.9</c:v>
                </c:pt>
                <c:pt idx="2">
                  <c:v>7.3</c:v>
                </c:pt>
                <c:pt idx="3">
                  <c:v>7.2</c:v>
                </c:pt>
                <c:pt idx="4">
                  <c:v>5.5</c:v>
                </c:pt>
                <c:pt idx="5">
                  <c:v>1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C17-4A1D-9C49-3232E86E1B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8.548144461662012E-2"/>
          <c:y val="0.805429341212016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1.7317011819478602E-3"/>
          <c:w val="0.95088160189085114"/>
          <c:h val="0.645101582958082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нутренние линии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3</c:v>
                </c:pt>
                <c:pt idx="1">
                  <c:v>103</c:v>
                </c:pt>
                <c:pt idx="2">
                  <c:v>514</c:v>
                </c:pt>
                <c:pt idx="3">
                  <c:v>663</c:v>
                </c:pt>
                <c:pt idx="4">
                  <c:v>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39-0544-9981-E1D5732DF6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еждународные линии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0</c:v>
                </c:pt>
                <c:pt idx="1">
                  <c:v>212</c:v>
                </c:pt>
                <c:pt idx="2">
                  <c:v>526</c:v>
                </c:pt>
                <c:pt idx="3">
                  <c:v>637</c:v>
                </c:pt>
                <c:pt idx="4">
                  <c:v>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9-0544-9981-E1D5732DF6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30-465E-9D98-7A00F51373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30-465E-9D98-7A00F513733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30-465E-9D98-7A00F513733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50"/>
        <c:axId val="1451213064"/>
        <c:axId val="1451203552"/>
      </c:barChart>
      <c:catAx>
        <c:axId val="145121306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451203552"/>
        <c:crosses val="autoZero"/>
        <c:auto val="1"/>
        <c:lblAlgn val="ctr"/>
        <c:lblOffset val="100"/>
        <c:noMultiLvlLbl val="0"/>
      </c:catAx>
      <c:valAx>
        <c:axId val="14512035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451213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30-465E-9D98-7A00F51373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30-465E-9D98-7A00F513733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30-465E-9D98-7A00F513733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-50"/>
        <c:axId val="1451213064"/>
        <c:axId val="1451203552"/>
      </c:barChart>
      <c:catAx>
        <c:axId val="145121306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451203552"/>
        <c:crosses val="autoZero"/>
        <c:auto val="1"/>
        <c:lblAlgn val="ctr"/>
        <c:lblOffset val="100"/>
        <c:noMultiLvlLbl val="0"/>
      </c:catAx>
      <c:valAx>
        <c:axId val="1451203552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451213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 b="0" i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pP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Название графика </a:t>
            </a:r>
            <a:r>
              <a:rPr lang="en-US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(</a:t>
            </a: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ыс. </a:t>
            </a:r>
            <a:r>
              <a:rPr lang="en-GB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)</a:t>
            </a:r>
            <a:endParaRPr lang="ru-RU" sz="1000" b="0" i="0" dirty="0"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40326984605348631"/>
          <c:y val="0.93752662481811866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407012891746083"/>
          <c:y val="7.2976541175676313E-2"/>
          <c:w val="0.88211110155533123"/>
          <c:h val="0.773143384644500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Продукт 6</c:v>
                </c:pt>
              </c:strCache>
            </c:strRef>
          </c:tx>
          <c:spPr>
            <a:solidFill>
              <a:srgbClr val="9A81C5"/>
            </a:solidFill>
            <a:ln>
              <a:noFill/>
            </a:ln>
          </c:spPr>
          <c:invertIfNegative val="0"/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60-E647-9FDA-3E8ED837A55E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т 5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60-E647-9FDA-3E8ED837A55E}"/>
                </c:ext>
              </c:extLst>
            </c:dLbl>
            <c:dLbl>
              <c:idx val="1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60-E647-9FDA-3E8ED837A55E}"/>
                </c:ext>
              </c:extLst>
            </c:dLbl>
            <c:dLbl>
              <c:idx val="3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1:$E$1</c:f>
              <c:numCache>
                <c:formatCode>#\ ##0;"-"#\ ##0</c:formatCode>
                <c:ptCount val="4"/>
                <c:pt idx="0">
                  <c:v>1121</c:v>
                </c:pt>
                <c:pt idx="1">
                  <c:v>1007</c:v>
                </c:pt>
                <c:pt idx="2">
                  <c:v>940</c:v>
                </c:pt>
                <c:pt idx="3">
                  <c:v>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C60-E647-9FDA-3E8ED837A55E}"/>
            </c:ext>
          </c:extLst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т 4</c:v>
                </c:pt>
              </c:strCache>
            </c:strRef>
          </c:tx>
          <c:spPr>
            <a:solidFill>
              <a:srgbClr val="0097D8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2:$E$2</c:f>
              <c:numCache>
                <c:formatCode>#\ ##0;"-"#\ ##0</c:formatCode>
                <c:ptCount val="4"/>
                <c:pt idx="0">
                  <c:v>779</c:v>
                </c:pt>
                <c:pt idx="1">
                  <c:v>550</c:v>
                </c:pt>
                <c:pt idx="2" formatCode="General">
                  <c:v>0</c:v>
                </c:pt>
                <c:pt idx="3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60-E647-9FDA-3E8ED837A55E}"/>
            </c:ext>
          </c:extLst>
        </c:ser>
        <c:ser>
          <c:idx val="3"/>
          <c:order val="3"/>
          <c:tx>
            <c:strRef>
              <c:f>Sheet1!$A$4</c:f>
              <c:strCache>
                <c:ptCount val="1"/>
                <c:pt idx="0">
                  <c:v>Продукт 3</c:v>
                </c:pt>
              </c:strCache>
            </c:strRef>
          </c:tx>
          <c:spPr>
            <a:solidFill>
              <a:srgbClr val="0045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C60-E647-9FDA-3E8ED837A55E}"/>
                </c:ext>
              </c:extLst>
            </c:dLbl>
            <c:dLbl>
              <c:idx val="3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3:$E$3</c:f>
              <c:numCache>
                <c:formatCode>#\ ##0;"-"#\ ##0</c:formatCode>
                <c:ptCount val="4"/>
                <c:pt idx="0">
                  <c:v>338</c:v>
                </c:pt>
                <c:pt idx="1">
                  <c:v>1491</c:v>
                </c:pt>
                <c:pt idx="2">
                  <c:v>1915</c:v>
                </c:pt>
                <c:pt idx="3">
                  <c:v>2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DC60-E647-9FDA-3E8ED837A55E}"/>
            </c:ext>
          </c:extLst>
        </c:ser>
        <c:ser>
          <c:idx val="4"/>
          <c:order val="4"/>
          <c:tx>
            <c:strRef>
              <c:f>Sheet1!$A$5</c:f>
              <c:strCache>
                <c:ptCount val="1"/>
                <c:pt idx="0">
                  <c:v>Продукт 2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DC60-E647-9FDA-3E8ED837A55E}"/>
                </c:ext>
              </c:extLst>
            </c:dLbl>
            <c:dLbl>
              <c:idx val="1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C60-E647-9FDA-3E8ED837A55E}"/>
                </c:ext>
              </c:extLst>
            </c:dLbl>
            <c:dLbl>
              <c:idx val="2"/>
              <c:layout>
                <c:manualLayout>
                  <c:x val="0"/>
                  <c:y val="-8.684324793747286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C60-E647-9FDA-3E8ED837A55E}"/>
                </c:ext>
              </c:extLst>
            </c:dLbl>
            <c:dLbl>
              <c:idx val="3"/>
              <c:layout>
                <c:manualLayout>
                  <c:x val="0"/>
                  <c:y val="-1.30264871906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800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C60-E647-9FDA-3E8ED837A5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4:$E$4</c:f>
              <c:numCache>
                <c:formatCode>#\ ##0;"-"#\ ##0</c:formatCode>
                <c:ptCount val="4"/>
                <c:pt idx="0">
                  <c:v>482</c:v>
                </c:pt>
                <c:pt idx="1">
                  <c:v>511</c:v>
                </c:pt>
                <c:pt idx="2">
                  <c:v>527</c:v>
                </c:pt>
                <c:pt idx="3">
                  <c:v>5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DC60-E647-9FDA-3E8ED837A55E}"/>
            </c:ext>
          </c:extLst>
        </c:ser>
        <c:ser>
          <c:idx val="5"/>
          <c:order val="5"/>
          <c:tx>
            <c:strRef>
              <c:f>Sheet1!$A$5</c:f>
              <c:strCache>
                <c:ptCount val="1"/>
                <c:pt idx="0">
                  <c:v>Продукт 2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</c:spPr>
          <c:invertIfNegative val="0"/>
          <c:cat>
            <c:strRef>
              <c:f>Sheet1!$B$7:$E$7</c:f>
              <c:strCache>
                <c:ptCount val="4"/>
                <c:pt idx="0">
                  <c:v>Прогноз 2019</c:v>
                </c:pt>
                <c:pt idx="1">
                  <c:v>БП 2020</c:v>
                </c:pt>
                <c:pt idx="2">
                  <c:v>БП 2021</c:v>
                </c:pt>
                <c:pt idx="3">
                  <c:v>БП 2022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 formatCode="#\ ##0;&quot;-&quot;#\ ##0">
                  <c:v>108</c:v>
                </c:pt>
                <c:pt idx="1">
                  <c:v>96</c:v>
                </c:pt>
                <c:pt idx="2">
                  <c:v>95</c:v>
                </c:pt>
                <c:pt idx="3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C60-E647-9FDA-3E8ED837A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216085839"/>
        <c:axId val="1"/>
      </c:barChart>
      <c:catAx>
        <c:axId val="2160858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 algn="ctr">
            <a:solidFill>
              <a:srgbClr val="CCCCCC"/>
            </a:solidFill>
            <a:prstDash val="solid"/>
          </a:ln>
        </c:spPr>
        <c:txPr>
          <a:bodyPr/>
          <a:lstStyle/>
          <a:p>
            <a:pPr>
              <a:defRPr sz="800">
                <a:solidFill>
                  <a:schemeClr val="tx2">
                    <a:lumMod val="50000"/>
                    <a:lumOff val="50000"/>
                  </a:schemeClr>
                </a:solidFill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8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6085839"/>
        <c:crosses val="min"/>
        <c:crossBetween val="between"/>
      </c:valAx>
      <c:spPr>
        <a:noFill/>
      </c:spPr>
    </c:plotArea>
    <c:legend>
      <c:legendPos val="l"/>
      <c:overlay val="0"/>
      <c:txPr>
        <a:bodyPr/>
        <a:lstStyle/>
        <a:p>
          <a:pPr>
            <a:defRPr sz="800">
              <a:solidFill>
                <a:srgbClr val="7E7E7E"/>
              </a:solidFill>
            </a:defRPr>
          </a:pPr>
          <a:endParaRPr lang="ru-RU"/>
        </a:p>
      </c:txPr>
    </c:legend>
    <c:plotVisOnly val="0"/>
    <c:dispBlanksAs val="gap"/>
    <c:showDLblsOverMax val="1"/>
  </c:chart>
  <c:spPr>
    <a:noFill/>
    <a:ln>
      <a:noFill/>
    </a:ln>
  </c:spPr>
  <c:txPr>
    <a:bodyPr/>
    <a:lstStyle/>
    <a:p>
      <a:pPr>
        <a:defRPr b="0" i="0">
          <a:solidFill>
            <a:schemeClr val="bg1"/>
          </a:solidFill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68999647278087"/>
          <c:y val="0"/>
          <c:w val="0.7135849982024477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93A-854D-BD0A-981EA2DD74C9}"/>
              </c:ext>
            </c:extLst>
          </c:dPt>
          <c:dPt>
            <c:idx val="1"/>
            <c:invertIfNegative val="0"/>
            <c:bubble3D val="0"/>
            <c:spPr>
              <a:solidFill>
                <a:srgbClr val="28BE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3E-FC4A-B54C-587C2EEDCC5F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93A-854D-BD0A-981EA2DD74C9}"/>
              </c:ext>
            </c:extLst>
          </c:dPt>
          <c:dPt>
            <c:idx val="3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93A-854D-BD0A-981EA2DD74C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Параметр 1</c:v>
                </c:pt>
                <c:pt idx="1">
                  <c:v>Параметр 2</c:v>
                </c:pt>
                <c:pt idx="2">
                  <c:v>Параметр 3</c:v>
                </c:pt>
                <c:pt idx="3">
                  <c:v>Параметр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3E-FC4A-B54C-587C2EEDCC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50968176"/>
        <c:axId val="350988560"/>
      </c:barChart>
      <c:catAx>
        <c:axId val="3509681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none" baseline="0">
                <a:solidFill>
                  <a:srgbClr val="7E7E7E"/>
                </a:solidFill>
                <a:latin typeface="GPN_DIN Regular" panose="020B0504020202020204" pitchFamily="34" charset="0"/>
                <a:ea typeface="GPN_DIN Regular" panose="020B0504020202020204" pitchFamily="34" charset="0"/>
                <a:cs typeface="+mn-cs"/>
              </a:defRPr>
            </a:pPr>
            <a:endParaRPr lang="ru-RU"/>
          </a:p>
        </c:txPr>
        <c:crossAx val="350988560"/>
        <c:crosses val="autoZero"/>
        <c:auto val="1"/>
        <c:lblAlgn val="ctr"/>
        <c:lblOffset val="100"/>
        <c:noMultiLvlLbl val="0"/>
      </c:catAx>
      <c:valAx>
        <c:axId val="35098856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350968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r>
              <a:rPr lang="ru-RU" sz="1000" b="0" i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Заголовок диаграммы</a:t>
            </a:r>
          </a:p>
        </c:rich>
      </c:tx>
      <c:layout>
        <c:manualLayout>
          <c:xMode val="edge"/>
          <c:yMode val="edge"/>
          <c:x val="0.40737653164113707"/>
          <c:y val="0.846440181538726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"/>
          <c:y val="5.8784247504825402E-2"/>
          <c:w val="1"/>
          <c:h val="0.698918656685965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АББ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3F-4A54-9CB4-78AAE267A8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НО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3F-4A54-9CB4-78AAE267A8E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ЭЮЯ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3F-4A54-9CB4-78AAE267A8E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10"/>
        <c:axId val="563184448"/>
        <c:axId val="563184864"/>
      </c:barChart>
      <c:catAx>
        <c:axId val="563184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0"/>
                <a:ea typeface="GPN_DIN Regular" panose="020B0504020202020204" pitchFamily="34" charset="0"/>
                <a:cs typeface="+mn-cs"/>
              </a:defRPr>
            </a:pPr>
            <a:endParaRPr lang="ru-RU"/>
          </a:p>
        </c:txPr>
        <c:crossAx val="563184864"/>
        <c:crosses val="autoZero"/>
        <c:auto val="1"/>
        <c:lblAlgn val="ctr"/>
        <c:lblOffset val="100"/>
        <c:noMultiLvlLbl val="0"/>
      </c:catAx>
      <c:valAx>
        <c:axId val="563184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3184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07523605661056"/>
          <c:y val="0.12246261493698357"/>
          <c:w val="0.65112702783162391"/>
          <c:h val="0.5991118306463537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8BE4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DB-034D-BCFA-160E10022EC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DB-034D-BCFA-160E10022EC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CDB-034D-BCFA-160E10022ECF}"/>
              </c:ext>
            </c:extLst>
          </c:dPt>
          <c:dPt>
            <c:idx val="3"/>
            <c:bubble3D val="0"/>
            <c:spPr>
              <a:solidFill>
                <a:srgbClr val="124C8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CDB-034D-BCFA-160E10022ECF}"/>
              </c:ext>
            </c:extLst>
          </c:dPt>
          <c:dPt>
            <c:idx val="4"/>
            <c:bubble3D val="0"/>
            <c:spPr>
              <a:solidFill>
                <a:srgbClr val="0B294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CDB-034D-BCFA-160E10022ECF}"/>
              </c:ext>
            </c:extLst>
          </c:dPt>
          <c:dPt>
            <c:idx val="5"/>
            <c:bubble3D val="0"/>
            <c:spPr>
              <a:solidFill>
                <a:srgbClr val="472A7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CDB-034D-BCFA-160E10022ECF}"/>
              </c:ext>
            </c:extLst>
          </c:dPt>
          <c:dPt>
            <c:idx val="6"/>
            <c:bubble3D val="0"/>
            <c:spPr>
              <a:solidFill>
                <a:srgbClr val="7957B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CDB-034D-BCFA-160E10022EC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0"/>
                    <a:ea typeface="GPN_DIN Regular" panose="020B05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Сектор 1</c:v>
                </c:pt>
                <c:pt idx="1">
                  <c:v>Сектор 2</c:v>
                </c:pt>
                <c:pt idx="2">
                  <c:v>Сектор 3</c:v>
                </c:pt>
                <c:pt idx="3">
                  <c:v>Сектор 4</c:v>
                </c:pt>
                <c:pt idx="4">
                  <c:v>Сектор 5</c:v>
                </c:pt>
                <c:pt idx="5">
                  <c:v>Сектор 6</c:v>
                </c:pt>
                <c:pt idx="6">
                  <c:v>Сектор 7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50</c:v>
                </c:pt>
                <c:pt idx="1">
                  <c:v>26</c:v>
                </c:pt>
                <c:pt idx="2">
                  <c:v>15</c:v>
                </c:pt>
                <c:pt idx="3">
                  <c:v>12</c:v>
                </c:pt>
                <c:pt idx="4">
                  <c:v>11</c:v>
                </c:pt>
                <c:pt idx="5">
                  <c:v>10</c:v>
                </c:pt>
                <c:pt idx="6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CDB-034D-BCFA-160E10022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595133476430348"/>
          <c:w val="0.88363263380059887"/>
          <c:h val="0.11995072965718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504020202020204" pitchFamily="34" charset="0"/>
              <a:ea typeface="GPN_DIN Regular" panose="020B05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6-4840-8593-A168EBD4D5D9}"/>
              </c:ext>
            </c:extLst>
          </c:dPt>
          <c:dPt>
            <c:idx val="1"/>
            <c:invertIfNegative val="0"/>
            <c:bubble3D val="0"/>
            <c:spPr>
              <a:solidFill>
                <a:srgbClr val="0097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6-4840-8593-A168EBD4D5D9}"/>
              </c:ext>
            </c:extLst>
          </c:dPt>
          <c:dPt>
            <c:idx val="2"/>
            <c:invertIfNegative val="0"/>
            <c:bubble3D val="0"/>
            <c:spPr>
              <a:solidFill>
                <a:srgbClr val="E7580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6-4840-8593-A168EBD4D5D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66-4840-8593-A168EBD4D5D9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6-4840-8593-A168EBD4D5D9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E65907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966-4840-8593-A168EBD4D5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6</c:v>
                </c:pt>
                <c:pt idx="1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66-4840-8593-A168EBD4D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66-4840-8593-A168EBD4D5D9}"/>
              </c:ext>
            </c:extLst>
          </c:dPt>
          <c:dPt>
            <c:idx val="1"/>
            <c:invertIfNegative val="0"/>
            <c:bubble3D val="0"/>
            <c:spPr>
              <a:solidFill>
                <a:srgbClr val="0097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66-4840-8593-A168EBD4D5D9}"/>
              </c:ext>
            </c:extLst>
          </c:dPt>
          <c:dPt>
            <c:idx val="2"/>
            <c:invertIfNegative val="0"/>
            <c:bubble3D val="0"/>
            <c:spPr>
              <a:solidFill>
                <a:srgbClr val="E7580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966-4840-8593-A168EBD4D5D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66-4840-8593-A168EBD4D5D9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966-4840-8593-A168EBD4D5D9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E65907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966-4840-8593-A168EBD4D5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73</c:v>
                </c:pt>
                <c:pt idx="1">
                  <c:v>22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966-4840-8593-A168EBD4D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187171048063437E-4"/>
          <c:y val="0.12328240597720332"/>
          <c:w val="0.99941812828951937"/>
          <c:h val="0.74569277818295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3</c:f>
              <c:numCache>
                <c:formatCode>General</c:formatCode>
                <c:ptCount val="2"/>
                <c:pt idx="0" formatCode="#,##0">
                  <c:v>210</c:v>
                </c:pt>
                <c:pt idx="1">
                  <c:v>4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Негатив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14A2-994E-AC80-9942A0389C06}"/>
            </c:ext>
          </c:extLst>
        </c:ser>
        <c:ser>
          <c:idx val="1"/>
          <c:order val="1"/>
          <c:spPr>
            <a:solidFill>
              <a:srgbClr val="0097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3</c:f>
              <c:numCache>
                <c:formatCode>#,##0</c:formatCode>
                <c:ptCount val="2"/>
                <c:pt idx="0">
                  <c:v>642</c:v>
                </c:pt>
                <c:pt idx="1">
                  <c:v>477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Нейтраль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1-14A2-994E-AC80-9942A0389C06}"/>
            </c:ext>
          </c:extLst>
        </c:ser>
        <c:ser>
          <c:idx val="2"/>
          <c:order val="2"/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3</c:f>
              <c:numCache>
                <c:formatCode>#,##0</c:formatCode>
                <c:ptCount val="2"/>
                <c:pt idx="0">
                  <c:v>919</c:v>
                </c:pt>
                <c:pt idx="1">
                  <c:v>133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Позитивны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numCache>
                      <c:formatCode>General</c:formatCode>
                      <c:ptCount val="2"/>
                      <c:pt idx="0">
                        <c:v>2020</c:v>
                      </c:pt>
                      <c:pt idx="1">
                        <c:v>2021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2-14A2-994E-AC80-9942A0389C0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41"/>
        <c:overlap val="100"/>
        <c:axId val="563184448"/>
        <c:axId val="563184864"/>
      </c:barChart>
      <c:catAx>
        <c:axId val="5631844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563184864"/>
        <c:crosses val="autoZero"/>
        <c:auto val="1"/>
        <c:lblAlgn val="ctr"/>
        <c:lblOffset val="100"/>
        <c:noMultiLvlLbl val="0"/>
      </c:catAx>
      <c:valAx>
        <c:axId val="563184864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563184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solidFill>
            <a:srgbClr val="7E7E7E"/>
          </a:solidFill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51520336524944"/>
          <c:y val="0.12696503468208625"/>
          <c:w val="0.70461968341774606"/>
          <c:h val="0.9376956915683892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1270">
              <a:solidFill>
                <a:schemeClr val="bg1">
                  <a:lumMod val="75000"/>
                </a:schemeClr>
              </a:solidFill>
            </a:ln>
          </c:spPr>
          <c:dPt>
            <c:idx val="0"/>
            <c:bubble3D val="0"/>
            <c:spPr>
              <a:solidFill>
                <a:srgbClr val="0097D8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ACF-B24C-83F2-3E7DBA4C71AE}"/>
              </c:ext>
            </c:extLst>
          </c:dPt>
          <c:dPt>
            <c:idx val="1"/>
            <c:bubble3D val="0"/>
            <c:spPr>
              <a:solidFill>
                <a:srgbClr val="23D1CF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ACF-B24C-83F2-3E7DBA4C71AE}"/>
              </c:ext>
            </c:extLst>
          </c:dPt>
          <c:dPt>
            <c:idx val="2"/>
            <c:bubble3D val="0"/>
            <c:spPr>
              <a:solidFill>
                <a:srgbClr val="004596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ACF-B24C-83F2-3E7DBA4C71AE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1270">
                <a:solidFill>
                  <a:srgbClr val="0B2944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ACF-B24C-83F2-3E7DBA4C71AE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1270">
                <a:solidFill>
                  <a:schemeClr val="bg1">
                    <a:lumMod val="7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ACF-B24C-83F2-3E7DBA4C71AE}"/>
              </c:ext>
            </c:extLst>
          </c:dPt>
          <c:dLbls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ACF-B24C-83F2-3E7DBA4C71AE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ACF-B24C-83F2-3E7DBA4C71AE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ACF-B24C-83F2-3E7DBA4C71A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ГПН</c:v>
                </c:pt>
                <c:pt idx="1">
                  <c:v>Прочие</c:v>
                </c:pt>
                <c:pt idx="2">
                  <c:v>Роснефть</c:v>
                </c:pt>
                <c:pt idx="3">
                  <c:v>Лукойл</c:v>
                </c:pt>
                <c:pt idx="4">
                  <c:v>Аэрофьелс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86</c:v>
                </c:pt>
                <c:pt idx="2">
                  <c:v>6</c:v>
                </c:pt>
                <c:pt idx="3">
                  <c:v>3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ACF-B24C-83F2-3E7DBA4C71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330025933935041E-2"/>
          <c:y val="4.5296719013320315E-3"/>
          <c:w val="0.97266990409411214"/>
          <c:h val="0.818268376475843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18C-5044-A3C0-F4F7A81681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2:$B$5</c:f>
              <c:numCache>
                <c:formatCode>General</c:formatCode>
                <c:ptCount val="4"/>
                <c:pt idx="0">
                  <c:v>9</c:v>
                </c:pt>
                <c:pt idx="1">
                  <c:v>14</c:v>
                </c:pt>
                <c:pt idx="2">
                  <c:v>13</c:v>
                </c:pt>
                <c:pt idx="3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B$1</c15:sqref>
                        </c15:formulaRef>
                      </c:ext>
                    </c:extLst>
                    <c:strCache>
                      <c:ptCount val="1"/>
                      <c:pt idx="0">
                        <c:v>Первое упоми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818C-5044-A3C0-F4F7A816818F}"/>
            </c:ext>
          </c:extLst>
        </c:ser>
        <c:ser>
          <c:idx val="1"/>
          <c:order val="1"/>
          <c:spPr>
            <a:solidFill>
              <a:srgbClr val="0097D8"/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18C-5044-A3C0-F4F7A81681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C$2:$C$5</c:f>
              <c:numCache>
                <c:formatCode>General</c:formatCode>
                <c:ptCount val="4"/>
                <c:pt idx="0">
                  <c:v>15</c:v>
                </c:pt>
                <c:pt idx="1">
                  <c:v>35</c:v>
                </c:pt>
                <c:pt idx="2">
                  <c:v>22</c:v>
                </c:pt>
                <c:pt idx="3">
                  <c:v>0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C$1</c15:sqref>
                        </c15:formulaRef>
                      </c:ext>
                    </c:extLst>
                    <c:strCache>
                      <c:ptCount val="1"/>
                      <c:pt idx="0">
                        <c:v>Спонтанное з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5-818C-5044-A3C0-F4F7A816818F}"/>
            </c:ext>
          </c:extLst>
        </c:ser>
        <c:ser>
          <c:idx val="2"/>
          <c:order val="2"/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D$2:$D$5</c:f>
              <c:numCache>
                <c:formatCode>General</c:formatCode>
                <c:ptCount val="4"/>
                <c:pt idx="0">
                  <c:v>80</c:v>
                </c:pt>
                <c:pt idx="1">
                  <c:v>48</c:v>
                </c:pt>
                <c:pt idx="2">
                  <c:v>57</c:v>
                </c:pt>
                <c:pt idx="3">
                  <c:v>8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Подтвержденное знание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Лист1!$A$2:$A$5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6-818C-5044-A3C0-F4F7A8168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31"/>
        <c:overlap val="99"/>
        <c:axId val="128202240"/>
        <c:axId val="128203776"/>
      </c:barChart>
      <c:catAx>
        <c:axId val="12820224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28203776"/>
        <c:crosses val="autoZero"/>
        <c:auto val="1"/>
        <c:lblAlgn val="ctr"/>
        <c:lblOffset val="100"/>
        <c:noMultiLvlLbl val="0"/>
      </c:catAx>
      <c:valAx>
        <c:axId val="128203776"/>
        <c:scaling>
          <c:orientation val="minMax"/>
          <c:max val="11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8202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885956573051144"/>
          <c:w val="0.98508152493395928"/>
          <c:h val="0.157884826142965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3"/>
            </a:solidFill>
            <a:ln w="666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28BE46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2BD-4240-98B8-7D4791A71FD5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2BD-4240-98B8-7D4791A71FD5}"/>
              </c:ext>
            </c:extLst>
          </c:dPt>
          <c:dPt>
            <c:idx val="2"/>
            <c:bubble3D val="0"/>
            <c:spPr>
              <a:solidFill>
                <a:srgbClr val="0070BA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2BD-4240-98B8-7D4791A71FD5}"/>
              </c:ext>
            </c:extLst>
          </c:dPt>
          <c:dPt>
            <c:idx val="3"/>
            <c:bubble3D val="0"/>
            <c:spPr>
              <a:solidFill>
                <a:srgbClr val="7030A0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2BD-4240-98B8-7D4791A71FD5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2BD-4240-98B8-7D4791A71FD5}"/>
              </c:ext>
            </c:extLst>
          </c:dPt>
          <c:dPt>
            <c:idx val="5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2BD-4240-98B8-7D4791A71FD5}"/>
              </c:ext>
            </c:extLst>
          </c:dPt>
          <c:dPt>
            <c:idx val="6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2BD-4240-98B8-7D4791A71FD5}"/>
              </c:ext>
            </c:extLst>
          </c:dPt>
          <c:dPt>
            <c:idx val="7"/>
            <c:bubble3D val="0"/>
            <c:spPr>
              <a:solidFill>
                <a:schemeClr val="accent3"/>
              </a:solidFill>
              <a:ln w="666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2BD-4240-98B8-7D4791A71FD5}"/>
              </c:ext>
            </c:extLst>
          </c:dPt>
          <c:cat>
            <c:strRef>
              <c:f>Лист1!$A$2:$A$9</c:f>
              <c:strCache>
                <c:ptCount val="8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5</c:v>
                </c:pt>
                <c:pt idx="5">
                  <c:v>5</c:v>
                </c:pt>
                <c:pt idx="6">
                  <c:v>7</c:v>
                </c:pt>
                <c:pt idx="7">
                  <c:v>8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2BD-4240-98B8-7D4791A71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A9-0A49-BFE4-F20D2DFCF37F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A9-0A49-BFE4-F20D2DFCF37F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A9-0A49-BFE4-F20D2DFCF37F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A9-0A49-BFE4-F20D2DFCF37F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AA9-0A49-BFE4-F20D2DFCF37F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5AA9-0A49-BFE4-F20D2DFCF3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A9-0A49-BFE4-F20D2DFCF3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9B-1A41-A4C4-F5A5D7D8829A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9B-1A41-A4C4-F5A5D7D8829A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9B-1A41-A4C4-F5A5D7D8829A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89B-1A41-A4C4-F5A5D7D8829A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89B-1A41-A4C4-F5A5D7D8829A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89B-1A41-A4C4-F5A5D7D882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89B-1A41-A4C4-F5A5D7D882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99-2342-9DD9-586DF62EE309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99-2342-9DD9-586DF62EE309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B99-2342-9DD9-586DF62EE309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B99-2342-9DD9-586DF62EE309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B99-2342-9DD9-586DF62EE309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B99-2342-9DD9-586DF62EE3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B99-2342-9DD9-586DF62EE30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B99-2342-9DD9-586DF62EE3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B8-C242-8851-7E2101535FD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B8-C242-8851-7E2101535FDC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B8-C242-8851-7E2101535FD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B8-C242-8851-7E2101535FDC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FB8-C242-8851-7E2101535FDC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FB8-C242-8851-7E2101535F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FB8-C242-8851-7E2101535FD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FB8-C242-8851-7E2101535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938-B749-9B1F-7543F4F6211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938-B749-9B1F-7543F4F6211C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938-B749-9B1F-7543F4F6211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38-B749-9B1F-7543F4F6211C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938-B749-9B1F-7543F4F6211C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938-B749-9B1F-7543F4F621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38-B749-9B1F-7543F4F6211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938-B749-9B1F-7543F4F621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880-6145-9A9D-72D3094AF2AA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880-6145-9A9D-72D3094AF2AA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880-6145-9A9D-72D3094AF2AA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80-6145-9A9D-72D3094AF2AA}"/>
                </c:ext>
              </c:extLst>
            </c:dLbl>
            <c:dLbl>
              <c:idx val="1"/>
              <c:layout>
                <c:manualLayout>
                  <c:x val="1.9981518513704976E-4"/>
                  <c:y val="1.204725892045942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880-6145-9A9D-72D3094AF2AA}"/>
                </c:ext>
              </c:extLst>
            </c:dLbl>
            <c:dLbl>
              <c:idx val="2"/>
              <c:layout>
                <c:manualLayout>
                  <c:x val="3.8166856232010882E-3"/>
                  <c:y val="1.017788819239928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Verdana" panose="020B0604030504040204" pitchFamily="34" charset="0"/>
                      <a:ea typeface="Verdana" panose="020B0604030504040204" pitchFamily="34" charset="0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919463927969397E-2"/>
                      <c:h val="6.18614369622085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880-6145-9A9D-72D3094AF2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880-6145-9A9D-72D3094AF2A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880-6145-9A9D-72D3094AF2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Verdana" panose="020B0604030504040204" pitchFamily="34" charset="0"/>
                    <a:ea typeface="Verdana" panose="020B0604030504040204" pitchFamily="34" charset="0"/>
                  </a:rPr>
                  <a:t>Название графика</a:t>
                </a:r>
                <a:endParaRPr lang="ru-RU" sz="1000" dirty="0">
                  <a:solidFill>
                    <a:srgbClr val="7E7E7E"/>
                  </a:solidFill>
                  <a:effectLst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3.9967117300350775E-2"/>
          <c:w val="0.85334654693035761"/>
          <c:h val="0.74359933385615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75-8240-B131-48102CF6948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1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75-8240-B131-48102CF694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3.9967117300350775E-2"/>
          <c:w val="0.85334654693035761"/>
          <c:h val="0.743599333856157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4E-F149-858C-77B26E561DB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1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4E-F149-858C-77B26E561D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Пассажирооборот авиакомпаний РФ, млрд </a:t>
            </a:r>
            <a:r>
              <a:rPr lang="ru-RU" sz="1000" b="0" i="0" baseline="0" dirty="0" err="1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пасс.км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3186120521038977"/>
          <c:y val="0.80542912288825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0.25101837014578693"/>
          <c:w val="0.95088160189085114"/>
          <c:h val="0.39581548328350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нутренние линии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5</c:v>
                </c:pt>
                <c:pt idx="1">
                  <c:v>15</c:v>
                </c:pt>
                <c:pt idx="2">
                  <c:v>9</c:v>
                </c:pt>
                <c:pt idx="3">
                  <c:v>10</c:v>
                </c:pt>
                <c:pt idx="4">
                  <c:v>9</c:v>
                </c:pt>
                <c:pt idx="5">
                  <c:v>9</c:v>
                </c:pt>
                <c:pt idx="6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F3-2B4A-BA09-7A06252DE4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еждународные линии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9</c:v>
                </c:pt>
                <c:pt idx="1">
                  <c:v>11</c:v>
                </c:pt>
                <c:pt idx="2">
                  <c:v>11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F3-2B4A-BA09-7A06252DE4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4.7755825378057996E-2"/>
          <c:w val="0.502174795172593"/>
          <c:h val="0.173497074754250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0.12818918192636952"/>
          <c:w val="0.85334654693035761"/>
          <c:h val="0.6553773200323931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5B-C040-AF7E-2B4AA2AD5E1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5B-C040-AF7E-2B4AA2AD5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9268347368430612"/>
          <c:y val="2.6745199980256994E-2"/>
          <c:w val="0.20014196976697532"/>
          <c:h val="7.4747042661357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звание таблицы</a:t>
            </a:r>
          </a:p>
        </c:rich>
      </c:tx>
      <c:layout>
        <c:manualLayout>
          <c:xMode val="edge"/>
          <c:yMode val="edge"/>
          <c:x val="0.37648925287048524"/>
          <c:y val="0.92081772629970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6837178650433939E-2"/>
          <c:y val="0.13283244581183082"/>
          <c:w val="0.85334654693035761"/>
          <c:h val="0.6507340561469318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FD-3745-BAEB-B2AEDB14039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invertIfNegative val="0"/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FD-3745-BAEB-B2AEDB1403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overlap val="100"/>
        <c:axId val="1979275791"/>
        <c:axId val="1900703247"/>
      </c:barChart>
      <c:catAx>
        <c:axId val="197927579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00703247"/>
        <c:crosses val="autoZero"/>
        <c:auto val="1"/>
        <c:lblAlgn val="ctr"/>
        <c:lblOffset val="100"/>
        <c:noMultiLvlLbl val="0"/>
      </c:catAx>
      <c:valAx>
        <c:axId val="1900703247"/>
        <c:scaling>
          <c:orientation val="minMax"/>
          <c:max val="40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979275791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9268347368430612"/>
          <c:y val="2.2101936094795712E-2"/>
          <c:w val="0.20014196976697532"/>
          <c:h val="7.47470426613579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 b="0" i="0">
          <a:latin typeface="GPN_DIN Regular" panose="020B0704020202020204" pitchFamily="34" charset="0"/>
          <a:ea typeface="GPN_DIN Regular" panose="020B0704020202020204" pitchFamily="34" charset="0"/>
        </a:defRPr>
      </a:pPr>
      <a:endParaRPr lang="ru-RU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8F54-1C4A-8BC2-16CAC567A940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8F54-1C4A-8BC2-16CAC567A940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8F54-1C4A-8BC2-16CAC567A940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F54-1C4A-8BC2-16CAC567A94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F54-1C4A-8BC2-16CAC567A9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0</c:v>
                </c:pt>
                <c:pt idx="1">
                  <c:v>100</c:v>
                </c:pt>
                <c:pt idx="2">
                  <c:v>15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F54-1C4A-8BC2-16CAC567A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 b="0" dirty="0"/>
                  <a:t>Название</a:t>
                </a:r>
                <a:r>
                  <a:rPr lang="ru-RU" dirty="0"/>
                  <a:t>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234B-D441-97DB-0A7500C8C53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234B-D441-97DB-0A7500C8C53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234B-D441-97DB-0A7500C8C53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34B-D441-97DB-0A7500C8C53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34B-D441-97DB-0A7500C8C5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50</c:v>
                </c:pt>
                <c:pt idx="1">
                  <c:v>60</c:v>
                </c:pt>
                <c:pt idx="2">
                  <c:v>70</c:v>
                </c:pt>
                <c:pt idx="3">
                  <c:v>80</c:v>
                </c:pt>
                <c:pt idx="4">
                  <c:v>90</c:v>
                </c:pt>
                <c:pt idx="5">
                  <c:v>100</c:v>
                </c:pt>
                <c:pt idx="6">
                  <c:v>110</c:v>
                </c:pt>
                <c:pt idx="7">
                  <c:v>120</c:v>
                </c:pt>
                <c:pt idx="8">
                  <c:v>130</c:v>
                </c:pt>
                <c:pt idx="9">
                  <c:v>140</c:v>
                </c:pt>
                <c:pt idx="10">
                  <c:v>150</c:v>
                </c:pt>
                <c:pt idx="11">
                  <c:v>160</c:v>
                </c:pt>
                <c:pt idx="12">
                  <c:v>170</c:v>
                </c:pt>
                <c:pt idx="13">
                  <c:v>180</c:v>
                </c:pt>
                <c:pt idx="14">
                  <c:v>19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34B-D441-97DB-0A7500C8C5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32D1-7045-8839-A7116D034FF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32D1-7045-8839-A7116D034FF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32D1-7045-8839-A7116D034FFC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2D1-7045-8839-A7116D034FF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2D1-7045-8839-A7116D034F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2D1-7045-8839-A7116D034FF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2D1-7045-8839-A7116D034F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AD71-BE44-A082-E539F989AF63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AD71-BE44-A082-E539F989AF63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AD71-BE44-A082-E539F989AF6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71-BE44-A082-E539F989AF6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D71-BE44-A082-E539F989AF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  <c:pt idx="7">
                  <c:v>200</c:v>
                </c:pt>
                <c:pt idx="8">
                  <c:v>200</c:v>
                </c:pt>
                <c:pt idx="9">
                  <c:v>200</c:v>
                </c:pt>
                <c:pt idx="10">
                  <c:v>200</c:v>
                </c:pt>
                <c:pt idx="11">
                  <c:v>200</c:v>
                </c:pt>
                <c:pt idx="12">
                  <c:v>200</c:v>
                </c:pt>
                <c:pt idx="13">
                  <c:v>200</c:v>
                </c:pt>
                <c:pt idx="14">
                  <c:v>20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D71-BE44-A082-E539F989AF6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D71-BE44-A082-E539F989AF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4E0A-654A-8B84-E6A708DAE1D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4E0A-654A-8B84-E6A708DAE1D5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4E0A-654A-8B84-E6A708DAE1D5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E0A-654A-8B84-E6A708DAE1D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E0A-654A-8B84-E6A708DAE1D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E0A-654A-8B84-E6A708DAE1D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E0A-654A-8B84-E6A708DAE1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6206-0246-B499-43F12F445F9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6206-0246-B499-43F12F445F9C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6206-0246-B499-43F12F445F9C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206-0246-B499-43F12F445F9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206-0246-B499-43F12F445F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200</c:v>
                </c:pt>
                <c:pt idx="1">
                  <c:v>200</c:v>
                </c:pt>
                <c:pt idx="2">
                  <c:v>200</c:v>
                </c:pt>
                <c:pt idx="3">
                  <c:v>200</c:v>
                </c:pt>
                <c:pt idx="4">
                  <c:v>200</c:v>
                </c:pt>
                <c:pt idx="5">
                  <c:v>200</c:v>
                </c:pt>
                <c:pt idx="6">
                  <c:v>200</c:v>
                </c:pt>
                <c:pt idx="7">
                  <c:v>200</c:v>
                </c:pt>
                <c:pt idx="8">
                  <c:v>200</c:v>
                </c:pt>
                <c:pt idx="9">
                  <c:v>200</c:v>
                </c:pt>
                <c:pt idx="10">
                  <c:v>200</c:v>
                </c:pt>
                <c:pt idx="11">
                  <c:v>200</c:v>
                </c:pt>
                <c:pt idx="12">
                  <c:v>200</c:v>
                </c:pt>
                <c:pt idx="13">
                  <c:v>200</c:v>
                </c:pt>
                <c:pt idx="14">
                  <c:v>200</c:v>
                </c:pt>
                <c:pt idx="15">
                  <c:v>2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206-0246-B499-43F12F445F9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7</c:f>
              <c:strCache>
                <c:ptCount val="16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  <c:pt idx="7">
                  <c:v>Текст</c:v>
                </c:pt>
                <c:pt idx="8">
                  <c:v>Текст</c:v>
                </c:pt>
                <c:pt idx="9">
                  <c:v>Текст</c:v>
                </c:pt>
                <c:pt idx="10">
                  <c:v>Текст</c:v>
                </c:pt>
                <c:pt idx="11">
                  <c:v>Текст</c:v>
                </c:pt>
                <c:pt idx="12">
                  <c:v>Текст</c:v>
                </c:pt>
                <c:pt idx="13">
                  <c:v>Текст</c:v>
                </c:pt>
                <c:pt idx="14">
                  <c:v>Текст</c:v>
                </c:pt>
                <c:pt idx="15">
                  <c:v>Текст</c:v>
                </c:pt>
              </c:strCache>
            </c:strRef>
          </c:cat>
          <c:val>
            <c:numRef>
              <c:f>Лист1!$C$2:$C$17</c:f>
              <c:numCache>
                <c:formatCode>General</c:formatCode>
                <c:ptCount val="16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6206-0246-B499-43F12F445F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 b="0"/>
                </a:pPr>
                <a:r>
                  <a:rPr lang="ru-RU" b="0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/>
            </a:pPr>
            <a:r>
              <a:rPr lang="ru-RU" b="0" dirty="0"/>
              <a:t>Название диаграммы</a:t>
            </a:r>
          </a:p>
        </c:rich>
      </c:tx>
      <c:layout>
        <c:manualLayout>
          <c:xMode val="edge"/>
          <c:yMode val="edge"/>
          <c:x val="0.11912865601651351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E9-C54E-8FF6-9E222FC93099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5E9-C54E-8FF6-9E222FC93099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E9-C54E-8FF6-9E222FC93099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E9-C54E-8FF6-9E222FC93099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E9-C54E-8FF6-9E222FC9309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5E9-C54E-8FF6-9E222FC93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470871235055271"/>
          <c:y val="0.391884159706341"/>
          <c:w val="0.14882952099727406"/>
          <c:h val="0.22424112798407397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>
                <a:solidFill>
                  <a:srgbClr val="7E7E7E"/>
                </a:solidFill>
              </a:defRPr>
            </a:pPr>
            <a:r>
              <a:rPr lang="ru-RU" b="0" dirty="0">
                <a:solidFill>
                  <a:srgbClr val="7E7E7E"/>
                </a:solidFill>
              </a:rPr>
              <a:t>Название диаграммы</a:t>
            </a:r>
          </a:p>
        </c:rich>
      </c:tx>
      <c:layout>
        <c:manualLayout>
          <c:xMode val="edge"/>
          <c:yMode val="edge"/>
          <c:x val="0.1306568915701366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C608-8B4B-BCDB-7272B3A9AC63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608-8B4B-BCDB-7272B3A9AC63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C608-8B4B-BCDB-7272B3A9AC63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608-8B4B-BCDB-7272B3A9AC63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608-8B4B-BCDB-7272B3A9AC63}"/>
              </c:ext>
            </c:extLst>
          </c:dPt>
          <c:dPt>
            <c:idx val="5"/>
            <c:bubble3D val="0"/>
            <c:spPr>
              <a:solidFill>
                <a:srgbClr val="7957B2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608-8B4B-BCDB-7272B3A9AC63}"/>
              </c:ext>
            </c:extLst>
          </c:dPt>
          <c:dPt>
            <c:idx val="6"/>
            <c:bubble3D val="0"/>
            <c:spPr>
              <a:solidFill>
                <a:srgbClr val="9A81C5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608-8B4B-BCDB-7272B3A9AC6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608-8B4B-BCDB-7272B3A9AC6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608-8B4B-BCDB-7272B3A9AC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608-8B4B-BCDB-7272B3A9AC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11900679258161"/>
          <c:y val="0.24247124009878818"/>
          <c:w val="0.15459363877408561"/>
          <c:h val="0.52322929862950596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Пассажирооборот авиакомпаний РФ, млрд </a:t>
            </a:r>
            <a:r>
              <a:rPr lang="ru-RU" sz="1000" b="0" i="0" baseline="0" dirty="0" err="1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пасс.км</a:t>
            </a:r>
            <a:endParaRPr lang="ru-RU" sz="105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3186120521038977"/>
          <c:y val="0.80542912288825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7E7E7E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2.8017015378583054E-3"/>
          <c:y val="0.25101837014578693"/>
          <c:w val="0.95088160189085114"/>
          <c:h val="0.39581548328350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Внутренние линии</c:v>
                </c:pt>
              </c:strCache>
            </c:strRef>
          </c:tx>
          <c:spPr>
            <a:solidFill>
              <a:srgbClr val="46B4E9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5</c:v>
                </c:pt>
                <c:pt idx="1">
                  <c:v>15</c:v>
                </c:pt>
                <c:pt idx="2">
                  <c:v>9</c:v>
                </c:pt>
                <c:pt idx="3">
                  <c:v>10</c:v>
                </c:pt>
                <c:pt idx="4">
                  <c:v>9</c:v>
                </c:pt>
                <c:pt idx="5">
                  <c:v>9</c:v>
                </c:pt>
                <c:pt idx="6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C5-2A4B-9F0A-457160F4B3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Международные линии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cat>
            <c:numRef>
              <c:f>Sheet1!$A$2:$A$8</c:f>
              <c:numCache>
                <c:formatCode>General</c:formatCode>
                <c:ptCount val="7"/>
                <c:pt idx="0">
                  <c:v>2008</c:v>
                </c:pt>
                <c:pt idx="1">
                  <c:v>2010</c:v>
                </c:pt>
                <c:pt idx="2">
                  <c:v>2012</c:v>
                </c:pt>
                <c:pt idx="3">
                  <c:v>2014</c:v>
                </c:pt>
                <c:pt idx="4">
                  <c:v>2016</c:v>
                </c:pt>
                <c:pt idx="5">
                  <c:v>2018</c:v>
                </c:pt>
                <c:pt idx="6">
                  <c:v>2020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9</c:v>
                </c:pt>
                <c:pt idx="1">
                  <c:v>11</c:v>
                </c:pt>
                <c:pt idx="2">
                  <c:v>11</c:v>
                </c:pt>
                <c:pt idx="3">
                  <c:v>14</c:v>
                </c:pt>
                <c:pt idx="4">
                  <c:v>12</c:v>
                </c:pt>
                <c:pt idx="5">
                  <c:v>10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C5-2A4B-9F0A-457160F4B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overlap val="100"/>
        <c:axId val="962746399"/>
        <c:axId val="962744319"/>
      </c:barChart>
      <c:catAx>
        <c:axId val="962746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808080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962744319"/>
        <c:crosses val="autoZero"/>
        <c:auto val="1"/>
        <c:lblAlgn val="ctr"/>
        <c:lblOffset val="100"/>
        <c:noMultiLvlLbl val="0"/>
      </c:catAx>
      <c:valAx>
        <c:axId val="96274431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27463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F7F7F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6.1400346914645999E-2"/>
          <c:w val="0.502174795172593"/>
          <c:h val="0.173497074754250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rgbClr val="7F7F7F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/>
            </a:pPr>
            <a:r>
              <a:rPr lang="ru-RU" b="0"/>
              <a:t>Название диаграммы</a:t>
            </a:r>
          </a:p>
        </c:rich>
      </c:tx>
      <c:layout>
        <c:manualLayout>
          <c:xMode val="edge"/>
          <c:yMode val="edge"/>
          <c:x val="0.11912865601651351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81-7442-9C5A-EC607E7D56C8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3081-7442-9C5A-EC607E7D56C8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3081-7442-9C5A-EC607E7D56C8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081-7442-9C5A-EC607E7D56C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081-7442-9C5A-EC607E7D56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81-7442-9C5A-EC607E7D56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6470871235055271"/>
          <c:y val="0.391884159706341"/>
          <c:w val="0.16323981543930294"/>
          <c:h val="0.22424112798407397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b="0"/>
            </a:pPr>
            <a:r>
              <a:rPr lang="ru-RU" b="0"/>
              <a:t>Название диаграммы</a:t>
            </a:r>
          </a:p>
        </c:rich>
      </c:tx>
      <c:layout>
        <c:manualLayout>
          <c:xMode val="edge"/>
          <c:yMode val="edge"/>
          <c:x val="0.16235953934260008"/>
          <c:y val="0.88449862804348578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0850765629155726"/>
          <c:y val="4.9799187977237029E-2"/>
          <c:w val="0.46585804112584567"/>
          <c:h val="0.7505404649479278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0">
              <a:noFill/>
            </a:ln>
          </c:spPr>
          <c:dPt>
            <c:idx val="0"/>
            <c:bubble3D val="0"/>
            <c:spPr>
              <a:solidFill>
                <a:srgbClr val="28BE46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197-E240-B3F9-34A4F36ECFD3}"/>
              </c:ext>
            </c:extLst>
          </c:dPt>
          <c:dPt>
            <c:idx val="1"/>
            <c:bubble3D val="0"/>
            <c:spPr>
              <a:solidFill>
                <a:srgbClr val="0097D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197-E240-B3F9-34A4F36ECFD3}"/>
              </c:ext>
            </c:extLst>
          </c:dPt>
          <c:dPt>
            <c:idx val="2"/>
            <c:bubble3D val="0"/>
            <c:spPr>
              <a:solidFill>
                <a:srgbClr val="124C88"/>
              </a:solidFill>
              <a:ln w="0" cap="rnd">
                <a:noFill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197-E240-B3F9-34A4F36ECFD3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197-E240-B3F9-34A4F36ECFD3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197-E240-B3F9-34A4F36ECFD3}"/>
              </c:ext>
            </c:extLst>
          </c:dPt>
          <c:dPt>
            <c:idx val="5"/>
            <c:bubble3D val="0"/>
            <c:spPr>
              <a:solidFill>
                <a:srgbClr val="7957B2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197-E240-B3F9-34A4F36ECFD3}"/>
              </c:ext>
            </c:extLst>
          </c:dPt>
          <c:dPt>
            <c:idx val="6"/>
            <c:bubble3D val="0"/>
            <c:spPr>
              <a:solidFill>
                <a:srgbClr val="9A81C5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197-E240-B3F9-34A4F36ECFD3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197-E240-B3F9-34A4F36ECFD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197-E240-B3F9-34A4F36ECF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197-E240-B3F9-34A4F36ECF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11900679258161"/>
          <c:y val="0.24247124009878818"/>
          <c:w val="0.21799893431901257"/>
          <c:h val="0.52322929862950596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0"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BA-E241-80DE-0A5B30892034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BA-E241-80DE-0A5B30892034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FBA-E241-80DE-0A5B30892034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FBA-E241-80DE-0A5B30892034}"/>
                </c:ext>
              </c:extLst>
            </c:dLbl>
            <c:dLbl>
              <c:idx val="1"/>
              <c:layout>
                <c:manualLayout>
                  <c:x val="1.5704431851927346E-2"/>
                  <c:y val="2.05549494318346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4928697261549987E-2"/>
                      <c:h val="4.187790900765665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FBA-E241-80DE-0A5B30892034}"/>
                </c:ext>
              </c:extLst>
            </c:dLbl>
            <c:dLbl>
              <c:idx val="2"/>
              <c:layout>
                <c:manualLayout>
                  <c:x val="7.1589634153041153E-4"/>
                  <c:y val="1.2675720584208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8726866744881357E-2"/>
                      <c:h val="5.68654940946554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FBA-E241-80DE-0A5B308920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FBA-E241-80DE-0A5B30892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552359791"/>
        <c:axId val="551989215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CFBA-E241-80DE-0A5B30892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3F0-D045-8E36-2DCD60CC4AB3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3F0-D045-8E36-2DCD60CC4AB3}"/>
              </c:ext>
            </c:extLst>
          </c:dPt>
          <c:dPt>
            <c:idx val="2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3F0-D045-8E36-2DCD60CC4AB3}"/>
              </c:ext>
            </c:extLst>
          </c:dPt>
          <c:dLbls>
            <c:dLbl>
              <c:idx val="0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0-D045-8E36-2DCD60CC4AB3}"/>
                </c:ext>
              </c:extLst>
            </c:dLbl>
            <c:dLbl>
              <c:idx val="1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F0-D045-8E36-2DCD60CC4AB3}"/>
                </c:ext>
              </c:extLst>
            </c:dLbl>
            <c:dLbl>
              <c:idx val="2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F0-D045-8E36-2DCD60CC4AB3}"/>
                </c:ext>
              </c:extLst>
            </c:dLbl>
            <c:dLbl>
              <c:idx val="3"/>
              <c:layout>
                <c:manualLayout>
                  <c:x val="-5.6849456339691748E-17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3F0-D045-8E36-2DCD60CC4AB3}"/>
                </c:ext>
              </c:extLst>
            </c:dLbl>
            <c:dLbl>
              <c:idx val="4"/>
              <c:layout>
                <c:manualLayout>
                  <c:x val="-1.136989126793835E-16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F0-D045-8E36-2DCD60CC4AB3}"/>
                </c:ext>
              </c:extLst>
            </c:dLbl>
            <c:dLbl>
              <c:idx val="5"/>
              <c:layout>
                <c:manualLayout>
                  <c:x val="0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3F0-D045-8E36-2DCD60CC4AB3}"/>
                </c:ext>
              </c:extLst>
            </c:dLbl>
            <c:dLbl>
              <c:idx val="6"/>
              <c:layout>
                <c:manualLayout>
                  <c:x val="-1.136989126793835E-16"/>
                  <c:y val="1.4032470740772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3F0-D045-8E36-2DCD60CC4A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3F0-D045-8E36-2DCD60CC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552359791"/>
        <c:axId val="551989215"/>
      </c:barChart>
      <c:lineChart>
        <c:grouping val="standard"/>
        <c:varyColors val="0"/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3F0-D045-8E36-2DCD60CC4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2359791"/>
        <c:axId val="551989215"/>
      </c:line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D8-C84D-9595-3CBBEB17A45E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7D8-C84D-9595-3CBBEB17A45E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D8-C84D-9595-3CBBEB17A45E}"/>
              </c:ext>
            </c:extLst>
          </c:dPt>
          <c:dLbls>
            <c:dLbl>
              <c:idx val="0"/>
              <c:layout>
                <c:manualLayout>
                  <c:x val="3.9659358283960514E-2"/>
                  <c:y val="1.027367836073583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955677873659093E-2"/>
                      <c:h val="7.06703078722747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7D8-C84D-9595-3CBBEB17A45E}"/>
                </c:ext>
              </c:extLst>
            </c:dLbl>
            <c:dLbl>
              <c:idx val="1"/>
              <c:layout>
                <c:manualLayout>
                  <c:x val="1.8462948874249797E-2"/>
                  <c:y val="9.37232123237466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44573130619489E-2"/>
                      <c:h val="5.65115615860390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7D8-C84D-9595-3CBBEB17A45E}"/>
                </c:ext>
              </c:extLst>
            </c:dLbl>
            <c:dLbl>
              <c:idx val="2"/>
              <c:layout>
                <c:manualLayout>
                  <c:x val="-4.0385019646314052E-2"/>
                  <c:y val="8.91598309813352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716342156482342E-2"/>
                      <c:h val="7.7910595006864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C7D8-C84D-9595-3CBBEB17A4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100</c:v>
                </c:pt>
                <c:pt idx="2">
                  <c:v>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7D8-C84D-9595-3CBBEB17A45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4.8743985048511775E-2"/>
                  <c:y val="-9.99309586303617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7D8-C84D-9595-3CBBEB17A45E}"/>
                </c:ext>
              </c:extLst>
            </c:dLbl>
            <c:dLbl>
              <c:idx val="2"/>
              <c:layout>
                <c:manualLayout>
                  <c:x val="-4.2980037838895119E-2"/>
                  <c:y val="2.32162662983336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7D8-C84D-9595-3CBBEB17A4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7D8-C84D-9595-3CBBEB17A4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2359791"/>
        <c:axId val="551989215"/>
      </c:area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66-7B43-92A4-CEBE0E299E20}"/>
              </c:ext>
            </c:extLst>
          </c:dPt>
          <c:dPt>
            <c:idx val="1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66-7B43-92A4-CEBE0E299E20}"/>
              </c:ext>
            </c:extLst>
          </c:dPt>
          <c:dPt>
            <c:idx val="2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E66-7B43-92A4-CEBE0E299E20}"/>
              </c:ext>
            </c:extLst>
          </c:dPt>
          <c:dLbls>
            <c:dLbl>
              <c:idx val="0"/>
              <c:layout>
                <c:manualLayout>
                  <c:x val="2.5938416100251108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66-7B43-92A4-CEBE0E299E20}"/>
                </c:ext>
              </c:extLst>
            </c:dLbl>
            <c:dLbl>
              <c:idx val="1"/>
              <c:layout>
                <c:manualLayout>
                  <c:x val="2.5938416100251108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66-7B43-92A4-CEBE0E299E20}"/>
                </c:ext>
              </c:extLst>
            </c:dLbl>
            <c:dLbl>
              <c:idx val="2"/>
              <c:layout>
                <c:manualLayout>
                  <c:x val="2.5938416100251049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E66-7B43-92A4-CEBE0E299E20}"/>
                </c:ext>
              </c:extLst>
            </c:dLbl>
            <c:dLbl>
              <c:idx val="3"/>
              <c:layout>
                <c:manualLayout>
                  <c:x val="2.5938416100250987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E66-7B43-92A4-CEBE0E299E20}"/>
                </c:ext>
              </c:extLst>
            </c:dLbl>
            <c:dLbl>
              <c:idx val="4"/>
              <c:layout>
                <c:manualLayout>
                  <c:x val="2.6943740528510424E-3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E66-7B43-92A4-CEBE0E299E20}"/>
                </c:ext>
              </c:extLst>
            </c:dLbl>
            <c:dLbl>
              <c:idx val="5"/>
              <c:layout>
                <c:manualLayout>
                  <c:x val="-3.946780817834691E-3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E66-7B43-92A4-CEBE0E299E20}"/>
                </c:ext>
              </c:extLst>
            </c:dLbl>
            <c:dLbl>
              <c:idx val="6"/>
              <c:layout>
                <c:manualLayout>
                  <c:x val="-2.7190822865234755E-2"/>
                  <c:y val="1.40323740416243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E66-7B43-92A4-CEBE0E299E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E66-7B43-92A4-CEBE0E299E2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593852999565189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E66-7B43-92A4-CEBE0E299E20}"/>
                </c:ext>
              </c:extLst>
            </c:dLbl>
            <c:dLbl>
              <c:idx val="6"/>
              <c:layout>
                <c:manualLayout>
                  <c:x val="-2.593852999565194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E66-7B43-92A4-CEBE0E299E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Текст</c:v>
                </c:pt>
                <c:pt idx="1">
                  <c:v>Текст</c:v>
                </c:pt>
                <c:pt idx="2">
                  <c:v>Текст</c:v>
                </c:pt>
                <c:pt idx="3">
                  <c:v>Текст</c:v>
                </c:pt>
                <c:pt idx="4">
                  <c:v>Текст</c:v>
                </c:pt>
                <c:pt idx="5">
                  <c:v>Текст</c:v>
                </c:pt>
                <c:pt idx="6">
                  <c:v>Текст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150</c:v>
                </c:pt>
                <c:pt idx="1">
                  <c:v>15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50</c:v>
                </c:pt>
                <c:pt idx="6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E66-7B43-92A4-CEBE0E299E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2359791"/>
        <c:axId val="551989215"/>
      </c:area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rgbClr val="7E7E7E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r>
                  <a:rPr lang="ru-RU"/>
                  <a:t>Название графика</a:t>
                </a:r>
              </a:p>
            </c:rich>
          </c:tx>
          <c:layout>
            <c:manualLayout>
              <c:xMode val="edge"/>
              <c:yMode val="edge"/>
              <c:x val="0.3731319946661486"/>
              <c:y val="0.9108299559986764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rgbClr val="7E7E7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7E7E7E"/>
          </a:solidFill>
          <a:latin typeface="Verdana" panose="020B0604030504040204" pitchFamily="34" charset="0"/>
          <a:ea typeface="Verdana" panose="020B0604030504040204" pitchFamily="34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51529622549677"/>
          <c:y val="6.941129667388625E-2"/>
          <c:w val="0.70461968341774606"/>
          <c:h val="0.9376956915683892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0">
              <a:solidFill>
                <a:schemeClr val="bg1">
                  <a:lumMod val="75000"/>
                  <a:alpha val="0"/>
                </a:schemeClr>
              </a:solidFill>
            </a:ln>
          </c:spPr>
          <c:dPt>
            <c:idx val="0"/>
            <c:bubble3D val="0"/>
            <c:spPr>
              <a:solidFill>
                <a:srgbClr val="0097D8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9F-F343-926F-FB3A147BA2F1}"/>
              </c:ext>
            </c:extLst>
          </c:dPt>
          <c:dPt>
            <c:idx val="1"/>
            <c:bubble3D val="0"/>
            <c:spPr>
              <a:solidFill>
                <a:srgbClr val="23D1CF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9F-F343-926F-FB3A147BA2F1}"/>
              </c:ext>
            </c:extLst>
          </c:dPt>
          <c:dPt>
            <c:idx val="2"/>
            <c:bubble3D val="0"/>
            <c:spPr>
              <a:solidFill>
                <a:srgbClr val="28BE46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9F-F343-926F-FB3A147BA2F1}"/>
              </c:ext>
            </c:extLst>
          </c:dPt>
          <c:dPt>
            <c:idx val="3"/>
            <c:bubble3D val="0"/>
            <c:spPr>
              <a:solidFill>
                <a:srgbClr val="0B2944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9F-F343-926F-FB3A147BA2F1}"/>
              </c:ext>
            </c:extLst>
          </c:dPt>
          <c:dPt>
            <c:idx val="4"/>
            <c:bubble3D val="0"/>
            <c:spPr>
              <a:solidFill>
                <a:srgbClr val="472A7A"/>
              </a:solidFill>
              <a:ln w="0">
                <a:solidFill>
                  <a:schemeClr val="bg1">
                    <a:lumMod val="75000"/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09F-F343-926F-FB3A147BA2F1}"/>
              </c:ext>
            </c:extLst>
          </c:dPt>
          <c:dLbls>
            <c:dLbl>
              <c:idx val="0"/>
              <c:showLegendKey val="0"/>
              <c:showVal val="0"/>
              <c:showCatName val="0"/>
              <c:showSerName val="0"/>
              <c:showPercent val="1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9F-F343-926F-FB3A147BA2F1}"/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US"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609F-F343-926F-FB3A147BA2F1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609F-F343-926F-FB3A147BA2F1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609F-F343-926F-FB3A147BA2F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ГПН</c:v>
                </c:pt>
                <c:pt idx="1">
                  <c:v>Прочие</c:v>
                </c:pt>
                <c:pt idx="2">
                  <c:v>Роснефть</c:v>
                </c:pt>
                <c:pt idx="3">
                  <c:v>Лукойл</c:v>
                </c:pt>
                <c:pt idx="4">
                  <c:v>Аэрофьелс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.26</c:v>
                </c:pt>
                <c:pt idx="1">
                  <c:v>24</c:v>
                </c:pt>
                <c:pt idx="2">
                  <c:v>25.1</c:v>
                </c:pt>
                <c:pt idx="3">
                  <c:v>2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09F-F343-926F-FB3A147BA2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r>
              <a:rPr lang="ru-RU" sz="1000" dirty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</a:rPr>
              <a:t>Текст</a:t>
            </a:r>
          </a:p>
        </c:rich>
      </c:tx>
      <c:layout>
        <c:manualLayout>
          <c:xMode val="edge"/>
          <c:yMode val="edge"/>
          <c:x val="0.10923690111067053"/>
          <c:y val="0.842630258120751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rgbClr val="7E7E7E"/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058988973431589"/>
          <c:y val="3.278721966872717E-2"/>
          <c:w val="0.78544441711050228"/>
          <c:h val="0.718938988974407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План</c:v>
                </c:pt>
              </c:strCache>
            </c:strRef>
          </c:tx>
          <c:spPr>
            <a:ln w="25400" cap="rnd">
              <a:solidFill>
                <a:srgbClr val="CCCCCC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1 кв.</c:v>
                </c:pt>
                <c:pt idx="1">
                  <c:v>2 кв.</c:v>
                </c:pt>
                <c:pt idx="2">
                  <c:v>3 кв.</c:v>
                </c:pt>
                <c:pt idx="3">
                  <c:v>4 кв.</c:v>
                </c:pt>
                <c:pt idx="4">
                  <c:v>1 кв.</c:v>
                </c:pt>
                <c:pt idx="5">
                  <c:v>2 кв.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0</c:v>
                </c:pt>
                <c:pt idx="1">
                  <c:v>104</c:v>
                </c:pt>
                <c:pt idx="2">
                  <c:v>203</c:v>
                </c:pt>
                <c:pt idx="3">
                  <c:v>278</c:v>
                </c:pt>
                <c:pt idx="4">
                  <c:v>387</c:v>
                </c:pt>
                <c:pt idx="5">
                  <c:v>46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B4B-8446-AD03-0ECDA54BA9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Факт</c:v>
                </c:pt>
              </c:strCache>
            </c:strRef>
          </c:tx>
          <c:spPr>
            <a:ln w="25400" cap="rnd">
              <a:solidFill>
                <a:srgbClr val="2FB4E9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1 кв.</c:v>
                </c:pt>
                <c:pt idx="1">
                  <c:v>2 кв.</c:v>
                </c:pt>
                <c:pt idx="2">
                  <c:v>3 кв.</c:v>
                </c:pt>
                <c:pt idx="3">
                  <c:v>4 кв.</c:v>
                </c:pt>
                <c:pt idx="4">
                  <c:v>1 кв.</c:v>
                </c:pt>
                <c:pt idx="5">
                  <c:v>2 кв.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6</c:v>
                </c:pt>
                <c:pt idx="1">
                  <c:v>126</c:v>
                </c:pt>
                <c:pt idx="2">
                  <c:v>194</c:v>
                </c:pt>
                <c:pt idx="3">
                  <c:v>349</c:v>
                </c:pt>
                <c:pt idx="4">
                  <c:v>468</c:v>
                </c:pt>
                <c:pt idx="5">
                  <c:v>5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FB4B-8446-AD03-0ECDA54BA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16820432"/>
        <c:axId val="1716825424"/>
      </c:lineChart>
      <c:catAx>
        <c:axId val="1716820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1716825424"/>
        <c:crosses val="autoZero"/>
        <c:auto val="1"/>
        <c:lblAlgn val="ctr"/>
        <c:lblOffset val="100"/>
        <c:noMultiLvlLbl val="0"/>
      </c:catAx>
      <c:valAx>
        <c:axId val="1716825424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17168204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8.2065478608803824E-2"/>
          <c:y val="9.9847080779810776E-2"/>
          <c:w val="0.49435965206919846"/>
          <c:h val="5.14732314122736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50000"/>
                </a:schemeClr>
              </a:solidFill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78-413F-8466-BE1D2A17572C}"/>
              </c:ext>
            </c:extLst>
          </c:dPt>
          <c:dPt>
            <c:idx val="1"/>
            <c:invertIfNegative val="0"/>
            <c:bubble3D val="0"/>
            <c:spPr>
              <a:solidFill>
                <a:srgbClr val="CC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78-413F-8466-BE1D2A17572C}"/>
              </c:ext>
            </c:extLst>
          </c:dPt>
          <c:dPt>
            <c:idx val="2"/>
            <c:invertIfNegative val="0"/>
            <c:bubble3D val="0"/>
            <c:spPr>
              <a:solidFill>
                <a:srgbClr val="28BE4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78-413F-8466-BE1D2A17572C}"/>
              </c:ext>
            </c:extLst>
          </c:dPt>
          <c:dLbls>
            <c:dLbl>
              <c:idx val="0"/>
              <c:layout>
                <c:manualLayout>
                  <c:x val="-1.9959852684630023E-17"/>
                  <c:y val="1.40323816542631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78-413F-8466-BE1D2A17572C}"/>
                </c:ext>
              </c:extLst>
            </c:dLbl>
            <c:dLbl>
              <c:idx val="1"/>
              <c:layout>
                <c:manualLayout>
                  <c:x val="0"/>
                  <c:y val="2.104857248139463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E7E7E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78-413F-8466-BE1D2A17572C}"/>
                </c:ext>
              </c:extLst>
            </c:dLbl>
            <c:dLbl>
              <c:idx val="2"/>
              <c:layout>
                <c:manualLayout>
                  <c:x val="0"/>
                  <c:y val="1.40323816542631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28BE46"/>
                      </a:solidFill>
                      <a:latin typeface="GPN_DIN Regular" panose="020B0504020202020204" pitchFamily="34" charset="-52"/>
                      <a:ea typeface="GPN_DIN Regular" panose="020B0504020202020204" pitchFamily="34" charset="-52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0870999167763122E-2"/>
                      <c:h val="0.106716262480670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678-413F-8466-BE1D2A1757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Фаза 1</c:v>
                </c:pt>
                <c:pt idx="1">
                  <c:v>Фаза 2. До сейсмики</c:v>
                </c:pt>
                <c:pt idx="2">
                  <c:v>Фаза 2. Сегодн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24</c:v>
                </c:pt>
                <c:pt idx="1">
                  <c:v>138</c:v>
                </c:pt>
                <c:pt idx="2">
                  <c:v>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678-413F-8466-BE1D2A175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-27"/>
        <c:axId val="552359791"/>
        <c:axId val="551989215"/>
      </c:barChart>
      <c:catAx>
        <c:axId val="55235979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7E7E7E"/>
                    </a:solidFill>
                    <a:latin typeface="GPN_DIN Regular" panose="020B0504020202020204" pitchFamily="34" charset="-52"/>
                    <a:ea typeface="GPN_DIN Regular" panose="020B0504020202020204" pitchFamily="34" charset="-52"/>
                    <a:cs typeface="+mn-cs"/>
                  </a:defRPr>
                </a:pPr>
                <a:r>
                  <a:rPr lang="ru-RU" sz="1000" b="0" i="0" baseline="0" dirty="0">
                    <a:solidFill>
                      <a:srgbClr val="7E7E7E"/>
                    </a:solidFill>
                    <a:effectLst/>
                    <a:latin typeface="GPN_DIN Regular" panose="020B0504020202020204" pitchFamily="34" charset="-52"/>
                    <a:ea typeface="GPN_DIN Regular" panose="020B0504020202020204" pitchFamily="34" charset="-52"/>
                  </a:rPr>
                  <a:t>Текст</a:t>
                </a:r>
                <a:endParaRPr lang="ru-RU" sz="1000" dirty="0">
                  <a:solidFill>
                    <a:srgbClr val="7E7E7E"/>
                  </a:solidFill>
                  <a:effectLst/>
                  <a:latin typeface="GPN_DIN Regular" panose="020B0504020202020204" pitchFamily="34" charset="-52"/>
                  <a:ea typeface="GPN_DIN Regular" panose="020B0504020202020204" pitchFamily="34" charset="-52"/>
                </a:endParaRPr>
              </a:p>
            </c:rich>
          </c:tx>
          <c:layout>
            <c:manualLayout>
              <c:xMode val="edge"/>
              <c:yMode val="edge"/>
              <c:x val="0.19156227700286363"/>
              <c:y val="0.831894376594165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7E7E7E"/>
                  </a:solidFill>
                  <a:latin typeface="GPN_DIN Regular" panose="020B0504020202020204" pitchFamily="34" charset="-52"/>
                  <a:ea typeface="GPN_DIN Regular" panose="020B0504020202020204" pitchFamily="34" charset="-52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504020202020204" pitchFamily="34" charset="-52"/>
                <a:ea typeface="GPN_DIN Regular" panose="020B0504020202020204" pitchFamily="34" charset="-52"/>
                <a:cs typeface="+mn-cs"/>
              </a:defRPr>
            </a:pPr>
            <a:endParaRPr lang="ru-RU"/>
          </a:p>
        </c:txPr>
        <c:crossAx val="551989215"/>
        <c:crosses val="autoZero"/>
        <c:auto val="1"/>
        <c:lblAlgn val="ctr"/>
        <c:lblOffset val="100"/>
        <c:noMultiLvlLbl val="0"/>
      </c:catAx>
      <c:valAx>
        <c:axId val="5519892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523597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0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r>
              <a:rPr lang="ru-RU" sz="1000" b="0" i="0" baseline="0" dirty="0"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00" b="0" i="0" dirty="0"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0938267516950688"/>
          <c:y val="0.765279202554293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0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44451059297552842"/>
          <c:y val="7.4434517097205111E-2"/>
          <c:w val="0.48913321979231034"/>
          <c:h val="0.44675571095710176"/>
        </c:manualLayout>
      </c:layout>
      <c:areaChart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Добыча проекта  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3:$G$3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1:$G$1</c:f>
              <c:numCache>
                <c:formatCode>General</c:formatCode>
                <c:ptCount val="6"/>
                <c:pt idx="0">
                  <c:v>10.9</c:v>
                </c:pt>
                <c:pt idx="1">
                  <c:v>9.9</c:v>
                </c:pt>
                <c:pt idx="2">
                  <c:v>8.1999999999999993</c:v>
                </c:pt>
                <c:pt idx="3">
                  <c:v>7.2</c:v>
                </c:pt>
                <c:pt idx="4">
                  <c:v>6.9</c:v>
                </c:pt>
                <c:pt idx="5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29-5244-B5E0-B10FD6572503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Базовая добыча  </c:v>
                </c:pt>
              </c:strCache>
            </c:strRef>
          </c:tx>
          <c:spPr>
            <a:solidFill>
              <a:srgbClr val="28BE46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GPN_DIN Regular" panose="020B0704020202020204" pitchFamily="34" charset="0"/>
                    <a:ea typeface="GPN_DIN Regular" panose="020B0704020202020204" pitchFamily="34" charset="0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B$3:$G$3</c:f>
              <c:numCache>
                <c:formatCode>General</c:formatCode>
                <c:ptCount val="6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2</c:v>
                </c:pt>
                <c:pt idx="1">
                  <c:v>2.2999999999999998</c:v>
                </c:pt>
                <c:pt idx="2">
                  <c:v>4.4000000000000004</c:v>
                </c:pt>
                <c:pt idx="3">
                  <c:v>6.2</c:v>
                </c:pt>
                <c:pt idx="4">
                  <c:v>6.7</c:v>
                </c:pt>
                <c:pt idx="5">
                  <c:v>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29-5244-B5E0-B10FD6572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1978440"/>
        <c:axId val="1"/>
      </c:areaChart>
      <c:catAx>
        <c:axId val="771978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.816604990000002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771978440"/>
        <c:crosses val="min"/>
        <c:crossBetween val="midCat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6.7407645123102974E-2"/>
          <c:w val="0.33865033551539753"/>
          <c:h val="0.7002520830967116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PN_DIN Regular" panose="020B0704020202020204" pitchFamily="34" charset="0"/>
              <a:ea typeface="GPN_DIN Regular" panose="020B0704020202020204" pitchFamily="34" charset="0"/>
              <a:cs typeface="+mn-cs"/>
            </a:defRPr>
          </a:pPr>
          <a:endParaRPr lang="ru-RU"/>
        </a:p>
      </c:txPr>
    </c:legend>
    <c:plotVisOnly val="0"/>
    <c:dispBlanksAs val="zero"/>
    <c:showDLblsOverMax val="1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00" b="0" i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</a:defRPr>
            </a:pPr>
            <a:r>
              <a:rPr lang="ru-RU" sz="1000" b="0" i="0" baseline="0" dirty="0">
                <a:solidFill>
                  <a:srgbClr val="7E7E7E"/>
                </a:solidFill>
                <a:effectLst/>
                <a:latin typeface="GPN_DIN Regular" panose="020B0704020202020204" pitchFamily="34" charset="0"/>
                <a:ea typeface="GPN_DIN Regular" panose="020B0704020202020204" pitchFamily="34" charset="0"/>
              </a:rPr>
              <a:t>Текст</a:t>
            </a:r>
            <a:endParaRPr lang="ru-RU" sz="1000" b="0" i="0" dirty="0">
              <a:solidFill>
                <a:srgbClr val="7E7E7E"/>
              </a:solidFill>
              <a:effectLst/>
              <a:latin typeface="GPN_DIN Regular" panose="020B0704020202020204" pitchFamily="34" charset="0"/>
              <a:ea typeface="GPN_DIN Regular" panose="020B0704020202020204" pitchFamily="34" charset="0"/>
            </a:endParaRPr>
          </a:p>
        </c:rich>
      </c:tx>
      <c:layout>
        <c:manualLayout>
          <c:xMode val="edge"/>
          <c:yMode val="edge"/>
          <c:x val="0.17089838108991412"/>
          <c:y val="0.8587165677257230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4827808185139268E-2"/>
          <c:y val="4.9974235354740354E-2"/>
          <c:w val="0.97152687159998663"/>
          <c:h val="0.58297909887270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rgbClr val="CC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7.529653462951323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CCF-0141-A46D-658734656A23}"/>
                </c:ext>
              </c:extLst>
            </c:dLbl>
            <c:dLbl>
              <c:idx val="1"/>
              <c:layout>
                <c:manualLayout>
                  <c:x val="0"/>
                  <c:y val="-7.529653462951314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CCF-0141-A46D-658734656A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.9</c:v>
                </c:pt>
                <c:pt idx="1">
                  <c:v>3.9</c:v>
                </c:pt>
                <c:pt idx="2">
                  <c:v>42.4</c:v>
                </c:pt>
                <c:pt idx="3">
                  <c:v>66</c:v>
                </c:pt>
                <c:pt idx="4">
                  <c:v>7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CF-0141-A46D-658734656A2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49"/>
        <c:overlap val="100"/>
        <c:axId val="202116608"/>
        <c:axId val="148039936"/>
        <c:extLst/>
      </c:barChart>
      <c:lineChart>
        <c:grouping val="standard"/>
        <c:varyColors val="0"/>
        <c:ser>
          <c:idx val="2"/>
          <c:order val="1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 cap="rnd">
              <a:solidFill>
                <a:srgbClr val="E65907"/>
              </a:solidFill>
              <a:round/>
            </a:ln>
            <a:effectLst/>
          </c:spPr>
          <c:marker>
            <c:symbol val="none"/>
          </c:marker>
          <c:dPt>
            <c:idx val="6"/>
            <c:bubble3D val="0"/>
            <c:spPr>
              <a:ln w="25400" cap="rnd">
                <a:solidFill>
                  <a:srgbClr val="E65907"/>
                </a:solidFill>
                <a:prstDash val="solid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2-9CCF-0141-A46D-658734656A2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9CCF-0141-A46D-658734656A23}"/>
            </c:ext>
          </c:extLst>
        </c:ser>
        <c:ser>
          <c:idx val="1"/>
          <c:order val="2"/>
          <c:tx>
            <c:strRef>
              <c:f>Лист1!#REF!</c:f>
              <c:strCache>
                <c:ptCount val="1"/>
                <c:pt idx="0">
                  <c:v>#REF!</c:v>
                </c:pt>
              </c:strCache>
            </c:strRef>
          </c:tx>
          <c:spPr>
            <a:ln w="25400" cap="rnd">
              <a:solidFill>
                <a:srgbClr val="2FB3E9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CCF-0141-A46D-658734656A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2899456"/>
        <c:axId val="148041664"/>
      </c:lineChart>
      <c:catAx>
        <c:axId val="20211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CCCC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E7E7E"/>
                </a:solidFill>
                <a:latin typeface="GPN_DIN Regular" panose="020B0704020202020204" pitchFamily="34" charset="0"/>
                <a:ea typeface="GPN_DIN Regular" panose="020B0704020202020204" pitchFamily="34" charset="0"/>
                <a:cs typeface="+mn-cs"/>
              </a:defRPr>
            </a:pPr>
            <a:endParaRPr lang="ru-RU"/>
          </a:p>
        </c:txPr>
        <c:crossAx val="148039936"/>
        <c:crosses val="autoZero"/>
        <c:auto val="1"/>
        <c:lblAlgn val="ctr"/>
        <c:lblOffset val="100"/>
        <c:noMultiLvlLbl val="0"/>
      </c:catAx>
      <c:valAx>
        <c:axId val="14803993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noFill/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02116608"/>
        <c:crosses val="autoZero"/>
        <c:crossBetween val="between"/>
      </c:valAx>
      <c:valAx>
        <c:axId val="148041664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02899456"/>
        <c:crosses val="max"/>
        <c:crossBetween val="between"/>
      </c:valAx>
      <c:catAx>
        <c:axId val="2028994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8041664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DFAD71-A86C-4BF6-A66A-6C1ED81E516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E438344B-413D-47A0-BEA0-1BAD47BB3541}">
      <dgm:prSet phldrT="[Text]" custT="1"/>
      <dgm:spPr>
        <a:solidFill>
          <a:srgbClr val="28BE46"/>
        </a:solidFill>
      </dgm:spPr>
      <dgm:t>
        <a:bodyPr tIns="144000" rIns="144000" bIns="144000"/>
        <a:lstStyle/>
        <a:p>
          <a:pPr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400" b="1" i="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gm:t>
    </dgm:pt>
    <dgm:pt modelId="{CA3985DB-DEFF-4A39-98D2-A141F42F6922}" type="parTrans" cxnId="{96C7BA90-4FDB-4296-8238-8F2285B20B8C}">
      <dgm:prSet/>
      <dgm:spPr/>
      <dgm:t>
        <a:bodyPr/>
        <a:lstStyle/>
        <a:p>
          <a:endParaRPr lang="ru-RU" sz="1200"/>
        </a:p>
      </dgm:t>
    </dgm:pt>
    <dgm:pt modelId="{7B503103-3172-4844-BD7A-A0B0814738C7}" type="sibTrans" cxnId="{96C7BA90-4FDB-4296-8238-8F2285B20B8C}">
      <dgm:prSet/>
      <dgm:spPr/>
      <dgm:t>
        <a:bodyPr/>
        <a:lstStyle/>
        <a:p>
          <a:endParaRPr lang="ru-RU" sz="1200"/>
        </a:p>
      </dgm:t>
    </dgm:pt>
    <dgm:pt modelId="{E51AFB51-A9E6-46C5-A77A-6DA02FBD886A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373CC0C0-4F40-4CAD-B0D0-2D9D3E691FFF}" type="parTrans" cxnId="{7F88FD51-56F9-4BEE-9BF9-32E7A9315EAF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402A1E53-84E1-440F-858D-E8AC077C28F3}" type="sibTrans" cxnId="{7F88FD51-56F9-4BEE-9BF9-32E7A9315EAF}">
      <dgm:prSet/>
      <dgm:spPr/>
      <dgm:t>
        <a:bodyPr/>
        <a:lstStyle/>
        <a:p>
          <a:endParaRPr lang="ru-RU" sz="1200"/>
        </a:p>
      </dgm:t>
    </dgm:pt>
    <dgm:pt modelId="{7B05DA53-34AB-45B0-81FE-DDC703C1417C}">
      <dgm:prSet phldrT="[Text]" custT="1"/>
      <dgm:spPr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144000" tIns="144000" rIns="144000" bIns="144000" numCol="1" spcCol="1270" anchor="ctr" anchorCtr="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CA4137C-76FF-427E-8AB8-A628D5CA0B66}" type="parTrans" cxnId="{530B2FAB-B1F4-4E21-9E20-605002C8413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4CD8C033-3BDD-46D1-BC24-E52F2F0D8FA3}" type="sibTrans" cxnId="{530B2FAB-B1F4-4E21-9E20-605002C84139}">
      <dgm:prSet/>
      <dgm:spPr/>
      <dgm:t>
        <a:bodyPr/>
        <a:lstStyle/>
        <a:p>
          <a:endParaRPr lang="ru-RU" sz="1200"/>
        </a:p>
      </dgm:t>
    </dgm:pt>
    <dgm:pt modelId="{7329480A-D079-48C2-AE87-0A30EEC42522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  <a:endParaRPr lang="ru-RU" sz="1200" b="0" i="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5C45F0D9-DA34-406B-ADC2-2987D52AB5AE}" type="parTrans" cxnId="{B1940815-76A8-4C08-982E-DC16C8B5DAD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endParaRPr lang="ru-RU" sz="1200"/>
        </a:p>
      </dgm:t>
    </dgm:pt>
    <dgm:pt modelId="{CD9DB5A8-9E6B-4A28-ADB2-BE9FE11DE86E}" type="sibTrans" cxnId="{B1940815-76A8-4C08-982E-DC16C8B5DAD9}">
      <dgm:prSet/>
      <dgm:spPr/>
      <dgm:t>
        <a:bodyPr/>
        <a:lstStyle/>
        <a:p>
          <a:endParaRPr lang="ru-RU" sz="1200"/>
        </a:p>
      </dgm:t>
    </dgm:pt>
    <dgm:pt modelId="{B2037B22-E6B4-4517-9827-EBAEF80818F3}" type="pres">
      <dgm:prSet presAssocID="{38DFAD71-A86C-4BF6-A66A-6C1ED81E51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1A8FF99-B3C7-4B5A-9365-62B04F3376F6}" type="pres">
      <dgm:prSet presAssocID="{E438344B-413D-47A0-BEA0-1BAD47BB3541}" presName="root1" presStyleCnt="0"/>
      <dgm:spPr/>
    </dgm:pt>
    <dgm:pt modelId="{C6651533-525D-4246-B941-F78AD509E570}" type="pres">
      <dgm:prSet presAssocID="{E438344B-413D-47A0-BEA0-1BAD47BB3541}" presName="LevelOneTextNode" presStyleLbl="node0" presStyleIdx="0" presStyleCnt="1" custScaleY="100000" custLinFactNeighborX="-4348">
        <dgm:presLayoutVars>
          <dgm:chPref val="3"/>
        </dgm:presLayoutVars>
      </dgm:prSet>
      <dgm:spPr/>
    </dgm:pt>
    <dgm:pt modelId="{E037F56F-6ECA-443E-BB4F-CF105DFCE554}" type="pres">
      <dgm:prSet presAssocID="{E438344B-413D-47A0-BEA0-1BAD47BB3541}" presName="level2hierChild" presStyleCnt="0"/>
      <dgm:spPr/>
    </dgm:pt>
    <dgm:pt modelId="{357799BC-A652-43F4-8CF9-E71597CEA4CE}" type="pres">
      <dgm:prSet presAssocID="{373CC0C0-4F40-4CAD-B0D0-2D9D3E691FFF}" presName="conn2-1" presStyleLbl="parChTrans1D2" presStyleIdx="0" presStyleCnt="3"/>
      <dgm:spPr/>
    </dgm:pt>
    <dgm:pt modelId="{1CD06F42-49D0-4D7E-A3A9-FAE63CEB8241}" type="pres">
      <dgm:prSet presAssocID="{373CC0C0-4F40-4CAD-B0D0-2D9D3E691FFF}" presName="connTx" presStyleLbl="parChTrans1D2" presStyleIdx="0" presStyleCnt="3"/>
      <dgm:spPr/>
    </dgm:pt>
    <dgm:pt modelId="{0CDC98F3-8ABD-4FF6-9AC9-958CDB0E4E30}" type="pres">
      <dgm:prSet presAssocID="{E51AFB51-A9E6-46C5-A77A-6DA02FBD886A}" presName="root2" presStyleCnt="0"/>
      <dgm:spPr/>
    </dgm:pt>
    <dgm:pt modelId="{56C6E43B-EA10-4AD4-A12C-1E99FA24FC9D}" type="pres">
      <dgm:prSet presAssocID="{E51AFB51-A9E6-46C5-A77A-6DA02FBD886A}" presName="LevelTwoTextNode" presStyleLbl="node2" presStyleIdx="0" presStyleCnt="3" custScaleX="176401">
        <dgm:presLayoutVars>
          <dgm:chPref val="3"/>
        </dgm:presLayoutVars>
      </dgm:prSet>
      <dgm:spPr/>
    </dgm:pt>
    <dgm:pt modelId="{E8A4F369-0117-4EEB-A22E-0B05C85538FB}" type="pres">
      <dgm:prSet presAssocID="{E51AFB51-A9E6-46C5-A77A-6DA02FBD886A}" presName="level3hierChild" presStyleCnt="0"/>
      <dgm:spPr/>
    </dgm:pt>
    <dgm:pt modelId="{9A2516BF-66AA-4C59-A8A2-798983C1D02F}" type="pres">
      <dgm:prSet presAssocID="{1CA4137C-76FF-427E-8AB8-A628D5CA0B66}" presName="conn2-1" presStyleLbl="parChTrans1D2" presStyleIdx="1" presStyleCnt="3"/>
      <dgm:spPr/>
    </dgm:pt>
    <dgm:pt modelId="{999CB1DD-824B-406F-AC38-97268FBBDE5A}" type="pres">
      <dgm:prSet presAssocID="{1CA4137C-76FF-427E-8AB8-A628D5CA0B66}" presName="connTx" presStyleLbl="parChTrans1D2" presStyleIdx="1" presStyleCnt="3"/>
      <dgm:spPr/>
    </dgm:pt>
    <dgm:pt modelId="{C54E03A8-76F7-4222-AC83-73485C1FDD0B}" type="pres">
      <dgm:prSet presAssocID="{7B05DA53-34AB-45B0-81FE-DDC703C1417C}" presName="root2" presStyleCnt="0"/>
      <dgm:spPr/>
    </dgm:pt>
    <dgm:pt modelId="{D61B108A-B556-4934-9606-ED0C297E5FC5}" type="pres">
      <dgm:prSet presAssocID="{7B05DA53-34AB-45B0-81FE-DDC703C1417C}" presName="LevelTwoTextNode" presStyleLbl="node2" presStyleIdx="1" presStyleCnt="3" custScaleX="176401">
        <dgm:presLayoutVars>
          <dgm:chPref val="3"/>
        </dgm:presLayoutVars>
      </dgm:prSet>
      <dgm:spPr>
        <a:xfrm>
          <a:off x="1696522" y="1458884"/>
          <a:ext cx="3959991" cy="684414"/>
        </a:xfrm>
        <a:prstGeom prst="rect">
          <a:avLst/>
        </a:prstGeom>
      </dgm:spPr>
    </dgm:pt>
    <dgm:pt modelId="{0BAC82A7-8BA0-44AB-B9EA-A9FCE6EA7307}" type="pres">
      <dgm:prSet presAssocID="{7B05DA53-34AB-45B0-81FE-DDC703C1417C}" presName="level3hierChild" presStyleCnt="0"/>
      <dgm:spPr/>
    </dgm:pt>
    <dgm:pt modelId="{5BEDAF33-8B48-4220-9D72-A974CBCE2BB7}" type="pres">
      <dgm:prSet presAssocID="{5C45F0D9-DA34-406B-ADC2-2987D52AB5AE}" presName="conn2-1" presStyleLbl="parChTrans1D2" presStyleIdx="2" presStyleCnt="3"/>
      <dgm:spPr/>
    </dgm:pt>
    <dgm:pt modelId="{184AB904-676E-44D7-99D0-16D3C8D464F7}" type="pres">
      <dgm:prSet presAssocID="{5C45F0D9-DA34-406B-ADC2-2987D52AB5AE}" presName="connTx" presStyleLbl="parChTrans1D2" presStyleIdx="2" presStyleCnt="3"/>
      <dgm:spPr/>
    </dgm:pt>
    <dgm:pt modelId="{C2341055-2313-4F9B-8940-4369169224DA}" type="pres">
      <dgm:prSet presAssocID="{7329480A-D079-48C2-AE87-0A30EEC42522}" presName="root2" presStyleCnt="0"/>
      <dgm:spPr/>
    </dgm:pt>
    <dgm:pt modelId="{A37EAC1C-BC2C-48DF-869A-A1B31948FF20}" type="pres">
      <dgm:prSet presAssocID="{7329480A-D079-48C2-AE87-0A30EEC42522}" presName="LevelTwoTextNode" presStyleLbl="node2" presStyleIdx="2" presStyleCnt="3" custScaleX="176401">
        <dgm:presLayoutVars>
          <dgm:chPref val="3"/>
        </dgm:presLayoutVars>
      </dgm:prSet>
      <dgm:spPr/>
    </dgm:pt>
    <dgm:pt modelId="{9A15BFEF-FEA3-413F-8A5D-DAF78651CA36}" type="pres">
      <dgm:prSet presAssocID="{7329480A-D079-48C2-AE87-0A30EEC42522}" presName="level3hierChild" presStyleCnt="0"/>
      <dgm:spPr/>
    </dgm:pt>
  </dgm:ptLst>
  <dgm:cxnLst>
    <dgm:cxn modelId="{B1940815-76A8-4C08-982E-DC16C8B5DAD9}" srcId="{E438344B-413D-47A0-BEA0-1BAD47BB3541}" destId="{7329480A-D079-48C2-AE87-0A30EEC42522}" srcOrd="2" destOrd="0" parTransId="{5C45F0D9-DA34-406B-ADC2-2987D52AB5AE}" sibTransId="{CD9DB5A8-9E6B-4A28-ADB2-BE9FE11DE86E}"/>
    <dgm:cxn modelId="{B50AAD20-F986-40B8-9353-A6C686E25299}" type="presOf" srcId="{5C45F0D9-DA34-406B-ADC2-2987D52AB5AE}" destId="{184AB904-676E-44D7-99D0-16D3C8D464F7}" srcOrd="1" destOrd="0" presId="urn:microsoft.com/office/officeart/2008/layout/HorizontalMultiLevelHierarchy"/>
    <dgm:cxn modelId="{8B26B020-268B-4406-93E3-DD40C115D138}" type="presOf" srcId="{7B05DA53-34AB-45B0-81FE-DDC703C1417C}" destId="{D61B108A-B556-4934-9606-ED0C297E5FC5}" srcOrd="0" destOrd="0" presId="urn:microsoft.com/office/officeart/2008/layout/HorizontalMultiLevelHierarchy"/>
    <dgm:cxn modelId="{51295A26-8F8D-4925-BB6A-721485B948F0}" type="presOf" srcId="{1CA4137C-76FF-427E-8AB8-A628D5CA0B66}" destId="{9A2516BF-66AA-4C59-A8A2-798983C1D02F}" srcOrd="0" destOrd="0" presId="urn:microsoft.com/office/officeart/2008/layout/HorizontalMultiLevelHierarchy"/>
    <dgm:cxn modelId="{15D65331-BB87-4E4B-8844-DABC2B6BBE09}" type="presOf" srcId="{38DFAD71-A86C-4BF6-A66A-6C1ED81E5160}" destId="{B2037B22-E6B4-4517-9827-EBAEF80818F3}" srcOrd="0" destOrd="0" presId="urn:microsoft.com/office/officeart/2008/layout/HorizontalMultiLevelHierarchy"/>
    <dgm:cxn modelId="{D8F92D68-4DD7-4CB2-8A3A-BBD6E4D322BC}" type="presOf" srcId="{7329480A-D079-48C2-AE87-0A30EEC42522}" destId="{A37EAC1C-BC2C-48DF-869A-A1B31948FF20}" srcOrd="0" destOrd="0" presId="urn:microsoft.com/office/officeart/2008/layout/HorizontalMultiLevelHierarchy"/>
    <dgm:cxn modelId="{076F1149-6275-439C-A789-0CAD4890EA65}" type="presOf" srcId="{5C45F0D9-DA34-406B-ADC2-2987D52AB5AE}" destId="{5BEDAF33-8B48-4220-9D72-A974CBCE2BB7}" srcOrd="0" destOrd="0" presId="urn:microsoft.com/office/officeart/2008/layout/HorizontalMultiLevelHierarchy"/>
    <dgm:cxn modelId="{562F876A-0749-4109-985E-B3A58E587CD1}" type="presOf" srcId="{373CC0C0-4F40-4CAD-B0D0-2D9D3E691FFF}" destId="{357799BC-A652-43F4-8CF9-E71597CEA4CE}" srcOrd="0" destOrd="0" presId="urn:microsoft.com/office/officeart/2008/layout/HorizontalMultiLevelHierarchy"/>
    <dgm:cxn modelId="{2E097651-7C28-48C7-B4CC-236DBB20AC35}" type="presOf" srcId="{373CC0C0-4F40-4CAD-B0D0-2D9D3E691FFF}" destId="{1CD06F42-49D0-4D7E-A3A9-FAE63CEB8241}" srcOrd="1" destOrd="0" presId="urn:microsoft.com/office/officeart/2008/layout/HorizontalMultiLevelHierarchy"/>
    <dgm:cxn modelId="{7F88FD51-56F9-4BEE-9BF9-32E7A9315EAF}" srcId="{E438344B-413D-47A0-BEA0-1BAD47BB3541}" destId="{E51AFB51-A9E6-46C5-A77A-6DA02FBD886A}" srcOrd="0" destOrd="0" parTransId="{373CC0C0-4F40-4CAD-B0D0-2D9D3E691FFF}" sibTransId="{402A1E53-84E1-440F-858D-E8AC077C28F3}"/>
    <dgm:cxn modelId="{C3806D58-0465-42EE-AC0D-EFF891EA3875}" type="presOf" srcId="{E438344B-413D-47A0-BEA0-1BAD47BB3541}" destId="{C6651533-525D-4246-B941-F78AD509E570}" srcOrd="0" destOrd="0" presId="urn:microsoft.com/office/officeart/2008/layout/HorizontalMultiLevelHierarchy"/>
    <dgm:cxn modelId="{96C7BA90-4FDB-4296-8238-8F2285B20B8C}" srcId="{38DFAD71-A86C-4BF6-A66A-6C1ED81E5160}" destId="{E438344B-413D-47A0-BEA0-1BAD47BB3541}" srcOrd="0" destOrd="0" parTransId="{CA3985DB-DEFF-4A39-98D2-A141F42F6922}" sibTransId="{7B503103-3172-4844-BD7A-A0B0814738C7}"/>
    <dgm:cxn modelId="{530B2FAB-B1F4-4E21-9E20-605002C84139}" srcId="{E438344B-413D-47A0-BEA0-1BAD47BB3541}" destId="{7B05DA53-34AB-45B0-81FE-DDC703C1417C}" srcOrd="1" destOrd="0" parTransId="{1CA4137C-76FF-427E-8AB8-A628D5CA0B66}" sibTransId="{4CD8C033-3BDD-46D1-BC24-E52F2F0D8FA3}"/>
    <dgm:cxn modelId="{1E8B20AC-5452-4448-96B1-1A6FB99EBAC0}" type="presOf" srcId="{1CA4137C-76FF-427E-8AB8-A628D5CA0B66}" destId="{999CB1DD-824B-406F-AC38-97268FBBDE5A}" srcOrd="1" destOrd="0" presId="urn:microsoft.com/office/officeart/2008/layout/HorizontalMultiLevelHierarchy"/>
    <dgm:cxn modelId="{BFA3C1B5-C16C-4E95-AA16-F16E876D42B3}" type="presOf" srcId="{E51AFB51-A9E6-46C5-A77A-6DA02FBD886A}" destId="{56C6E43B-EA10-4AD4-A12C-1E99FA24FC9D}" srcOrd="0" destOrd="0" presId="urn:microsoft.com/office/officeart/2008/layout/HorizontalMultiLevelHierarchy"/>
    <dgm:cxn modelId="{71DAE5D4-1002-4AB6-8895-5117CFDAA101}" type="presParOf" srcId="{B2037B22-E6B4-4517-9827-EBAEF80818F3}" destId="{B1A8FF99-B3C7-4B5A-9365-62B04F3376F6}" srcOrd="0" destOrd="0" presId="urn:microsoft.com/office/officeart/2008/layout/HorizontalMultiLevelHierarchy"/>
    <dgm:cxn modelId="{25EDBE15-863D-4067-A1BB-CB1C77A2C619}" type="presParOf" srcId="{B1A8FF99-B3C7-4B5A-9365-62B04F3376F6}" destId="{C6651533-525D-4246-B941-F78AD509E570}" srcOrd="0" destOrd="0" presId="urn:microsoft.com/office/officeart/2008/layout/HorizontalMultiLevelHierarchy"/>
    <dgm:cxn modelId="{D65F4024-5C49-41E9-AAD7-8766D97CEC68}" type="presParOf" srcId="{B1A8FF99-B3C7-4B5A-9365-62B04F3376F6}" destId="{E037F56F-6ECA-443E-BB4F-CF105DFCE554}" srcOrd="1" destOrd="0" presId="urn:microsoft.com/office/officeart/2008/layout/HorizontalMultiLevelHierarchy"/>
    <dgm:cxn modelId="{DBD3250E-3ACC-46F7-9413-728FA639A1B9}" type="presParOf" srcId="{E037F56F-6ECA-443E-BB4F-CF105DFCE554}" destId="{357799BC-A652-43F4-8CF9-E71597CEA4CE}" srcOrd="0" destOrd="0" presId="urn:microsoft.com/office/officeart/2008/layout/HorizontalMultiLevelHierarchy"/>
    <dgm:cxn modelId="{552680A0-626D-49AB-BD8C-27B7A507C5BD}" type="presParOf" srcId="{357799BC-A652-43F4-8CF9-E71597CEA4CE}" destId="{1CD06F42-49D0-4D7E-A3A9-FAE63CEB8241}" srcOrd="0" destOrd="0" presId="urn:microsoft.com/office/officeart/2008/layout/HorizontalMultiLevelHierarchy"/>
    <dgm:cxn modelId="{6B598C30-1D81-4A29-B4B6-BFA892CCF2DD}" type="presParOf" srcId="{E037F56F-6ECA-443E-BB4F-CF105DFCE554}" destId="{0CDC98F3-8ABD-4FF6-9AC9-958CDB0E4E30}" srcOrd="1" destOrd="0" presId="urn:microsoft.com/office/officeart/2008/layout/HorizontalMultiLevelHierarchy"/>
    <dgm:cxn modelId="{A3B97B33-5A84-439E-B714-98A5AD789A43}" type="presParOf" srcId="{0CDC98F3-8ABD-4FF6-9AC9-958CDB0E4E30}" destId="{56C6E43B-EA10-4AD4-A12C-1E99FA24FC9D}" srcOrd="0" destOrd="0" presId="urn:microsoft.com/office/officeart/2008/layout/HorizontalMultiLevelHierarchy"/>
    <dgm:cxn modelId="{033F13A4-CF1D-409E-B8C3-CEC53275CEDA}" type="presParOf" srcId="{0CDC98F3-8ABD-4FF6-9AC9-958CDB0E4E30}" destId="{E8A4F369-0117-4EEB-A22E-0B05C85538FB}" srcOrd="1" destOrd="0" presId="urn:microsoft.com/office/officeart/2008/layout/HorizontalMultiLevelHierarchy"/>
    <dgm:cxn modelId="{282D13B5-6F6A-4294-9B4B-22EFAFFB30D0}" type="presParOf" srcId="{E037F56F-6ECA-443E-BB4F-CF105DFCE554}" destId="{9A2516BF-66AA-4C59-A8A2-798983C1D02F}" srcOrd="2" destOrd="0" presId="urn:microsoft.com/office/officeart/2008/layout/HorizontalMultiLevelHierarchy"/>
    <dgm:cxn modelId="{60EB8D68-BDDD-4FA8-824A-E83F5D4E2639}" type="presParOf" srcId="{9A2516BF-66AA-4C59-A8A2-798983C1D02F}" destId="{999CB1DD-824B-406F-AC38-97268FBBDE5A}" srcOrd="0" destOrd="0" presId="urn:microsoft.com/office/officeart/2008/layout/HorizontalMultiLevelHierarchy"/>
    <dgm:cxn modelId="{C2A4A824-B396-4959-9F0A-3A740420C72C}" type="presParOf" srcId="{E037F56F-6ECA-443E-BB4F-CF105DFCE554}" destId="{C54E03A8-76F7-4222-AC83-73485C1FDD0B}" srcOrd="3" destOrd="0" presId="urn:microsoft.com/office/officeart/2008/layout/HorizontalMultiLevelHierarchy"/>
    <dgm:cxn modelId="{653CD82C-25E5-416E-AF3D-2EEBFF9D9E88}" type="presParOf" srcId="{C54E03A8-76F7-4222-AC83-73485C1FDD0B}" destId="{D61B108A-B556-4934-9606-ED0C297E5FC5}" srcOrd="0" destOrd="0" presId="urn:microsoft.com/office/officeart/2008/layout/HorizontalMultiLevelHierarchy"/>
    <dgm:cxn modelId="{E2DD62DA-090C-4F31-AF2F-A05025717256}" type="presParOf" srcId="{C54E03A8-76F7-4222-AC83-73485C1FDD0B}" destId="{0BAC82A7-8BA0-44AB-B9EA-A9FCE6EA7307}" srcOrd="1" destOrd="0" presId="urn:microsoft.com/office/officeart/2008/layout/HorizontalMultiLevelHierarchy"/>
    <dgm:cxn modelId="{B73761D3-E66D-4E60-A9A1-6E6D619EF8EC}" type="presParOf" srcId="{E037F56F-6ECA-443E-BB4F-CF105DFCE554}" destId="{5BEDAF33-8B48-4220-9D72-A974CBCE2BB7}" srcOrd="4" destOrd="0" presId="urn:microsoft.com/office/officeart/2008/layout/HorizontalMultiLevelHierarchy"/>
    <dgm:cxn modelId="{4B9B617F-D36E-426F-BDC3-17A8D36E34E5}" type="presParOf" srcId="{5BEDAF33-8B48-4220-9D72-A974CBCE2BB7}" destId="{184AB904-676E-44D7-99D0-16D3C8D464F7}" srcOrd="0" destOrd="0" presId="urn:microsoft.com/office/officeart/2008/layout/HorizontalMultiLevelHierarchy"/>
    <dgm:cxn modelId="{A62C7690-EFB8-4340-9E3F-66E900A3DD78}" type="presParOf" srcId="{E037F56F-6ECA-443E-BB4F-CF105DFCE554}" destId="{C2341055-2313-4F9B-8940-4369169224DA}" srcOrd="5" destOrd="0" presId="urn:microsoft.com/office/officeart/2008/layout/HorizontalMultiLevelHierarchy"/>
    <dgm:cxn modelId="{8EDD138B-A422-4807-9530-447182CB73FE}" type="presParOf" srcId="{C2341055-2313-4F9B-8940-4369169224DA}" destId="{A37EAC1C-BC2C-48DF-869A-A1B31948FF20}" srcOrd="0" destOrd="0" presId="urn:microsoft.com/office/officeart/2008/layout/HorizontalMultiLevelHierarchy"/>
    <dgm:cxn modelId="{CFAF95AA-714A-4A37-A6C4-BB1D1D7A95DA}" type="presParOf" srcId="{C2341055-2313-4F9B-8940-4369169224DA}" destId="{9A15BFEF-FEA3-413F-8A5D-DAF78651CA36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DFAD71-A86C-4BF6-A66A-6C1ED81E516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E438344B-413D-47A0-BEA0-1BAD47BB3541}">
      <dgm:prSet phldrT="[Text]" custT="1"/>
      <dgm:spPr>
        <a:solidFill>
          <a:srgbClr val="28BE46"/>
        </a:solidFill>
      </dgm:spPr>
      <dgm:t>
        <a:bodyPr lIns="144000" tIns="144000" rIns="144000" bIns="144000"/>
        <a:lstStyle/>
        <a:p>
          <a:pPr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400" b="1" i="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gm:t>
    </dgm:pt>
    <dgm:pt modelId="{CA3985DB-DEFF-4A39-98D2-A141F42F6922}" type="parTrans" cxnId="{96C7BA90-4FDB-4296-8238-8F2285B20B8C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B503103-3172-4844-BD7A-A0B0814738C7}" type="sibTrans" cxnId="{96C7BA90-4FDB-4296-8238-8F2285B20B8C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E51AFB51-A9E6-46C5-A77A-6DA02FBD886A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</a:p>
      </dgm:t>
    </dgm:pt>
    <dgm:pt modelId="{373CC0C0-4F40-4CAD-B0D0-2D9D3E691FFF}" type="parTrans" cxnId="{7F88FD51-56F9-4BEE-9BF9-32E7A9315EAF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402A1E53-84E1-440F-858D-E8AC077C28F3}" type="sibTrans" cxnId="{7F88FD51-56F9-4BEE-9BF9-32E7A9315EAF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B05DA53-34AB-45B0-81FE-DDC703C1417C}">
      <dgm:prSet phldrT="[Text]" custT="1"/>
      <dgm:spPr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144000" tIns="144000" rIns="144000" bIns="144000" numCol="1" spcCol="1270" anchor="ctr" anchorCtr="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gm:t>
    </dgm:pt>
    <dgm:pt modelId="{1CA4137C-76FF-427E-8AB8-A628D5CA0B66}" type="parTrans" cxnId="{530B2FAB-B1F4-4E21-9E20-605002C8413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4CD8C033-3BDD-46D1-BC24-E52F2F0D8FA3}" type="sibTrans" cxnId="{530B2FAB-B1F4-4E21-9E20-605002C84139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7329480A-D079-48C2-AE87-0A30EEC42522}">
      <dgm:prSet phldrT="[Text]" custT="1"/>
      <dgm:spPr>
        <a:solidFill>
          <a:srgbClr val="F2F2F2"/>
        </a:solidFill>
      </dgm:spPr>
      <dgm:t>
        <a:bodyPr lIns="144000" tIns="144000" rIns="144000" bIns="144000"/>
        <a:lstStyle/>
        <a:p>
          <a:pPr algn="l">
            <a:lnSpc>
              <a:spcPct val="100000"/>
            </a:lnSpc>
            <a:spcBef>
              <a:spcPts val="600"/>
            </a:spcBef>
            <a:spcAft>
              <a:spcPts val="0"/>
            </a:spcAft>
          </a:pPr>
          <a:r>
            <a:rPr lang="ru-RU" sz="1200" b="0" i="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gm:t>
    </dgm:pt>
    <dgm:pt modelId="{5C45F0D9-DA34-406B-ADC2-2987D52AB5AE}" type="parTrans" cxnId="{B1940815-76A8-4C08-982E-DC16C8B5DAD9}">
      <dgm:prSet custT="1"/>
      <dgm:spPr>
        <a:ln w="12700">
          <a:solidFill>
            <a:srgbClr val="7E7E7E"/>
          </a:solidFill>
        </a:ln>
      </dgm:spPr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CD9DB5A8-9E6B-4A28-ADB2-BE9FE11DE86E}" type="sibTrans" cxnId="{B1940815-76A8-4C08-982E-DC16C8B5DAD9}">
      <dgm:prSet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</a:pPr>
          <a:endParaRPr lang="ru-RU" sz="1200"/>
        </a:p>
      </dgm:t>
    </dgm:pt>
    <dgm:pt modelId="{B2037B22-E6B4-4517-9827-EBAEF80818F3}" type="pres">
      <dgm:prSet presAssocID="{38DFAD71-A86C-4BF6-A66A-6C1ED81E51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1A8FF99-B3C7-4B5A-9365-62B04F3376F6}" type="pres">
      <dgm:prSet presAssocID="{E438344B-413D-47A0-BEA0-1BAD47BB3541}" presName="root1" presStyleCnt="0"/>
      <dgm:spPr/>
    </dgm:pt>
    <dgm:pt modelId="{C6651533-525D-4246-B941-F78AD509E570}" type="pres">
      <dgm:prSet presAssocID="{E438344B-413D-47A0-BEA0-1BAD47BB3541}" presName="LevelOneTextNode" presStyleLbl="node0" presStyleIdx="0" presStyleCnt="1" custScaleY="100000" custLinFactNeighborX="-4348">
        <dgm:presLayoutVars>
          <dgm:chPref val="3"/>
        </dgm:presLayoutVars>
      </dgm:prSet>
      <dgm:spPr/>
    </dgm:pt>
    <dgm:pt modelId="{E037F56F-6ECA-443E-BB4F-CF105DFCE554}" type="pres">
      <dgm:prSet presAssocID="{E438344B-413D-47A0-BEA0-1BAD47BB3541}" presName="level2hierChild" presStyleCnt="0"/>
      <dgm:spPr/>
    </dgm:pt>
    <dgm:pt modelId="{357799BC-A652-43F4-8CF9-E71597CEA4CE}" type="pres">
      <dgm:prSet presAssocID="{373CC0C0-4F40-4CAD-B0D0-2D9D3E691FFF}" presName="conn2-1" presStyleLbl="parChTrans1D2" presStyleIdx="0" presStyleCnt="3"/>
      <dgm:spPr/>
    </dgm:pt>
    <dgm:pt modelId="{1CD06F42-49D0-4D7E-A3A9-FAE63CEB8241}" type="pres">
      <dgm:prSet presAssocID="{373CC0C0-4F40-4CAD-B0D0-2D9D3E691FFF}" presName="connTx" presStyleLbl="parChTrans1D2" presStyleIdx="0" presStyleCnt="3"/>
      <dgm:spPr/>
    </dgm:pt>
    <dgm:pt modelId="{0CDC98F3-8ABD-4FF6-9AC9-958CDB0E4E30}" type="pres">
      <dgm:prSet presAssocID="{E51AFB51-A9E6-46C5-A77A-6DA02FBD886A}" presName="root2" presStyleCnt="0"/>
      <dgm:spPr/>
    </dgm:pt>
    <dgm:pt modelId="{56C6E43B-EA10-4AD4-A12C-1E99FA24FC9D}" type="pres">
      <dgm:prSet presAssocID="{E51AFB51-A9E6-46C5-A77A-6DA02FBD886A}" presName="LevelTwoTextNode" presStyleLbl="node2" presStyleIdx="0" presStyleCnt="3" custScaleX="176401">
        <dgm:presLayoutVars>
          <dgm:chPref val="3"/>
        </dgm:presLayoutVars>
      </dgm:prSet>
      <dgm:spPr/>
    </dgm:pt>
    <dgm:pt modelId="{E8A4F369-0117-4EEB-A22E-0B05C85538FB}" type="pres">
      <dgm:prSet presAssocID="{E51AFB51-A9E6-46C5-A77A-6DA02FBD886A}" presName="level3hierChild" presStyleCnt="0"/>
      <dgm:spPr/>
    </dgm:pt>
    <dgm:pt modelId="{9A2516BF-66AA-4C59-A8A2-798983C1D02F}" type="pres">
      <dgm:prSet presAssocID="{1CA4137C-76FF-427E-8AB8-A628D5CA0B66}" presName="conn2-1" presStyleLbl="parChTrans1D2" presStyleIdx="1" presStyleCnt="3"/>
      <dgm:spPr/>
    </dgm:pt>
    <dgm:pt modelId="{999CB1DD-824B-406F-AC38-97268FBBDE5A}" type="pres">
      <dgm:prSet presAssocID="{1CA4137C-76FF-427E-8AB8-A628D5CA0B66}" presName="connTx" presStyleLbl="parChTrans1D2" presStyleIdx="1" presStyleCnt="3"/>
      <dgm:spPr/>
    </dgm:pt>
    <dgm:pt modelId="{C54E03A8-76F7-4222-AC83-73485C1FDD0B}" type="pres">
      <dgm:prSet presAssocID="{7B05DA53-34AB-45B0-81FE-DDC703C1417C}" presName="root2" presStyleCnt="0"/>
      <dgm:spPr/>
    </dgm:pt>
    <dgm:pt modelId="{D61B108A-B556-4934-9606-ED0C297E5FC5}" type="pres">
      <dgm:prSet presAssocID="{7B05DA53-34AB-45B0-81FE-DDC703C1417C}" presName="LevelTwoTextNode" presStyleLbl="node2" presStyleIdx="1" presStyleCnt="3" custScaleX="176401">
        <dgm:presLayoutVars>
          <dgm:chPref val="3"/>
        </dgm:presLayoutVars>
      </dgm:prSet>
      <dgm:spPr>
        <a:xfrm>
          <a:off x="1696522" y="1458884"/>
          <a:ext cx="3959991" cy="684414"/>
        </a:xfrm>
        <a:prstGeom prst="rect">
          <a:avLst/>
        </a:prstGeom>
      </dgm:spPr>
    </dgm:pt>
    <dgm:pt modelId="{0BAC82A7-8BA0-44AB-B9EA-A9FCE6EA7307}" type="pres">
      <dgm:prSet presAssocID="{7B05DA53-34AB-45B0-81FE-DDC703C1417C}" presName="level3hierChild" presStyleCnt="0"/>
      <dgm:spPr/>
    </dgm:pt>
    <dgm:pt modelId="{5BEDAF33-8B48-4220-9D72-A974CBCE2BB7}" type="pres">
      <dgm:prSet presAssocID="{5C45F0D9-DA34-406B-ADC2-2987D52AB5AE}" presName="conn2-1" presStyleLbl="parChTrans1D2" presStyleIdx="2" presStyleCnt="3"/>
      <dgm:spPr/>
    </dgm:pt>
    <dgm:pt modelId="{184AB904-676E-44D7-99D0-16D3C8D464F7}" type="pres">
      <dgm:prSet presAssocID="{5C45F0D9-DA34-406B-ADC2-2987D52AB5AE}" presName="connTx" presStyleLbl="parChTrans1D2" presStyleIdx="2" presStyleCnt="3"/>
      <dgm:spPr/>
    </dgm:pt>
    <dgm:pt modelId="{C2341055-2313-4F9B-8940-4369169224DA}" type="pres">
      <dgm:prSet presAssocID="{7329480A-D079-48C2-AE87-0A30EEC42522}" presName="root2" presStyleCnt="0"/>
      <dgm:spPr/>
    </dgm:pt>
    <dgm:pt modelId="{A37EAC1C-BC2C-48DF-869A-A1B31948FF20}" type="pres">
      <dgm:prSet presAssocID="{7329480A-D079-48C2-AE87-0A30EEC42522}" presName="LevelTwoTextNode" presStyleLbl="node2" presStyleIdx="2" presStyleCnt="3" custScaleX="176401">
        <dgm:presLayoutVars>
          <dgm:chPref val="3"/>
        </dgm:presLayoutVars>
      </dgm:prSet>
      <dgm:spPr/>
    </dgm:pt>
    <dgm:pt modelId="{9A15BFEF-FEA3-413F-8A5D-DAF78651CA36}" type="pres">
      <dgm:prSet presAssocID="{7329480A-D079-48C2-AE87-0A30EEC42522}" presName="level3hierChild" presStyleCnt="0"/>
      <dgm:spPr/>
    </dgm:pt>
  </dgm:ptLst>
  <dgm:cxnLst>
    <dgm:cxn modelId="{B1940815-76A8-4C08-982E-DC16C8B5DAD9}" srcId="{E438344B-413D-47A0-BEA0-1BAD47BB3541}" destId="{7329480A-D079-48C2-AE87-0A30EEC42522}" srcOrd="2" destOrd="0" parTransId="{5C45F0D9-DA34-406B-ADC2-2987D52AB5AE}" sibTransId="{CD9DB5A8-9E6B-4A28-ADB2-BE9FE11DE86E}"/>
    <dgm:cxn modelId="{B50AAD20-F986-40B8-9353-A6C686E25299}" type="presOf" srcId="{5C45F0D9-DA34-406B-ADC2-2987D52AB5AE}" destId="{184AB904-676E-44D7-99D0-16D3C8D464F7}" srcOrd="1" destOrd="0" presId="urn:microsoft.com/office/officeart/2008/layout/HorizontalMultiLevelHierarchy"/>
    <dgm:cxn modelId="{8B26B020-268B-4406-93E3-DD40C115D138}" type="presOf" srcId="{7B05DA53-34AB-45B0-81FE-DDC703C1417C}" destId="{D61B108A-B556-4934-9606-ED0C297E5FC5}" srcOrd="0" destOrd="0" presId="urn:microsoft.com/office/officeart/2008/layout/HorizontalMultiLevelHierarchy"/>
    <dgm:cxn modelId="{51295A26-8F8D-4925-BB6A-721485B948F0}" type="presOf" srcId="{1CA4137C-76FF-427E-8AB8-A628D5CA0B66}" destId="{9A2516BF-66AA-4C59-A8A2-798983C1D02F}" srcOrd="0" destOrd="0" presId="urn:microsoft.com/office/officeart/2008/layout/HorizontalMultiLevelHierarchy"/>
    <dgm:cxn modelId="{15D65331-BB87-4E4B-8844-DABC2B6BBE09}" type="presOf" srcId="{38DFAD71-A86C-4BF6-A66A-6C1ED81E5160}" destId="{B2037B22-E6B4-4517-9827-EBAEF80818F3}" srcOrd="0" destOrd="0" presId="urn:microsoft.com/office/officeart/2008/layout/HorizontalMultiLevelHierarchy"/>
    <dgm:cxn modelId="{D8F92D68-4DD7-4CB2-8A3A-BBD6E4D322BC}" type="presOf" srcId="{7329480A-D079-48C2-AE87-0A30EEC42522}" destId="{A37EAC1C-BC2C-48DF-869A-A1B31948FF20}" srcOrd="0" destOrd="0" presId="urn:microsoft.com/office/officeart/2008/layout/HorizontalMultiLevelHierarchy"/>
    <dgm:cxn modelId="{076F1149-6275-439C-A789-0CAD4890EA65}" type="presOf" srcId="{5C45F0D9-DA34-406B-ADC2-2987D52AB5AE}" destId="{5BEDAF33-8B48-4220-9D72-A974CBCE2BB7}" srcOrd="0" destOrd="0" presId="urn:microsoft.com/office/officeart/2008/layout/HorizontalMultiLevelHierarchy"/>
    <dgm:cxn modelId="{562F876A-0749-4109-985E-B3A58E587CD1}" type="presOf" srcId="{373CC0C0-4F40-4CAD-B0D0-2D9D3E691FFF}" destId="{357799BC-A652-43F4-8CF9-E71597CEA4CE}" srcOrd="0" destOrd="0" presId="urn:microsoft.com/office/officeart/2008/layout/HorizontalMultiLevelHierarchy"/>
    <dgm:cxn modelId="{2E097651-7C28-48C7-B4CC-236DBB20AC35}" type="presOf" srcId="{373CC0C0-4F40-4CAD-B0D0-2D9D3E691FFF}" destId="{1CD06F42-49D0-4D7E-A3A9-FAE63CEB8241}" srcOrd="1" destOrd="0" presId="urn:microsoft.com/office/officeart/2008/layout/HorizontalMultiLevelHierarchy"/>
    <dgm:cxn modelId="{7F88FD51-56F9-4BEE-9BF9-32E7A9315EAF}" srcId="{E438344B-413D-47A0-BEA0-1BAD47BB3541}" destId="{E51AFB51-A9E6-46C5-A77A-6DA02FBD886A}" srcOrd="0" destOrd="0" parTransId="{373CC0C0-4F40-4CAD-B0D0-2D9D3E691FFF}" sibTransId="{402A1E53-84E1-440F-858D-E8AC077C28F3}"/>
    <dgm:cxn modelId="{C3806D58-0465-42EE-AC0D-EFF891EA3875}" type="presOf" srcId="{E438344B-413D-47A0-BEA0-1BAD47BB3541}" destId="{C6651533-525D-4246-B941-F78AD509E570}" srcOrd="0" destOrd="0" presId="urn:microsoft.com/office/officeart/2008/layout/HorizontalMultiLevelHierarchy"/>
    <dgm:cxn modelId="{96C7BA90-4FDB-4296-8238-8F2285B20B8C}" srcId="{38DFAD71-A86C-4BF6-A66A-6C1ED81E5160}" destId="{E438344B-413D-47A0-BEA0-1BAD47BB3541}" srcOrd="0" destOrd="0" parTransId="{CA3985DB-DEFF-4A39-98D2-A141F42F6922}" sibTransId="{7B503103-3172-4844-BD7A-A0B0814738C7}"/>
    <dgm:cxn modelId="{530B2FAB-B1F4-4E21-9E20-605002C84139}" srcId="{E438344B-413D-47A0-BEA0-1BAD47BB3541}" destId="{7B05DA53-34AB-45B0-81FE-DDC703C1417C}" srcOrd="1" destOrd="0" parTransId="{1CA4137C-76FF-427E-8AB8-A628D5CA0B66}" sibTransId="{4CD8C033-3BDD-46D1-BC24-E52F2F0D8FA3}"/>
    <dgm:cxn modelId="{1E8B20AC-5452-4448-96B1-1A6FB99EBAC0}" type="presOf" srcId="{1CA4137C-76FF-427E-8AB8-A628D5CA0B66}" destId="{999CB1DD-824B-406F-AC38-97268FBBDE5A}" srcOrd="1" destOrd="0" presId="urn:microsoft.com/office/officeart/2008/layout/HorizontalMultiLevelHierarchy"/>
    <dgm:cxn modelId="{BFA3C1B5-C16C-4E95-AA16-F16E876D42B3}" type="presOf" srcId="{E51AFB51-A9E6-46C5-A77A-6DA02FBD886A}" destId="{56C6E43B-EA10-4AD4-A12C-1E99FA24FC9D}" srcOrd="0" destOrd="0" presId="urn:microsoft.com/office/officeart/2008/layout/HorizontalMultiLevelHierarchy"/>
    <dgm:cxn modelId="{71DAE5D4-1002-4AB6-8895-5117CFDAA101}" type="presParOf" srcId="{B2037B22-E6B4-4517-9827-EBAEF80818F3}" destId="{B1A8FF99-B3C7-4B5A-9365-62B04F3376F6}" srcOrd="0" destOrd="0" presId="urn:microsoft.com/office/officeart/2008/layout/HorizontalMultiLevelHierarchy"/>
    <dgm:cxn modelId="{25EDBE15-863D-4067-A1BB-CB1C77A2C619}" type="presParOf" srcId="{B1A8FF99-B3C7-4B5A-9365-62B04F3376F6}" destId="{C6651533-525D-4246-B941-F78AD509E570}" srcOrd="0" destOrd="0" presId="urn:microsoft.com/office/officeart/2008/layout/HorizontalMultiLevelHierarchy"/>
    <dgm:cxn modelId="{D65F4024-5C49-41E9-AAD7-8766D97CEC68}" type="presParOf" srcId="{B1A8FF99-B3C7-4B5A-9365-62B04F3376F6}" destId="{E037F56F-6ECA-443E-BB4F-CF105DFCE554}" srcOrd="1" destOrd="0" presId="urn:microsoft.com/office/officeart/2008/layout/HorizontalMultiLevelHierarchy"/>
    <dgm:cxn modelId="{DBD3250E-3ACC-46F7-9413-728FA639A1B9}" type="presParOf" srcId="{E037F56F-6ECA-443E-BB4F-CF105DFCE554}" destId="{357799BC-A652-43F4-8CF9-E71597CEA4CE}" srcOrd="0" destOrd="0" presId="urn:microsoft.com/office/officeart/2008/layout/HorizontalMultiLevelHierarchy"/>
    <dgm:cxn modelId="{552680A0-626D-49AB-BD8C-27B7A507C5BD}" type="presParOf" srcId="{357799BC-A652-43F4-8CF9-E71597CEA4CE}" destId="{1CD06F42-49D0-4D7E-A3A9-FAE63CEB8241}" srcOrd="0" destOrd="0" presId="urn:microsoft.com/office/officeart/2008/layout/HorizontalMultiLevelHierarchy"/>
    <dgm:cxn modelId="{6B598C30-1D81-4A29-B4B6-BFA892CCF2DD}" type="presParOf" srcId="{E037F56F-6ECA-443E-BB4F-CF105DFCE554}" destId="{0CDC98F3-8ABD-4FF6-9AC9-958CDB0E4E30}" srcOrd="1" destOrd="0" presId="urn:microsoft.com/office/officeart/2008/layout/HorizontalMultiLevelHierarchy"/>
    <dgm:cxn modelId="{A3B97B33-5A84-439E-B714-98A5AD789A43}" type="presParOf" srcId="{0CDC98F3-8ABD-4FF6-9AC9-958CDB0E4E30}" destId="{56C6E43B-EA10-4AD4-A12C-1E99FA24FC9D}" srcOrd="0" destOrd="0" presId="urn:microsoft.com/office/officeart/2008/layout/HorizontalMultiLevelHierarchy"/>
    <dgm:cxn modelId="{033F13A4-CF1D-409E-B8C3-CEC53275CEDA}" type="presParOf" srcId="{0CDC98F3-8ABD-4FF6-9AC9-958CDB0E4E30}" destId="{E8A4F369-0117-4EEB-A22E-0B05C85538FB}" srcOrd="1" destOrd="0" presId="urn:microsoft.com/office/officeart/2008/layout/HorizontalMultiLevelHierarchy"/>
    <dgm:cxn modelId="{282D13B5-6F6A-4294-9B4B-22EFAFFB30D0}" type="presParOf" srcId="{E037F56F-6ECA-443E-BB4F-CF105DFCE554}" destId="{9A2516BF-66AA-4C59-A8A2-798983C1D02F}" srcOrd="2" destOrd="0" presId="urn:microsoft.com/office/officeart/2008/layout/HorizontalMultiLevelHierarchy"/>
    <dgm:cxn modelId="{60EB8D68-BDDD-4FA8-824A-E83F5D4E2639}" type="presParOf" srcId="{9A2516BF-66AA-4C59-A8A2-798983C1D02F}" destId="{999CB1DD-824B-406F-AC38-97268FBBDE5A}" srcOrd="0" destOrd="0" presId="urn:microsoft.com/office/officeart/2008/layout/HorizontalMultiLevelHierarchy"/>
    <dgm:cxn modelId="{C2A4A824-B396-4959-9F0A-3A740420C72C}" type="presParOf" srcId="{E037F56F-6ECA-443E-BB4F-CF105DFCE554}" destId="{C54E03A8-76F7-4222-AC83-73485C1FDD0B}" srcOrd="3" destOrd="0" presId="urn:microsoft.com/office/officeart/2008/layout/HorizontalMultiLevelHierarchy"/>
    <dgm:cxn modelId="{653CD82C-25E5-416E-AF3D-2EEBFF9D9E88}" type="presParOf" srcId="{C54E03A8-76F7-4222-AC83-73485C1FDD0B}" destId="{D61B108A-B556-4934-9606-ED0C297E5FC5}" srcOrd="0" destOrd="0" presId="urn:microsoft.com/office/officeart/2008/layout/HorizontalMultiLevelHierarchy"/>
    <dgm:cxn modelId="{E2DD62DA-090C-4F31-AF2F-A05025717256}" type="presParOf" srcId="{C54E03A8-76F7-4222-AC83-73485C1FDD0B}" destId="{0BAC82A7-8BA0-44AB-B9EA-A9FCE6EA7307}" srcOrd="1" destOrd="0" presId="urn:microsoft.com/office/officeart/2008/layout/HorizontalMultiLevelHierarchy"/>
    <dgm:cxn modelId="{B73761D3-E66D-4E60-A9A1-6E6D619EF8EC}" type="presParOf" srcId="{E037F56F-6ECA-443E-BB4F-CF105DFCE554}" destId="{5BEDAF33-8B48-4220-9D72-A974CBCE2BB7}" srcOrd="4" destOrd="0" presId="urn:microsoft.com/office/officeart/2008/layout/HorizontalMultiLevelHierarchy"/>
    <dgm:cxn modelId="{4B9B617F-D36E-426F-BDC3-17A8D36E34E5}" type="presParOf" srcId="{5BEDAF33-8B48-4220-9D72-A974CBCE2BB7}" destId="{184AB904-676E-44D7-99D0-16D3C8D464F7}" srcOrd="0" destOrd="0" presId="urn:microsoft.com/office/officeart/2008/layout/HorizontalMultiLevelHierarchy"/>
    <dgm:cxn modelId="{A62C7690-EFB8-4340-9E3F-66E900A3DD78}" type="presParOf" srcId="{E037F56F-6ECA-443E-BB4F-CF105DFCE554}" destId="{C2341055-2313-4F9B-8940-4369169224DA}" srcOrd="5" destOrd="0" presId="urn:microsoft.com/office/officeart/2008/layout/HorizontalMultiLevelHierarchy"/>
    <dgm:cxn modelId="{8EDD138B-A422-4807-9530-447182CB73FE}" type="presParOf" srcId="{C2341055-2313-4F9B-8940-4369169224DA}" destId="{A37EAC1C-BC2C-48DF-869A-A1B31948FF20}" srcOrd="0" destOrd="0" presId="urn:microsoft.com/office/officeart/2008/layout/HorizontalMultiLevelHierarchy"/>
    <dgm:cxn modelId="{CFAF95AA-714A-4A37-A6C4-BB1D1D7A95DA}" type="presParOf" srcId="{C2341055-2313-4F9B-8940-4369169224DA}" destId="{9A15BFEF-FEA3-413F-8A5D-DAF78651CA36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DAF33-8B48-4220-9D72-A974CBCE2BB7}">
      <dsp:nvSpPr>
        <dsp:cNvPr id="0" name=""/>
        <dsp:cNvSpPr/>
      </dsp:nvSpPr>
      <dsp:spPr>
        <a:xfrm>
          <a:off x="1274487" y="1747117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2194" y="0"/>
              </a:lnTo>
              <a:lnTo>
                <a:pt x="232194" y="829880"/>
              </a:lnTo>
              <a:lnTo>
                <a:pt x="464388" y="82988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2138283"/>
        <a:ext cx="47548" cy="47548"/>
      </dsp:txXfrm>
    </dsp:sp>
    <dsp:sp modelId="{9A2516BF-66AA-4C59-A8A2-798983C1D02F}">
      <dsp:nvSpPr>
        <dsp:cNvPr id="0" name=""/>
        <dsp:cNvSpPr/>
      </dsp:nvSpPr>
      <dsp:spPr>
        <a:xfrm>
          <a:off x="1274487" y="1701397"/>
          <a:ext cx="46438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64388" y="4572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95071" y="1735507"/>
        <a:ext cx="23219" cy="23219"/>
      </dsp:txXfrm>
    </dsp:sp>
    <dsp:sp modelId="{357799BC-A652-43F4-8CF9-E71597CEA4CE}">
      <dsp:nvSpPr>
        <dsp:cNvPr id="0" name=""/>
        <dsp:cNvSpPr/>
      </dsp:nvSpPr>
      <dsp:spPr>
        <a:xfrm>
          <a:off x="1274487" y="917236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829880"/>
              </a:moveTo>
              <a:lnTo>
                <a:pt x="232194" y="829880"/>
              </a:lnTo>
              <a:lnTo>
                <a:pt x="232194" y="0"/>
              </a:lnTo>
              <a:lnTo>
                <a:pt x="464388" y="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1308402"/>
        <a:ext cx="47548" cy="47548"/>
      </dsp:txXfrm>
    </dsp:sp>
    <dsp:sp modelId="{C6651533-525D-4246-B941-F78AD509E570}">
      <dsp:nvSpPr>
        <dsp:cNvPr id="0" name=""/>
        <dsp:cNvSpPr/>
      </dsp:nvSpPr>
      <dsp:spPr>
        <a:xfrm rot="16200000">
          <a:off x="-804582" y="1415165"/>
          <a:ext cx="3494235" cy="663904"/>
        </a:xfrm>
        <a:prstGeom prst="rect">
          <a:avLst/>
        </a:prstGeom>
        <a:solidFill>
          <a:srgbClr val="28BE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144000" rIns="144000" bIns="144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i="0" kern="120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sp:txBody>
      <dsp:txXfrm>
        <a:off x="-804582" y="1415165"/>
        <a:ext cx="3494235" cy="663904"/>
      </dsp:txXfrm>
    </dsp:sp>
    <dsp:sp modelId="{56C6E43B-EA10-4AD4-A12C-1E99FA24FC9D}">
      <dsp:nvSpPr>
        <dsp:cNvPr id="0" name=""/>
        <dsp:cNvSpPr/>
      </dsp:nvSpPr>
      <dsp:spPr>
        <a:xfrm>
          <a:off x="1738875" y="585284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585284"/>
        <a:ext cx="3841320" cy="663904"/>
      </dsp:txXfrm>
    </dsp:sp>
    <dsp:sp modelId="{D61B108A-B556-4934-9606-ED0C297E5FC5}">
      <dsp:nvSpPr>
        <dsp:cNvPr id="0" name=""/>
        <dsp:cNvSpPr/>
      </dsp:nvSpPr>
      <dsp:spPr>
        <a:xfrm>
          <a:off x="1738875" y="141516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1415165"/>
        <a:ext cx="3841320" cy="663904"/>
      </dsp:txXfrm>
    </dsp:sp>
    <dsp:sp modelId="{A37EAC1C-BC2C-48DF-869A-A1B31948FF20}">
      <dsp:nvSpPr>
        <dsp:cNvPr id="0" name=""/>
        <dsp:cNvSpPr/>
      </dsp:nvSpPr>
      <dsp:spPr>
        <a:xfrm>
          <a:off x="1738875" y="224504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  <a:endParaRPr lang="ru-RU" sz="1200" b="0" i="0" kern="1200" dirty="0">
            <a:solidFill>
              <a:schemeClr val="tx2"/>
            </a:solidFill>
            <a:latin typeface="Verdana" panose="020B0604030504040204" pitchFamily="34" charset="0"/>
            <a:ea typeface="Verdana" panose="020B0604030504040204" pitchFamily="34" charset="0"/>
          </a:endParaRPr>
        </a:p>
      </dsp:txBody>
      <dsp:txXfrm>
        <a:off x="1738875" y="2245045"/>
        <a:ext cx="3841320" cy="6639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EDAF33-8B48-4220-9D72-A974CBCE2BB7}">
      <dsp:nvSpPr>
        <dsp:cNvPr id="0" name=""/>
        <dsp:cNvSpPr/>
      </dsp:nvSpPr>
      <dsp:spPr>
        <a:xfrm>
          <a:off x="1274487" y="1747117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32194" y="0"/>
              </a:lnTo>
              <a:lnTo>
                <a:pt x="232194" y="829880"/>
              </a:lnTo>
              <a:lnTo>
                <a:pt x="464388" y="82988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2138283"/>
        <a:ext cx="47548" cy="47548"/>
      </dsp:txXfrm>
    </dsp:sp>
    <dsp:sp modelId="{9A2516BF-66AA-4C59-A8A2-798983C1D02F}">
      <dsp:nvSpPr>
        <dsp:cNvPr id="0" name=""/>
        <dsp:cNvSpPr/>
      </dsp:nvSpPr>
      <dsp:spPr>
        <a:xfrm>
          <a:off x="1274487" y="1701397"/>
          <a:ext cx="464388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64388" y="4572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95071" y="1735507"/>
        <a:ext cx="23219" cy="23219"/>
      </dsp:txXfrm>
    </dsp:sp>
    <dsp:sp modelId="{357799BC-A652-43F4-8CF9-E71597CEA4CE}">
      <dsp:nvSpPr>
        <dsp:cNvPr id="0" name=""/>
        <dsp:cNvSpPr/>
      </dsp:nvSpPr>
      <dsp:spPr>
        <a:xfrm>
          <a:off x="1274487" y="917236"/>
          <a:ext cx="464388" cy="829880"/>
        </a:xfrm>
        <a:custGeom>
          <a:avLst/>
          <a:gdLst/>
          <a:ahLst/>
          <a:cxnLst/>
          <a:rect l="0" t="0" r="0" b="0"/>
          <a:pathLst>
            <a:path>
              <a:moveTo>
                <a:pt x="0" y="829880"/>
              </a:moveTo>
              <a:lnTo>
                <a:pt x="232194" y="829880"/>
              </a:lnTo>
              <a:lnTo>
                <a:pt x="232194" y="0"/>
              </a:lnTo>
              <a:lnTo>
                <a:pt x="464388" y="0"/>
              </a:lnTo>
            </a:path>
          </a:pathLst>
        </a:custGeom>
        <a:noFill/>
        <a:ln w="12700" cap="flat" cmpd="sng" algn="ctr">
          <a:solidFill>
            <a:srgbClr val="7E7E7E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/>
        </a:p>
      </dsp:txBody>
      <dsp:txXfrm>
        <a:off x="1482906" y="1308402"/>
        <a:ext cx="47548" cy="47548"/>
      </dsp:txXfrm>
    </dsp:sp>
    <dsp:sp modelId="{C6651533-525D-4246-B941-F78AD509E570}">
      <dsp:nvSpPr>
        <dsp:cNvPr id="0" name=""/>
        <dsp:cNvSpPr/>
      </dsp:nvSpPr>
      <dsp:spPr>
        <a:xfrm rot="16200000">
          <a:off x="-804582" y="1415165"/>
          <a:ext cx="3494235" cy="663904"/>
        </a:xfrm>
        <a:prstGeom prst="rect">
          <a:avLst/>
        </a:prstGeom>
        <a:solidFill>
          <a:srgbClr val="28BE4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400" b="1" i="0" kern="1200" dirty="0">
              <a:latin typeface="Verdana" panose="020B0604030504040204" pitchFamily="34" charset="0"/>
              <a:ea typeface="Verdana" panose="020B0604030504040204" pitchFamily="34" charset="0"/>
            </a:rPr>
            <a:t>ТЕКСТ</a:t>
          </a:r>
        </a:p>
      </dsp:txBody>
      <dsp:txXfrm>
        <a:off x="-804582" y="1415165"/>
        <a:ext cx="3494235" cy="663904"/>
      </dsp:txXfrm>
    </dsp:sp>
    <dsp:sp modelId="{56C6E43B-EA10-4AD4-A12C-1E99FA24FC9D}">
      <dsp:nvSpPr>
        <dsp:cNvPr id="0" name=""/>
        <dsp:cNvSpPr/>
      </dsp:nvSpPr>
      <dsp:spPr>
        <a:xfrm>
          <a:off x="1738875" y="585284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..</a:t>
          </a:r>
        </a:p>
      </dsp:txBody>
      <dsp:txXfrm>
        <a:off x="1738875" y="585284"/>
        <a:ext cx="3841320" cy="663904"/>
      </dsp:txXfrm>
    </dsp:sp>
    <dsp:sp modelId="{D61B108A-B556-4934-9606-ED0C297E5FC5}">
      <dsp:nvSpPr>
        <dsp:cNvPr id="0" name=""/>
        <dsp:cNvSpPr/>
      </dsp:nvSpPr>
      <dsp:spPr>
        <a:xfrm>
          <a:off x="1738875" y="141516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sp:txBody>
      <dsp:txXfrm>
        <a:off x="1738875" y="1415165"/>
        <a:ext cx="3841320" cy="663904"/>
      </dsp:txXfrm>
    </dsp:sp>
    <dsp:sp modelId="{A37EAC1C-BC2C-48DF-869A-A1B31948FF20}">
      <dsp:nvSpPr>
        <dsp:cNvPr id="0" name=""/>
        <dsp:cNvSpPr/>
      </dsp:nvSpPr>
      <dsp:spPr>
        <a:xfrm>
          <a:off x="1738875" y="2245045"/>
          <a:ext cx="3841320" cy="663904"/>
        </a:xfrm>
        <a:prstGeom prst="rect">
          <a:avLst/>
        </a:prstGeom>
        <a:solidFill>
          <a:srgbClr val="F2F2F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00" tIns="144000" rIns="144000" bIns="144000" numCol="1" spcCol="1270" anchor="ctr" anchorCtr="0">
          <a:noAutofit/>
        </a:bodyPr>
        <a:lstStyle/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b="0" i="0" kern="1200" spc="-2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rPr>
            <a:t>…</a:t>
          </a:r>
        </a:p>
      </dsp:txBody>
      <dsp:txXfrm>
        <a:off x="1738875" y="2245045"/>
        <a:ext cx="3841320" cy="6639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7890" y="0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r">
              <a:defRPr sz="1200"/>
            </a:lvl1pPr>
          </a:lstStyle>
          <a:p>
            <a:fld id="{44CBA838-1840-463F-9FDE-10A0AB8FFDF5}" type="datetimeFigureOut">
              <a:rPr lang="ru-RU" smtClean="0"/>
              <a:t>17.03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641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l">
              <a:defRPr sz="1200"/>
            </a:lvl1pPr>
          </a:lstStyle>
          <a:p>
            <a:r>
              <a:rPr lang="ru-RU"/>
              <a:t>1 - Оценка стоимости стартапа осуществуляется компанией Газпром нефть перед приобретением доле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7890" y="9408641"/>
            <a:ext cx="2945024" cy="495776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r">
              <a:defRPr sz="1200"/>
            </a:lvl1pPr>
          </a:lstStyle>
          <a:p>
            <a:fld id="{0008A911-C104-405D-80F5-47EBDA33627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50597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5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50" y="5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/>
          <a:lstStyle>
            <a:lvl1pPr algn="r">
              <a:defRPr sz="1200"/>
            </a:lvl1pPr>
          </a:lstStyle>
          <a:p>
            <a:fld id="{17C66BB7-6902-4455-92AB-92FC47F29BFB}" type="datetimeFigureOut">
              <a:rPr lang="ru-RU" smtClean="0"/>
              <a:t>17.03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58" tIns="45627" rIns="91258" bIns="45627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5"/>
            <a:ext cx="5435600" cy="4457701"/>
          </a:xfrm>
          <a:prstGeom prst="rect">
            <a:avLst/>
          </a:prstGeom>
        </p:spPr>
        <p:txBody>
          <a:bodyPr vert="horz" lIns="91258" tIns="45627" rIns="91258" bIns="4562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9408986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l">
              <a:defRPr sz="1200"/>
            </a:lvl1pPr>
          </a:lstStyle>
          <a:p>
            <a:r>
              <a:rPr lang="ru-RU"/>
              <a:t>1 - Оценка стоимости стартапа осуществуляется компанией Газпром нефть перед приобретением долей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50" y="9408986"/>
            <a:ext cx="2944283" cy="495301"/>
          </a:xfrm>
          <a:prstGeom prst="rect">
            <a:avLst/>
          </a:prstGeom>
        </p:spPr>
        <p:txBody>
          <a:bodyPr vert="horz" lIns="91258" tIns="45627" rIns="91258" bIns="45627" rtlCol="0" anchor="b"/>
          <a:lstStyle>
            <a:lvl1pPr algn="r">
              <a:defRPr sz="1200"/>
            </a:lvl1pPr>
          </a:lstStyle>
          <a:p>
            <a:fld id="{34FA6718-83F1-4573-9DAE-369402B2510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77039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3858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0704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9159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49682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44487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2543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40578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74658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9494602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282437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871457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1643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6068673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десь добавлен пак гнутых стрелок</a:t>
            </a:r>
          </a:p>
        </p:txBody>
      </p:sp>
    </p:spTree>
    <p:extLst>
      <p:ext uri="{BB962C8B-B14F-4D97-AF65-F5344CB8AC3E}">
        <p14:creationId xmlns:p14="http://schemas.microsoft.com/office/powerpoint/2010/main" val="38071106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68868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88781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93846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47507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606833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8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2676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8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80868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3923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515442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Более визуально аккуратный вариант</a:t>
            </a:r>
            <a:br>
              <a:rPr lang="ru-RU" dirty="0"/>
            </a:br>
            <a:r>
              <a:rPr lang="ru-RU" dirty="0"/>
              <a:t>Удобнее использовать</a:t>
            </a:r>
            <a:r>
              <a:rPr lang="en-GB" dirty="0"/>
              <a:t>,</a:t>
            </a:r>
            <a:r>
              <a:rPr lang="ru-RU" dirty="0"/>
              <a:t> когда неровные кварталы и ячейки целиком не зальешь</a:t>
            </a:r>
          </a:p>
          <a:p>
            <a:endParaRPr lang="en-GB" dirty="0"/>
          </a:p>
          <a:p>
            <a:r>
              <a:rPr lang="en-GB" dirty="0"/>
              <a:t>***</a:t>
            </a:r>
            <a:r>
              <a:rPr lang="ru-RU" dirty="0"/>
              <a:t>Ромбики и кружочки не меняла как сущности из оригинала</a:t>
            </a:r>
            <a:r>
              <a:rPr lang="en-GB" dirty="0"/>
              <a:t>.</a:t>
            </a:r>
            <a:r>
              <a:rPr lang="ru-RU" dirty="0"/>
              <a:t> У них в целом есть такие мелкие сущности на слайдах как звездочки</a:t>
            </a:r>
            <a:r>
              <a:rPr lang="en-GB" dirty="0"/>
              <a:t>,</a:t>
            </a:r>
            <a:r>
              <a:rPr lang="ru-RU" dirty="0"/>
              <a:t> ромбики и про – надо создать систему символов для обозначения на графиках/диаграммах </a:t>
            </a:r>
            <a:r>
              <a:rPr lang="ru-RU" dirty="0" err="1"/>
              <a:t>Ганта</a:t>
            </a:r>
            <a:r>
              <a:rPr lang="ru-RU" dirty="0"/>
              <a:t> (</a:t>
            </a:r>
            <a:r>
              <a:rPr lang="ru-RU" dirty="0" err="1"/>
              <a:t>майлстоуны</a:t>
            </a:r>
            <a:r>
              <a:rPr lang="ru-RU" dirty="0"/>
              <a:t> проекта/старт или окончание проекта и </a:t>
            </a:r>
            <a:r>
              <a:rPr lang="ru-RU" dirty="0" err="1"/>
              <a:t>проч</a:t>
            </a:r>
            <a:r>
              <a:rPr lang="ru-RU" dirty="0"/>
              <a:t>)</a:t>
            </a:r>
            <a:r>
              <a:rPr lang="en-GB" dirty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38513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00708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529936-6838-4D0E-BCC3-2ED9B3553727}" type="slidenum">
              <a:rPr lang="ru-RU" smtClean="0"/>
              <a:t>9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4317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вратив весь основной (</a:t>
            </a:r>
            <a:r>
              <a:rPr lang="en-GB" dirty="0"/>
              <a:t>body) </a:t>
            </a:r>
            <a:r>
              <a:rPr lang="ru-RU" dirty="0"/>
              <a:t>шрифт в заглавные буквы – текст становиться сложно читаемым и кричащим. Пропадает контраст и акценты созданные в заголовках за счет заглавных букв.</a:t>
            </a:r>
          </a:p>
        </p:txBody>
      </p:sp>
    </p:spTree>
    <p:extLst>
      <p:ext uri="{BB962C8B-B14F-4D97-AF65-F5344CB8AC3E}">
        <p14:creationId xmlns:p14="http://schemas.microsoft.com/office/powerpoint/2010/main" val="117544055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вратив весь основной (</a:t>
            </a:r>
            <a:r>
              <a:rPr lang="en-GB" dirty="0"/>
              <a:t>body) </a:t>
            </a:r>
            <a:r>
              <a:rPr lang="ru-RU" dirty="0"/>
              <a:t>шрифт в заглавные буквы – текст становиться сложно читаемым и кричащим. Пропадает контраст и акценты созданные в заголовках за счет заглавных букв.</a:t>
            </a:r>
          </a:p>
        </p:txBody>
      </p:sp>
    </p:spTree>
    <p:extLst>
      <p:ext uri="{BB962C8B-B14F-4D97-AF65-F5344CB8AC3E}">
        <p14:creationId xmlns:p14="http://schemas.microsoft.com/office/powerpoint/2010/main" val="260401407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49355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047872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en-US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0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448773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31813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234" indent="-228234">
              <a:buAutoNum type="arabicPeriod"/>
            </a:pPr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A7D4ED-5314-7A4A-ADB7-195C97F22D1C}" type="slidenum">
              <a:rPr lang="ru-RU" smtClean="0"/>
              <a:t>1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3744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263214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44242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0302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2937">
              <a:defRPr/>
            </a:pPr>
            <a:fld id="{5B781E44-8113-E549-AB5E-5C2817D805AA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12937">
                <a:defRPr/>
              </a:pPr>
              <a:t>32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550933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4613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696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ru-RU" dirty="0"/>
            </a:br>
            <a:endParaRPr lang="ru-RU" dirty="0"/>
          </a:p>
          <a:p>
            <a:r>
              <a:rPr lang="ru-RU" dirty="0"/>
              <a:t>0.2 - отступы между модул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E94A74-49FF-4A34-8635-56049E3CE2F6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32543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598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ластерами (основной 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86561" y="3469021"/>
            <a:ext cx="6335713" cy="873254"/>
          </a:xfrm>
        </p:spPr>
        <p:txBody>
          <a:bodyPr tIns="0" anchor="t">
            <a:noAutofit/>
          </a:bodyPr>
          <a:lstStyle>
            <a:lvl1pPr>
              <a:lnSpc>
                <a:spcPct val="80000"/>
              </a:lnSpc>
              <a:defRPr kumimoji="0" lang="ru-RU" sz="3200" b="1" i="0" u="none" strike="noStrike" kern="1200" cap="all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defRPr>
            </a:lvl1pPr>
          </a:lstStyle>
          <a:p>
            <a:r>
              <a:rPr lang="ru-RU" dirty="0"/>
              <a:t>ШАБЛОН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45" name="Подзаголовок 2">
            <a:extLst>
              <a:ext uri="{FF2B5EF4-FFF2-40B4-BE49-F238E27FC236}">
                <a16:creationId xmlns:a16="http://schemas.microsoft.com/office/drawing/2014/main" id="{7E0A3357-E9E1-C84A-A7A8-1F407D8B72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510" y="6213849"/>
            <a:ext cx="3459560" cy="108000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9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ДАТА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210F8070-3D82-4F4A-8CBE-3FA34598E8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656" y="5760621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1" i="0" cap="none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en-US" dirty="0"/>
              <a:t>PETROV.PP@GAZPROM-NEFT.RU</a:t>
            </a:r>
            <a:endParaRPr lang="ru-RU" dirty="0"/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89376FD-B120-FB4E-96F4-AD3132FE07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6656" y="5590538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1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П.П. ПЕТРОВ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475E2650-382E-5F4B-8395-A2740C2D0E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656" y="5201002"/>
            <a:ext cx="3459568" cy="108000"/>
          </a:xfrm>
        </p:spPr>
        <p:txBody>
          <a:bodyPr vert="horz" lIns="0" tIns="0" rIns="0" bIns="0" rtlCol="0" anchor="t" anchorCtr="0">
            <a:noAutofit/>
          </a:bodyPr>
          <a:lstStyle>
            <a:lvl1pPr marL="0" indent="64294">
              <a:buNone/>
              <a:defRPr lang="en-US" sz="900" b="0" i="0" cap="none" baseline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НАЗВАНИЕ СТРУКТУРНОГО ПОДРАЗДЕЛЕНИЯ</a:t>
            </a:r>
          </a:p>
        </p:txBody>
      </p:sp>
      <p:sp>
        <p:nvSpPr>
          <p:cNvPr id="49" name="Text Placeholder 36">
            <a:extLst>
              <a:ext uri="{FF2B5EF4-FFF2-40B4-BE49-F238E27FC236}">
                <a16:creationId xmlns:a16="http://schemas.microsoft.com/office/drawing/2014/main" id="{975604B8-2161-EF4C-B8E3-9724CBADF4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6114" y="6380539"/>
            <a:ext cx="3459956" cy="108001"/>
          </a:xfrm>
        </p:spPr>
        <p:txBody>
          <a:bodyPr/>
          <a:lstStyle>
            <a:lvl1pPr marL="0" indent="0">
              <a:buNone/>
              <a:defRPr lang="ru-RU" sz="9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ВЕРСИЯ</a:t>
            </a:r>
          </a:p>
        </p:txBody>
      </p:sp>
      <p:sp>
        <p:nvSpPr>
          <p:cNvPr id="51" name="Text Placeholder 36">
            <a:extLst>
              <a:ext uri="{FF2B5EF4-FFF2-40B4-BE49-F238E27FC236}">
                <a16:creationId xmlns:a16="http://schemas.microsoft.com/office/drawing/2014/main" id="{F9E6AC4B-EADA-B44E-8DFA-9750E80B7C8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01805" y="5174964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2" name="Text Placeholder 36">
            <a:extLst>
              <a:ext uri="{FF2B5EF4-FFF2-40B4-BE49-F238E27FC236}">
                <a16:creationId xmlns:a16="http://schemas.microsoft.com/office/drawing/2014/main" id="{78E195AB-EC96-9042-8988-7774718C54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01805" y="6360442"/>
            <a:ext cx="2718197" cy="107998"/>
          </a:xfrm>
        </p:spPr>
        <p:txBody>
          <a:bodyPr/>
          <a:lstStyle>
            <a:lvl1pPr>
              <a:lnSpc>
                <a:spcPct val="100000"/>
              </a:lnSpc>
              <a:spcBef>
                <a:spcPts val="225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3" name="Text Placeholder 36">
            <a:extLst>
              <a:ext uri="{FF2B5EF4-FFF2-40B4-BE49-F238E27FC236}">
                <a16:creationId xmlns:a16="http://schemas.microsoft.com/office/drawing/2014/main" id="{E1A917A4-F1EE-734D-9898-93A1D1B0A3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01805" y="5329451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54" name="Text Placeholder 36">
            <a:extLst>
              <a:ext uri="{FF2B5EF4-FFF2-40B4-BE49-F238E27FC236}">
                <a16:creationId xmlns:a16="http://schemas.microsoft.com/office/drawing/2014/main" id="{54B1AB96-3B05-B543-8CF0-124A254C406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01805" y="5487988"/>
            <a:ext cx="2718197" cy="1139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lang="ru-RU" sz="900" b="0" i="0" kern="1200" cap="none" dirty="0">
                <a:solidFill>
                  <a:srgbClr val="7E7E7E"/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09740" y="6070917"/>
            <a:ext cx="1995321" cy="51320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253" y="281791"/>
            <a:ext cx="4287290" cy="428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0890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6"/>
            <a:ext cx="3576606" cy="4059025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35670"/>
            <a:ext cx="3741557" cy="648022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53A80C76-031E-9047-880E-91080B966CC3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D7E97438-58EF-E74B-8B1D-36B4FF450FF7}"/>
              </a:ext>
            </a:extLst>
          </p:cNvPr>
          <p:cNvSpPr>
            <a:spLocks/>
          </p:cNvSpPr>
          <p:nvPr userDrawn="1"/>
        </p:nvSpPr>
        <p:spPr>
          <a:xfrm>
            <a:off x="4222687" y="113567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20EC2CF5-54B9-5F42-9316-DA437D5C3F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9EBF861C-47FF-3E41-9A95-089B7F4D6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BE07BC8F-96C0-CC47-BCDA-AF597066A1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E1D6F27-CE1C-7549-8793-366470D55352}"/>
              </a:ext>
            </a:extLst>
          </p:cNvPr>
          <p:cNvSpPr>
            <a:spLocks/>
          </p:cNvSpPr>
          <p:nvPr userDrawn="1"/>
        </p:nvSpPr>
        <p:spPr>
          <a:xfrm>
            <a:off x="8113478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96">
            <a:extLst>
              <a:ext uri="{FF2B5EF4-FFF2-40B4-BE49-F238E27FC236}">
                <a16:creationId xmlns:a16="http://schemas.microsoft.com/office/drawing/2014/main" id="{1F1B1B5B-532C-7149-8A3F-2EED530372E9}"/>
              </a:ext>
            </a:extLst>
          </p:cNvPr>
          <p:cNvSpPr>
            <a:spLocks/>
          </p:cNvSpPr>
          <p:nvPr userDrawn="1"/>
        </p:nvSpPr>
        <p:spPr>
          <a:xfrm>
            <a:off x="8113478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EABB35E9-310F-3446-9394-9C23B6036C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70027" y="1845669"/>
            <a:ext cx="3576606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008DF7AB-FFE2-E847-A066-610EB5EA301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0027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035F40F3-E5FF-864C-92DD-B7E43F61C0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13242" y="1135992"/>
            <a:ext cx="3741557" cy="647700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4" name="Номер слайда 1">
            <a:extLst>
              <a:ext uri="{FF2B5EF4-FFF2-40B4-BE49-F238E27FC236}">
                <a16:creationId xmlns:a16="http://schemas.microsoft.com/office/drawing/2014/main" id="{719CA99E-ECDB-C044-8CF7-9516B0EA3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E5A9618C-1939-2C40-BA1D-DBC4DBA566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A031F491-1FB7-E643-9E82-A21D1687E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5" name="Рисунок 2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6842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1858A45B-8036-4049-BAC1-1D0EC21F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52AC95F-DAC9-6A49-B77B-BF6A27474D62}"/>
              </a:ext>
            </a:extLst>
          </p:cNvPr>
          <p:cNvSpPr>
            <a:spLocks/>
          </p:cNvSpPr>
          <p:nvPr userDrawn="1"/>
        </p:nvSpPr>
        <p:spPr>
          <a:xfrm>
            <a:off x="3255662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D717BB3F-4119-C647-A8F9-461124443804}"/>
              </a:ext>
            </a:extLst>
          </p:cNvPr>
          <p:cNvSpPr>
            <a:spLocks/>
          </p:cNvSpPr>
          <p:nvPr userDrawn="1"/>
        </p:nvSpPr>
        <p:spPr>
          <a:xfrm>
            <a:off x="3255662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0B693C74-8B6B-4948-AC45-2F71AD8446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2211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1ACE89D3-A02F-864E-9D5C-3B710BE8CF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211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1D1A357B-3BA7-2148-B649-C05BCA7100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55427" y="1128713"/>
            <a:ext cx="2199075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D3A2E364-6BCA-E44B-98E5-0DC833B9FD75}"/>
              </a:ext>
            </a:extLst>
          </p:cNvPr>
          <p:cNvSpPr>
            <a:spLocks/>
          </p:cNvSpPr>
          <p:nvPr userDrawn="1"/>
        </p:nvSpPr>
        <p:spPr>
          <a:xfrm>
            <a:off x="617529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8F3B5CC8-D38D-DC44-8F4F-6551236C620E}"/>
              </a:ext>
            </a:extLst>
          </p:cNvPr>
          <p:cNvSpPr>
            <a:spLocks/>
          </p:cNvSpPr>
          <p:nvPr userDrawn="1"/>
        </p:nvSpPr>
        <p:spPr>
          <a:xfrm>
            <a:off x="617529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C7C1E23-9B38-9241-AB97-39FC2897C0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184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A0484FCE-FD46-9C4A-85E5-46193F1C10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184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F568EA2A-5425-4D40-B15F-725AD3AE9C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75059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56599275-E10A-984C-B99F-070535D46F55}"/>
              </a:ext>
            </a:extLst>
          </p:cNvPr>
          <p:cNvSpPr>
            <a:spLocks/>
          </p:cNvSpPr>
          <p:nvPr userDrawn="1"/>
        </p:nvSpPr>
        <p:spPr>
          <a:xfrm>
            <a:off x="9083675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FF970A2F-8FD1-D442-97D0-A80734A2E639}"/>
              </a:ext>
            </a:extLst>
          </p:cNvPr>
          <p:cNvSpPr>
            <a:spLocks/>
          </p:cNvSpPr>
          <p:nvPr userDrawn="1"/>
        </p:nvSpPr>
        <p:spPr>
          <a:xfrm>
            <a:off x="9083675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96FB4AF1-25D4-EE49-930D-9223B65E7F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0224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1B3B720E-0BFE-0442-B4AC-4E18FB790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0224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2FF0E40F-C4F8-DF4B-ADF5-D214BAC65B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440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id="{C0B2B8D3-678C-B74C-8D9E-75FFA25288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48D0937-951D-DC4E-9041-DCBD05DD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4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7170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широких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3A57F3A5-218E-0544-B368-863B47EDB869}"/>
              </a:ext>
            </a:extLst>
          </p:cNvPr>
          <p:cNvSpPr>
            <a:spLocks/>
          </p:cNvSpPr>
          <p:nvPr userDrawn="1"/>
        </p:nvSpPr>
        <p:spPr>
          <a:xfrm>
            <a:off x="6167454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FF1415D5-AAD0-5547-A412-8809EE2F255A}"/>
              </a:ext>
            </a:extLst>
          </p:cNvPr>
          <p:cNvSpPr>
            <a:spLocks/>
          </p:cNvSpPr>
          <p:nvPr userDrawn="1"/>
        </p:nvSpPr>
        <p:spPr>
          <a:xfrm>
            <a:off x="6167454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5451B0E0-D598-6D49-91DF-953926CAA6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003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03FB86BF-5F1F-754A-A332-98A79B7CCB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4003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A53B46B7-564A-9642-9BDA-432C2ECE58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9428" y="3507332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Номер слайда 1">
            <a:extLst>
              <a:ext uri="{FF2B5EF4-FFF2-40B4-BE49-F238E27FC236}">
                <a16:creationId xmlns:a16="http://schemas.microsoft.com/office/drawing/2014/main" id="{03B588AC-79E2-D24A-A027-2F9C06AB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60C0210-C64A-DC4E-B879-7D2D1C083C4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38330D-DAB0-E649-AE01-236E35834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2904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модулей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C9CAE8AF-6816-2847-A767-21C1BFBA08E9}"/>
              </a:ext>
            </a:extLst>
          </p:cNvPr>
          <p:cNvSpPr>
            <a:spLocks/>
          </p:cNvSpPr>
          <p:nvPr userDrawn="1"/>
        </p:nvSpPr>
        <p:spPr>
          <a:xfrm>
            <a:off x="4231644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5EB663EA-2334-6F4A-9A40-B0D15BB03893}"/>
              </a:ext>
            </a:extLst>
          </p:cNvPr>
          <p:cNvSpPr>
            <a:spLocks/>
          </p:cNvSpPr>
          <p:nvPr userDrawn="1"/>
        </p:nvSpPr>
        <p:spPr>
          <a:xfrm>
            <a:off x="423164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7AA62CC5-97C0-324A-9119-F0DBF0CFF8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8819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DC448A48-FB2C-4E40-B031-34022EC565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88193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4C88DCCE-7313-7543-A50E-53A121A2268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31408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2D9E3137-5BFF-494A-9038-30DDD56EE8AE}"/>
              </a:ext>
            </a:extLst>
          </p:cNvPr>
          <p:cNvSpPr>
            <a:spLocks/>
          </p:cNvSpPr>
          <p:nvPr userDrawn="1"/>
        </p:nvSpPr>
        <p:spPr>
          <a:xfrm>
            <a:off x="4228233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7EA797B1-F607-7343-A5AB-66FD9FDECA55}"/>
              </a:ext>
            </a:extLst>
          </p:cNvPr>
          <p:cNvSpPr>
            <a:spLocks/>
          </p:cNvSpPr>
          <p:nvPr userDrawn="1"/>
        </p:nvSpPr>
        <p:spPr>
          <a:xfrm>
            <a:off x="4228233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6B67575-12CA-9E45-B308-9FE624C7B7D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84782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56C7CB2-0C9E-124B-B54E-D2DA0725563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84782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D01C36E8-5153-EF4B-BD1E-A0BD5556456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27997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6" name="Freeform: Shape 28">
            <a:extLst>
              <a:ext uri="{FF2B5EF4-FFF2-40B4-BE49-F238E27FC236}">
                <a16:creationId xmlns:a16="http://schemas.microsoft.com/office/drawing/2014/main" id="{A67D839D-77FD-C049-9F59-9A887C6DBC70}"/>
              </a:ext>
            </a:extLst>
          </p:cNvPr>
          <p:cNvSpPr>
            <a:spLocks/>
          </p:cNvSpPr>
          <p:nvPr userDrawn="1"/>
        </p:nvSpPr>
        <p:spPr>
          <a:xfrm>
            <a:off x="8113762" y="1776391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Freeform: Shape 96">
            <a:extLst>
              <a:ext uri="{FF2B5EF4-FFF2-40B4-BE49-F238E27FC236}">
                <a16:creationId xmlns:a16="http://schemas.microsoft.com/office/drawing/2014/main" id="{FECB267F-A7F9-D244-B1FE-06F1A6FC3EFC}"/>
              </a:ext>
            </a:extLst>
          </p:cNvPr>
          <p:cNvSpPr>
            <a:spLocks/>
          </p:cNvSpPr>
          <p:nvPr userDrawn="1"/>
        </p:nvSpPr>
        <p:spPr>
          <a:xfrm>
            <a:off x="8113762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8" name="Text Placeholder 58">
            <a:extLst>
              <a:ext uri="{FF2B5EF4-FFF2-40B4-BE49-F238E27FC236}">
                <a16:creationId xmlns:a16="http://schemas.microsoft.com/office/drawing/2014/main" id="{B6583149-EEB0-0E46-9F45-C875815FF29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70311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Text Placeholder 78">
            <a:extLst>
              <a:ext uri="{FF2B5EF4-FFF2-40B4-BE49-F238E27FC236}">
                <a16:creationId xmlns:a16="http://schemas.microsoft.com/office/drawing/2014/main" id="{FA7A5E36-5243-EF42-9C91-08B91375B5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170311" y="2137228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0" name="Текст 4">
            <a:extLst>
              <a:ext uri="{FF2B5EF4-FFF2-40B4-BE49-F238E27FC236}">
                <a16:creationId xmlns:a16="http://schemas.microsoft.com/office/drawing/2014/main" id="{A352D317-C2F3-FF44-B211-AA0A4447D9C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13526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1" name="Freeform: Shape 28">
            <a:extLst>
              <a:ext uri="{FF2B5EF4-FFF2-40B4-BE49-F238E27FC236}">
                <a16:creationId xmlns:a16="http://schemas.microsoft.com/office/drawing/2014/main" id="{92877EF4-CF2C-CC4E-A57B-3D7EB8003502}"/>
              </a:ext>
            </a:extLst>
          </p:cNvPr>
          <p:cNvSpPr>
            <a:spLocks/>
          </p:cNvSpPr>
          <p:nvPr userDrawn="1"/>
        </p:nvSpPr>
        <p:spPr>
          <a:xfrm>
            <a:off x="8110351" y="4155010"/>
            <a:ext cx="374150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: Shape 96">
            <a:extLst>
              <a:ext uri="{FF2B5EF4-FFF2-40B4-BE49-F238E27FC236}">
                <a16:creationId xmlns:a16="http://schemas.microsoft.com/office/drawing/2014/main" id="{65E7C112-8573-3644-9617-3A2D620827BB}"/>
              </a:ext>
            </a:extLst>
          </p:cNvPr>
          <p:cNvSpPr>
            <a:spLocks/>
          </p:cNvSpPr>
          <p:nvPr userDrawn="1"/>
        </p:nvSpPr>
        <p:spPr>
          <a:xfrm>
            <a:off x="8110351" y="3507010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3" name="Text Placeholder 58">
            <a:extLst>
              <a:ext uri="{FF2B5EF4-FFF2-40B4-BE49-F238E27FC236}">
                <a16:creationId xmlns:a16="http://schemas.microsoft.com/office/drawing/2014/main" id="{71F06FFA-8EB2-2849-9D2A-0FAEC91D69B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66900" y="4224288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Text Placeholder 78">
            <a:extLst>
              <a:ext uri="{FF2B5EF4-FFF2-40B4-BE49-F238E27FC236}">
                <a16:creationId xmlns:a16="http://schemas.microsoft.com/office/drawing/2014/main" id="{6554755B-D68D-FF4D-B6A8-5AEC09FC1B6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66900" y="4515847"/>
            <a:ext cx="3576606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5" name="Текст 4">
            <a:extLst>
              <a:ext uri="{FF2B5EF4-FFF2-40B4-BE49-F238E27FC236}">
                <a16:creationId xmlns:a16="http://schemas.microsoft.com/office/drawing/2014/main" id="{518A716D-D3B4-FA4F-886F-D60B5E5A3B8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0115" y="3507332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Номер слайда 1">
            <a:extLst>
              <a:ext uri="{FF2B5EF4-FFF2-40B4-BE49-F238E27FC236}">
                <a16:creationId xmlns:a16="http://schemas.microsoft.com/office/drawing/2014/main" id="{B0FBFA99-1FE9-9E49-A0E0-2215F8E630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6" name="Текст 6">
            <a:extLst>
              <a:ext uri="{FF2B5EF4-FFF2-40B4-BE49-F238E27FC236}">
                <a16:creationId xmlns:a16="http://schemas.microsoft.com/office/drawing/2014/main" id="{B94D191E-EA2C-8443-BA76-CEA7A1FDA3E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5332A4B9-BD33-A543-A06E-A98241D23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57" name="Рисунок 5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096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модулей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8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3BB9893-E2FD-EF4B-AE81-E0364D0BB911}"/>
              </a:ext>
            </a:extLst>
          </p:cNvPr>
          <p:cNvSpPr>
            <a:spLocks/>
          </p:cNvSpPr>
          <p:nvPr userDrawn="1"/>
        </p:nvSpPr>
        <p:spPr>
          <a:xfrm>
            <a:off x="3251200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2AC4BAE7-B55B-C848-884C-CDC26C02438E}"/>
              </a:ext>
            </a:extLst>
          </p:cNvPr>
          <p:cNvSpPr>
            <a:spLocks/>
          </p:cNvSpPr>
          <p:nvPr userDrawn="1"/>
        </p:nvSpPr>
        <p:spPr>
          <a:xfrm>
            <a:off x="3251200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4B2A2D7-C471-1247-842E-14DD7EF0FE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07749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3FC14334-1BFC-CD4C-A2DC-A248428573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7749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6D2AA019-7FF8-3646-809D-6C737BE2B5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50965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CFF2854F-DEB1-4A4E-99B0-B9CD9500A454}"/>
              </a:ext>
            </a:extLst>
          </p:cNvPr>
          <p:cNvSpPr>
            <a:spLocks/>
          </p:cNvSpPr>
          <p:nvPr userDrawn="1"/>
        </p:nvSpPr>
        <p:spPr>
          <a:xfrm>
            <a:off x="3247789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D3930E9B-6016-6C4B-8CB7-9692F2221010}"/>
              </a:ext>
            </a:extLst>
          </p:cNvPr>
          <p:cNvSpPr>
            <a:spLocks/>
          </p:cNvSpPr>
          <p:nvPr userDrawn="1"/>
        </p:nvSpPr>
        <p:spPr>
          <a:xfrm>
            <a:off x="3247789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3CCDDDF-470C-1A4C-96F1-A56AA02CFA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04338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1480258-95BC-174F-81F6-F2FE5B2BD4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04338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7BCCA9F5-CF37-954C-96D1-F7187399F0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7554" y="3507332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87AB708E-94DF-3544-A8D2-81680317EF52}"/>
              </a:ext>
            </a:extLst>
          </p:cNvPr>
          <p:cNvSpPr>
            <a:spLocks/>
          </p:cNvSpPr>
          <p:nvPr userDrawn="1"/>
        </p:nvSpPr>
        <p:spPr>
          <a:xfrm>
            <a:off x="6174497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47CADB1E-0732-0E4F-B63F-250A8F6141B6}"/>
              </a:ext>
            </a:extLst>
          </p:cNvPr>
          <p:cNvSpPr>
            <a:spLocks/>
          </p:cNvSpPr>
          <p:nvPr userDrawn="1"/>
        </p:nvSpPr>
        <p:spPr>
          <a:xfrm>
            <a:off x="6174497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6CEA455A-8EC5-8444-BC32-8DF8E3B3596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046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9B2B494A-E514-6D41-BAD9-9EB83C53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046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Текст 4">
            <a:extLst>
              <a:ext uri="{FF2B5EF4-FFF2-40B4-BE49-F238E27FC236}">
                <a16:creationId xmlns:a16="http://schemas.microsoft.com/office/drawing/2014/main" id="{CB01DB03-9792-634F-9228-A084ECA80D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4262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0" name="Freeform: Shape 28">
            <a:extLst>
              <a:ext uri="{FF2B5EF4-FFF2-40B4-BE49-F238E27FC236}">
                <a16:creationId xmlns:a16="http://schemas.microsoft.com/office/drawing/2014/main" id="{46750C02-11CB-6A4E-82CA-248F3A1CA805}"/>
              </a:ext>
            </a:extLst>
          </p:cNvPr>
          <p:cNvSpPr>
            <a:spLocks/>
          </p:cNvSpPr>
          <p:nvPr userDrawn="1"/>
        </p:nvSpPr>
        <p:spPr>
          <a:xfrm>
            <a:off x="6171086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96">
            <a:extLst>
              <a:ext uri="{FF2B5EF4-FFF2-40B4-BE49-F238E27FC236}">
                <a16:creationId xmlns:a16="http://schemas.microsoft.com/office/drawing/2014/main" id="{CF9F77C3-8886-9943-9146-9AC18F587E4B}"/>
              </a:ext>
            </a:extLst>
          </p:cNvPr>
          <p:cNvSpPr>
            <a:spLocks/>
          </p:cNvSpPr>
          <p:nvPr userDrawn="1"/>
        </p:nvSpPr>
        <p:spPr>
          <a:xfrm>
            <a:off x="6171086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2" name="Text Placeholder 58">
            <a:extLst>
              <a:ext uri="{FF2B5EF4-FFF2-40B4-BE49-F238E27FC236}">
                <a16:creationId xmlns:a16="http://schemas.microsoft.com/office/drawing/2014/main" id="{A1CDC319-2D19-8D40-8065-CBEEBE092B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7635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FEDD205A-489A-CA44-BAC2-7D1EC8403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27635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BD8070A7-7561-7F4B-8D25-1E2FEBDFD7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851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5" name="Freeform: Shape 28">
            <a:extLst>
              <a:ext uri="{FF2B5EF4-FFF2-40B4-BE49-F238E27FC236}">
                <a16:creationId xmlns:a16="http://schemas.microsoft.com/office/drawing/2014/main" id="{35D6D9CC-1D49-6E4E-B2A6-6A785EC24A4E}"/>
              </a:ext>
            </a:extLst>
          </p:cNvPr>
          <p:cNvSpPr>
            <a:spLocks/>
          </p:cNvSpPr>
          <p:nvPr userDrawn="1"/>
        </p:nvSpPr>
        <p:spPr>
          <a:xfrm>
            <a:off x="9083869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96">
            <a:extLst>
              <a:ext uri="{FF2B5EF4-FFF2-40B4-BE49-F238E27FC236}">
                <a16:creationId xmlns:a16="http://schemas.microsoft.com/office/drawing/2014/main" id="{76EA24AB-EFEB-8E42-A1E7-736C99C126FD}"/>
              </a:ext>
            </a:extLst>
          </p:cNvPr>
          <p:cNvSpPr>
            <a:spLocks/>
          </p:cNvSpPr>
          <p:nvPr userDrawn="1"/>
        </p:nvSpPr>
        <p:spPr>
          <a:xfrm>
            <a:off x="9083869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2B4768A1-E111-1848-82B8-8CDD5CD58A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40418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8" name="Text Placeholder 78">
            <a:extLst>
              <a:ext uri="{FF2B5EF4-FFF2-40B4-BE49-F238E27FC236}">
                <a16:creationId xmlns:a16="http://schemas.microsoft.com/office/drawing/2014/main" id="{7BAEE319-1C57-5949-8391-EE3803050DD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40418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0" name="Текст 4">
            <a:extLst>
              <a:ext uri="{FF2B5EF4-FFF2-40B4-BE49-F238E27FC236}">
                <a16:creationId xmlns:a16="http://schemas.microsoft.com/office/drawing/2014/main" id="{103769DF-2EC7-D641-AFB3-BDD799E7212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3634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1" name="Freeform: Shape 28">
            <a:extLst>
              <a:ext uri="{FF2B5EF4-FFF2-40B4-BE49-F238E27FC236}">
                <a16:creationId xmlns:a16="http://schemas.microsoft.com/office/drawing/2014/main" id="{1D6BB305-01D6-0143-A320-F6B6883EAE5E}"/>
              </a:ext>
            </a:extLst>
          </p:cNvPr>
          <p:cNvSpPr>
            <a:spLocks/>
          </p:cNvSpPr>
          <p:nvPr userDrawn="1"/>
        </p:nvSpPr>
        <p:spPr>
          <a:xfrm>
            <a:off x="9080458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96">
            <a:extLst>
              <a:ext uri="{FF2B5EF4-FFF2-40B4-BE49-F238E27FC236}">
                <a16:creationId xmlns:a16="http://schemas.microsoft.com/office/drawing/2014/main" id="{7793457C-A9BC-5441-9EB6-82C2916DA9C1}"/>
              </a:ext>
            </a:extLst>
          </p:cNvPr>
          <p:cNvSpPr>
            <a:spLocks/>
          </p:cNvSpPr>
          <p:nvPr userDrawn="1"/>
        </p:nvSpPr>
        <p:spPr>
          <a:xfrm>
            <a:off x="9080458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94706F80-6634-3845-B912-C5A342C4694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37007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4" name="Text Placeholder 78">
            <a:extLst>
              <a:ext uri="{FF2B5EF4-FFF2-40B4-BE49-F238E27FC236}">
                <a16:creationId xmlns:a16="http://schemas.microsoft.com/office/drawing/2014/main" id="{5EC60963-8C10-A54B-AA1C-B4EC9E68E10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7007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5" name="Текст 4">
            <a:extLst>
              <a:ext uri="{FF2B5EF4-FFF2-40B4-BE49-F238E27FC236}">
                <a16:creationId xmlns:a16="http://schemas.microsoft.com/office/drawing/2014/main" id="{E36221E4-E58B-DE4C-B48A-A43AE30EA6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0223" y="3507332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6" name="Номер слайда 1">
            <a:extLst>
              <a:ext uri="{FF2B5EF4-FFF2-40B4-BE49-F238E27FC236}">
                <a16:creationId xmlns:a16="http://schemas.microsoft.com/office/drawing/2014/main" id="{E89BEC67-F530-434A-BC05-E13301D6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67" name="Текст 6">
            <a:extLst>
              <a:ext uri="{FF2B5EF4-FFF2-40B4-BE49-F238E27FC236}">
                <a16:creationId xmlns:a16="http://schemas.microsoft.com/office/drawing/2014/main" id="{7AF9D069-81BF-B248-9451-AFCD1FD94C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7BE73F8-C076-8B4D-AA40-38451CDCE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68" name="Рисунок 6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0729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и вывод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7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F8F3C1E1-FA35-D243-A1E9-89CAD32AB8A6}"/>
              </a:ext>
            </a:extLst>
          </p:cNvPr>
          <p:cNvSpPr>
            <a:spLocks/>
          </p:cNvSpPr>
          <p:nvPr userDrawn="1"/>
        </p:nvSpPr>
        <p:spPr>
          <a:xfrm>
            <a:off x="338374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B0BE7277-6F7A-9049-B50B-478CC7797844}"/>
              </a:ext>
            </a:extLst>
          </p:cNvPr>
          <p:cNvSpPr>
            <a:spLocks/>
          </p:cNvSpPr>
          <p:nvPr userDrawn="1"/>
        </p:nvSpPr>
        <p:spPr>
          <a:xfrm>
            <a:off x="338374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BDDD7381-9A0D-E84D-A183-ECEA473B6A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4923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BF39538D-248B-D246-B305-C44DAE75CC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4923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Freeform: Shape 28">
            <a:extLst>
              <a:ext uri="{FF2B5EF4-FFF2-40B4-BE49-F238E27FC236}">
                <a16:creationId xmlns:a16="http://schemas.microsoft.com/office/drawing/2014/main" id="{5D61F28D-BFB4-994C-946D-6E2108D1AC3F}"/>
              </a:ext>
            </a:extLst>
          </p:cNvPr>
          <p:cNvSpPr>
            <a:spLocks/>
          </p:cNvSpPr>
          <p:nvPr userDrawn="1"/>
        </p:nvSpPr>
        <p:spPr>
          <a:xfrm>
            <a:off x="6170865" y="3840863"/>
            <a:ext cx="5684752" cy="126846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reeform: Shape 96">
            <a:extLst>
              <a:ext uri="{FF2B5EF4-FFF2-40B4-BE49-F238E27FC236}">
                <a16:creationId xmlns:a16="http://schemas.microsoft.com/office/drawing/2014/main" id="{46E72C79-C0D2-A54D-9CA2-0BEDBDA79B6A}"/>
              </a:ext>
            </a:extLst>
          </p:cNvPr>
          <p:cNvSpPr>
            <a:spLocks/>
          </p:cNvSpPr>
          <p:nvPr userDrawn="1"/>
        </p:nvSpPr>
        <p:spPr>
          <a:xfrm>
            <a:off x="6170865" y="3192863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1" name="Text Placeholder 58">
            <a:extLst>
              <a:ext uri="{FF2B5EF4-FFF2-40B4-BE49-F238E27FC236}">
                <a16:creationId xmlns:a16="http://schemas.microsoft.com/office/drawing/2014/main" id="{2F63CBA4-BA4F-DB48-A586-35DD55E1F9A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7414" y="3910141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2" name="Text Placeholder 78">
            <a:extLst>
              <a:ext uri="{FF2B5EF4-FFF2-40B4-BE49-F238E27FC236}">
                <a16:creationId xmlns:a16="http://schemas.microsoft.com/office/drawing/2014/main" id="{2DEA4E7E-77D5-F147-8DB8-D6EB81B7131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7414" y="4201699"/>
            <a:ext cx="5434214" cy="78508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Текст 4">
            <a:extLst>
              <a:ext uri="{FF2B5EF4-FFF2-40B4-BE49-F238E27FC236}">
                <a16:creationId xmlns:a16="http://schemas.microsoft.com/office/drawing/2014/main" id="{2006AEB6-E223-0647-825C-CF95A6944C0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8138" y="319318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CCEF5549-BBA3-FB42-9317-AE6CAF83FE0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2839" y="3193185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55" name="Freeform: Shape 96">
            <a:extLst>
              <a:ext uri="{FF2B5EF4-FFF2-40B4-BE49-F238E27FC236}">
                <a16:creationId xmlns:a16="http://schemas.microsoft.com/office/drawing/2014/main" id="{6D1BDDBF-E205-174D-BE8F-37C7717AD954}"/>
              </a:ext>
            </a:extLst>
          </p:cNvPr>
          <p:cNvSpPr>
            <a:spLocks/>
          </p:cNvSpPr>
          <p:nvPr userDrawn="1"/>
        </p:nvSpPr>
        <p:spPr>
          <a:xfrm>
            <a:off x="339810" y="5248169"/>
            <a:ext cx="11517227" cy="95275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36F0CEB1-1735-8A4C-B7DB-DD29CEC38DA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5248019"/>
            <a:ext cx="11522075" cy="952756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400" kern="1200" dirty="0">
                <a:solidFill>
                  <a:schemeClr val="bg1"/>
                </a:solidFill>
                <a:latin typeface="GPN_DIN Condensed Bold" panose="020B0504020202020204" pitchFamily="34" charset="0"/>
                <a:ea typeface="GPN_DIN Condensed Bold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Номер слайда 1">
            <a:extLst>
              <a:ext uri="{FF2B5EF4-FFF2-40B4-BE49-F238E27FC236}">
                <a16:creationId xmlns:a16="http://schemas.microsoft.com/office/drawing/2014/main" id="{16C54CEF-CC5D-CC47-9E01-CD83160967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04503DB6-08A8-A745-BB3F-422A798FC8F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63562458-9E56-DC4D-B43E-91E15B8EE6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  <a:solidFill>
            <a:srgbClr val="28BE46"/>
          </a:solidFill>
        </p:spPr>
      </p:pic>
    </p:spTree>
    <p:extLst>
      <p:ext uri="{BB962C8B-B14F-4D97-AF65-F5344CB8AC3E}">
        <p14:creationId xmlns:p14="http://schemas.microsoft.com/office/powerpoint/2010/main" val="2623446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6" y="1776391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6" y="1128391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6246" y="1128713"/>
            <a:ext cx="5690791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Freeform: Shape 28">
            <a:extLst>
              <a:ext uri="{FF2B5EF4-FFF2-40B4-BE49-F238E27FC236}">
                <a16:creationId xmlns:a16="http://schemas.microsoft.com/office/drawing/2014/main" id="{0D375D73-F3AD-A64F-73BC-6769748C2CBC}"/>
              </a:ext>
            </a:extLst>
          </p:cNvPr>
          <p:cNvSpPr>
            <a:spLocks/>
          </p:cNvSpPr>
          <p:nvPr userDrawn="1"/>
        </p:nvSpPr>
        <p:spPr>
          <a:xfrm>
            <a:off x="334963" y="1780915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96">
            <a:extLst>
              <a:ext uri="{FF2B5EF4-FFF2-40B4-BE49-F238E27FC236}">
                <a16:creationId xmlns:a16="http://schemas.microsoft.com/office/drawing/2014/main" id="{956C53BB-5E0D-3738-FFE8-82BA275E6ABC}"/>
              </a:ext>
            </a:extLst>
          </p:cNvPr>
          <p:cNvSpPr>
            <a:spLocks/>
          </p:cNvSpPr>
          <p:nvPr userDrawn="1"/>
        </p:nvSpPr>
        <p:spPr>
          <a:xfrm>
            <a:off x="334963" y="1132915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2E8EBF1-3938-95F4-619B-A9D3886636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3" y="1850193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" name="Text Placeholder 78">
            <a:extLst>
              <a:ext uri="{FF2B5EF4-FFF2-40B4-BE49-F238E27FC236}">
                <a16:creationId xmlns:a16="http://schemas.microsoft.com/office/drawing/2014/main" id="{9ECD714B-712C-D62A-18F8-3786E9E32A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3" y="2141751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6EF8BF1E-2BA4-F553-E555-286414D49C6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6939" y="1133237"/>
            <a:ext cx="5675404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93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6"/>
            <a:ext cx="3576606" cy="4059025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391"/>
            <a:ext cx="3741557" cy="648022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53A80C76-031E-9047-880E-91080B966CC3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D7E97438-58EF-E74B-8B1D-36B4FF450FF7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20EC2CF5-54B9-5F42-9316-DA437D5C3FE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9EBF861C-47FF-3E41-9A95-089B7F4D6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Текст 4">
            <a:extLst>
              <a:ext uri="{FF2B5EF4-FFF2-40B4-BE49-F238E27FC236}">
                <a16:creationId xmlns:a16="http://schemas.microsoft.com/office/drawing/2014/main" id="{BE07BC8F-96C0-CC47-BCDA-AF597066A1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E1D6F27-CE1C-7549-8793-366470D55352}"/>
              </a:ext>
            </a:extLst>
          </p:cNvPr>
          <p:cNvSpPr>
            <a:spLocks/>
          </p:cNvSpPr>
          <p:nvPr userDrawn="1"/>
        </p:nvSpPr>
        <p:spPr>
          <a:xfrm>
            <a:off x="8113478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Freeform: Shape 96">
            <a:extLst>
              <a:ext uri="{FF2B5EF4-FFF2-40B4-BE49-F238E27FC236}">
                <a16:creationId xmlns:a16="http://schemas.microsoft.com/office/drawing/2014/main" id="{1F1B1B5B-532C-7149-8A3F-2EED530372E9}"/>
              </a:ext>
            </a:extLst>
          </p:cNvPr>
          <p:cNvSpPr>
            <a:spLocks/>
          </p:cNvSpPr>
          <p:nvPr userDrawn="1"/>
        </p:nvSpPr>
        <p:spPr>
          <a:xfrm>
            <a:off x="8113478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1" name="Text Placeholder 58">
            <a:extLst>
              <a:ext uri="{FF2B5EF4-FFF2-40B4-BE49-F238E27FC236}">
                <a16:creationId xmlns:a16="http://schemas.microsoft.com/office/drawing/2014/main" id="{EABB35E9-310F-3446-9394-9C23B6036C1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170027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Text Placeholder 78">
            <a:extLst>
              <a:ext uri="{FF2B5EF4-FFF2-40B4-BE49-F238E27FC236}">
                <a16:creationId xmlns:a16="http://schemas.microsoft.com/office/drawing/2014/main" id="{008DF7AB-FFE2-E847-A066-610EB5EA301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0027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035F40F3-E5FF-864C-92DD-B7E43F61C0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13242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4" name="Номер слайда 1">
            <a:extLst>
              <a:ext uri="{FF2B5EF4-FFF2-40B4-BE49-F238E27FC236}">
                <a16:creationId xmlns:a16="http://schemas.microsoft.com/office/drawing/2014/main" id="{719CA99E-ECDB-C044-8CF7-9516B0EA3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E5A9618C-1939-2C40-BA1D-DBC4DBA566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A031F491-1FB7-E643-9E82-A21D1687E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5" name="Рисунок 2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0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8" name="Номер слайда 1">
            <a:extLst>
              <a:ext uri="{FF2B5EF4-FFF2-40B4-BE49-F238E27FC236}">
                <a16:creationId xmlns:a16="http://schemas.microsoft.com/office/drawing/2014/main" id="{1858A45B-8036-4049-BAC1-1D0EC21FF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52AC95F-DAC9-6A49-B77B-BF6A27474D62}"/>
              </a:ext>
            </a:extLst>
          </p:cNvPr>
          <p:cNvSpPr>
            <a:spLocks/>
          </p:cNvSpPr>
          <p:nvPr userDrawn="1"/>
        </p:nvSpPr>
        <p:spPr>
          <a:xfrm>
            <a:off x="3255662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D717BB3F-4119-C647-A8F9-461124443804}"/>
              </a:ext>
            </a:extLst>
          </p:cNvPr>
          <p:cNvSpPr>
            <a:spLocks/>
          </p:cNvSpPr>
          <p:nvPr userDrawn="1"/>
        </p:nvSpPr>
        <p:spPr>
          <a:xfrm>
            <a:off x="3255662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0B693C74-8B6B-4948-AC45-2F71AD8446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2211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1ACE89D3-A02F-864E-9D5C-3B710BE8CFC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211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1D1A357B-3BA7-2148-B649-C05BCA7100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55427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D3A2E364-6BCA-E44B-98E5-0DC833B9FD75}"/>
              </a:ext>
            </a:extLst>
          </p:cNvPr>
          <p:cNvSpPr>
            <a:spLocks/>
          </p:cNvSpPr>
          <p:nvPr userDrawn="1"/>
        </p:nvSpPr>
        <p:spPr>
          <a:xfrm>
            <a:off x="6175294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8F3B5CC8-D38D-DC44-8F4F-6551236C620E}"/>
              </a:ext>
            </a:extLst>
          </p:cNvPr>
          <p:cNvSpPr>
            <a:spLocks/>
          </p:cNvSpPr>
          <p:nvPr userDrawn="1"/>
        </p:nvSpPr>
        <p:spPr>
          <a:xfrm>
            <a:off x="617529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C7C1E23-9B38-9241-AB97-39FC2897C0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3184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A0484FCE-FD46-9C4A-85E5-46193F1C10E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1843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F568EA2A-5425-4D40-B15F-725AD3AE9C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75059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56599275-E10A-984C-B99F-070535D46F55}"/>
              </a:ext>
            </a:extLst>
          </p:cNvPr>
          <p:cNvSpPr>
            <a:spLocks/>
          </p:cNvSpPr>
          <p:nvPr userDrawn="1"/>
        </p:nvSpPr>
        <p:spPr>
          <a:xfrm>
            <a:off x="9083675" y="1776391"/>
            <a:ext cx="27699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FF970A2F-8FD1-D442-97D0-A80734A2E639}"/>
              </a:ext>
            </a:extLst>
          </p:cNvPr>
          <p:cNvSpPr>
            <a:spLocks/>
          </p:cNvSpPr>
          <p:nvPr userDrawn="1"/>
        </p:nvSpPr>
        <p:spPr>
          <a:xfrm>
            <a:off x="9083675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96FB4AF1-25D4-EE49-930D-9223B65E7F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40224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1B3B720E-0BFE-0442-B4AC-4E18FB790F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40224" y="2137227"/>
            <a:ext cx="2647874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2FF0E40F-C4F8-DF4B-ADF5-D214BAC65B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440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27" name="Текст 6">
            <a:extLst>
              <a:ext uri="{FF2B5EF4-FFF2-40B4-BE49-F238E27FC236}">
                <a16:creationId xmlns:a16="http://schemas.microsoft.com/office/drawing/2014/main" id="{C0B2B8D3-678C-B74C-8D9E-75FFA252884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48D0937-951D-DC4E-9041-DCBD05DDBA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240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широких модуля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70865" y="1776391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70865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7414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7414" y="2137228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82839" y="1128713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3A57F3A5-218E-0544-B368-863B47EDB869}"/>
              </a:ext>
            </a:extLst>
          </p:cNvPr>
          <p:cNvSpPr>
            <a:spLocks/>
          </p:cNvSpPr>
          <p:nvPr userDrawn="1"/>
        </p:nvSpPr>
        <p:spPr>
          <a:xfrm>
            <a:off x="6167454" y="4155010"/>
            <a:ext cx="5684752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FF1415D5-AAD0-5547-A412-8809EE2F255A}"/>
              </a:ext>
            </a:extLst>
          </p:cNvPr>
          <p:cNvSpPr>
            <a:spLocks/>
          </p:cNvSpPr>
          <p:nvPr userDrawn="1"/>
        </p:nvSpPr>
        <p:spPr>
          <a:xfrm>
            <a:off x="6167454" y="3507010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5451B0E0-D598-6D49-91DF-953926CAA6D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24003" y="4224288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03FB86BF-5F1F-754A-A332-98A79B7CCB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4003" y="4515847"/>
            <a:ext cx="543421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A53B46B7-564A-9642-9BDA-432C2ECE58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9428" y="3507332"/>
            <a:ext cx="567078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Номер слайда 1">
            <a:extLst>
              <a:ext uri="{FF2B5EF4-FFF2-40B4-BE49-F238E27FC236}">
                <a16:creationId xmlns:a16="http://schemas.microsoft.com/office/drawing/2014/main" id="{03B588AC-79E2-D24A-A027-2F9C06AB04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60C0210-C64A-DC4E-B879-7D2D1C083C4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538330D-DAB0-E649-AE01-236E358347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617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5" name="Номер слайда 1">
            <a:extLst>
              <a:ext uri="{FF2B5EF4-FFF2-40B4-BE49-F238E27FC236}">
                <a16:creationId xmlns:a16="http://schemas.microsoft.com/office/drawing/2014/main" id="{6E94371A-351C-7A41-A3A7-14EA3618D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spc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005514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1529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модулей Обвод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CA697198-F55C-5045-AC66-D71AC60690A9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44DEAB49-60EE-0F4C-A6F7-786DF6C25C43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A1196D06-E541-4242-91AA-B5D7A577EF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2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714417BA-77DD-0248-94E2-2F29DF9D845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2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2" name="Текст 4">
            <a:extLst>
              <a:ext uri="{FF2B5EF4-FFF2-40B4-BE49-F238E27FC236}">
                <a16:creationId xmlns:a16="http://schemas.microsoft.com/office/drawing/2014/main" id="{823CE63C-0186-FC44-9715-E604F9B3AC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8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3BB9893-E2FD-EF4B-AE81-E0364D0BB911}"/>
              </a:ext>
            </a:extLst>
          </p:cNvPr>
          <p:cNvSpPr>
            <a:spLocks/>
          </p:cNvSpPr>
          <p:nvPr userDrawn="1"/>
        </p:nvSpPr>
        <p:spPr>
          <a:xfrm>
            <a:off x="3251200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2AC4BAE7-B55B-C848-884C-CDC26C02438E}"/>
              </a:ext>
            </a:extLst>
          </p:cNvPr>
          <p:cNvSpPr>
            <a:spLocks/>
          </p:cNvSpPr>
          <p:nvPr userDrawn="1"/>
        </p:nvSpPr>
        <p:spPr>
          <a:xfrm>
            <a:off x="3251200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24B2A2D7-C471-1247-842E-14DD7EF0FE2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07749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3FC14334-1BFC-CD4C-A2DC-A2484285738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7749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6D2AA019-7FF8-3646-809D-6C737BE2B53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50965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0" name="Freeform: Shape 28">
            <a:extLst>
              <a:ext uri="{FF2B5EF4-FFF2-40B4-BE49-F238E27FC236}">
                <a16:creationId xmlns:a16="http://schemas.microsoft.com/office/drawing/2014/main" id="{CFF2854F-DEB1-4A4E-99B0-B9CD9500A454}"/>
              </a:ext>
            </a:extLst>
          </p:cNvPr>
          <p:cNvSpPr>
            <a:spLocks/>
          </p:cNvSpPr>
          <p:nvPr userDrawn="1"/>
        </p:nvSpPr>
        <p:spPr>
          <a:xfrm>
            <a:off x="3247789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96">
            <a:extLst>
              <a:ext uri="{FF2B5EF4-FFF2-40B4-BE49-F238E27FC236}">
                <a16:creationId xmlns:a16="http://schemas.microsoft.com/office/drawing/2014/main" id="{D3930E9B-6016-6C4B-8CB7-9692F2221010}"/>
              </a:ext>
            </a:extLst>
          </p:cNvPr>
          <p:cNvSpPr>
            <a:spLocks/>
          </p:cNvSpPr>
          <p:nvPr userDrawn="1"/>
        </p:nvSpPr>
        <p:spPr>
          <a:xfrm>
            <a:off x="3247789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2" name="Text Placeholder 58">
            <a:extLst>
              <a:ext uri="{FF2B5EF4-FFF2-40B4-BE49-F238E27FC236}">
                <a16:creationId xmlns:a16="http://schemas.microsoft.com/office/drawing/2014/main" id="{53CCDDDF-470C-1A4C-96F1-A56AA02CFA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304338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3" name="Text Placeholder 78">
            <a:extLst>
              <a:ext uri="{FF2B5EF4-FFF2-40B4-BE49-F238E27FC236}">
                <a16:creationId xmlns:a16="http://schemas.microsoft.com/office/drawing/2014/main" id="{41480258-95BC-174F-81F6-F2FE5B2BD4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04338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7BCCA9F5-CF37-954C-96D1-F7187399F09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47554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45" name="Freeform: Shape 28">
            <a:extLst>
              <a:ext uri="{FF2B5EF4-FFF2-40B4-BE49-F238E27FC236}">
                <a16:creationId xmlns:a16="http://schemas.microsoft.com/office/drawing/2014/main" id="{87AB708E-94DF-3544-A8D2-81680317EF52}"/>
              </a:ext>
            </a:extLst>
          </p:cNvPr>
          <p:cNvSpPr>
            <a:spLocks/>
          </p:cNvSpPr>
          <p:nvPr userDrawn="1"/>
        </p:nvSpPr>
        <p:spPr>
          <a:xfrm>
            <a:off x="6174497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Freeform: Shape 96">
            <a:extLst>
              <a:ext uri="{FF2B5EF4-FFF2-40B4-BE49-F238E27FC236}">
                <a16:creationId xmlns:a16="http://schemas.microsoft.com/office/drawing/2014/main" id="{47CADB1E-0732-0E4F-B63F-250A8F6141B6}"/>
              </a:ext>
            </a:extLst>
          </p:cNvPr>
          <p:cNvSpPr>
            <a:spLocks/>
          </p:cNvSpPr>
          <p:nvPr userDrawn="1"/>
        </p:nvSpPr>
        <p:spPr>
          <a:xfrm>
            <a:off x="6174497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47" name="Text Placeholder 58">
            <a:extLst>
              <a:ext uri="{FF2B5EF4-FFF2-40B4-BE49-F238E27FC236}">
                <a16:creationId xmlns:a16="http://schemas.microsoft.com/office/drawing/2014/main" id="{6CEA455A-8EC5-8444-BC32-8DF8E3B3596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31046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8" name="Text Placeholder 78">
            <a:extLst>
              <a:ext uri="{FF2B5EF4-FFF2-40B4-BE49-F238E27FC236}">
                <a16:creationId xmlns:a16="http://schemas.microsoft.com/office/drawing/2014/main" id="{9B2B494A-E514-6D41-BAD9-9EB83C53CD6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31046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49" name="Текст 4">
            <a:extLst>
              <a:ext uri="{FF2B5EF4-FFF2-40B4-BE49-F238E27FC236}">
                <a16:creationId xmlns:a16="http://schemas.microsoft.com/office/drawing/2014/main" id="{CB01DB03-9792-634F-9228-A084ECA80D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4262" y="1128713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0" name="Freeform: Shape 28">
            <a:extLst>
              <a:ext uri="{FF2B5EF4-FFF2-40B4-BE49-F238E27FC236}">
                <a16:creationId xmlns:a16="http://schemas.microsoft.com/office/drawing/2014/main" id="{46750C02-11CB-6A4E-82CA-248F3A1CA805}"/>
              </a:ext>
            </a:extLst>
          </p:cNvPr>
          <p:cNvSpPr>
            <a:spLocks/>
          </p:cNvSpPr>
          <p:nvPr userDrawn="1"/>
        </p:nvSpPr>
        <p:spPr>
          <a:xfrm>
            <a:off x="6171086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: Shape 96">
            <a:extLst>
              <a:ext uri="{FF2B5EF4-FFF2-40B4-BE49-F238E27FC236}">
                <a16:creationId xmlns:a16="http://schemas.microsoft.com/office/drawing/2014/main" id="{CF9F77C3-8886-9943-9146-9AC18F587E4B}"/>
              </a:ext>
            </a:extLst>
          </p:cNvPr>
          <p:cNvSpPr>
            <a:spLocks/>
          </p:cNvSpPr>
          <p:nvPr userDrawn="1"/>
        </p:nvSpPr>
        <p:spPr>
          <a:xfrm>
            <a:off x="6171086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2" name="Text Placeholder 58">
            <a:extLst>
              <a:ext uri="{FF2B5EF4-FFF2-40B4-BE49-F238E27FC236}">
                <a16:creationId xmlns:a16="http://schemas.microsoft.com/office/drawing/2014/main" id="{A1CDC319-2D19-8D40-8065-CBEEBE092B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27635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3" name="Text Placeholder 78">
            <a:extLst>
              <a:ext uri="{FF2B5EF4-FFF2-40B4-BE49-F238E27FC236}">
                <a16:creationId xmlns:a16="http://schemas.microsoft.com/office/drawing/2014/main" id="{FEDD205A-489A-CA44-BAC2-7D1EC8403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27635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4" name="Текст 4">
            <a:extLst>
              <a:ext uri="{FF2B5EF4-FFF2-40B4-BE49-F238E27FC236}">
                <a16:creationId xmlns:a16="http://schemas.microsoft.com/office/drawing/2014/main" id="{BD8070A7-7561-7F4B-8D25-1E2FEBDFD7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70851" y="3507332"/>
            <a:ext cx="2769992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55" name="Freeform: Shape 28">
            <a:extLst>
              <a:ext uri="{FF2B5EF4-FFF2-40B4-BE49-F238E27FC236}">
                <a16:creationId xmlns:a16="http://schemas.microsoft.com/office/drawing/2014/main" id="{35D6D9CC-1D49-6E4E-B2A6-6A785EC24A4E}"/>
              </a:ext>
            </a:extLst>
          </p:cNvPr>
          <p:cNvSpPr>
            <a:spLocks/>
          </p:cNvSpPr>
          <p:nvPr userDrawn="1"/>
        </p:nvSpPr>
        <p:spPr>
          <a:xfrm>
            <a:off x="9083869" y="1776391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Freeform: Shape 96">
            <a:extLst>
              <a:ext uri="{FF2B5EF4-FFF2-40B4-BE49-F238E27FC236}">
                <a16:creationId xmlns:a16="http://schemas.microsoft.com/office/drawing/2014/main" id="{76EA24AB-EFEB-8E42-A1E7-736C99C126FD}"/>
              </a:ext>
            </a:extLst>
          </p:cNvPr>
          <p:cNvSpPr>
            <a:spLocks/>
          </p:cNvSpPr>
          <p:nvPr userDrawn="1"/>
        </p:nvSpPr>
        <p:spPr>
          <a:xfrm>
            <a:off x="9083869" y="1128391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solidFill>
              <a:srgbClr val="0045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57" name="Text Placeholder 58">
            <a:extLst>
              <a:ext uri="{FF2B5EF4-FFF2-40B4-BE49-F238E27FC236}">
                <a16:creationId xmlns:a16="http://schemas.microsoft.com/office/drawing/2014/main" id="{2B4768A1-E111-1848-82B8-8CDD5CD58A5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40418" y="1845669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58" name="Text Placeholder 78">
            <a:extLst>
              <a:ext uri="{FF2B5EF4-FFF2-40B4-BE49-F238E27FC236}">
                <a16:creationId xmlns:a16="http://schemas.microsoft.com/office/drawing/2014/main" id="{7BAEE319-1C57-5949-8391-EE3803050DD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140418" y="2137228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0" name="Текст 4">
            <a:extLst>
              <a:ext uri="{FF2B5EF4-FFF2-40B4-BE49-F238E27FC236}">
                <a16:creationId xmlns:a16="http://schemas.microsoft.com/office/drawing/2014/main" id="{103769DF-2EC7-D641-AFB3-BDD799E7212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3634" y="1128713"/>
            <a:ext cx="2769992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1" name="Freeform: Shape 28">
            <a:extLst>
              <a:ext uri="{FF2B5EF4-FFF2-40B4-BE49-F238E27FC236}">
                <a16:creationId xmlns:a16="http://schemas.microsoft.com/office/drawing/2014/main" id="{1D6BB305-01D6-0143-A320-F6B6883EAE5E}"/>
              </a:ext>
            </a:extLst>
          </p:cNvPr>
          <p:cNvSpPr>
            <a:spLocks/>
          </p:cNvSpPr>
          <p:nvPr userDrawn="1"/>
        </p:nvSpPr>
        <p:spPr>
          <a:xfrm>
            <a:off x="9080458" y="4155010"/>
            <a:ext cx="27699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Freeform: Shape 96">
            <a:extLst>
              <a:ext uri="{FF2B5EF4-FFF2-40B4-BE49-F238E27FC236}">
                <a16:creationId xmlns:a16="http://schemas.microsoft.com/office/drawing/2014/main" id="{7793457C-A9BC-5441-9EB6-82C2916DA9C1}"/>
              </a:ext>
            </a:extLst>
          </p:cNvPr>
          <p:cNvSpPr>
            <a:spLocks/>
          </p:cNvSpPr>
          <p:nvPr userDrawn="1"/>
        </p:nvSpPr>
        <p:spPr>
          <a:xfrm>
            <a:off x="9080458" y="3507010"/>
            <a:ext cx="27699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Bold" panose="020B0706020202020204" pitchFamily="34" charset="0"/>
              <a:ea typeface="GPN_DIN Condensed Bold" panose="020B0706020202020204" pitchFamily="34" charset="0"/>
              <a:cs typeface="+mn-cs"/>
            </a:endParaRPr>
          </a:p>
        </p:txBody>
      </p:sp>
      <p:sp>
        <p:nvSpPr>
          <p:cNvPr id="63" name="Text Placeholder 58">
            <a:extLst>
              <a:ext uri="{FF2B5EF4-FFF2-40B4-BE49-F238E27FC236}">
                <a16:creationId xmlns:a16="http://schemas.microsoft.com/office/drawing/2014/main" id="{94706F80-6634-3845-B912-C5A342C4694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137007" y="4224288"/>
            <a:ext cx="264787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4" name="Text Placeholder 78">
            <a:extLst>
              <a:ext uri="{FF2B5EF4-FFF2-40B4-BE49-F238E27FC236}">
                <a16:creationId xmlns:a16="http://schemas.microsoft.com/office/drawing/2014/main" id="{5EC60963-8C10-A54B-AA1C-B4EC9E68E10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37007" y="4515847"/>
            <a:ext cx="2647874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65" name="Текст 4">
            <a:extLst>
              <a:ext uri="{FF2B5EF4-FFF2-40B4-BE49-F238E27FC236}">
                <a16:creationId xmlns:a16="http://schemas.microsoft.com/office/drawing/2014/main" id="{E36221E4-E58B-DE4C-B48A-A43AE30EA6B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080223" y="3507332"/>
            <a:ext cx="2769992" cy="647700"/>
          </a:xfrm>
          <a:prstGeom prst="rect">
            <a:avLst/>
          </a:prstGeom>
          <a:solidFill>
            <a:srgbClr val="28BE46"/>
          </a:solidFill>
          <a:ln>
            <a:solidFill>
              <a:srgbClr val="004596"/>
            </a:solidFill>
          </a:ln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  <a:b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в 2 строки</a:t>
            </a:r>
          </a:p>
        </p:txBody>
      </p:sp>
      <p:sp>
        <p:nvSpPr>
          <p:cNvPr id="66" name="Номер слайда 1">
            <a:extLst>
              <a:ext uri="{FF2B5EF4-FFF2-40B4-BE49-F238E27FC236}">
                <a16:creationId xmlns:a16="http://schemas.microsoft.com/office/drawing/2014/main" id="{E89BEC67-F530-434A-BC05-E13301D6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t>ГАЗПРОМ НЕФТЬ   </a:t>
            </a:r>
            <a:fld id="{D58DDE06-DF15-0A4F-A85A-4EB38848D8EB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7E7E7F">
                    <a:tint val="75000"/>
                  </a:srgbClr>
                </a:solidFill>
                <a:effectLst/>
                <a:uLnTx/>
                <a:uFillTx/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7E7E7F">
                  <a:tint val="75000"/>
                </a:srgbClr>
              </a:solidFill>
              <a:effectLst/>
              <a:uLnTx/>
              <a:uFillTx/>
              <a:latin typeface="GPN_DIN Condensed Regular" panose="020B0504020202020204" pitchFamily="34" charset="0"/>
              <a:ea typeface="GPN_DIN Condensed Regular" panose="020B0504020202020204" pitchFamily="34" charset="0"/>
              <a:cs typeface="+mn-cs"/>
            </a:endParaRPr>
          </a:p>
        </p:txBody>
      </p:sp>
      <p:sp>
        <p:nvSpPr>
          <p:cNvPr id="67" name="Текст 6">
            <a:extLst>
              <a:ext uri="{FF2B5EF4-FFF2-40B4-BE49-F238E27FC236}">
                <a16:creationId xmlns:a16="http://schemas.microsoft.com/office/drawing/2014/main" id="{7AF9D069-81BF-B248-9451-AFCD1FD94C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57BE73F8-C076-8B4D-AA40-38451CDCE8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68" name="Рисунок 6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  <a:solidFill>
            <a:srgbClr val="28BE46"/>
          </a:solidFill>
        </p:spPr>
      </p:pic>
    </p:spTree>
    <p:extLst>
      <p:ext uri="{BB962C8B-B14F-4D97-AF65-F5344CB8AC3E}">
        <p14:creationId xmlns:p14="http://schemas.microsoft.com/office/powerpoint/2010/main" val="96034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конт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3" name="Текст 4">
            <a:extLst>
              <a:ext uri="{FF2B5EF4-FFF2-40B4-BE49-F238E27FC236}">
                <a16:creationId xmlns:a16="http://schemas.microsoft.com/office/drawing/2014/main" id="{2C6A2AF9-A586-C74F-BA43-9C8AC83557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2" name="Номер слайда 1">
            <a:extLst>
              <a:ext uri="{FF2B5EF4-FFF2-40B4-BE49-F238E27FC236}">
                <a16:creationId xmlns:a16="http://schemas.microsoft.com/office/drawing/2014/main" id="{46C8F84C-9B74-6F45-9D3C-EBB304B12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797E686-2CE7-984F-8E48-B6020FAF30A7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167536" y="1128391"/>
            <a:ext cx="562902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029A3B70-E495-0947-BC00-CFD2EF54A2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2A4A7A4-ADA3-4041-A8DF-914D1ABC34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481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вертик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3736502" cy="647678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DD6B9303-A0C8-0D46-BCA9-C3F994388B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Объект 3">
            <a:extLst>
              <a:ext uri="{FF2B5EF4-FFF2-40B4-BE49-F238E27FC236}">
                <a16:creationId xmlns:a16="http://schemas.microsoft.com/office/drawing/2014/main" id="{465C999D-4AFA-3844-9C52-9E2DED4A2921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229573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Объект 3">
            <a:extLst>
              <a:ext uri="{FF2B5EF4-FFF2-40B4-BE49-F238E27FC236}">
                <a16:creationId xmlns:a16="http://schemas.microsoft.com/office/drawing/2014/main" id="{0DA6D390-E8CA-8040-9481-7874D278B8E3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118154" y="1128391"/>
            <a:ext cx="3736266" cy="45902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6">
            <a:extLst>
              <a:ext uri="{FF2B5EF4-FFF2-40B4-BE49-F238E27FC236}">
                <a16:creationId xmlns:a16="http://schemas.microsoft.com/office/drawing/2014/main" id="{BEC87124-8358-AF4F-AA7A-B77AAB49D7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AB70F72-EA1F-5C40-BB84-DD3DA2E7D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416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дуль и 2 горизонтальных контен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28">
            <a:extLst>
              <a:ext uri="{FF2B5EF4-FFF2-40B4-BE49-F238E27FC236}">
                <a16:creationId xmlns:a16="http://schemas.microsoft.com/office/drawing/2014/main" id="{59DD6344-6ACF-A045-90F1-C76DE6BA2943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96">
            <a:extLst>
              <a:ext uri="{FF2B5EF4-FFF2-40B4-BE49-F238E27FC236}">
                <a16:creationId xmlns:a16="http://schemas.microsoft.com/office/drawing/2014/main" id="{9E4C265C-0ABB-5D44-8F85-BF95D737C2DF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4" name="Text Placeholder 58">
            <a:extLst>
              <a:ext uri="{FF2B5EF4-FFF2-40B4-BE49-F238E27FC236}">
                <a16:creationId xmlns:a16="http://schemas.microsoft.com/office/drawing/2014/main" id="{FBD63E05-E395-0440-B3B2-D5C6BA7420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5" name="Text Placeholder 78">
            <a:extLst>
              <a:ext uri="{FF2B5EF4-FFF2-40B4-BE49-F238E27FC236}">
                <a16:creationId xmlns:a16="http://schemas.microsoft.com/office/drawing/2014/main" id="{D3F7E849-5FD3-C44F-9287-1D5BB7BD6A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505338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2DA29E93-71D6-C74C-A54E-9AC9312934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9" y="1128713"/>
            <a:ext cx="4706754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Объект 3">
            <a:extLst>
              <a:ext uri="{FF2B5EF4-FFF2-40B4-BE49-F238E27FC236}">
                <a16:creationId xmlns:a16="http://schemas.microsoft.com/office/drawing/2014/main" id="{866500AB-A0F6-A743-AF3C-C6F9919D45CA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5195888" y="1133852"/>
            <a:ext cx="6661150" cy="2223711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3">
            <a:extLst>
              <a:ext uri="{FF2B5EF4-FFF2-40B4-BE49-F238E27FC236}">
                <a16:creationId xmlns:a16="http://schemas.microsoft.com/office/drawing/2014/main" id="{56460F5E-AA25-8942-A990-347E7B0443D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195888" y="3500437"/>
            <a:ext cx="6661150" cy="223361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82C32EEB-197E-FE46-AC73-4E98D5757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AAC1BA71-1C3F-734A-B2A4-AA1876FF82B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0EA560A-F174-CC45-B425-F3B4D80F93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3742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41B42E27-69D5-BB48-A582-6AEEA21B4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B26F2286-8073-CD44-BF80-126101C7E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113F25C1-99A7-B84A-9665-8C6298A36B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F9EFB3D-7809-B440-B757-640D7FCB55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2 строки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9729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3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434214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id="{AA5999C9-AAAA-4347-BF28-03EA6C06495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Номер слайда 1">
            <a:extLst>
              <a:ext uri="{FF2B5EF4-FFF2-40B4-BE49-F238E27FC236}">
                <a16:creationId xmlns:a16="http://schemas.microsoft.com/office/drawing/2014/main" id="{B8545EAC-DDDE-D44B-AD9A-8EF1B3A072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Текст 6">
            <a:extLst>
              <a:ext uri="{FF2B5EF4-FFF2-40B4-BE49-F238E27FC236}">
                <a16:creationId xmlns:a16="http://schemas.microsoft.com/office/drawing/2014/main" id="{109E735A-4A2F-C848-8CF7-7DF5387239D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B37EEBE7-6E28-CA42-B09B-CDAFA39F5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151812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2074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дескрип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28">
            <a:extLst>
              <a:ext uri="{FF2B5EF4-FFF2-40B4-BE49-F238E27FC236}">
                <a16:creationId xmlns:a16="http://schemas.microsoft.com/office/drawing/2014/main" id="{A6F47029-190B-0E44-9895-C7AA453D0459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96">
            <a:extLst>
              <a:ext uri="{FF2B5EF4-FFF2-40B4-BE49-F238E27FC236}">
                <a16:creationId xmlns:a16="http://schemas.microsoft.com/office/drawing/2014/main" id="{F3836674-FA52-C447-B8E9-E78FE2CA72B2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1" name="Text Placeholder 58">
            <a:extLst>
              <a:ext uri="{FF2B5EF4-FFF2-40B4-BE49-F238E27FC236}">
                <a16:creationId xmlns:a16="http://schemas.microsoft.com/office/drawing/2014/main" id="{9A53F451-3201-9B48-AA60-C504285DE8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2" name="Text Placeholder 78">
            <a:extLst>
              <a:ext uri="{FF2B5EF4-FFF2-40B4-BE49-F238E27FC236}">
                <a16:creationId xmlns:a16="http://schemas.microsoft.com/office/drawing/2014/main" id="{6EAA0087-AD20-7043-8FBD-CE3AD72041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7" name="Freeform: Shape 28">
            <a:extLst>
              <a:ext uri="{FF2B5EF4-FFF2-40B4-BE49-F238E27FC236}">
                <a16:creationId xmlns:a16="http://schemas.microsoft.com/office/drawing/2014/main" id="{61BE4B1F-1B42-4647-B656-485F2E837759}"/>
              </a:ext>
            </a:extLst>
          </p:cNvPr>
          <p:cNvSpPr>
            <a:spLocks/>
          </p:cNvSpPr>
          <p:nvPr userDrawn="1"/>
        </p:nvSpPr>
        <p:spPr>
          <a:xfrm>
            <a:off x="6166247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96">
            <a:extLst>
              <a:ext uri="{FF2B5EF4-FFF2-40B4-BE49-F238E27FC236}">
                <a16:creationId xmlns:a16="http://schemas.microsoft.com/office/drawing/2014/main" id="{1B18B201-920B-C74B-A05A-A06C01149D4C}"/>
              </a:ext>
            </a:extLst>
          </p:cNvPr>
          <p:cNvSpPr>
            <a:spLocks/>
          </p:cNvSpPr>
          <p:nvPr userDrawn="1"/>
        </p:nvSpPr>
        <p:spPr>
          <a:xfrm>
            <a:off x="6166247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0" name="Text Placeholder 58">
            <a:extLst>
              <a:ext uri="{FF2B5EF4-FFF2-40B4-BE49-F238E27FC236}">
                <a16:creationId xmlns:a16="http://schemas.microsoft.com/office/drawing/2014/main" id="{3D636A2C-2D42-4941-B5D3-8A3AC10B06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1" name="Text Placeholder 78">
            <a:extLst>
              <a:ext uri="{FF2B5EF4-FFF2-40B4-BE49-F238E27FC236}">
                <a16:creationId xmlns:a16="http://schemas.microsoft.com/office/drawing/2014/main" id="{5AB90643-34B7-DD42-9F0C-2C3EC9BC62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13025B2C-DB58-4D42-98CF-569FF3622C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2772563-E9A3-9245-859D-292464BA50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726981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7E7E7E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05DE1B7A-46E9-A649-89EB-0F3C279E5C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65488613-2403-364E-87E2-B90FBBE57E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6">
            <a:extLst>
              <a:ext uri="{FF2B5EF4-FFF2-40B4-BE49-F238E27FC236}">
                <a16:creationId xmlns:a16="http://schemas.microsoft.com/office/drawing/2014/main" id="{D9FBDD6E-FA50-E54B-80FF-4C29200A8B0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620F868B-37E1-994F-88A8-77EE9301EC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371468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337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+на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2" y="2169704"/>
            <a:ext cx="5577335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2" y="2461261"/>
            <a:ext cx="5577335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7" y="2100426"/>
            <a:ext cx="5684752" cy="410034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7" y="1452426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2169704"/>
            <a:ext cx="5574282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461261"/>
            <a:ext cx="5574282" cy="3600491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78221" y="1452748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CC1678F-EC25-EE49-96C4-14BF7BC04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647786"/>
            <a:ext cx="8699380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Заголовок СЛАЙДА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0EA8E3-BC7E-F545-83A6-6EB390F405B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854" y="1088510"/>
            <a:ext cx="8599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lvl1pPr>
              <a:defRPr lang="ru-RU" sz="2000" b="0" i="0" dirty="0" smtClean="0">
                <a:solidFill>
                  <a:srgbClr val="8A8A8A"/>
                </a:solidFill>
                <a:latin typeface="+mj-lt"/>
                <a:ea typeface="GPN_DIN Condensed Regular" panose="020B0506020202020204" pitchFamily="34" charset="-52"/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ru-RU" dirty="0"/>
              <a:t>ДЕСКРИПТОР СЛАЙДА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E21C94F7-9090-2E44-9E2F-6441D266C64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45255" y="277595"/>
            <a:ext cx="8695545" cy="30657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00" b="0">
                <a:solidFill>
                  <a:srgbClr val="004596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НАДЗАГОЛОВОК СЛАЙДА</a:t>
            </a:r>
            <a:endParaRPr lang="en-US" dirty="0"/>
          </a:p>
        </p:txBody>
      </p:sp>
      <p:sp>
        <p:nvSpPr>
          <p:cNvPr id="22" name="Текст 4">
            <a:extLst>
              <a:ext uri="{FF2B5EF4-FFF2-40B4-BE49-F238E27FC236}">
                <a16:creationId xmlns:a16="http://schemas.microsoft.com/office/drawing/2014/main" id="{78F9E3B6-A6E9-1C4E-80FD-4D98B693A03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459905"/>
            <a:ext cx="568483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7" name="Номер слайда 1">
            <a:extLst>
              <a:ext uri="{FF2B5EF4-FFF2-40B4-BE49-F238E27FC236}">
                <a16:creationId xmlns:a16="http://schemas.microsoft.com/office/drawing/2014/main" id="{B1AA6559-5508-464F-9338-1D632260D3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Текст 6">
            <a:extLst>
              <a:ext uri="{FF2B5EF4-FFF2-40B4-BE49-F238E27FC236}">
                <a16:creationId xmlns:a16="http://schemas.microsoft.com/office/drawing/2014/main" id="{3A05478D-427A-844B-8543-2477FDB997D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bg1">
                    <a:lumMod val="50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729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Мони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25A5675-4BAC-7544-B66E-44F47F077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3600" y="772928"/>
            <a:ext cx="7838876" cy="5888717"/>
          </a:xfrm>
          <a:prstGeom prst="rect">
            <a:avLst/>
          </a:prstGeom>
        </p:spPr>
      </p:pic>
      <p:sp>
        <p:nvSpPr>
          <p:cNvPr id="17" name="Freeform: Shape 28">
            <a:extLst>
              <a:ext uri="{FF2B5EF4-FFF2-40B4-BE49-F238E27FC236}">
                <a16:creationId xmlns:a16="http://schemas.microsoft.com/office/drawing/2014/main" id="{DA074E5C-9C95-E245-9778-76CFC10519D6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Freeform: Shape 96">
            <a:extLst>
              <a:ext uri="{FF2B5EF4-FFF2-40B4-BE49-F238E27FC236}">
                <a16:creationId xmlns:a16="http://schemas.microsoft.com/office/drawing/2014/main" id="{256BF456-2F15-C248-8B23-DD1C56B7D7FA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C4B9394D-69D8-48C1-AC36-E448E983C1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470991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9" name="Text Placeholder 78">
            <a:extLst>
              <a:ext uri="{FF2B5EF4-FFF2-40B4-BE49-F238E27FC236}">
                <a16:creationId xmlns:a16="http://schemas.microsoft.com/office/drawing/2014/main" id="{721E94AD-A8CB-4D7F-BF34-A174A68551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4656502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5A597E-A907-BB41-A837-A1B5BEDC7C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05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65763" y="1391920"/>
            <a:ext cx="6135394" cy="344360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0BD9EC4F-759B-A94E-A22C-D96CD7973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766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422577" y="1572322"/>
            <a:ext cx="3155796" cy="418805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E51872B-B978-9640-9D95-6D544123A4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0479" y="699828"/>
            <a:ext cx="5092965" cy="6321743"/>
          </a:xfrm>
          <a:prstGeom prst="rect">
            <a:avLst/>
          </a:prstGeom>
        </p:spPr>
      </p:pic>
      <p:sp>
        <p:nvSpPr>
          <p:cNvPr id="15" name="Freeform: Shape 28">
            <a:extLst>
              <a:ext uri="{FF2B5EF4-FFF2-40B4-BE49-F238E27FC236}">
                <a16:creationId xmlns:a16="http://schemas.microsoft.com/office/drawing/2014/main" id="{59CB238E-A3F4-EF47-ACBF-2FAB877C474C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96">
            <a:extLst>
              <a:ext uri="{FF2B5EF4-FFF2-40B4-BE49-F238E27FC236}">
                <a16:creationId xmlns:a16="http://schemas.microsoft.com/office/drawing/2014/main" id="{062E24C5-3DA0-4F41-AEE3-9352F1CA3AA0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2" name="Text Placeholder 58">
            <a:extLst>
              <a:ext uri="{FF2B5EF4-FFF2-40B4-BE49-F238E27FC236}">
                <a16:creationId xmlns:a16="http://schemas.microsoft.com/office/drawing/2014/main" id="{A1FA2249-39CE-1B46-9B80-28F94D4254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3" name="Text Placeholder 78">
            <a:extLst>
              <a:ext uri="{FF2B5EF4-FFF2-40B4-BE49-F238E27FC236}">
                <a16:creationId xmlns:a16="http://schemas.microsoft.com/office/drawing/2014/main" id="{D838967C-D22A-A043-BB9D-977E58482A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4" name="Текст 4">
            <a:extLst>
              <a:ext uri="{FF2B5EF4-FFF2-40B4-BE49-F238E27FC236}">
                <a16:creationId xmlns:a16="http://schemas.microsoft.com/office/drawing/2014/main" id="{33571AFF-8E09-434A-8A28-9F62450D20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4222687" y="1776391"/>
            <a:ext cx="374150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4222687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79236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79236" y="2137227"/>
            <a:ext cx="3576606" cy="4059024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22451" y="1128713"/>
            <a:ext cx="3741557" cy="647700"/>
          </a:xfrm>
          <a:prstGeom prst="rect">
            <a:avLst/>
          </a:prstGeom>
          <a:solidFill>
            <a:srgbClr val="28BE46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ECD2C38D-6C53-264C-A109-E5C6B487D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8" name="Рисунок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28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Заголовок 1 стр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1005514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7230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4005D14-D1C0-2A47-94E0-760D72A25F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852616"/>
            <a:ext cx="3161652" cy="5289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838841B-F916-427A-B2A6-C06F8ECB7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9369662" cy="365125"/>
          </a:xfrm>
        </p:spPr>
        <p:txBody>
          <a:bodyPr wrap="square"/>
          <a:lstStyle>
            <a:lvl1pPr>
              <a:defRPr sz="2400" b="0" i="0">
                <a:solidFill>
                  <a:srgbClr val="7E7E7E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343938EA-42DF-40A7-893B-4F163D4CBE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5256" y="6373663"/>
            <a:ext cx="5850744" cy="230832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>
            <a:lvl1pPr>
              <a:defRPr kumimoji="0" lang="ru-RU" sz="900" b="0" i="0" u="none" strike="noStrike" cap="none" spc="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</a:defRPr>
            </a:lvl1pPr>
          </a:lstStyle>
          <a:p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F2FC40D-C339-499C-AAE7-6056FD316E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95560" y="312001"/>
            <a:ext cx="1661478" cy="184666"/>
          </a:xfr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US" sz="1200" b="0" dirty="0" smtClean="0">
                <a:solidFill>
                  <a:schemeClr val="bg1">
                    <a:lumMod val="50000"/>
                  </a:schemeClr>
                </a:solidFill>
                <a:latin typeface="GPN_DIN Condensed Regular" panose="020B0506020202020204" pitchFamily="34" charset="77"/>
                <a:ea typeface="GPN_DIN Condensed Regular" panose="020B0506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ru-RU" dirty="0"/>
              <a:t>НАВИГАЦИЯ СЛАЙДА</a:t>
            </a:r>
            <a:endParaRPr lang="en-US" dirty="0"/>
          </a:p>
        </p:txBody>
      </p:sp>
      <p:sp>
        <p:nvSpPr>
          <p:cNvPr id="19" name="Рисунок 11">
            <a:extLst>
              <a:ext uri="{FF2B5EF4-FFF2-40B4-BE49-F238E27FC236}">
                <a16:creationId xmlns:a16="http://schemas.microsoft.com/office/drawing/2014/main" id="{B237B9A2-2B56-0F42-9AFD-5215B2CABC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11784" y="1700582"/>
            <a:ext cx="1977263" cy="3495639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5" name="Freeform: Shape 28">
            <a:extLst>
              <a:ext uri="{FF2B5EF4-FFF2-40B4-BE49-F238E27FC236}">
                <a16:creationId xmlns:a16="http://schemas.microsoft.com/office/drawing/2014/main" id="{B3B66B99-77C0-5147-8240-F3176AF2F15D}"/>
              </a:ext>
            </a:extLst>
          </p:cNvPr>
          <p:cNvSpPr>
            <a:spLocks/>
          </p:cNvSpPr>
          <p:nvPr userDrawn="1"/>
        </p:nvSpPr>
        <p:spPr>
          <a:xfrm>
            <a:off x="5199299" y="1776391"/>
            <a:ext cx="3741501" cy="3957659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Freeform: Shape 96">
            <a:extLst>
              <a:ext uri="{FF2B5EF4-FFF2-40B4-BE49-F238E27FC236}">
                <a16:creationId xmlns:a16="http://schemas.microsoft.com/office/drawing/2014/main" id="{24586272-5B97-D547-BB54-46E2E6AF660C}"/>
              </a:ext>
            </a:extLst>
          </p:cNvPr>
          <p:cNvSpPr>
            <a:spLocks/>
          </p:cNvSpPr>
          <p:nvPr userDrawn="1"/>
        </p:nvSpPr>
        <p:spPr>
          <a:xfrm>
            <a:off x="5199299" y="1128391"/>
            <a:ext cx="37415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7" name="Text Placeholder 58">
            <a:extLst>
              <a:ext uri="{FF2B5EF4-FFF2-40B4-BE49-F238E27FC236}">
                <a16:creationId xmlns:a16="http://schemas.microsoft.com/office/drawing/2014/main" id="{59F1CE52-31E2-7C49-967B-AB5B06E00D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55848" y="1845669"/>
            <a:ext cx="3576606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9" name="Text Placeholder 78">
            <a:extLst>
              <a:ext uri="{FF2B5EF4-FFF2-40B4-BE49-F238E27FC236}">
                <a16:creationId xmlns:a16="http://schemas.microsoft.com/office/drawing/2014/main" id="{79F28B29-366F-694E-ABA4-7B8BF7277CC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55848" y="2137227"/>
            <a:ext cx="3576606" cy="349259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0" name="Текст 4">
            <a:extLst>
              <a:ext uri="{FF2B5EF4-FFF2-40B4-BE49-F238E27FC236}">
                <a16:creationId xmlns:a16="http://schemas.microsoft.com/office/drawing/2014/main" id="{F397536A-8AAF-FC4B-B1FA-589DA5E0402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199063" y="1128713"/>
            <a:ext cx="3741557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18" name="Freeform: Shape 28">
            <a:extLst>
              <a:ext uri="{FF2B5EF4-FFF2-40B4-BE49-F238E27FC236}">
                <a16:creationId xmlns:a16="http://schemas.microsoft.com/office/drawing/2014/main" id="{1923478E-81C2-6E46-B4CA-AE16CCE861FB}"/>
              </a:ext>
            </a:extLst>
          </p:cNvPr>
          <p:cNvSpPr>
            <a:spLocks/>
          </p:cNvSpPr>
          <p:nvPr userDrawn="1"/>
        </p:nvSpPr>
        <p:spPr>
          <a:xfrm>
            <a:off x="338374" y="1776391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reeform: Shape 96">
            <a:extLst>
              <a:ext uri="{FF2B5EF4-FFF2-40B4-BE49-F238E27FC236}">
                <a16:creationId xmlns:a16="http://schemas.microsoft.com/office/drawing/2014/main" id="{D067ADD6-728D-9147-9453-C16A5182A795}"/>
              </a:ext>
            </a:extLst>
          </p:cNvPr>
          <p:cNvSpPr>
            <a:spLocks/>
          </p:cNvSpPr>
          <p:nvPr userDrawn="1"/>
        </p:nvSpPr>
        <p:spPr>
          <a:xfrm>
            <a:off x="338374" y="1128391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2" name="Text Placeholder 58">
            <a:extLst>
              <a:ext uri="{FF2B5EF4-FFF2-40B4-BE49-F238E27FC236}">
                <a16:creationId xmlns:a16="http://schemas.microsoft.com/office/drawing/2014/main" id="{0CE5EBA7-5E00-094C-8C83-F005A5810E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923" y="1845669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Text Placeholder 78">
            <a:extLst>
              <a:ext uri="{FF2B5EF4-FFF2-40B4-BE49-F238E27FC236}">
                <a16:creationId xmlns:a16="http://schemas.microsoft.com/office/drawing/2014/main" id="{12B8776C-A5FA-8440-AC64-DF44DD44D0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923" y="2137228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4" name="Текст 4">
            <a:extLst>
              <a:ext uri="{FF2B5EF4-FFF2-40B4-BE49-F238E27FC236}">
                <a16:creationId xmlns:a16="http://schemas.microsoft.com/office/drawing/2014/main" id="{926D71B2-4F01-8341-8334-F4A2198EF2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8138" y="1128713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35" name="Freeform: Shape 28">
            <a:extLst>
              <a:ext uri="{FF2B5EF4-FFF2-40B4-BE49-F238E27FC236}">
                <a16:creationId xmlns:a16="http://schemas.microsoft.com/office/drawing/2014/main" id="{45B3DB45-8346-274C-A053-3917E67AA99E}"/>
              </a:ext>
            </a:extLst>
          </p:cNvPr>
          <p:cNvSpPr>
            <a:spLocks/>
          </p:cNvSpPr>
          <p:nvPr userDrawn="1"/>
        </p:nvSpPr>
        <p:spPr>
          <a:xfrm>
            <a:off x="334963" y="4155010"/>
            <a:ext cx="4713051" cy="157750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Freeform: Shape 96">
            <a:extLst>
              <a:ext uri="{FF2B5EF4-FFF2-40B4-BE49-F238E27FC236}">
                <a16:creationId xmlns:a16="http://schemas.microsoft.com/office/drawing/2014/main" id="{EC37CF7E-C140-2643-A746-84D6C565CEB1}"/>
              </a:ext>
            </a:extLst>
          </p:cNvPr>
          <p:cNvSpPr>
            <a:spLocks/>
          </p:cNvSpPr>
          <p:nvPr userDrawn="1"/>
        </p:nvSpPr>
        <p:spPr>
          <a:xfrm>
            <a:off x="334963" y="3507010"/>
            <a:ext cx="471305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37" name="Text Placeholder 58">
            <a:extLst>
              <a:ext uri="{FF2B5EF4-FFF2-40B4-BE49-F238E27FC236}">
                <a16:creationId xmlns:a16="http://schemas.microsoft.com/office/drawing/2014/main" id="{46671F13-DA12-724C-A091-38B465D8601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1512" y="4224288"/>
            <a:ext cx="4505338" cy="277200"/>
          </a:xfrm>
        </p:spPr>
        <p:txBody>
          <a:bodyPr/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704020202020204" pitchFamily="34" charset="0"/>
                <a:ea typeface="GPN_DIN Condensed Bold" panose="020B070402020202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8" name="Text Placeholder 78">
            <a:extLst>
              <a:ext uri="{FF2B5EF4-FFF2-40B4-BE49-F238E27FC236}">
                <a16:creationId xmlns:a16="http://schemas.microsoft.com/office/drawing/2014/main" id="{1395E219-E5B6-364A-B939-ACB8508105D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1512" y="4515847"/>
            <a:ext cx="4505338" cy="1113972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9" name="Текст 4">
            <a:extLst>
              <a:ext uri="{FF2B5EF4-FFF2-40B4-BE49-F238E27FC236}">
                <a16:creationId xmlns:a16="http://schemas.microsoft.com/office/drawing/2014/main" id="{CA54879F-E8D7-4B49-B418-CF162DA3941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727" y="3507332"/>
            <a:ext cx="4713121" cy="647700"/>
          </a:xfrm>
          <a:prstGeom prst="rect">
            <a:avLst/>
          </a:prstGeom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GPN_DIN Condensed Bold" panose="020B0704020202020204" pitchFamily="34" charset="0"/>
                <a:ea typeface="GPN_DIN Condensed Bold" panose="020B070402020202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GPN_DIN Condensed Bold" panose="020B0706020202020204" pitchFamily="34" charset="0"/>
                <a:ea typeface="GPN_DIN Condensed Bold" panose="020B0706020202020204" pitchFamily="34" charset="0"/>
              </a:rPr>
              <a:t>Заголовок модуля</a:t>
            </a:r>
          </a:p>
        </p:txBody>
      </p:sp>
      <p:sp>
        <p:nvSpPr>
          <p:cNvPr id="23" name="Номер слайда 1">
            <a:extLst>
              <a:ext uri="{FF2B5EF4-FFF2-40B4-BE49-F238E27FC236}">
                <a16:creationId xmlns:a16="http://schemas.microsoft.com/office/drawing/2014/main" id="{4ACDADA5-737B-4A4D-A875-05B7A2EC7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483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1 стр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B1F8DBAA-4A26-47DF-DF5E-A862447DB1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ОДНУ СТРОКУ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81E24C68-98B6-6343-B086-E62D64F145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3487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ный 2 стро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44125BE-D57A-EE4C-A01A-2BB074617E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940FC9C-C932-D449-A86E-4BDEF56506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5" y="3298109"/>
            <a:ext cx="6572482" cy="942269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836D4B0-5F46-3645-87D5-2D12896CC0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740194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id="{F948FACA-4646-864E-B1F4-E9E3BCFC35BB}"/>
              </a:ext>
            </a:extLst>
          </p:cNvPr>
          <p:cNvCxnSpPr>
            <a:cxnSpLocks/>
          </p:cNvCxnSpPr>
          <p:nvPr userDrawn="1"/>
        </p:nvCxnSpPr>
        <p:spPr>
          <a:xfrm>
            <a:off x="321742" y="3140801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5">
            <a:extLst>
              <a:ext uri="{FF2B5EF4-FFF2-40B4-BE49-F238E27FC236}">
                <a16:creationId xmlns:a16="http://schemas.microsoft.com/office/drawing/2014/main" id="{BF1AFA75-B457-474D-A9BC-84F95068DC45}"/>
              </a:ext>
            </a:extLst>
          </p:cNvPr>
          <p:cNvCxnSpPr>
            <a:cxnSpLocks/>
          </p:cNvCxnSpPr>
          <p:nvPr userDrawn="1"/>
        </p:nvCxnSpPr>
        <p:spPr>
          <a:xfrm>
            <a:off x="321742" y="4466771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Номер слайда 1">
            <a:extLst>
              <a:ext uri="{FF2B5EF4-FFF2-40B4-BE49-F238E27FC236}">
                <a16:creationId xmlns:a16="http://schemas.microsoft.com/office/drawing/2014/main" id="{248EDC43-F2C0-EA4A-ACE4-2238F45CAE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82132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ный 2 строки и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95C28D77-899F-72F0-A5C2-9A571584451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855367" y="-5400"/>
            <a:ext cx="6336633" cy="6868800"/>
          </a:xfrm>
          <a:custGeom>
            <a:avLst/>
            <a:gdLst>
              <a:gd name="connsiteX0" fmla="*/ 0 w 6336633"/>
              <a:gd name="connsiteY0" fmla="*/ 0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0 w 6336633"/>
              <a:gd name="connsiteY4" fmla="*/ 0 h 6857999"/>
              <a:gd name="connsiteX0" fmla="*/ 1466850 w 6336633"/>
              <a:gd name="connsiteY0" fmla="*/ 9525 h 6857999"/>
              <a:gd name="connsiteX1" fmla="*/ 6336633 w 6336633"/>
              <a:gd name="connsiteY1" fmla="*/ 0 h 6857999"/>
              <a:gd name="connsiteX2" fmla="*/ 6336633 w 6336633"/>
              <a:gd name="connsiteY2" fmla="*/ 6857999 h 6857999"/>
              <a:gd name="connsiteX3" fmla="*/ 0 w 6336633"/>
              <a:gd name="connsiteY3" fmla="*/ 6857999 h 6857999"/>
              <a:gd name="connsiteX4" fmla="*/ 1466850 w 6336633"/>
              <a:gd name="connsiteY4" fmla="*/ 95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633" h="6857999">
                <a:moveTo>
                  <a:pt x="1466850" y="9525"/>
                </a:moveTo>
                <a:lnTo>
                  <a:pt x="6336633" y="0"/>
                </a:lnTo>
                <a:lnTo>
                  <a:pt x="6336633" y="6857999"/>
                </a:lnTo>
                <a:lnTo>
                  <a:pt x="0" y="6857999"/>
                </a:lnTo>
                <a:lnTo>
                  <a:pt x="1466850" y="9525"/>
                </a:ln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7FCB869-430C-8A42-A27D-D3AB11742F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804" y="2317373"/>
            <a:ext cx="1428751" cy="352425"/>
          </a:xfrm>
          <a:ln>
            <a:solidFill>
              <a:srgbClr val="004596"/>
            </a:solidFill>
          </a:ln>
        </p:spPr>
        <p:txBody>
          <a:bodyPr lIns="0" r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РАЗДЕЛ 0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E364D1A-61F4-F543-A859-89227795B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309596"/>
            <a:ext cx="6441853" cy="942269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АЗВАНИЕ РАЗДЕЛА В ДВЕ СТРОКИ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22041BD-E345-5241-9EEF-3501F046B9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955662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АННОТАЦИЯ К РАЗДЕЛУ</a:t>
            </a:r>
          </a:p>
        </p:txBody>
      </p:sp>
      <p:cxnSp>
        <p:nvCxnSpPr>
          <p:cNvPr id="14" name="Straight Connector 14">
            <a:extLst>
              <a:ext uri="{FF2B5EF4-FFF2-40B4-BE49-F238E27FC236}">
                <a16:creationId xmlns:a16="http://schemas.microsoft.com/office/drawing/2014/main" id="{E842D932-CAE3-EA44-95E3-DF2BA7BB5465}"/>
              </a:ext>
            </a:extLst>
          </p:cNvPr>
          <p:cNvCxnSpPr>
            <a:cxnSpLocks/>
          </p:cNvCxnSpPr>
          <p:nvPr userDrawn="1"/>
        </p:nvCxnSpPr>
        <p:spPr>
          <a:xfrm>
            <a:off x="321742" y="3065983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5">
            <a:extLst>
              <a:ext uri="{FF2B5EF4-FFF2-40B4-BE49-F238E27FC236}">
                <a16:creationId xmlns:a16="http://schemas.microsoft.com/office/drawing/2014/main" id="{E1B184B8-B315-DC4E-8395-3A7A670461AB}"/>
              </a:ext>
            </a:extLst>
          </p:cNvPr>
          <p:cNvCxnSpPr>
            <a:cxnSpLocks/>
          </p:cNvCxnSpPr>
          <p:nvPr userDrawn="1"/>
        </p:nvCxnSpPr>
        <p:spPr>
          <a:xfrm>
            <a:off x="321742" y="4508068"/>
            <a:ext cx="506903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1">
            <a:extLst>
              <a:ext uri="{FF2B5EF4-FFF2-40B4-BE49-F238E27FC236}">
                <a16:creationId xmlns:a16="http://schemas.microsoft.com/office/drawing/2014/main" id="{1E36B48C-3001-9D48-BB92-7DAB0F6F84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622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99A0925-28C5-E43F-F531-C83457B29A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804" y="4087211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+mj-lt"/>
                <a:ea typeface="GPN_DIN Condensed Regular" panose="020B0506020202020204" pitchFamily="34" charset="77"/>
                <a:cs typeface="+mn-cs"/>
              </a:defRPr>
            </a:lvl1pPr>
          </a:lstStyle>
          <a:p>
            <a:pPr lvl="0"/>
            <a:r>
              <a:rPr lang="ru-RU" dirty="0"/>
              <a:t> 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AB3415EB-5D86-E9B4-EDAC-4C3112FE15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1803" y="3093668"/>
            <a:ext cx="10920819" cy="472112"/>
          </a:xfrm>
          <a:ln>
            <a:solidFill>
              <a:srgbClr val="004596"/>
            </a:solidFill>
          </a:ln>
        </p:spPr>
        <p:txBody>
          <a:bodyPr lIns="0" rIns="0">
            <a:noAutofit/>
          </a:bodyPr>
          <a:lstStyle>
            <a:lvl1pPr>
              <a:lnSpc>
                <a:spcPct val="80000"/>
              </a:lnSpc>
              <a:spcBef>
                <a:spcPts val="0"/>
              </a:spcBef>
              <a:defRPr kumimoji="0" lang="ru-RU" sz="4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КОНТАКТЫ</a:t>
            </a:r>
          </a:p>
        </p:txBody>
      </p:sp>
      <p:cxnSp>
        <p:nvCxnSpPr>
          <p:cNvPr id="28" name="Straight Connector 14">
            <a:extLst>
              <a:ext uri="{FF2B5EF4-FFF2-40B4-BE49-F238E27FC236}">
                <a16:creationId xmlns:a16="http://schemas.microsoft.com/office/drawing/2014/main" id="{E464BC2B-2C22-6E3C-3CC4-2AD33EAE6ABE}"/>
              </a:ext>
            </a:extLst>
          </p:cNvPr>
          <p:cNvCxnSpPr>
            <a:cxnSpLocks/>
          </p:cNvCxnSpPr>
          <p:nvPr userDrawn="1"/>
        </p:nvCxnSpPr>
        <p:spPr>
          <a:xfrm>
            <a:off x="335967" y="2961043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4">
            <a:extLst>
              <a:ext uri="{FF2B5EF4-FFF2-40B4-BE49-F238E27FC236}">
                <a16:creationId xmlns:a16="http://schemas.microsoft.com/office/drawing/2014/main" id="{A8E59309-6BE9-75FB-2032-994234894800}"/>
              </a:ext>
            </a:extLst>
          </p:cNvPr>
          <p:cNvCxnSpPr>
            <a:cxnSpLocks/>
          </p:cNvCxnSpPr>
          <p:nvPr userDrawn="1"/>
        </p:nvCxnSpPr>
        <p:spPr>
          <a:xfrm>
            <a:off x="335967" y="3698405"/>
            <a:ext cx="675871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1">
            <a:extLst>
              <a:ext uri="{FF2B5EF4-FFF2-40B4-BE49-F238E27FC236}">
                <a16:creationId xmlns:a16="http://schemas.microsoft.com/office/drawing/2014/main" id="{24C063A7-23E0-634C-9B11-626076D6D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22041BD-E345-5241-9EEF-3501F046B9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1804" y="4302679"/>
            <a:ext cx="3469146" cy="215468"/>
          </a:xfrm>
          <a:ln>
            <a:solidFill>
              <a:srgbClr val="004596"/>
            </a:solidFill>
          </a:ln>
        </p:spPr>
        <p:txBody>
          <a:bodyPr lIns="0" tIns="0" rIns="0" bIns="0"/>
          <a:lstStyle>
            <a:lvl1pPr>
              <a:defRPr kumimoji="0" lang="ru-RU" sz="20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ФИО</a:t>
            </a:r>
          </a:p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2843519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>
            <a:extLst>
              <a:ext uri="{FF2B5EF4-FFF2-40B4-BE49-F238E27FC236}">
                <a16:creationId xmlns:a16="http://schemas.microsoft.com/office/drawing/2014/main" id="{8F133F02-7ABE-5B7B-0A0E-D32314A4E2CF}"/>
              </a:ext>
            </a:extLst>
          </p:cNvPr>
          <p:cNvSpPr txBox="1">
            <a:spLocks/>
          </p:cNvSpPr>
          <p:nvPr userDrawn="1"/>
        </p:nvSpPr>
        <p:spPr>
          <a:xfrm>
            <a:off x="1797170" y="3192944"/>
            <a:ext cx="8597660" cy="47211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ПАСИБО ЗА ВНИМАНИЕ</a:t>
            </a:r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5CB87C7A-B3D1-BB45-B4BE-DF23D6DE9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5832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модуля Зали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8">
            <a:extLst>
              <a:ext uri="{FF2B5EF4-FFF2-40B4-BE49-F238E27FC236}">
                <a16:creationId xmlns:a16="http://schemas.microsoft.com/office/drawing/2014/main" id="{B60BE0A5-D2F5-A84A-86FC-A07C2446A81E}"/>
              </a:ext>
            </a:extLst>
          </p:cNvPr>
          <p:cNvSpPr>
            <a:spLocks/>
          </p:cNvSpPr>
          <p:nvPr userDrawn="1"/>
        </p:nvSpPr>
        <p:spPr>
          <a:xfrm>
            <a:off x="6166246" y="1776391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96">
            <a:extLst>
              <a:ext uri="{FF2B5EF4-FFF2-40B4-BE49-F238E27FC236}">
                <a16:creationId xmlns:a16="http://schemas.microsoft.com/office/drawing/2014/main" id="{F6823806-22C1-5C4D-9EC8-681BC3EC68D6}"/>
              </a:ext>
            </a:extLst>
          </p:cNvPr>
          <p:cNvSpPr>
            <a:spLocks/>
          </p:cNvSpPr>
          <p:nvPr userDrawn="1"/>
        </p:nvSpPr>
        <p:spPr>
          <a:xfrm>
            <a:off x="6166246" y="1128391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25" name="Text Placeholder 58">
            <a:extLst>
              <a:ext uri="{FF2B5EF4-FFF2-40B4-BE49-F238E27FC236}">
                <a16:creationId xmlns:a16="http://schemas.microsoft.com/office/drawing/2014/main" id="{855212D8-25C3-0646-AB16-1844EB7D64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2796" y="1845669"/>
            <a:ext cx="5434214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26" name="Text Placeholder 78">
            <a:extLst>
              <a:ext uri="{FF2B5EF4-FFF2-40B4-BE49-F238E27FC236}">
                <a16:creationId xmlns:a16="http://schemas.microsoft.com/office/drawing/2014/main" id="{0A7FE6AF-BD6D-5449-8706-38672F16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796" y="2137227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33" name="Текст 4">
            <a:extLst>
              <a:ext uri="{FF2B5EF4-FFF2-40B4-BE49-F238E27FC236}">
                <a16:creationId xmlns:a16="http://schemas.microsoft.com/office/drawing/2014/main" id="{378813D9-342B-CA44-A980-9755B94CB87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78222" y="1128713"/>
            <a:ext cx="5675404" cy="647700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9" name="Номер слайда 1">
            <a:extLst>
              <a:ext uri="{FF2B5EF4-FFF2-40B4-BE49-F238E27FC236}">
                <a16:creationId xmlns:a16="http://schemas.microsoft.com/office/drawing/2014/main" id="{F6C8F711-BD2D-D043-9CC3-B3AB7DB518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AC9CFC8-9240-794B-99C5-9E7F77ABB6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420" y="286257"/>
            <a:ext cx="8699380" cy="694818"/>
          </a:xfrm>
        </p:spPr>
        <p:txBody>
          <a:bodyPr wrap="square" anchor="ctr"/>
          <a:lstStyle>
            <a:lvl1pPr>
              <a:defRPr sz="2800" b="1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Заголовок СЛАЙДА</a:t>
            </a:r>
          </a:p>
        </p:txBody>
      </p:sp>
      <p:sp>
        <p:nvSpPr>
          <p:cNvPr id="3" name="Freeform: Shape 28">
            <a:extLst>
              <a:ext uri="{FF2B5EF4-FFF2-40B4-BE49-F238E27FC236}">
                <a16:creationId xmlns:a16="http://schemas.microsoft.com/office/drawing/2014/main" id="{0D375D73-F3AD-A64F-73BC-6769748C2CBC}"/>
              </a:ext>
            </a:extLst>
          </p:cNvPr>
          <p:cNvSpPr>
            <a:spLocks/>
          </p:cNvSpPr>
          <p:nvPr userDrawn="1"/>
        </p:nvSpPr>
        <p:spPr>
          <a:xfrm>
            <a:off x="334963" y="1780915"/>
            <a:ext cx="5690791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reeform: Shape 96">
            <a:extLst>
              <a:ext uri="{FF2B5EF4-FFF2-40B4-BE49-F238E27FC236}">
                <a16:creationId xmlns:a16="http://schemas.microsoft.com/office/drawing/2014/main" id="{956C53BB-5E0D-3738-FFE8-82BA275E6ABC}"/>
              </a:ext>
            </a:extLst>
          </p:cNvPr>
          <p:cNvSpPr>
            <a:spLocks/>
          </p:cNvSpPr>
          <p:nvPr userDrawn="1"/>
        </p:nvSpPr>
        <p:spPr>
          <a:xfrm>
            <a:off x="334963" y="1132915"/>
            <a:ext cx="569079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6" name="Text Placeholder 58">
            <a:extLst>
              <a:ext uri="{FF2B5EF4-FFF2-40B4-BE49-F238E27FC236}">
                <a16:creationId xmlns:a16="http://schemas.microsoft.com/office/drawing/2014/main" id="{52E8EBF1-3938-95F4-619B-A9D38866364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513" y="1850193"/>
            <a:ext cx="5434214" cy="277200"/>
          </a:xfrm>
        </p:spPr>
        <p:txBody>
          <a:bodyPr/>
          <a:lstStyle>
            <a:lvl1pPr>
              <a:defRPr kumimoji="0" lang="en-US" sz="1400" b="1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>
              <a:defRPr kumimoji="0" lang="en-US" sz="1200" b="1" i="0" u="none" strike="noStrike" kern="1200" cap="none" spc="0" normalizeH="0" baseline="0" dirty="0" smtClean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GPN_DIN Condensed Bold" panose="020B0506020202020204" pitchFamily="34" charset="0"/>
                <a:ea typeface="GPN_DIN Condensed Bold" panose="020B0506020202020204" pitchFamily="34" charset="0"/>
                <a:cs typeface="+mn-cs"/>
              </a:defRPr>
            </a:lvl2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7" name="Text Placeholder 78">
            <a:extLst>
              <a:ext uri="{FF2B5EF4-FFF2-40B4-BE49-F238E27FC236}">
                <a16:creationId xmlns:a16="http://schemas.microsoft.com/office/drawing/2014/main" id="{9ECD714B-712C-D62A-18F8-3786E9E32A1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1513" y="2141751"/>
            <a:ext cx="5434214" cy="3419150"/>
          </a:xfrm>
        </p:spPr>
        <p:txBody>
          <a:bodyPr>
            <a:noAutofit/>
          </a:bodyPr>
          <a:lstStyle>
            <a:lvl1pPr>
              <a:defRPr kumimoji="0" lang="en-US" sz="1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2pPr>
            <a:lvl3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3pPr>
            <a:lvl4pPr>
              <a:defRPr kumimoji="0" lang="en-US" sz="105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4pPr>
            <a:lvl5pPr>
              <a:defRPr kumimoji="0" lang="ru-RU" sz="105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Нажмите для вставки текста</a:t>
            </a:r>
            <a:endParaRPr lang="en-US" dirty="0"/>
          </a:p>
        </p:txBody>
      </p:sp>
      <p:sp>
        <p:nvSpPr>
          <p:cNvPr id="9" name="Текст 4">
            <a:extLst>
              <a:ext uri="{FF2B5EF4-FFF2-40B4-BE49-F238E27FC236}">
                <a16:creationId xmlns:a16="http://schemas.microsoft.com/office/drawing/2014/main" id="{6EF8BF1E-2BA4-F553-E555-286414D49C6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6939" y="1133237"/>
            <a:ext cx="5675404" cy="647700"/>
          </a:xfrm>
          <a:prstGeom prst="rect">
            <a:avLst/>
          </a:prstGeom>
          <a:solidFill>
            <a:srgbClr val="00B050"/>
          </a:solidFill>
        </p:spPr>
        <p:txBody>
          <a:bodyPr lIns="144000" tIns="144000" rIns="144000" bIns="144000" anchor="ctr"/>
          <a:lstStyle>
            <a:lvl1pPr marR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400" dirty="0">
              <a:solidFill>
                <a:schemeClr val="bg1"/>
              </a:solidFill>
              <a:latin typeface="GPN_DIN Condensed Bold" panose="020B0706020202020204" pitchFamily="34" charset="0"/>
              <a:ea typeface="GPN_DIN Condensed Bold" panose="020B0706020202020204" pitchFamily="34" charset="0"/>
            </a:endParaRPr>
          </a:p>
        </p:txBody>
      </p:sp>
      <p:sp>
        <p:nvSpPr>
          <p:cNvPr id="17" name="Текст 6">
            <a:extLst>
              <a:ext uri="{FF2B5EF4-FFF2-40B4-BE49-F238E27FC236}">
                <a16:creationId xmlns:a16="http://schemas.microsoft.com/office/drawing/2014/main" id="{AE8D96D1-9D7D-7D43-97A8-5E90A9CC405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40777" y="6400222"/>
            <a:ext cx="5724525" cy="204787"/>
          </a:xfrm>
          <a:prstGeom prst="rect">
            <a:avLst/>
          </a:prstGeom>
        </p:spPr>
        <p:txBody>
          <a:bodyPr/>
          <a:lstStyle>
            <a:lvl1pPr>
              <a:defRPr lang="ru-RU" sz="800" b="0" i="0" kern="1200" cap="none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1903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20" name="Номер слайда 1">
            <a:extLst>
              <a:ext uri="{FF2B5EF4-FFF2-40B4-BE49-F238E27FC236}">
                <a16:creationId xmlns:a16="http://schemas.microsoft.com/office/drawing/2014/main" id="{F355392C-AFA9-F2B8-B60F-3C2FB436B1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5710" y="6296520"/>
            <a:ext cx="3222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 spc="0">
                <a:solidFill>
                  <a:schemeClr val="tx1"/>
                </a:solidFill>
                <a:latin typeface="GPN_DIN Condensed Regular" panose="020B0504020202020204" pitchFamily="34" charset="0"/>
                <a:ea typeface="GPN_DIN Condensed Regular" panose="020B0504020202020204" pitchFamily="34" charset="0"/>
              </a:defRPr>
            </a:lvl1pPr>
          </a:lstStyle>
          <a:p>
            <a:fld id="{D58DDE06-DF15-0A4F-A85A-4EB38848D8E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391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9" r:id="rId1"/>
    <p:sldLayoutId id="2147483820" r:id="rId2"/>
    <p:sldLayoutId id="2147484598" r:id="rId3"/>
    <p:sldLayoutId id="2147484165" r:id="rId4"/>
    <p:sldLayoutId id="2147484161" r:id="rId5"/>
    <p:sldLayoutId id="2147484163" r:id="rId6"/>
    <p:sldLayoutId id="2147484571" r:id="rId7"/>
    <p:sldLayoutId id="2147484572" r:id="rId8"/>
    <p:sldLayoutId id="2147484584" r:id="rId9"/>
    <p:sldLayoutId id="2147484585" r:id="rId10"/>
    <p:sldLayoutId id="2147484586" r:id="rId11"/>
    <p:sldLayoutId id="2147484587" r:id="rId12"/>
    <p:sldLayoutId id="2147484588" r:id="rId13"/>
    <p:sldLayoutId id="2147484605" r:id="rId14"/>
    <p:sldLayoutId id="2147484590" r:id="rId15"/>
    <p:sldLayoutId id="2147484600" r:id="rId16"/>
    <p:sldLayoutId id="2147484601" r:id="rId17"/>
    <p:sldLayoutId id="2147484602" r:id="rId18"/>
    <p:sldLayoutId id="2147484603" r:id="rId19"/>
    <p:sldLayoutId id="2147484604" r:id="rId20"/>
    <p:sldLayoutId id="2147484591" r:id="rId21"/>
    <p:sldLayoutId id="2147484592" r:id="rId22"/>
    <p:sldLayoutId id="2147484593" r:id="rId23"/>
    <p:sldLayoutId id="2147484594" r:id="rId24"/>
    <p:sldLayoutId id="2147484595" r:id="rId25"/>
    <p:sldLayoutId id="2147484596" r:id="rId26"/>
    <p:sldLayoutId id="2147484597" r:id="rId27"/>
    <p:sldLayoutId id="2147484488" r:id="rId28"/>
    <p:sldLayoutId id="2147484489" r:id="rId29"/>
    <p:sldLayoutId id="2147484490" r:id="rId3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b="1" kern="1200" cap="all" baseline="0">
          <a:solidFill>
            <a:schemeClr val="tx1">
              <a:lumMod val="60000"/>
              <a:lumOff val="4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800" b="1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266700" marR="0" indent="-266700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9263" indent="-169863" algn="l" defTabSz="914400" rtl="0" eaLnBrk="1" latinLnBrk="0" hangingPunct="1">
        <a:lnSpc>
          <a:spcPct val="90000"/>
        </a:lnSpc>
        <a:spcBef>
          <a:spcPts val="300"/>
        </a:spcBef>
        <a:buClr>
          <a:schemeClr val="accent3"/>
        </a:buClr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48">
          <p15:clr>
            <a:srgbClr val="F26B43"/>
          </p15:clr>
        </p15:guide>
        <p15:guide id="2" orient="horz" pos="1207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  <p15:guide id="5" orient="horz" pos="210">
          <p15:clr>
            <a:srgbClr val="F26B43"/>
          </p15:clr>
        </p15:guide>
        <p15:guide id="6" orient="horz" pos="4110">
          <p15:clr>
            <a:srgbClr val="F26B43"/>
          </p15:clr>
        </p15:guide>
        <p15:guide id="7" pos="1958">
          <p15:clr>
            <a:srgbClr val="F26B43"/>
          </p15:clr>
        </p15:guide>
        <p15:guide id="8" pos="2570">
          <p15:clr>
            <a:srgbClr val="F26B43"/>
          </p15:clr>
        </p15:guide>
        <p15:guide id="9" orient="horz" pos="1117">
          <p15:clr>
            <a:srgbClr val="F26B43"/>
          </p15:clr>
        </p15:guide>
        <p15:guide id="10" orient="horz" pos="1616">
          <p15:clr>
            <a:srgbClr val="F26B43"/>
          </p15:clr>
        </p15:guide>
        <p15:guide id="11" pos="1436">
          <p15:clr>
            <a:srgbClr val="F26B43"/>
          </p15:clr>
        </p15:guide>
        <p15:guide id="12" pos="1345">
          <p15:clr>
            <a:srgbClr val="F26B43"/>
          </p15:clr>
        </p15:guide>
        <p15:guide id="13" pos="824">
          <p15:clr>
            <a:srgbClr val="F26B43"/>
          </p15:clr>
        </p15:guide>
        <p15:guide id="14" pos="3182">
          <p15:clr>
            <a:srgbClr val="F26B43"/>
          </p15:clr>
        </p15:guide>
        <p15:guide id="15" pos="3273">
          <p15:clr>
            <a:srgbClr val="F26B43"/>
          </p15:clr>
        </p15:guide>
        <p15:guide id="16" pos="3795">
          <p15:clr>
            <a:srgbClr val="F26B43"/>
          </p15:clr>
        </p15:guide>
        <p15:guide id="17" pos="733">
          <p15:clr>
            <a:srgbClr val="F26B43"/>
          </p15:clr>
        </p15:guide>
        <p15:guide id="18" orient="horz" pos="618">
          <p15:clr>
            <a:srgbClr val="F26B43"/>
          </p15:clr>
        </p15:guide>
        <p15:guide id="19" pos="2661">
          <p15:clr>
            <a:srgbClr val="F26B43"/>
          </p15:clr>
        </p15:guide>
        <p15:guide id="20" pos="3885">
          <p15:clr>
            <a:srgbClr val="F26B43"/>
          </p15:clr>
        </p15:guide>
        <p15:guide id="21" pos="4407">
          <p15:clr>
            <a:srgbClr val="F26B43"/>
          </p15:clr>
        </p15:guide>
        <p15:guide id="22" pos="4498">
          <p15:clr>
            <a:srgbClr val="F26B43"/>
          </p15:clr>
        </p15:guide>
        <p15:guide id="23" pos="5019">
          <p15:clr>
            <a:srgbClr val="F26B43"/>
          </p15:clr>
        </p15:guide>
        <p15:guide id="24" pos="5632">
          <p15:clr>
            <a:srgbClr val="F26B43"/>
          </p15:clr>
        </p15:guide>
        <p15:guide id="25" pos="5110">
          <p15:clr>
            <a:srgbClr val="F26B43"/>
          </p15:clr>
        </p15:guide>
        <p15:guide id="26" pos="5722">
          <p15:clr>
            <a:srgbClr val="F26B43"/>
          </p15:clr>
        </p15:guide>
        <p15:guide id="27" pos="6244">
          <p15:clr>
            <a:srgbClr val="F26B43"/>
          </p15:clr>
        </p15:guide>
        <p15:guide id="28" pos="6335">
          <p15:clr>
            <a:srgbClr val="F26B43"/>
          </p15:clr>
        </p15:guide>
        <p15:guide id="29" pos="6856">
          <p15:clr>
            <a:srgbClr val="F26B43"/>
          </p15:clr>
        </p15:guide>
        <p15:guide id="30" pos="6947">
          <p15:clr>
            <a:srgbClr val="F26B43"/>
          </p15:clr>
        </p15:guide>
        <p15:guide id="31" orient="horz" pos="3906">
          <p15:clr>
            <a:srgbClr val="F26B43"/>
          </p15:clr>
        </p15:guide>
        <p15:guide id="32" orient="horz" pos="1706">
          <p15:clr>
            <a:srgbClr val="F26B43"/>
          </p15:clr>
        </p15:guide>
        <p15:guide id="33" orient="horz" pos="3702">
          <p15:clr>
            <a:srgbClr val="F26B43"/>
          </p15:clr>
        </p15:guide>
        <p15:guide id="34" orient="horz" pos="3612">
          <p15:clr>
            <a:srgbClr val="F26B43"/>
          </p15:clr>
        </p15:guide>
        <p15:guide id="35" orient="horz" pos="3203">
          <p15:clr>
            <a:srgbClr val="F26B43"/>
          </p15:clr>
        </p15:guide>
        <p15:guide id="36" orient="horz" pos="3113">
          <p15:clr>
            <a:srgbClr val="F26B43"/>
          </p15:clr>
        </p15:guide>
        <p15:guide id="37" orient="horz" pos="2704">
          <p15:clr>
            <a:srgbClr val="F26B43"/>
          </p15:clr>
        </p15:guide>
        <p15:guide id="38" orient="horz" pos="2614">
          <p15:clr>
            <a:srgbClr val="F26B43"/>
          </p15:clr>
        </p15:guide>
        <p15:guide id="39" orient="horz" pos="2205">
          <p15:clr>
            <a:srgbClr val="F26B43"/>
          </p15:clr>
        </p15:guide>
        <p15:guide id="40" orient="horz" pos="2115">
          <p15:clr>
            <a:srgbClr val="F26B43"/>
          </p15:clr>
        </p15:guide>
        <p15:guide id="41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3.svg"/><Relationship Id="rId5" Type="http://schemas.openxmlformats.org/officeDocument/2006/relationships/image" Target="../media/image162.png"/><Relationship Id="rId4" Type="http://schemas.openxmlformats.org/officeDocument/2006/relationships/image" Target="../media/image161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svg"/><Relationship Id="rId13" Type="http://schemas.openxmlformats.org/officeDocument/2006/relationships/image" Target="../media/image174.svg"/><Relationship Id="rId3" Type="http://schemas.openxmlformats.org/officeDocument/2006/relationships/image" Target="../media/image164.png"/><Relationship Id="rId7" Type="http://schemas.openxmlformats.org/officeDocument/2006/relationships/image" Target="../media/image168.png"/><Relationship Id="rId12" Type="http://schemas.openxmlformats.org/officeDocument/2006/relationships/image" Target="../media/image173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7.svg"/><Relationship Id="rId11" Type="http://schemas.openxmlformats.org/officeDocument/2006/relationships/image" Target="../media/image172.svg"/><Relationship Id="rId5" Type="http://schemas.openxmlformats.org/officeDocument/2006/relationships/image" Target="../media/image166.png"/><Relationship Id="rId15" Type="http://schemas.openxmlformats.org/officeDocument/2006/relationships/image" Target="../media/image176.svg"/><Relationship Id="rId10" Type="http://schemas.openxmlformats.org/officeDocument/2006/relationships/image" Target="../media/image171.svg"/><Relationship Id="rId4" Type="http://schemas.openxmlformats.org/officeDocument/2006/relationships/image" Target="../media/image165.svg"/><Relationship Id="rId9" Type="http://schemas.openxmlformats.org/officeDocument/2006/relationships/image" Target="../media/image170.png"/><Relationship Id="rId14" Type="http://schemas.openxmlformats.org/officeDocument/2006/relationships/image" Target="../media/image175.png"/></Relationships>
</file>

<file path=ppt/slides/_rels/slide1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7.png"/><Relationship Id="rId18" Type="http://schemas.openxmlformats.org/officeDocument/2006/relationships/image" Target="../media/image192.svg"/><Relationship Id="rId26" Type="http://schemas.openxmlformats.org/officeDocument/2006/relationships/image" Target="../media/image200.svg"/><Relationship Id="rId39" Type="http://schemas.openxmlformats.org/officeDocument/2006/relationships/image" Target="../media/image213.png"/><Relationship Id="rId21" Type="http://schemas.openxmlformats.org/officeDocument/2006/relationships/image" Target="../media/image195.png"/><Relationship Id="rId34" Type="http://schemas.openxmlformats.org/officeDocument/2006/relationships/image" Target="../media/image208.svg"/><Relationship Id="rId42" Type="http://schemas.openxmlformats.org/officeDocument/2006/relationships/image" Target="../media/image216.svg"/><Relationship Id="rId47" Type="http://schemas.openxmlformats.org/officeDocument/2006/relationships/image" Target="../media/image221.png"/><Relationship Id="rId50" Type="http://schemas.openxmlformats.org/officeDocument/2006/relationships/image" Target="../media/image224.svg"/><Relationship Id="rId55" Type="http://schemas.openxmlformats.org/officeDocument/2006/relationships/image" Target="../media/image229.png"/><Relationship Id="rId7" Type="http://schemas.openxmlformats.org/officeDocument/2006/relationships/image" Target="../media/image181.png"/><Relationship Id="rId2" Type="http://schemas.openxmlformats.org/officeDocument/2006/relationships/notesSlide" Target="../notesSlides/notesSlide39.xml"/><Relationship Id="rId16" Type="http://schemas.openxmlformats.org/officeDocument/2006/relationships/image" Target="../media/image190.svg"/><Relationship Id="rId20" Type="http://schemas.openxmlformats.org/officeDocument/2006/relationships/image" Target="../media/image194.svg"/><Relationship Id="rId29" Type="http://schemas.openxmlformats.org/officeDocument/2006/relationships/image" Target="../media/image203.png"/><Relationship Id="rId41" Type="http://schemas.openxmlformats.org/officeDocument/2006/relationships/image" Target="../media/image215.png"/><Relationship Id="rId54" Type="http://schemas.openxmlformats.org/officeDocument/2006/relationships/image" Target="../media/image228.svg"/><Relationship Id="rId62" Type="http://schemas.openxmlformats.org/officeDocument/2006/relationships/image" Target="../media/image23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0.svg"/><Relationship Id="rId11" Type="http://schemas.openxmlformats.org/officeDocument/2006/relationships/image" Target="../media/image185.png"/><Relationship Id="rId24" Type="http://schemas.openxmlformats.org/officeDocument/2006/relationships/image" Target="../media/image198.svg"/><Relationship Id="rId32" Type="http://schemas.openxmlformats.org/officeDocument/2006/relationships/image" Target="../media/image206.svg"/><Relationship Id="rId37" Type="http://schemas.openxmlformats.org/officeDocument/2006/relationships/image" Target="../media/image211.png"/><Relationship Id="rId40" Type="http://schemas.openxmlformats.org/officeDocument/2006/relationships/image" Target="../media/image214.svg"/><Relationship Id="rId45" Type="http://schemas.openxmlformats.org/officeDocument/2006/relationships/image" Target="../media/image219.png"/><Relationship Id="rId53" Type="http://schemas.openxmlformats.org/officeDocument/2006/relationships/image" Target="../media/image227.png"/><Relationship Id="rId58" Type="http://schemas.openxmlformats.org/officeDocument/2006/relationships/image" Target="../media/image232.svg"/><Relationship Id="rId5" Type="http://schemas.openxmlformats.org/officeDocument/2006/relationships/image" Target="../media/image179.png"/><Relationship Id="rId15" Type="http://schemas.openxmlformats.org/officeDocument/2006/relationships/image" Target="../media/image189.png"/><Relationship Id="rId23" Type="http://schemas.openxmlformats.org/officeDocument/2006/relationships/image" Target="../media/image197.png"/><Relationship Id="rId28" Type="http://schemas.openxmlformats.org/officeDocument/2006/relationships/image" Target="../media/image202.svg"/><Relationship Id="rId36" Type="http://schemas.openxmlformats.org/officeDocument/2006/relationships/image" Target="../media/image210.svg"/><Relationship Id="rId49" Type="http://schemas.openxmlformats.org/officeDocument/2006/relationships/image" Target="../media/image223.png"/><Relationship Id="rId57" Type="http://schemas.openxmlformats.org/officeDocument/2006/relationships/image" Target="../media/image231.png"/><Relationship Id="rId61" Type="http://schemas.openxmlformats.org/officeDocument/2006/relationships/image" Target="../media/image235.png"/><Relationship Id="rId10" Type="http://schemas.openxmlformats.org/officeDocument/2006/relationships/image" Target="../media/image184.svg"/><Relationship Id="rId19" Type="http://schemas.openxmlformats.org/officeDocument/2006/relationships/image" Target="../media/image193.png"/><Relationship Id="rId31" Type="http://schemas.openxmlformats.org/officeDocument/2006/relationships/image" Target="../media/image205.png"/><Relationship Id="rId44" Type="http://schemas.openxmlformats.org/officeDocument/2006/relationships/image" Target="../media/image218.svg"/><Relationship Id="rId52" Type="http://schemas.openxmlformats.org/officeDocument/2006/relationships/image" Target="../media/image226.svg"/><Relationship Id="rId60" Type="http://schemas.openxmlformats.org/officeDocument/2006/relationships/image" Target="../media/image234.svg"/><Relationship Id="rId4" Type="http://schemas.openxmlformats.org/officeDocument/2006/relationships/image" Target="../media/image178.svg"/><Relationship Id="rId9" Type="http://schemas.openxmlformats.org/officeDocument/2006/relationships/image" Target="../media/image183.png"/><Relationship Id="rId14" Type="http://schemas.openxmlformats.org/officeDocument/2006/relationships/image" Target="../media/image188.svg"/><Relationship Id="rId22" Type="http://schemas.openxmlformats.org/officeDocument/2006/relationships/image" Target="../media/image196.svg"/><Relationship Id="rId27" Type="http://schemas.openxmlformats.org/officeDocument/2006/relationships/image" Target="../media/image201.png"/><Relationship Id="rId30" Type="http://schemas.openxmlformats.org/officeDocument/2006/relationships/image" Target="../media/image204.svg"/><Relationship Id="rId35" Type="http://schemas.openxmlformats.org/officeDocument/2006/relationships/image" Target="../media/image209.png"/><Relationship Id="rId43" Type="http://schemas.openxmlformats.org/officeDocument/2006/relationships/image" Target="../media/image217.png"/><Relationship Id="rId48" Type="http://schemas.openxmlformats.org/officeDocument/2006/relationships/image" Target="../media/image222.svg"/><Relationship Id="rId56" Type="http://schemas.openxmlformats.org/officeDocument/2006/relationships/image" Target="../media/image230.svg"/><Relationship Id="rId8" Type="http://schemas.openxmlformats.org/officeDocument/2006/relationships/image" Target="../media/image182.svg"/><Relationship Id="rId51" Type="http://schemas.openxmlformats.org/officeDocument/2006/relationships/image" Target="../media/image225.png"/><Relationship Id="rId3" Type="http://schemas.openxmlformats.org/officeDocument/2006/relationships/image" Target="../media/image177.png"/><Relationship Id="rId12" Type="http://schemas.openxmlformats.org/officeDocument/2006/relationships/image" Target="../media/image186.svg"/><Relationship Id="rId17" Type="http://schemas.openxmlformats.org/officeDocument/2006/relationships/image" Target="../media/image191.png"/><Relationship Id="rId25" Type="http://schemas.openxmlformats.org/officeDocument/2006/relationships/image" Target="../media/image199.png"/><Relationship Id="rId33" Type="http://schemas.openxmlformats.org/officeDocument/2006/relationships/image" Target="../media/image207.png"/><Relationship Id="rId38" Type="http://schemas.openxmlformats.org/officeDocument/2006/relationships/image" Target="../media/image212.svg"/><Relationship Id="rId46" Type="http://schemas.openxmlformats.org/officeDocument/2006/relationships/image" Target="../media/image220.svg"/><Relationship Id="rId59" Type="http://schemas.openxmlformats.org/officeDocument/2006/relationships/image" Target="../media/image233.pn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svg"/><Relationship Id="rId3" Type="http://schemas.openxmlformats.org/officeDocument/2006/relationships/image" Target="../media/image36.svg"/><Relationship Id="rId7" Type="http://schemas.openxmlformats.org/officeDocument/2006/relationships/image" Target="../media/image40.svg"/><Relationship Id="rId12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44.svg"/><Relationship Id="rId5" Type="http://schemas.openxmlformats.org/officeDocument/2006/relationships/image" Target="../media/image38.sv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svg"/><Relationship Id="rId14" Type="http://schemas.openxmlformats.org/officeDocument/2006/relationships/image" Target="../media/image1.png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svg"/><Relationship Id="rId7" Type="http://schemas.openxmlformats.org/officeDocument/2006/relationships/image" Target="../media/image52.sv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Relationship Id="rId9" Type="http://schemas.openxmlformats.org/officeDocument/2006/relationships/image" Target="../media/image54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10" Type="http://schemas.openxmlformats.org/officeDocument/2006/relationships/image" Target="../media/image62.svg"/><Relationship Id="rId4" Type="http://schemas.openxmlformats.org/officeDocument/2006/relationships/image" Target="../media/image56.svg"/><Relationship Id="rId9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13" Type="http://schemas.openxmlformats.org/officeDocument/2006/relationships/chart" Target="../charts/chart3.xml"/><Relationship Id="rId3" Type="http://schemas.openxmlformats.org/officeDocument/2006/relationships/chart" Target="../charts/chart1.xml"/><Relationship Id="rId7" Type="http://schemas.openxmlformats.org/officeDocument/2006/relationships/image" Target="../media/image88.png"/><Relationship Id="rId12" Type="http://schemas.openxmlformats.org/officeDocument/2006/relationships/image" Target="../media/image9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7.png"/><Relationship Id="rId11" Type="http://schemas.openxmlformats.org/officeDocument/2006/relationships/image" Target="../media/image91.png"/><Relationship Id="rId5" Type="http://schemas.openxmlformats.org/officeDocument/2006/relationships/image" Target="../media/image86.png"/><Relationship Id="rId15" Type="http://schemas.openxmlformats.org/officeDocument/2006/relationships/chart" Target="../charts/chart5.xml"/><Relationship Id="rId10" Type="http://schemas.openxmlformats.org/officeDocument/2006/relationships/image" Target="../media/image90.png"/><Relationship Id="rId4" Type="http://schemas.openxmlformats.org/officeDocument/2006/relationships/image" Target="../media/image85.emf"/><Relationship Id="rId9" Type="http://schemas.openxmlformats.org/officeDocument/2006/relationships/chart" Target="../charts/chart2.xml"/><Relationship Id="rId14" Type="http://schemas.openxmlformats.org/officeDocument/2006/relationships/chart" Target="../charts/char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4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93.emf"/><Relationship Id="rId5" Type="http://schemas.openxmlformats.org/officeDocument/2006/relationships/chart" Target="../charts/chart7.xml"/><Relationship Id="rId10" Type="http://schemas.openxmlformats.org/officeDocument/2006/relationships/chart" Target="../charts/chart10.xml"/><Relationship Id="rId4" Type="http://schemas.openxmlformats.org/officeDocument/2006/relationships/notesSlide" Target="../notesSlides/notesSlide4.xml"/><Relationship Id="rId9" Type="http://schemas.openxmlformats.org/officeDocument/2006/relationships/chart" Target="../charts/chart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13" Type="http://schemas.openxmlformats.org/officeDocument/2006/relationships/image" Target="../media/image104.png"/><Relationship Id="rId18" Type="http://schemas.openxmlformats.org/officeDocument/2006/relationships/image" Target="../media/image109.svg"/><Relationship Id="rId3" Type="http://schemas.openxmlformats.org/officeDocument/2006/relationships/image" Target="../media/image95.jpeg"/><Relationship Id="rId7" Type="http://schemas.openxmlformats.org/officeDocument/2006/relationships/image" Target="../media/image98.png"/><Relationship Id="rId12" Type="http://schemas.openxmlformats.org/officeDocument/2006/relationships/image" Target="../media/image103.svg"/><Relationship Id="rId17" Type="http://schemas.openxmlformats.org/officeDocument/2006/relationships/image" Target="../media/image108.png"/><Relationship Id="rId2" Type="http://schemas.openxmlformats.org/officeDocument/2006/relationships/chart" Target="../charts/chart11.xml"/><Relationship Id="rId16" Type="http://schemas.openxmlformats.org/officeDocument/2006/relationships/image" Target="../media/image107.sv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2.xml"/><Relationship Id="rId11" Type="http://schemas.openxmlformats.org/officeDocument/2006/relationships/image" Target="../media/image102.png"/><Relationship Id="rId5" Type="http://schemas.openxmlformats.org/officeDocument/2006/relationships/image" Target="../media/image97.svg"/><Relationship Id="rId15" Type="http://schemas.openxmlformats.org/officeDocument/2006/relationships/image" Target="../media/image106.png"/><Relationship Id="rId10" Type="http://schemas.openxmlformats.org/officeDocument/2006/relationships/image" Target="../media/image101.svg"/><Relationship Id="rId4" Type="http://schemas.openxmlformats.org/officeDocument/2006/relationships/image" Target="../media/image96.png"/><Relationship Id="rId9" Type="http://schemas.openxmlformats.org/officeDocument/2006/relationships/image" Target="../media/image100.png"/><Relationship Id="rId14" Type="http://schemas.openxmlformats.org/officeDocument/2006/relationships/image" Target="../media/image105.sv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chart" Target="../charts/chart1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1.sv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10" Type="http://schemas.openxmlformats.org/officeDocument/2006/relationships/image" Target="../media/image1.pn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4.svg"/><Relationship Id="rId4" Type="http://schemas.openxmlformats.org/officeDocument/2006/relationships/image" Target="../media/image113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6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5.jpe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10" Type="http://schemas.openxmlformats.org/officeDocument/2006/relationships/image" Target="../media/image122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svg"/><Relationship Id="rId3" Type="http://schemas.openxmlformats.org/officeDocument/2006/relationships/image" Target="../media/image123.png"/><Relationship Id="rId7" Type="http://schemas.openxmlformats.org/officeDocument/2006/relationships/image" Target="../media/image1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6.svg"/><Relationship Id="rId5" Type="http://schemas.openxmlformats.org/officeDocument/2006/relationships/image" Target="../media/image125.png"/><Relationship Id="rId4" Type="http://schemas.openxmlformats.org/officeDocument/2006/relationships/image" Target="../media/image124.sv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sv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4.sv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sv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svg"/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0.svg"/><Relationship Id="rId4" Type="http://schemas.openxmlformats.org/officeDocument/2006/relationships/image" Target="../media/image139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13" Type="http://schemas.openxmlformats.org/officeDocument/2006/relationships/image" Target="../media/image146.png"/><Relationship Id="rId3" Type="http://schemas.openxmlformats.org/officeDocument/2006/relationships/tags" Target="../tags/tag23.xml"/><Relationship Id="rId7" Type="http://schemas.openxmlformats.org/officeDocument/2006/relationships/image" Target="../media/image141.emf"/><Relationship Id="rId12" Type="http://schemas.openxmlformats.org/officeDocument/2006/relationships/image" Target="../media/image145.svg"/><Relationship Id="rId2" Type="http://schemas.openxmlformats.org/officeDocument/2006/relationships/tags" Target="../tags/tag22.xml"/><Relationship Id="rId16" Type="http://schemas.openxmlformats.org/officeDocument/2006/relationships/image" Target="../media/image149.svg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44.png"/><Relationship Id="rId5" Type="http://schemas.openxmlformats.org/officeDocument/2006/relationships/notesSlide" Target="../notesSlides/notesSlide23.xml"/><Relationship Id="rId15" Type="http://schemas.openxmlformats.org/officeDocument/2006/relationships/image" Target="../media/image148.png"/><Relationship Id="rId10" Type="http://schemas.openxmlformats.org/officeDocument/2006/relationships/image" Target="../media/image143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2.png"/><Relationship Id="rId14" Type="http://schemas.openxmlformats.org/officeDocument/2006/relationships/image" Target="../media/image14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image" Target="../media/image151.svg"/><Relationship Id="rId7" Type="http://schemas.openxmlformats.org/officeDocument/2006/relationships/image" Target="../media/image155.sv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4.png"/><Relationship Id="rId5" Type="http://schemas.openxmlformats.org/officeDocument/2006/relationships/image" Target="../media/image153.svg"/><Relationship Id="rId4" Type="http://schemas.openxmlformats.org/officeDocument/2006/relationships/image" Target="../media/image152.png"/><Relationship Id="rId9" Type="http://schemas.openxmlformats.org/officeDocument/2006/relationships/image" Target="../media/image157.sv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9.svg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notesSlide" Target="../notesSlides/notesSlide26.xml"/><Relationship Id="rId4" Type="http://schemas.openxmlformats.org/officeDocument/2006/relationships/tags" Target="../tags/tag27.xml"/><Relationship Id="rId9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18" Type="http://schemas.openxmlformats.org/officeDocument/2006/relationships/image" Target="../media/image33.pn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17" Type="http://schemas.openxmlformats.org/officeDocument/2006/relationships/image" Target="../media/image32.sv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19" Type="http://schemas.openxmlformats.org/officeDocument/2006/relationships/image" Target="../media/image34.sv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641A5D-BCE2-F14C-B398-DF64C88DC1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6561" y="3469020"/>
            <a:ext cx="6335713" cy="110191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/>
              <a:t>БИБЛИОТЕКА</a:t>
            </a:r>
            <a:br>
              <a:rPr lang="ru-RU" dirty="0"/>
            </a:br>
            <a:r>
              <a:rPr lang="ru-RU" dirty="0"/>
              <a:t>СЛАЙДОВ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7661197-9DC3-9D44-9A39-8C91D2F0DC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599B8CE-5656-C043-9905-6C19E315C0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AIL@TPU.RU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CCB38DA-6609-0E46-993B-97FED4789D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ФИО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DA38F52B-9C3E-4749-89B9-C93EDA62D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BD234BB6-E3D8-CB48-9463-FBFC43BFE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C1940F2A-51E4-8949-BA5A-75DF9E5B0A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5D396017-019F-C747-BE5B-E4E1D11B1F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5ECAC6B1-D58C-A643-A9C3-AB3C8E495A6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2A61C125-D03C-374F-B4DA-C66EC4DA94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0028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A7240E-EDAC-8DD6-86D5-116D652793A1}"/>
              </a:ext>
            </a:extLst>
          </p:cNvPr>
          <p:cNvSpPr txBox="1"/>
          <p:nvPr/>
        </p:nvSpPr>
        <p:spPr>
          <a:xfrm>
            <a:off x="337044" y="283184"/>
            <a:ext cx="9561868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24">
            <a:extLst>
              <a:ext uri="{FF2B5EF4-FFF2-40B4-BE49-F238E27FC236}">
                <a16:creationId xmlns:a16="http://schemas.microsoft.com/office/drawing/2014/main" id="{6B92850F-6DFD-F3A0-80EF-5CB03F20BD5D}"/>
              </a:ext>
            </a:extLst>
          </p:cNvPr>
          <p:cNvSpPr/>
          <p:nvPr/>
        </p:nvSpPr>
        <p:spPr>
          <a:xfrm>
            <a:off x="339378" y="1776387"/>
            <a:ext cx="7627968" cy="158128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ЦЕЛИ ПРОЕКТА </a:t>
            </a:r>
          </a:p>
          <a:p>
            <a:pPr lvl="0"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Прямоугольник 25">
            <a:extLst>
              <a:ext uri="{FF2B5EF4-FFF2-40B4-BE49-F238E27FC236}">
                <a16:creationId xmlns:a16="http://schemas.microsoft.com/office/drawing/2014/main" id="{D9910A0B-DEA5-13B0-2F1E-2809CC8A5D7E}"/>
              </a:ext>
            </a:extLst>
          </p:cNvPr>
          <p:cNvSpPr/>
          <p:nvPr/>
        </p:nvSpPr>
        <p:spPr>
          <a:xfrm>
            <a:off x="339378" y="4148317"/>
            <a:ext cx="7627968" cy="15812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6" name="Прямоугольник 160">
            <a:extLst>
              <a:ext uri="{FF2B5EF4-FFF2-40B4-BE49-F238E27FC236}">
                <a16:creationId xmlns:a16="http://schemas.microsoft.com/office/drawing/2014/main" id="{7DD5D9BF-9DAA-F751-5AB9-5B33A71AFE23}"/>
              </a:ext>
            </a:extLst>
          </p:cNvPr>
          <p:cNvSpPr/>
          <p:nvPr/>
        </p:nvSpPr>
        <p:spPr>
          <a:xfrm>
            <a:off x="8110917" y="1128391"/>
            <a:ext cx="3746121" cy="460121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defRPr/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indent="-176213" fontAlgn="base">
              <a:spcBef>
                <a:spcPts val="600"/>
              </a:spcBef>
              <a:buClr>
                <a:srgbClr val="F2F2F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7" name="Прямоугольник 161">
            <a:extLst>
              <a:ext uri="{FF2B5EF4-FFF2-40B4-BE49-F238E27FC236}">
                <a16:creationId xmlns:a16="http://schemas.microsoft.com/office/drawing/2014/main" id="{DB1A7D90-F120-8E7F-694F-C4B5D9F9A90F}"/>
              </a:ext>
            </a:extLst>
          </p:cNvPr>
          <p:cNvSpPr/>
          <p:nvPr/>
        </p:nvSpPr>
        <p:spPr>
          <a:xfrm>
            <a:off x="339378" y="1128618"/>
            <a:ext cx="7627968" cy="64776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62">
            <a:extLst>
              <a:ext uri="{FF2B5EF4-FFF2-40B4-BE49-F238E27FC236}">
                <a16:creationId xmlns:a16="http://schemas.microsoft.com/office/drawing/2014/main" id="{EE7DB738-0519-CB75-9E7E-EB7D1047F314}"/>
              </a:ext>
            </a:extLst>
          </p:cNvPr>
          <p:cNvSpPr/>
          <p:nvPr/>
        </p:nvSpPr>
        <p:spPr>
          <a:xfrm>
            <a:off x="339378" y="3500550"/>
            <a:ext cx="7627968" cy="64776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олилиния 10">
            <a:extLst>
              <a:ext uri="{FF2B5EF4-FFF2-40B4-BE49-F238E27FC236}">
                <a16:creationId xmlns:a16="http://schemas.microsoft.com/office/drawing/2014/main" id="{ED1365E8-2D9F-C40D-B248-98C778A631BB}"/>
              </a:ext>
            </a:extLst>
          </p:cNvPr>
          <p:cNvSpPr/>
          <p:nvPr/>
        </p:nvSpPr>
        <p:spPr>
          <a:xfrm>
            <a:off x="8295167" y="1588762"/>
            <a:ext cx="881086" cy="881077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083344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исунок 1">
            <a:extLst>
              <a:ext uri="{FF2B5EF4-FFF2-40B4-BE49-F238E27FC236}">
                <a16:creationId xmlns:a16="http://schemas.microsoft.com/office/drawing/2014/main" id="{6AEFB98C-5E99-3149-9600-721A2B41B6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B7528E7-C0DE-F743-823D-CA78719453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7963820-F842-334B-8967-3BB1BDC0C5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146910C-7128-B04E-B02B-3B2F5F093E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6FC892A-E074-DC4B-8E58-435487160B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1643371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РИЛОЖЕНИЕ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EA3D59E-C838-D5F5-40F3-D1081BF70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5612545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278AC5A-BD1D-0F46-9AAB-DDEFC78564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038EB69-59D1-4A49-A276-22532E7C8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1857696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7">
            <a:extLst>
              <a:ext uri="{FF2B5EF4-FFF2-40B4-BE49-F238E27FC236}">
                <a16:creationId xmlns:a16="http://schemas.microsoft.com/office/drawing/2014/main" id="{9038EB69-59D1-4A49-A276-22532E7C86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103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5554263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БИБЛИОТЕКА ЭЛЕМЕНТОВ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58E537-1014-D308-5D79-6206520F3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10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02230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МОДУЛИ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433B071-1454-A28E-8B24-0F0BC0369023}"/>
              </a:ext>
            </a:extLst>
          </p:cNvPr>
          <p:cNvSpPr/>
          <p:nvPr/>
        </p:nvSpPr>
        <p:spPr>
          <a:xfrm>
            <a:off x="337044" y="1125538"/>
            <a:ext cx="5687519" cy="65089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0" y="1776392"/>
            <a:ext cx="5686885" cy="442355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id="{AE1650F3-E62F-904A-81F7-4CF2A7F18EDF}"/>
              </a:ext>
            </a:extLst>
          </p:cNvPr>
          <p:cNvSpPr/>
          <p:nvPr/>
        </p:nvSpPr>
        <p:spPr>
          <a:xfrm>
            <a:off x="6169491" y="1776392"/>
            <a:ext cx="5686885" cy="442355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999D0A51-9A88-AB4B-8E3A-5989ECCB04F1}"/>
              </a:ext>
            </a:extLst>
          </p:cNvPr>
          <p:cNvSpPr/>
          <p:nvPr/>
        </p:nvSpPr>
        <p:spPr>
          <a:xfrm>
            <a:off x="6170285" y="1132030"/>
            <a:ext cx="5687519" cy="64120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F1F0D06-F087-1FF0-61AA-FDC0B699F7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9082928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rPr>
              <a:t>ПЛАШКИ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1" y="1128391"/>
            <a:ext cx="1798938" cy="46056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id="{B2D50025-51D6-B54B-99A2-4BD7CB2FFB33}"/>
              </a:ext>
            </a:extLst>
          </p:cNvPr>
          <p:cNvSpPr/>
          <p:nvPr/>
        </p:nvSpPr>
        <p:spPr>
          <a:xfrm>
            <a:off x="2279650" y="1125538"/>
            <a:ext cx="1800225" cy="460566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4224338" y="1125538"/>
            <a:ext cx="1800225" cy="460851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" name="Прямоугольник 207">
            <a:extLst>
              <a:ext uri="{FF2B5EF4-FFF2-40B4-BE49-F238E27FC236}">
                <a16:creationId xmlns:a16="http://schemas.microsoft.com/office/drawing/2014/main" id="{C3800FAA-DD6B-A8D3-077D-6923CE2277C5}"/>
              </a:ext>
            </a:extLst>
          </p:cNvPr>
          <p:cNvSpPr/>
          <p:nvPr/>
        </p:nvSpPr>
        <p:spPr>
          <a:xfrm>
            <a:off x="8111653" y="1128391"/>
            <a:ext cx="1800697" cy="4605659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3" name="Прямоугольник 130">
            <a:extLst>
              <a:ext uri="{FF2B5EF4-FFF2-40B4-BE49-F238E27FC236}">
                <a16:creationId xmlns:a16="http://schemas.microsoft.com/office/drawing/2014/main" id="{CB6CBF6A-E6D2-4DE5-4B07-2FE428A987EB}"/>
              </a:ext>
            </a:extLst>
          </p:cNvPr>
          <p:cNvSpPr/>
          <p:nvPr/>
        </p:nvSpPr>
        <p:spPr>
          <a:xfrm>
            <a:off x="6168552" y="1125538"/>
            <a:ext cx="1799112" cy="4605660"/>
          </a:xfrm>
          <a:prstGeom prst="rect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CA11EA-62E1-C24B-CA95-473436E0B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6</a:t>
            </a:fld>
            <a:endParaRPr lang="ru-RU" dirty="0"/>
          </a:p>
        </p:txBody>
      </p:sp>
      <p:sp>
        <p:nvSpPr>
          <p:cNvPr id="9" name="Прямоугольник 207">
            <a:extLst>
              <a:ext uri="{FF2B5EF4-FFF2-40B4-BE49-F238E27FC236}">
                <a16:creationId xmlns:a16="http://schemas.microsoft.com/office/drawing/2014/main" id="{C3800FAA-DD6B-A8D3-077D-6923CE2277C5}"/>
              </a:ext>
            </a:extLst>
          </p:cNvPr>
          <p:cNvSpPr/>
          <p:nvPr/>
        </p:nvSpPr>
        <p:spPr>
          <a:xfrm>
            <a:off x="10054754" y="1128391"/>
            <a:ext cx="1800697" cy="4605659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989972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dirty="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rPr>
              <a:t>ПЛАШКИ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336250" y="1128391"/>
            <a:ext cx="115200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863DA331-E80D-CC4E-BA7A-03A8362EFDDA}"/>
              </a:ext>
            </a:extLst>
          </p:cNvPr>
          <p:cNvSpPr/>
          <p:nvPr/>
        </p:nvSpPr>
        <p:spPr>
          <a:xfrm>
            <a:off x="6169955" y="3497388"/>
            <a:ext cx="2770845" cy="14445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5" name="Пятиугольник 134">
            <a:extLst>
              <a:ext uri="{FF2B5EF4-FFF2-40B4-BE49-F238E27FC236}">
                <a16:creationId xmlns:a16="http://schemas.microsoft.com/office/drawing/2014/main" id="{A4DB922E-06ED-A74C-B90E-85D3402FB832}"/>
              </a:ext>
            </a:extLst>
          </p:cNvPr>
          <p:cNvSpPr/>
          <p:nvPr/>
        </p:nvSpPr>
        <p:spPr>
          <a:xfrm>
            <a:off x="334963" y="3497388"/>
            <a:ext cx="5687960" cy="650928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GPN_DIN Bold" panose="020B0504020202020204" pitchFamily="34" charset="0"/>
              <a:ea typeface="GPN_DIN Bold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6731490C-8BD4-FD47-A369-1C8B2ABD9F4F}"/>
              </a:ext>
            </a:extLst>
          </p:cNvPr>
          <p:cNvSpPr/>
          <p:nvPr/>
        </p:nvSpPr>
        <p:spPr>
          <a:xfrm>
            <a:off x="6165717" y="5081852"/>
            <a:ext cx="828675" cy="32385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4E0C1D4-9FB8-3E4B-8325-FD59B8705E2D}"/>
              </a:ext>
            </a:extLst>
          </p:cNvPr>
          <p:cNvSpPr/>
          <p:nvPr/>
        </p:nvSpPr>
        <p:spPr>
          <a:xfrm>
            <a:off x="336250" y="1915669"/>
            <a:ext cx="1152000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51DED32-0586-D64A-B506-B8523FE862F5}"/>
              </a:ext>
            </a:extLst>
          </p:cNvPr>
          <p:cNvSpPr/>
          <p:nvPr/>
        </p:nvSpPr>
        <p:spPr>
          <a:xfrm>
            <a:off x="336250" y="2704529"/>
            <a:ext cx="11520000" cy="648000"/>
          </a:xfrm>
          <a:prstGeom prst="rect">
            <a:avLst/>
          </a:prstGeom>
          <a:solidFill>
            <a:srgbClr val="CCCCC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329DC411-4BF9-6D43-BD53-6595EBC6D1DA}"/>
              </a:ext>
            </a:extLst>
          </p:cNvPr>
          <p:cNvSpPr/>
          <p:nvPr/>
        </p:nvSpPr>
        <p:spPr>
          <a:xfrm>
            <a:off x="334963" y="4291472"/>
            <a:ext cx="5687960" cy="650928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6" name="Пятиугольник 15">
            <a:extLst>
              <a:ext uri="{FF2B5EF4-FFF2-40B4-BE49-F238E27FC236}">
                <a16:creationId xmlns:a16="http://schemas.microsoft.com/office/drawing/2014/main" id="{61B2C25F-F380-4844-A092-5A6AFB4882BF}"/>
              </a:ext>
            </a:extLst>
          </p:cNvPr>
          <p:cNvSpPr/>
          <p:nvPr/>
        </p:nvSpPr>
        <p:spPr>
          <a:xfrm>
            <a:off x="334963" y="5085556"/>
            <a:ext cx="5687960" cy="650928"/>
          </a:xfrm>
          <a:prstGeom prst="homePlate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GPN_DIN Bold" panose="020B0504020202020204" pitchFamily="34" charset="0"/>
              <a:ea typeface="GPN_DIN Bold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ABDB9B3-1349-B840-9E60-713C9FD44F7E}"/>
              </a:ext>
            </a:extLst>
          </p:cNvPr>
          <p:cNvSpPr/>
          <p:nvPr/>
        </p:nvSpPr>
        <p:spPr>
          <a:xfrm>
            <a:off x="9081597" y="3497388"/>
            <a:ext cx="2770845" cy="14445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E7025DC-28E2-5847-8505-E154F2B5A304}"/>
              </a:ext>
            </a:extLst>
          </p:cNvPr>
          <p:cNvSpPr/>
          <p:nvPr/>
        </p:nvSpPr>
        <p:spPr>
          <a:xfrm>
            <a:off x="7140502" y="5081852"/>
            <a:ext cx="828675" cy="32385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2DF702-E2DA-9C4E-86A7-3E6367897F74}"/>
              </a:ext>
            </a:extLst>
          </p:cNvPr>
          <p:cNvSpPr/>
          <p:nvPr/>
        </p:nvSpPr>
        <p:spPr>
          <a:xfrm>
            <a:off x="8106660" y="5081852"/>
            <a:ext cx="828675" cy="32385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GPN_DIN Regular" panose="020B0504020202020204" pitchFamily="34" charset="0"/>
              <a:ea typeface="GPN_DIN Regular" panose="020B05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87AE773-65C8-E0C2-D2F7-ACACB7A812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549012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ПЛАШКИ</a:t>
            </a: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id="{D5296C2A-7C6F-1246-91A3-5EEC973881AE}"/>
              </a:ext>
            </a:extLst>
          </p:cNvPr>
          <p:cNvSpPr/>
          <p:nvPr/>
        </p:nvSpPr>
        <p:spPr>
          <a:xfrm>
            <a:off x="336250" y="1128391"/>
            <a:ext cx="1152000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5474D8F2-8161-D34F-8DC1-CFB6130B247D}"/>
              </a:ext>
            </a:extLst>
          </p:cNvPr>
          <p:cNvSpPr/>
          <p:nvPr/>
        </p:nvSpPr>
        <p:spPr>
          <a:xfrm>
            <a:off x="336250" y="1915398"/>
            <a:ext cx="5687960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863DA331-E80D-CC4E-BA7A-03A8362EFDDA}"/>
              </a:ext>
            </a:extLst>
          </p:cNvPr>
          <p:cNvSpPr/>
          <p:nvPr/>
        </p:nvSpPr>
        <p:spPr>
          <a:xfrm>
            <a:off x="336250" y="2708044"/>
            <a:ext cx="2772157" cy="1440274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5" name="Пятиугольник 134">
            <a:extLst>
              <a:ext uri="{FF2B5EF4-FFF2-40B4-BE49-F238E27FC236}">
                <a16:creationId xmlns:a16="http://schemas.microsoft.com/office/drawing/2014/main" id="{A4DB922E-06ED-A74C-B90E-85D3402FB832}"/>
              </a:ext>
            </a:extLst>
          </p:cNvPr>
          <p:cNvSpPr/>
          <p:nvPr/>
        </p:nvSpPr>
        <p:spPr>
          <a:xfrm>
            <a:off x="334963" y="4290960"/>
            <a:ext cx="5687960" cy="650928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Пятиугольник 135">
            <a:extLst>
              <a:ext uri="{FF2B5EF4-FFF2-40B4-BE49-F238E27FC236}">
                <a16:creationId xmlns:a16="http://schemas.microsoft.com/office/drawing/2014/main" id="{A44E2603-3916-2648-B42E-D59F88068AF8}"/>
              </a:ext>
            </a:extLst>
          </p:cNvPr>
          <p:cNvSpPr/>
          <p:nvPr/>
        </p:nvSpPr>
        <p:spPr>
          <a:xfrm>
            <a:off x="338374" y="5084763"/>
            <a:ext cx="2770033" cy="649287"/>
          </a:xfrm>
          <a:prstGeom prst="homePlate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5" name="Прямоугольник 254">
            <a:extLst>
              <a:ext uri="{FF2B5EF4-FFF2-40B4-BE49-F238E27FC236}">
                <a16:creationId xmlns:a16="http://schemas.microsoft.com/office/drawing/2014/main" id="{EDBBC182-F588-334A-85F8-DB54D1EF32F4}"/>
              </a:ext>
            </a:extLst>
          </p:cNvPr>
          <p:cNvSpPr/>
          <p:nvPr/>
        </p:nvSpPr>
        <p:spPr>
          <a:xfrm>
            <a:off x="3251975" y="2708275"/>
            <a:ext cx="2772749" cy="14400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5628ECA-A27C-6A49-AD3F-A8C6002D0028}"/>
              </a:ext>
            </a:extLst>
          </p:cNvPr>
          <p:cNvSpPr/>
          <p:nvPr/>
        </p:nvSpPr>
        <p:spPr>
          <a:xfrm>
            <a:off x="6169078" y="1915398"/>
            <a:ext cx="568796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ятиугольник 13">
            <a:extLst>
              <a:ext uri="{FF2B5EF4-FFF2-40B4-BE49-F238E27FC236}">
                <a16:creationId xmlns:a16="http://schemas.microsoft.com/office/drawing/2014/main" id="{284930A5-88C8-C140-8C23-8526E7E5C56A}"/>
              </a:ext>
            </a:extLst>
          </p:cNvPr>
          <p:cNvSpPr/>
          <p:nvPr/>
        </p:nvSpPr>
        <p:spPr>
          <a:xfrm>
            <a:off x="6169078" y="2708275"/>
            <a:ext cx="5687960" cy="650928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ятиугольник 14">
            <a:extLst>
              <a:ext uri="{FF2B5EF4-FFF2-40B4-BE49-F238E27FC236}">
                <a16:creationId xmlns:a16="http://schemas.microsoft.com/office/drawing/2014/main" id="{49E4B266-8EEA-1B46-804E-F7D6159E4D0D}"/>
              </a:ext>
            </a:extLst>
          </p:cNvPr>
          <p:cNvSpPr/>
          <p:nvPr/>
        </p:nvSpPr>
        <p:spPr>
          <a:xfrm>
            <a:off x="6170767" y="3500438"/>
            <a:ext cx="2770033" cy="649287"/>
          </a:xfrm>
          <a:prstGeom prst="homePlat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ru-RU" sz="800" b="1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30D2D05-3DA6-634D-939D-0834CCE75333}"/>
              </a:ext>
            </a:extLst>
          </p:cNvPr>
          <p:cNvSpPr/>
          <p:nvPr/>
        </p:nvSpPr>
        <p:spPr>
          <a:xfrm>
            <a:off x="9084289" y="3500707"/>
            <a:ext cx="2772749" cy="223525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F3A23AF-5487-DB8A-79EB-E080E621D9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4646747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ЭЛЕМЕНТЫ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653E31BF-E9E9-4042-960C-4A09CB09AC41}"/>
              </a:ext>
            </a:extLst>
          </p:cNvPr>
          <p:cNvCxnSpPr>
            <a:cxnSpLocks/>
          </p:cNvCxnSpPr>
          <p:nvPr/>
        </p:nvCxnSpPr>
        <p:spPr>
          <a:xfrm>
            <a:off x="337045" y="1128391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C1A5D66E-AB12-0344-821F-11318892DCFE}"/>
              </a:ext>
            </a:extLst>
          </p:cNvPr>
          <p:cNvCxnSpPr>
            <a:cxnSpLocks/>
          </p:cNvCxnSpPr>
          <p:nvPr/>
        </p:nvCxnSpPr>
        <p:spPr>
          <a:xfrm>
            <a:off x="337045" y="1444368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FE6BCF38-783A-9249-8A8A-4158D3FD01A2}"/>
              </a:ext>
            </a:extLst>
          </p:cNvPr>
          <p:cNvCxnSpPr>
            <a:cxnSpLocks/>
          </p:cNvCxnSpPr>
          <p:nvPr/>
        </p:nvCxnSpPr>
        <p:spPr>
          <a:xfrm>
            <a:off x="337045" y="1776391"/>
            <a:ext cx="1800897" cy="0"/>
          </a:xfrm>
          <a:prstGeom prst="line">
            <a:avLst/>
          </a:prstGeom>
          <a:ln w="6350">
            <a:solidFill>
              <a:srgbClr val="7E7E7E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Группа 145">
            <a:extLst>
              <a:ext uri="{FF2B5EF4-FFF2-40B4-BE49-F238E27FC236}">
                <a16:creationId xmlns:a16="http://schemas.microsoft.com/office/drawing/2014/main" id="{1676597A-4366-8343-B89E-2C2121D1B7DE}"/>
              </a:ext>
            </a:extLst>
          </p:cNvPr>
          <p:cNvGrpSpPr/>
          <p:nvPr/>
        </p:nvGrpSpPr>
        <p:grpSpPr>
          <a:xfrm>
            <a:off x="1304369" y="3505772"/>
            <a:ext cx="835568" cy="641651"/>
            <a:chOff x="6245507" y="4398695"/>
            <a:chExt cx="1058709" cy="471194"/>
          </a:xfrm>
        </p:grpSpPr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62899157-1B59-9D4D-912F-15D8F36794A2}"/>
                </a:ext>
              </a:extLst>
            </p:cNvPr>
            <p:cNvCxnSpPr>
              <a:cxnSpLocks/>
            </p:cNvCxnSpPr>
            <p:nvPr/>
          </p:nvCxnSpPr>
          <p:spPr>
            <a:xfrm>
              <a:off x="6245507" y="4869888"/>
              <a:ext cx="603111" cy="1"/>
            </a:xfrm>
            <a:prstGeom prst="line">
              <a:avLst/>
            </a:prstGeom>
            <a:ln w="6350">
              <a:solidFill>
                <a:srgbClr val="E65907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326D87F3-3B36-DE43-8D02-45C805A5FCA6}"/>
                </a:ext>
              </a:extLst>
            </p:cNvPr>
            <p:cNvCxnSpPr/>
            <p:nvPr/>
          </p:nvCxnSpPr>
          <p:spPr>
            <a:xfrm flipH="1">
              <a:off x="7175495" y="4398695"/>
              <a:ext cx="128721" cy="0"/>
            </a:xfrm>
            <a:prstGeom prst="line">
              <a:avLst/>
            </a:prstGeom>
            <a:ln w="6350">
              <a:solidFill>
                <a:srgbClr val="E6590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B51F976E-7947-4945-AF1E-079BA5D41B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48618" y="4398695"/>
              <a:ext cx="326878" cy="471193"/>
            </a:xfrm>
            <a:prstGeom prst="line">
              <a:avLst/>
            </a:prstGeom>
            <a:ln w="6350">
              <a:solidFill>
                <a:srgbClr val="E6590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Соединительная линия уступом 19">
            <a:extLst>
              <a:ext uri="{FF2B5EF4-FFF2-40B4-BE49-F238E27FC236}">
                <a16:creationId xmlns:a16="http://schemas.microsoft.com/office/drawing/2014/main" id="{175B89B2-0134-BB4D-986F-1F717C2CCCB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22800" y="1829032"/>
            <a:ext cx="648000" cy="828000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>
            <a:extLst>
              <a:ext uri="{FF2B5EF4-FFF2-40B4-BE49-F238E27FC236}">
                <a16:creationId xmlns:a16="http://schemas.microsoft.com/office/drawing/2014/main" id="{2C39F9BC-DD62-3F40-80CA-F2FCD131FF91}"/>
              </a:ext>
            </a:extLst>
          </p:cNvPr>
          <p:cNvCxnSpPr>
            <a:cxnSpLocks/>
          </p:cNvCxnSpPr>
          <p:nvPr/>
        </p:nvCxnSpPr>
        <p:spPr>
          <a:xfrm rot="16200000" flipH="1">
            <a:off x="422800" y="2619672"/>
            <a:ext cx="648000" cy="828000"/>
          </a:xfrm>
          <a:prstGeom prst="bentConnector3">
            <a:avLst/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Соединительная линия уступом 102">
            <a:extLst>
              <a:ext uri="{FF2B5EF4-FFF2-40B4-BE49-F238E27FC236}">
                <a16:creationId xmlns:a16="http://schemas.microsoft.com/office/drawing/2014/main" id="{55EFD374-80E0-0B46-9F54-2EAA831099C3}"/>
              </a:ext>
            </a:extLst>
          </p:cNvPr>
          <p:cNvCxnSpPr>
            <a:cxnSpLocks/>
          </p:cNvCxnSpPr>
          <p:nvPr/>
        </p:nvCxnSpPr>
        <p:spPr>
          <a:xfrm flipV="1">
            <a:off x="332800" y="3804963"/>
            <a:ext cx="828000" cy="342000"/>
          </a:xfrm>
          <a:prstGeom prst="bentConnector4">
            <a:avLst>
              <a:gd name="adj1" fmla="val 408"/>
              <a:gd name="adj2" fmla="val 188138"/>
            </a:avLst>
          </a:prstGeom>
          <a:ln w="6350">
            <a:solidFill>
              <a:srgbClr val="7E7E7E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Соединительная линия уступом 144">
            <a:extLst>
              <a:ext uri="{FF2B5EF4-FFF2-40B4-BE49-F238E27FC236}">
                <a16:creationId xmlns:a16="http://schemas.microsoft.com/office/drawing/2014/main" id="{2ED13B2A-0728-7249-B674-60EB9C753EC0}"/>
              </a:ext>
            </a:extLst>
          </p:cNvPr>
          <p:cNvCxnSpPr>
            <a:cxnSpLocks/>
          </p:cNvCxnSpPr>
          <p:nvPr/>
        </p:nvCxnSpPr>
        <p:spPr>
          <a:xfrm flipV="1">
            <a:off x="1309942" y="1919032"/>
            <a:ext cx="829994" cy="648002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Соединительная линия уступом 147">
            <a:extLst>
              <a:ext uri="{FF2B5EF4-FFF2-40B4-BE49-F238E27FC236}">
                <a16:creationId xmlns:a16="http://schemas.microsoft.com/office/drawing/2014/main" id="{3E10C3FC-7FD4-CA47-8017-E3DAF7E544CA}"/>
              </a:ext>
            </a:extLst>
          </p:cNvPr>
          <p:cNvCxnSpPr>
            <a:cxnSpLocks/>
          </p:cNvCxnSpPr>
          <p:nvPr/>
        </p:nvCxnSpPr>
        <p:spPr>
          <a:xfrm flipV="1">
            <a:off x="1309942" y="2704227"/>
            <a:ext cx="829994" cy="648002"/>
          </a:xfrm>
          <a:prstGeom prst="bentConnector3">
            <a:avLst>
              <a:gd name="adj1" fmla="val 50000"/>
            </a:avLst>
          </a:prstGeom>
          <a:ln w="635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2C832BBA-A35F-5845-A32A-43DBA9EF1C1F}"/>
              </a:ext>
            </a:extLst>
          </p:cNvPr>
          <p:cNvSpPr>
            <a:spLocks noChangeAspect="1"/>
          </p:cNvSpPr>
          <p:nvPr/>
        </p:nvSpPr>
        <p:spPr>
          <a:xfrm rot="2700000">
            <a:off x="3342634" y="2758681"/>
            <a:ext cx="266400" cy="266400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722D5F4B-98F2-7948-87E8-53BBAE3DE6F2}"/>
              </a:ext>
            </a:extLst>
          </p:cNvPr>
          <p:cNvSpPr>
            <a:spLocks noChangeAspect="1"/>
          </p:cNvSpPr>
          <p:nvPr/>
        </p:nvSpPr>
        <p:spPr>
          <a:xfrm rot="2700000">
            <a:off x="4312314" y="2763449"/>
            <a:ext cx="266400" cy="266400"/>
          </a:xfrm>
          <a:prstGeom prst="rect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Graphic 235">
            <a:extLst>
              <a:ext uri="{FF2B5EF4-FFF2-40B4-BE49-F238E27FC236}">
                <a16:creationId xmlns:a16="http://schemas.microsoft.com/office/drawing/2014/main" id="{FEF57F06-A3B5-E846-A3CF-FE75D5E06A9A}"/>
              </a:ext>
            </a:extLst>
          </p:cNvPr>
          <p:cNvSpPr/>
          <p:nvPr/>
        </p:nvSpPr>
        <p:spPr>
          <a:xfrm>
            <a:off x="4226229" y="4272338"/>
            <a:ext cx="425071" cy="423574"/>
          </a:xfrm>
          <a:custGeom>
            <a:avLst/>
            <a:gdLst>
              <a:gd name="connsiteX0" fmla="*/ 212536 w 425071"/>
              <a:gd name="connsiteY0" fmla="*/ 0 h 423574"/>
              <a:gd name="connsiteX1" fmla="*/ 276895 w 425071"/>
              <a:gd name="connsiteY1" fmla="*/ 139196 h 423574"/>
              <a:gd name="connsiteX2" fmla="*/ 425072 w 425071"/>
              <a:gd name="connsiteY2" fmla="*/ 161647 h 423574"/>
              <a:gd name="connsiteX3" fmla="*/ 317307 w 425071"/>
              <a:gd name="connsiteY3" fmla="*/ 269412 h 423574"/>
              <a:gd name="connsiteX4" fmla="*/ 342751 w 425071"/>
              <a:gd name="connsiteY4" fmla="*/ 423575 h 423574"/>
              <a:gd name="connsiteX5" fmla="*/ 212536 w 425071"/>
              <a:gd name="connsiteY5" fmla="*/ 350235 h 423574"/>
              <a:gd name="connsiteX6" fmla="*/ 80824 w 425071"/>
              <a:gd name="connsiteY6" fmla="*/ 423575 h 423574"/>
              <a:gd name="connsiteX7" fmla="*/ 106268 w 425071"/>
              <a:gd name="connsiteY7" fmla="*/ 269412 h 423574"/>
              <a:gd name="connsiteX8" fmla="*/ 0 w 425071"/>
              <a:gd name="connsiteY8" fmla="*/ 161647 h 423574"/>
              <a:gd name="connsiteX9" fmla="*/ 146679 w 425071"/>
              <a:gd name="connsiteY9" fmla="*/ 139196 h 423574"/>
              <a:gd name="connsiteX10" fmla="*/ 212536 w 425071"/>
              <a:gd name="connsiteY10" fmla="*/ 0 h 423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071" h="423574">
                <a:moveTo>
                  <a:pt x="212536" y="0"/>
                </a:moveTo>
                <a:lnTo>
                  <a:pt x="276895" y="139196"/>
                </a:lnTo>
                <a:lnTo>
                  <a:pt x="425072" y="161647"/>
                </a:lnTo>
                <a:lnTo>
                  <a:pt x="317307" y="269412"/>
                </a:lnTo>
                <a:lnTo>
                  <a:pt x="342751" y="423575"/>
                </a:lnTo>
                <a:lnTo>
                  <a:pt x="212536" y="350235"/>
                </a:lnTo>
                <a:lnTo>
                  <a:pt x="80824" y="423575"/>
                </a:lnTo>
                <a:lnTo>
                  <a:pt x="106268" y="269412"/>
                </a:lnTo>
                <a:lnTo>
                  <a:pt x="0" y="161647"/>
                </a:lnTo>
                <a:lnTo>
                  <a:pt x="146679" y="139196"/>
                </a:lnTo>
                <a:lnTo>
                  <a:pt x="212536" y="0"/>
                </a:lnTo>
                <a:close/>
              </a:path>
            </a:pathLst>
          </a:custGeom>
          <a:solidFill>
            <a:srgbClr val="E65907"/>
          </a:solidFill>
          <a:ln w="147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3A71B31-0AFF-F4D1-6FA5-238CB82797BA}"/>
              </a:ext>
            </a:extLst>
          </p:cNvPr>
          <p:cNvGrpSpPr/>
          <p:nvPr/>
        </p:nvGrpSpPr>
        <p:grpSpPr>
          <a:xfrm>
            <a:off x="3287196" y="1919492"/>
            <a:ext cx="390014" cy="390014"/>
            <a:chOff x="3254360" y="3751359"/>
            <a:chExt cx="390014" cy="390014"/>
          </a:xfrm>
        </p:grpSpPr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EF02D5E3-48E2-3745-A16E-6AF30EC0B04B}"/>
                </a:ext>
              </a:extLst>
            </p:cNvPr>
            <p:cNvSpPr/>
            <p:nvPr/>
          </p:nvSpPr>
          <p:spPr>
            <a:xfrm>
              <a:off x="3254360" y="3751359"/>
              <a:ext cx="390014" cy="390014"/>
            </a:xfrm>
            <a:custGeom>
              <a:avLst/>
              <a:gdLst>
                <a:gd name="connsiteX0" fmla="*/ 390015 w 390014"/>
                <a:gd name="connsiteY0" fmla="*/ 195007 h 390014"/>
                <a:gd name="connsiteX1" fmla="*/ 195007 w 390014"/>
                <a:gd name="connsiteY1" fmla="*/ 390015 h 390014"/>
                <a:gd name="connsiteX2" fmla="*/ 0 w 390014"/>
                <a:gd name="connsiteY2" fmla="*/ 195007 h 390014"/>
                <a:gd name="connsiteX3" fmla="*/ 195007 w 390014"/>
                <a:gd name="connsiteY3" fmla="*/ 0 h 390014"/>
                <a:gd name="connsiteX4" fmla="*/ 390015 w 390014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014" h="390014">
                  <a:moveTo>
                    <a:pt x="390015" y="195007"/>
                  </a:moveTo>
                  <a:cubicBezTo>
                    <a:pt x="390015" y="302707"/>
                    <a:pt x="302707" y="390015"/>
                    <a:pt x="195007" y="390015"/>
                  </a:cubicBezTo>
                  <a:cubicBezTo>
                    <a:pt x="87308" y="390015"/>
                    <a:pt x="0" y="302707"/>
                    <a:pt x="0" y="195007"/>
                  </a:cubicBezTo>
                  <a:cubicBezTo>
                    <a:pt x="0" y="87308"/>
                    <a:pt x="87308" y="0"/>
                    <a:pt x="195007" y="0"/>
                  </a:cubicBezTo>
                  <a:cubicBezTo>
                    <a:pt x="302707" y="0"/>
                    <a:pt x="390015" y="87308"/>
                    <a:pt x="390015" y="195007"/>
                  </a:cubicBezTo>
                  <a:close/>
                </a:path>
              </a:pathLst>
            </a:custGeom>
            <a:solidFill>
              <a:srgbClr val="48A044"/>
            </a:solidFill>
            <a:ln w="14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Полилиния 22">
              <a:extLst>
                <a:ext uri="{FF2B5EF4-FFF2-40B4-BE49-F238E27FC236}">
                  <a16:creationId xmlns:a16="http://schemas.microsoft.com/office/drawing/2014/main" id="{0E112298-621E-FD42-867F-2B4D3E856467}"/>
                </a:ext>
              </a:extLst>
            </p:cNvPr>
            <p:cNvSpPr/>
            <p:nvPr/>
          </p:nvSpPr>
          <p:spPr>
            <a:xfrm>
              <a:off x="3376800" y="3873800"/>
              <a:ext cx="145133" cy="145132"/>
            </a:xfrm>
            <a:custGeom>
              <a:avLst/>
              <a:gdLst>
                <a:gd name="connsiteX0" fmla="*/ 0 w 145133"/>
                <a:gd name="connsiteY0" fmla="*/ 70367 h 145132"/>
                <a:gd name="connsiteX1" fmla="*/ 55087 w 145133"/>
                <a:gd name="connsiteY1" fmla="*/ 145133 h 145132"/>
                <a:gd name="connsiteX2" fmla="*/ 145133 w 145133"/>
                <a:gd name="connsiteY2" fmla="*/ 0 h 145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133" h="145132">
                  <a:moveTo>
                    <a:pt x="0" y="70367"/>
                  </a:moveTo>
                  <a:lnTo>
                    <a:pt x="55087" y="145133"/>
                  </a:lnTo>
                  <a:lnTo>
                    <a:pt x="145133" y="0"/>
                  </a:lnTo>
                </a:path>
              </a:pathLst>
            </a:custGeom>
            <a:noFill/>
            <a:ln w="42143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66B0F31-E3E0-89FC-BD24-9C7517F3AAC0}"/>
              </a:ext>
            </a:extLst>
          </p:cNvPr>
          <p:cNvGrpSpPr/>
          <p:nvPr/>
        </p:nvGrpSpPr>
        <p:grpSpPr>
          <a:xfrm>
            <a:off x="4269493" y="1930090"/>
            <a:ext cx="389542" cy="390014"/>
            <a:chOff x="4236657" y="3761957"/>
            <a:chExt cx="389542" cy="390014"/>
          </a:xfrm>
        </p:grpSpPr>
        <p:sp>
          <p:nvSpPr>
            <p:cNvPr id="26" name="Полилиния 25">
              <a:extLst>
                <a:ext uri="{FF2B5EF4-FFF2-40B4-BE49-F238E27FC236}">
                  <a16:creationId xmlns:a16="http://schemas.microsoft.com/office/drawing/2014/main" id="{FE59621B-23AD-0C47-BCC6-8AADF5EDC098}"/>
                </a:ext>
              </a:extLst>
            </p:cNvPr>
            <p:cNvSpPr/>
            <p:nvPr/>
          </p:nvSpPr>
          <p:spPr>
            <a:xfrm>
              <a:off x="4236657" y="3761957"/>
              <a:ext cx="389542" cy="390014"/>
            </a:xfrm>
            <a:custGeom>
              <a:avLst/>
              <a:gdLst>
                <a:gd name="connsiteX0" fmla="*/ 389543 w 389542"/>
                <a:gd name="connsiteY0" fmla="*/ 195007 h 390014"/>
                <a:gd name="connsiteX1" fmla="*/ 194771 w 389542"/>
                <a:gd name="connsiteY1" fmla="*/ 390015 h 390014"/>
                <a:gd name="connsiteX2" fmla="*/ 0 w 389542"/>
                <a:gd name="connsiteY2" fmla="*/ 195007 h 390014"/>
                <a:gd name="connsiteX3" fmla="*/ 194771 w 389542"/>
                <a:gd name="connsiteY3" fmla="*/ 0 h 390014"/>
                <a:gd name="connsiteX4" fmla="*/ 389543 w 389542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542" h="390014">
                  <a:moveTo>
                    <a:pt x="389543" y="195007"/>
                  </a:moveTo>
                  <a:cubicBezTo>
                    <a:pt x="389543" y="302707"/>
                    <a:pt x="302341" y="390015"/>
                    <a:pt x="194771" y="390015"/>
                  </a:cubicBezTo>
                  <a:cubicBezTo>
                    <a:pt x="87202" y="390015"/>
                    <a:pt x="0" y="302707"/>
                    <a:pt x="0" y="195007"/>
                  </a:cubicBezTo>
                  <a:cubicBezTo>
                    <a:pt x="0" y="87308"/>
                    <a:pt x="87202" y="0"/>
                    <a:pt x="194771" y="0"/>
                  </a:cubicBezTo>
                  <a:cubicBezTo>
                    <a:pt x="302341" y="0"/>
                    <a:pt x="389543" y="87308"/>
                    <a:pt x="389543" y="195007"/>
                  </a:cubicBezTo>
                  <a:close/>
                </a:path>
              </a:pathLst>
            </a:custGeom>
            <a:solidFill>
              <a:srgbClr val="48A044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Полилиния 26">
              <a:extLst>
                <a:ext uri="{FF2B5EF4-FFF2-40B4-BE49-F238E27FC236}">
                  <a16:creationId xmlns:a16="http://schemas.microsoft.com/office/drawing/2014/main" id="{1A5B7201-4850-DF43-9DD2-1AF08819E5B5}"/>
                </a:ext>
              </a:extLst>
            </p:cNvPr>
            <p:cNvSpPr/>
            <p:nvPr/>
          </p:nvSpPr>
          <p:spPr>
            <a:xfrm>
              <a:off x="4349781" y="3956964"/>
              <a:ext cx="163295" cy="1412"/>
            </a:xfrm>
            <a:custGeom>
              <a:avLst/>
              <a:gdLst>
                <a:gd name="connsiteX0" fmla="*/ 0 w 163295"/>
                <a:gd name="connsiteY0" fmla="*/ 0 h 1412"/>
                <a:gd name="connsiteX1" fmla="*/ 163295 w 163295"/>
                <a:gd name="connsiteY1" fmla="*/ 0 h 1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295" h="1412">
                  <a:moveTo>
                    <a:pt x="0" y="0"/>
                  </a:moveTo>
                  <a:lnTo>
                    <a:pt x="163295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" name="Полилиния 27">
              <a:extLst>
                <a:ext uri="{FF2B5EF4-FFF2-40B4-BE49-F238E27FC236}">
                  <a16:creationId xmlns:a16="http://schemas.microsoft.com/office/drawing/2014/main" id="{48BDF9F2-9F56-7C40-AAC6-1810C6082ACF}"/>
                </a:ext>
              </a:extLst>
            </p:cNvPr>
            <p:cNvSpPr/>
            <p:nvPr/>
          </p:nvSpPr>
          <p:spPr>
            <a:xfrm>
              <a:off x="4431427" y="3875218"/>
              <a:ext cx="1410" cy="163492"/>
            </a:xfrm>
            <a:custGeom>
              <a:avLst/>
              <a:gdLst>
                <a:gd name="connsiteX0" fmla="*/ 0 w 1410"/>
                <a:gd name="connsiteY0" fmla="*/ 163492 h 163492"/>
                <a:gd name="connsiteX1" fmla="*/ 0 w 1410"/>
                <a:gd name="connsiteY1" fmla="*/ 0 h 16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10" h="163492">
                  <a:moveTo>
                    <a:pt x="0" y="163492"/>
                  </a:moveTo>
                  <a:lnTo>
                    <a:pt x="0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218D39C-0BD2-4516-4CC5-7D7AF4B8E0AE}"/>
              </a:ext>
            </a:extLst>
          </p:cNvPr>
          <p:cNvGrpSpPr/>
          <p:nvPr/>
        </p:nvGrpSpPr>
        <p:grpSpPr>
          <a:xfrm>
            <a:off x="5174933" y="1954760"/>
            <a:ext cx="389542" cy="390014"/>
            <a:chOff x="9088257" y="3766034"/>
            <a:chExt cx="389542" cy="390014"/>
          </a:xfrm>
        </p:grpSpPr>
        <p:sp>
          <p:nvSpPr>
            <p:cNvPr id="30" name="Полилиния 29">
              <a:extLst>
                <a:ext uri="{FF2B5EF4-FFF2-40B4-BE49-F238E27FC236}">
                  <a16:creationId xmlns:a16="http://schemas.microsoft.com/office/drawing/2014/main" id="{96782D9D-1C23-9044-B339-A163A44E60FC}"/>
                </a:ext>
              </a:extLst>
            </p:cNvPr>
            <p:cNvSpPr/>
            <p:nvPr/>
          </p:nvSpPr>
          <p:spPr>
            <a:xfrm>
              <a:off x="9088257" y="3766034"/>
              <a:ext cx="389542" cy="390014"/>
            </a:xfrm>
            <a:custGeom>
              <a:avLst/>
              <a:gdLst>
                <a:gd name="connsiteX0" fmla="*/ 389543 w 389542"/>
                <a:gd name="connsiteY0" fmla="*/ 195007 h 390014"/>
                <a:gd name="connsiteX1" fmla="*/ 194771 w 389542"/>
                <a:gd name="connsiteY1" fmla="*/ 390015 h 390014"/>
                <a:gd name="connsiteX2" fmla="*/ 0 w 389542"/>
                <a:gd name="connsiteY2" fmla="*/ 195007 h 390014"/>
                <a:gd name="connsiteX3" fmla="*/ 194771 w 389542"/>
                <a:gd name="connsiteY3" fmla="*/ 0 h 390014"/>
                <a:gd name="connsiteX4" fmla="*/ 389543 w 389542"/>
                <a:gd name="connsiteY4" fmla="*/ 195007 h 390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542" h="390014">
                  <a:moveTo>
                    <a:pt x="389543" y="195007"/>
                  </a:moveTo>
                  <a:cubicBezTo>
                    <a:pt x="389543" y="302707"/>
                    <a:pt x="302341" y="390015"/>
                    <a:pt x="194771" y="390015"/>
                  </a:cubicBezTo>
                  <a:cubicBezTo>
                    <a:pt x="87202" y="390015"/>
                    <a:pt x="0" y="302707"/>
                    <a:pt x="0" y="195007"/>
                  </a:cubicBezTo>
                  <a:cubicBezTo>
                    <a:pt x="0" y="87308"/>
                    <a:pt x="87202" y="0"/>
                    <a:pt x="194771" y="0"/>
                  </a:cubicBezTo>
                  <a:cubicBezTo>
                    <a:pt x="302341" y="0"/>
                    <a:pt x="389543" y="87308"/>
                    <a:pt x="389543" y="195007"/>
                  </a:cubicBezTo>
                  <a:close/>
                </a:path>
              </a:pathLst>
            </a:custGeom>
            <a:solidFill>
              <a:srgbClr val="CD222C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Полилиния 30">
              <a:extLst>
                <a:ext uri="{FF2B5EF4-FFF2-40B4-BE49-F238E27FC236}">
                  <a16:creationId xmlns:a16="http://schemas.microsoft.com/office/drawing/2014/main" id="{24CDAB9A-3C84-AE46-AC26-B401FD5207A2}"/>
                </a:ext>
              </a:extLst>
            </p:cNvPr>
            <p:cNvSpPr/>
            <p:nvPr/>
          </p:nvSpPr>
          <p:spPr>
            <a:xfrm>
              <a:off x="9225295" y="3903238"/>
              <a:ext cx="115466" cy="115606"/>
            </a:xfrm>
            <a:custGeom>
              <a:avLst/>
              <a:gdLst>
                <a:gd name="connsiteX0" fmla="*/ 0 w 115466"/>
                <a:gd name="connsiteY0" fmla="*/ 115607 h 115606"/>
                <a:gd name="connsiteX1" fmla="*/ 115466 w 115466"/>
                <a:gd name="connsiteY1" fmla="*/ 0 h 11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66" h="115606">
                  <a:moveTo>
                    <a:pt x="0" y="115607"/>
                  </a:moveTo>
                  <a:lnTo>
                    <a:pt x="115466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Полилиния 31">
              <a:extLst>
                <a:ext uri="{FF2B5EF4-FFF2-40B4-BE49-F238E27FC236}">
                  <a16:creationId xmlns:a16="http://schemas.microsoft.com/office/drawing/2014/main" id="{6650E4C4-3EBD-6341-8DA5-5D30EDCCC850}"/>
                </a:ext>
              </a:extLst>
            </p:cNvPr>
            <p:cNvSpPr/>
            <p:nvPr/>
          </p:nvSpPr>
          <p:spPr>
            <a:xfrm>
              <a:off x="9225295" y="3903238"/>
              <a:ext cx="115466" cy="115606"/>
            </a:xfrm>
            <a:custGeom>
              <a:avLst/>
              <a:gdLst>
                <a:gd name="connsiteX0" fmla="*/ 115466 w 115466"/>
                <a:gd name="connsiteY0" fmla="*/ 115607 h 115606"/>
                <a:gd name="connsiteX1" fmla="*/ 0 w 115466"/>
                <a:gd name="connsiteY1" fmla="*/ 0 h 115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466" h="115606">
                  <a:moveTo>
                    <a:pt x="115466" y="115607"/>
                  </a:moveTo>
                  <a:lnTo>
                    <a:pt x="0" y="0"/>
                  </a:lnTo>
                </a:path>
              </a:pathLst>
            </a:custGeom>
            <a:noFill/>
            <a:ln w="42295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A81A72A-2817-8466-2867-F940DC698340}"/>
              </a:ext>
            </a:extLst>
          </p:cNvPr>
          <p:cNvGrpSpPr/>
          <p:nvPr/>
        </p:nvGrpSpPr>
        <p:grpSpPr>
          <a:xfrm>
            <a:off x="6148942" y="1960469"/>
            <a:ext cx="389288" cy="389760"/>
            <a:chOff x="10062266" y="3771743"/>
            <a:chExt cx="389288" cy="389760"/>
          </a:xfrm>
        </p:grpSpPr>
        <p:sp>
          <p:nvSpPr>
            <p:cNvPr id="34" name="Полилиния 33">
              <a:extLst>
                <a:ext uri="{FF2B5EF4-FFF2-40B4-BE49-F238E27FC236}">
                  <a16:creationId xmlns:a16="http://schemas.microsoft.com/office/drawing/2014/main" id="{37988074-E433-3B4A-B718-6D7575EC5FA4}"/>
                </a:ext>
              </a:extLst>
            </p:cNvPr>
            <p:cNvSpPr/>
            <p:nvPr/>
          </p:nvSpPr>
          <p:spPr>
            <a:xfrm>
              <a:off x="10062266" y="3771743"/>
              <a:ext cx="389288" cy="389760"/>
            </a:xfrm>
            <a:custGeom>
              <a:avLst/>
              <a:gdLst>
                <a:gd name="connsiteX0" fmla="*/ 389288 w 389288"/>
                <a:gd name="connsiteY0" fmla="*/ 194880 h 389760"/>
                <a:gd name="connsiteX1" fmla="*/ 194644 w 389288"/>
                <a:gd name="connsiteY1" fmla="*/ 389760 h 389760"/>
                <a:gd name="connsiteX2" fmla="*/ 0 w 389288"/>
                <a:gd name="connsiteY2" fmla="*/ 194880 h 389760"/>
                <a:gd name="connsiteX3" fmla="*/ 194644 w 389288"/>
                <a:gd name="connsiteY3" fmla="*/ 0 h 389760"/>
                <a:gd name="connsiteX4" fmla="*/ 389288 w 389288"/>
                <a:gd name="connsiteY4" fmla="*/ 194880 h 38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9288" h="389760">
                  <a:moveTo>
                    <a:pt x="389288" y="194880"/>
                  </a:moveTo>
                  <a:cubicBezTo>
                    <a:pt x="389288" y="302510"/>
                    <a:pt x="302143" y="389760"/>
                    <a:pt x="194644" y="389760"/>
                  </a:cubicBezTo>
                  <a:cubicBezTo>
                    <a:pt x="87145" y="389760"/>
                    <a:pt x="0" y="302510"/>
                    <a:pt x="0" y="194880"/>
                  </a:cubicBezTo>
                  <a:cubicBezTo>
                    <a:pt x="0" y="87251"/>
                    <a:pt x="87145" y="0"/>
                    <a:pt x="194644" y="0"/>
                  </a:cubicBezTo>
                  <a:cubicBezTo>
                    <a:pt x="302143" y="0"/>
                    <a:pt x="389288" y="87251"/>
                    <a:pt x="389288" y="194880"/>
                  </a:cubicBezTo>
                  <a:close/>
                </a:path>
              </a:pathLst>
            </a:custGeom>
            <a:solidFill>
              <a:srgbClr val="CD222C"/>
            </a:solidFill>
            <a:ln w="13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" name="Полилиния 34">
              <a:extLst>
                <a:ext uri="{FF2B5EF4-FFF2-40B4-BE49-F238E27FC236}">
                  <a16:creationId xmlns:a16="http://schemas.microsoft.com/office/drawing/2014/main" id="{26B12438-7CCC-A342-8B58-2D959EC06F83}"/>
                </a:ext>
              </a:extLst>
            </p:cNvPr>
            <p:cNvSpPr/>
            <p:nvPr/>
          </p:nvSpPr>
          <p:spPr>
            <a:xfrm>
              <a:off x="10175316" y="3966623"/>
              <a:ext cx="163188" cy="1411"/>
            </a:xfrm>
            <a:custGeom>
              <a:avLst/>
              <a:gdLst>
                <a:gd name="connsiteX0" fmla="*/ 0 w 163188"/>
                <a:gd name="connsiteY0" fmla="*/ 0 h 1411"/>
                <a:gd name="connsiteX1" fmla="*/ 163188 w 163188"/>
                <a:gd name="connsiteY1" fmla="*/ 0 h 1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3188" h="1411">
                  <a:moveTo>
                    <a:pt x="0" y="0"/>
                  </a:moveTo>
                  <a:lnTo>
                    <a:pt x="163188" y="0"/>
                  </a:lnTo>
                </a:path>
              </a:pathLst>
            </a:custGeom>
            <a:noFill/>
            <a:ln w="41264" cap="rnd">
              <a:solidFill>
                <a:srgbClr val="FFFFFF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FD1431D-7C3B-D8B2-A51D-E7FE67250F53}"/>
              </a:ext>
            </a:extLst>
          </p:cNvPr>
          <p:cNvGrpSpPr/>
          <p:nvPr/>
        </p:nvGrpSpPr>
        <p:grpSpPr>
          <a:xfrm>
            <a:off x="7154691" y="1961176"/>
            <a:ext cx="391167" cy="391167"/>
            <a:chOff x="5217494" y="3760679"/>
            <a:chExt cx="391167" cy="391167"/>
          </a:xfrm>
        </p:grpSpPr>
        <p:sp>
          <p:nvSpPr>
            <p:cNvPr id="37" name="Полилиния 36">
              <a:extLst>
                <a:ext uri="{FF2B5EF4-FFF2-40B4-BE49-F238E27FC236}">
                  <a16:creationId xmlns:a16="http://schemas.microsoft.com/office/drawing/2014/main" id="{99C42507-6CBD-624B-8C56-5DC7D828BA7B}"/>
                </a:ext>
              </a:extLst>
            </p:cNvPr>
            <p:cNvSpPr/>
            <p:nvPr/>
          </p:nvSpPr>
          <p:spPr>
            <a:xfrm>
              <a:off x="5217494" y="3760679"/>
              <a:ext cx="391167" cy="391167"/>
            </a:xfrm>
            <a:custGeom>
              <a:avLst/>
              <a:gdLst>
                <a:gd name="connsiteX0" fmla="*/ 391168 w 391167"/>
                <a:gd name="connsiteY0" fmla="*/ 195584 h 391167"/>
                <a:gd name="connsiteX1" fmla="*/ 195584 w 391167"/>
                <a:gd name="connsiteY1" fmla="*/ 391168 h 391167"/>
                <a:gd name="connsiteX2" fmla="*/ 0 w 391167"/>
                <a:gd name="connsiteY2" fmla="*/ 195584 h 391167"/>
                <a:gd name="connsiteX3" fmla="*/ 195584 w 391167"/>
                <a:gd name="connsiteY3" fmla="*/ 0 h 391167"/>
                <a:gd name="connsiteX4" fmla="*/ 391168 w 391167"/>
                <a:gd name="connsiteY4" fmla="*/ 195584 h 391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1167" h="391167">
                  <a:moveTo>
                    <a:pt x="391168" y="195584"/>
                  </a:moveTo>
                  <a:cubicBezTo>
                    <a:pt x="391168" y="303602"/>
                    <a:pt x="303602" y="391168"/>
                    <a:pt x="195584" y="391168"/>
                  </a:cubicBezTo>
                  <a:cubicBezTo>
                    <a:pt x="87566" y="391168"/>
                    <a:pt x="0" y="303602"/>
                    <a:pt x="0" y="195584"/>
                  </a:cubicBezTo>
                  <a:cubicBezTo>
                    <a:pt x="0" y="87566"/>
                    <a:pt x="87566" y="0"/>
                    <a:pt x="195584" y="0"/>
                  </a:cubicBezTo>
                  <a:cubicBezTo>
                    <a:pt x="303602" y="0"/>
                    <a:pt x="391168" y="87566"/>
                    <a:pt x="391168" y="195584"/>
                  </a:cubicBezTo>
                  <a:close/>
                </a:path>
              </a:pathLst>
            </a:custGeom>
            <a:solidFill>
              <a:srgbClr val="E65907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" name="Полилиния 37">
              <a:extLst>
                <a:ext uri="{FF2B5EF4-FFF2-40B4-BE49-F238E27FC236}">
                  <a16:creationId xmlns:a16="http://schemas.microsoft.com/office/drawing/2014/main" id="{14B4284A-AA5D-D64B-B93C-B6776DAD735C}"/>
                </a:ext>
              </a:extLst>
            </p:cNvPr>
            <p:cNvSpPr/>
            <p:nvPr/>
          </p:nvSpPr>
          <p:spPr>
            <a:xfrm>
              <a:off x="5391736" y="4033950"/>
              <a:ext cx="42498" cy="42498"/>
            </a:xfrm>
            <a:custGeom>
              <a:avLst/>
              <a:gdLst>
                <a:gd name="connsiteX0" fmla="*/ 42498 w 42498"/>
                <a:gd name="connsiteY0" fmla="*/ 21249 h 42498"/>
                <a:gd name="connsiteX1" fmla="*/ 21249 w 42498"/>
                <a:gd name="connsiteY1" fmla="*/ 42498 h 42498"/>
                <a:gd name="connsiteX2" fmla="*/ 0 w 42498"/>
                <a:gd name="connsiteY2" fmla="*/ 21249 h 42498"/>
                <a:gd name="connsiteX3" fmla="*/ 21249 w 42498"/>
                <a:gd name="connsiteY3" fmla="*/ 0 h 42498"/>
                <a:gd name="connsiteX4" fmla="*/ 42498 w 42498"/>
                <a:gd name="connsiteY4" fmla="*/ 21249 h 42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98" h="42498">
                  <a:moveTo>
                    <a:pt x="42498" y="21249"/>
                  </a:moveTo>
                  <a:cubicBezTo>
                    <a:pt x="42498" y="32985"/>
                    <a:pt x="32985" y="42498"/>
                    <a:pt x="21249" y="42498"/>
                  </a:cubicBezTo>
                  <a:cubicBezTo>
                    <a:pt x="9514" y="42498"/>
                    <a:pt x="0" y="32985"/>
                    <a:pt x="0" y="21249"/>
                  </a:cubicBezTo>
                  <a:cubicBezTo>
                    <a:pt x="0" y="9514"/>
                    <a:pt x="9514" y="0"/>
                    <a:pt x="21249" y="0"/>
                  </a:cubicBezTo>
                  <a:cubicBezTo>
                    <a:pt x="32985" y="0"/>
                    <a:pt x="42498" y="9514"/>
                    <a:pt x="42498" y="21249"/>
                  </a:cubicBezTo>
                  <a:close/>
                </a:path>
              </a:pathLst>
            </a:custGeom>
            <a:solidFill>
              <a:srgbClr val="FFFFFF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9" name="Полилиния 38">
              <a:extLst>
                <a:ext uri="{FF2B5EF4-FFF2-40B4-BE49-F238E27FC236}">
                  <a16:creationId xmlns:a16="http://schemas.microsoft.com/office/drawing/2014/main" id="{7E5E8095-77C2-5249-9D07-0939DEA73201}"/>
                </a:ext>
              </a:extLst>
            </p:cNvPr>
            <p:cNvSpPr/>
            <p:nvPr/>
          </p:nvSpPr>
          <p:spPr>
            <a:xfrm>
              <a:off x="5391736" y="3837175"/>
              <a:ext cx="42498" cy="180974"/>
            </a:xfrm>
            <a:custGeom>
              <a:avLst/>
              <a:gdLst>
                <a:gd name="connsiteX0" fmla="*/ 21249 w 42498"/>
                <a:gd name="connsiteY0" fmla="*/ 180974 h 180974"/>
                <a:gd name="connsiteX1" fmla="*/ 0 w 42498"/>
                <a:gd name="connsiteY1" fmla="*/ 159725 h 180974"/>
                <a:gd name="connsiteX2" fmla="*/ 0 w 42498"/>
                <a:gd name="connsiteY2" fmla="*/ 21249 h 180974"/>
                <a:gd name="connsiteX3" fmla="*/ 21249 w 42498"/>
                <a:gd name="connsiteY3" fmla="*/ 0 h 180974"/>
                <a:gd name="connsiteX4" fmla="*/ 42498 w 42498"/>
                <a:gd name="connsiteY4" fmla="*/ 21249 h 180974"/>
                <a:gd name="connsiteX5" fmla="*/ 42498 w 42498"/>
                <a:gd name="connsiteY5" fmla="*/ 159725 h 180974"/>
                <a:gd name="connsiteX6" fmla="*/ 21249 w 42498"/>
                <a:gd name="connsiteY6" fmla="*/ 180974 h 1809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98" h="180974">
                  <a:moveTo>
                    <a:pt x="21249" y="180974"/>
                  </a:moveTo>
                  <a:cubicBezTo>
                    <a:pt x="9514" y="180974"/>
                    <a:pt x="0" y="171462"/>
                    <a:pt x="0" y="159725"/>
                  </a:cubicBezTo>
                  <a:lnTo>
                    <a:pt x="0" y="21249"/>
                  </a:lnTo>
                  <a:cubicBezTo>
                    <a:pt x="0" y="9514"/>
                    <a:pt x="9514" y="0"/>
                    <a:pt x="21249" y="0"/>
                  </a:cubicBezTo>
                  <a:cubicBezTo>
                    <a:pt x="32984" y="0"/>
                    <a:pt x="42498" y="9514"/>
                    <a:pt x="42498" y="21249"/>
                  </a:cubicBezTo>
                  <a:lnTo>
                    <a:pt x="42498" y="159725"/>
                  </a:lnTo>
                  <a:cubicBezTo>
                    <a:pt x="42498" y="171462"/>
                    <a:pt x="32984" y="180974"/>
                    <a:pt x="21249" y="180974"/>
                  </a:cubicBezTo>
                  <a:close/>
                </a:path>
              </a:pathLst>
            </a:custGeom>
            <a:solidFill>
              <a:srgbClr val="FFFFFF"/>
            </a:solidFill>
            <a:ln w="14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178" name="Graphic 266">
            <a:extLst>
              <a:ext uri="{FF2B5EF4-FFF2-40B4-BE49-F238E27FC236}">
                <a16:creationId xmlns:a16="http://schemas.microsoft.com/office/drawing/2014/main" id="{DB309546-9936-EB4C-AA14-401DBC91B5B6}"/>
              </a:ext>
            </a:extLst>
          </p:cNvPr>
          <p:cNvSpPr>
            <a:spLocks/>
          </p:cNvSpPr>
          <p:nvPr/>
        </p:nvSpPr>
        <p:spPr>
          <a:xfrm>
            <a:off x="4262246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2FB4E9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Graphic 268">
            <a:extLst>
              <a:ext uri="{FF2B5EF4-FFF2-40B4-BE49-F238E27FC236}">
                <a16:creationId xmlns:a16="http://schemas.microsoft.com/office/drawing/2014/main" id="{03B24B71-8660-D54E-9FA3-582B72289B42}"/>
              </a:ext>
            </a:extLst>
          </p:cNvPr>
          <p:cNvSpPr>
            <a:spLocks noChangeAspect="1"/>
          </p:cNvSpPr>
          <p:nvPr/>
        </p:nvSpPr>
        <p:spPr>
          <a:xfrm>
            <a:off x="5252239" y="3492693"/>
            <a:ext cx="370800" cy="370800"/>
          </a:xfrm>
          <a:custGeom>
            <a:avLst/>
            <a:gdLst>
              <a:gd name="connsiteX0" fmla="*/ 387546 w 387546"/>
              <a:gd name="connsiteY0" fmla="*/ 0 h 387546"/>
              <a:gd name="connsiteX1" fmla="*/ 0 w 387546"/>
              <a:gd name="connsiteY1" fmla="*/ 0 h 387546"/>
              <a:gd name="connsiteX2" fmla="*/ 0 w 387546"/>
              <a:gd name="connsiteY2" fmla="*/ 387546 h 387546"/>
              <a:gd name="connsiteX3" fmla="*/ 387546 w 387546"/>
              <a:gd name="connsiteY3" fmla="*/ 387546 h 387546"/>
              <a:gd name="connsiteX4" fmla="*/ 387546 w 387546"/>
              <a:gd name="connsiteY4" fmla="*/ 0 h 387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7546" h="387546">
                <a:moveTo>
                  <a:pt x="387546" y="0"/>
                </a:moveTo>
                <a:lnTo>
                  <a:pt x="0" y="0"/>
                </a:lnTo>
                <a:lnTo>
                  <a:pt x="0" y="387546"/>
                </a:lnTo>
                <a:lnTo>
                  <a:pt x="387546" y="387546"/>
                </a:lnTo>
                <a:lnTo>
                  <a:pt x="387546" y="0"/>
                </a:lnTo>
                <a:close/>
              </a:path>
            </a:pathLst>
          </a:custGeom>
          <a:noFill/>
          <a:ln w="12700" cap="flat">
            <a:solidFill>
              <a:srgbClr val="2FB4E9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01" name="Группа 200">
            <a:extLst>
              <a:ext uri="{FF2B5EF4-FFF2-40B4-BE49-F238E27FC236}">
                <a16:creationId xmlns:a16="http://schemas.microsoft.com/office/drawing/2014/main" id="{3CEEA878-352A-3F4B-B360-5C59430B449C}"/>
              </a:ext>
            </a:extLst>
          </p:cNvPr>
          <p:cNvGrpSpPr/>
          <p:nvPr/>
        </p:nvGrpSpPr>
        <p:grpSpPr>
          <a:xfrm>
            <a:off x="5226414" y="4311850"/>
            <a:ext cx="434052" cy="434052"/>
            <a:chOff x="3908629" y="1116692"/>
            <a:chExt cx="244305" cy="244305"/>
          </a:xfrm>
        </p:grpSpPr>
        <p:sp>
          <p:nvSpPr>
            <p:cNvPr id="202" name="Овал 201">
              <a:extLst>
                <a:ext uri="{FF2B5EF4-FFF2-40B4-BE49-F238E27FC236}">
                  <a16:creationId xmlns:a16="http://schemas.microsoft.com/office/drawing/2014/main" id="{52B5CEE8-F8E3-044C-B5FE-F7274F1D4B9F}"/>
                </a:ext>
              </a:extLst>
            </p:cNvPr>
            <p:cNvSpPr/>
            <p:nvPr/>
          </p:nvSpPr>
          <p:spPr>
            <a:xfrm>
              <a:off x="3908629" y="1116692"/>
              <a:ext cx="244305" cy="244305"/>
            </a:xfrm>
            <a:prstGeom prst="ellipse">
              <a:avLst/>
            </a:prstGeom>
            <a:solidFill>
              <a:srgbClr val="0097D8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Овал 202">
              <a:extLst>
                <a:ext uri="{FF2B5EF4-FFF2-40B4-BE49-F238E27FC236}">
                  <a16:creationId xmlns:a16="http://schemas.microsoft.com/office/drawing/2014/main" id="{665AF00D-2567-2248-9118-9D5B1BC8D50C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46F7FAC-7E51-6996-4AE6-4DF8B89A809A}"/>
              </a:ext>
            </a:extLst>
          </p:cNvPr>
          <p:cNvGrpSpPr/>
          <p:nvPr/>
        </p:nvGrpSpPr>
        <p:grpSpPr>
          <a:xfrm>
            <a:off x="7241993" y="4341350"/>
            <a:ext cx="314998" cy="468851"/>
            <a:chOff x="8138869" y="3648864"/>
            <a:chExt cx="314998" cy="468851"/>
          </a:xfrm>
        </p:grpSpPr>
        <p:sp>
          <p:nvSpPr>
            <p:cNvPr id="41" name="Полилиния 40">
              <a:extLst>
                <a:ext uri="{FF2B5EF4-FFF2-40B4-BE49-F238E27FC236}">
                  <a16:creationId xmlns:a16="http://schemas.microsoft.com/office/drawing/2014/main" id="{E904C922-BD22-5448-BC98-FE04F5CC5F28}"/>
                </a:ext>
              </a:extLst>
            </p:cNvPr>
            <p:cNvSpPr/>
            <p:nvPr/>
          </p:nvSpPr>
          <p:spPr>
            <a:xfrm>
              <a:off x="8138869" y="3670085"/>
              <a:ext cx="2121" cy="447630"/>
            </a:xfrm>
            <a:custGeom>
              <a:avLst/>
              <a:gdLst>
                <a:gd name="connsiteX0" fmla="*/ 0 w 2121"/>
                <a:gd name="connsiteY0" fmla="*/ 447630 h 447630"/>
                <a:gd name="connsiteX1" fmla="*/ 0 w 2121"/>
                <a:gd name="connsiteY1" fmla="*/ 0 h 44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1" h="447630">
                  <a:moveTo>
                    <a:pt x="0" y="447630"/>
                  </a:moveTo>
                  <a:lnTo>
                    <a:pt x="0" y="0"/>
                  </a:lnTo>
                </a:path>
              </a:pathLst>
            </a:custGeom>
            <a:noFill/>
            <a:ln w="42219" cap="sq">
              <a:solidFill>
                <a:srgbClr val="0C2A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2" name="Полилиния 41">
              <a:extLst>
                <a:ext uri="{FF2B5EF4-FFF2-40B4-BE49-F238E27FC236}">
                  <a16:creationId xmlns:a16="http://schemas.microsoft.com/office/drawing/2014/main" id="{A7876272-CCE0-1A42-AA1B-3DF0F8599816}"/>
                </a:ext>
              </a:extLst>
            </p:cNvPr>
            <p:cNvSpPr/>
            <p:nvPr/>
          </p:nvSpPr>
          <p:spPr>
            <a:xfrm>
              <a:off x="8160079" y="3648864"/>
              <a:ext cx="293788" cy="267963"/>
            </a:xfrm>
            <a:custGeom>
              <a:avLst/>
              <a:gdLst>
                <a:gd name="connsiteX0" fmla="*/ 293788 w 293788"/>
                <a:gd name="connsiteY0" fmla="*/ 133982 h 267963"/>
                <a:gd name="connsiteX1" fmla="*/ 0 w 293788"/>
                <a:gd name="connsiteY1" fmla="*/ 267963 h 267963"/>
                <a:gd name="connsiteX2" fmla="*/ 0 w 293788"/>
                <a:gd name="connsiteY2" fmla="*/ 0 h 267963"/>
                <a:gd name="connsiteX3" fmla="*/ 293788 w 293788"/>
                <a:gd name="connsiteY3" fmla="*/ 133982 h 267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788" h="267963">
                  <a:moveTo>
                    <a:pt x="293788" y="133982"/>
                  </a:moveTo>
                  <a:lnTo>
                    <a:pt x="0" y="267963"/>
                  </a:lnTo>
                  <a:lnTo>
                    <a:pt x="0" y="0"/>
                  </a:lnTo>
                  <a:lnTo>
                    <a:pt x="293788" y="133982"/>
                  </a:lnTo>
                  <a:close/>
                </a:path>
              </a:pathLst>
            </a:custGeom>
            <a:solidFill>
              <a:srgbClr val="0097D8"/>
            </a:solidFill>
            <a:ln w="21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44" name="Полилиния 43">
            <a:extLst>
              <a:ext uri="{FF2B5EF4-FFF2-40B4-BE49-F238E27FC236}">
                <a16:creationId xmlns:a16="http://schemas.microsoft.com/office/drawing/2014/main" id="{567228EE-C56F-FC4F-B3CC-87D1B0BF498B}"/>
              </a:ext>
            </a:extLst>
          </p:cNvPr>
          <p:cNvSpPr/>
          <p:nvPr/>
        </p:nvSpPr>
        <p:spPr>
          <a:xfrm>
            <a:off x="6208354" y="4334087"/>
            <a:ext cx="317658" cy="422933"/>
          </a:xfrm>
          <a:custGeom>
            <a:avLst/>
            <a:gdLst>
              <a:gd name="connsiteX0" fmla="*/ 158829 w 317658"/>
              <a:gd name="connsiteY0" fmla="*/ 422933 h 422933"/>
              <a:gd name="connsiteX1" fmla="*/ 317658 w 317658"/>
              <a:gd name="connsiteY1" fmla="*/ 158600 h 422933"/>
              <a:gd name="connsiteX2" fmla="*/ 271139 w 317658"/>
              <a:gd name="connsiteY2" fmla="*/ 46453 h 422933"/>
              <a:gd name="connsiteX3" fmla="*/ 158829 w 317658"/>
              <a:gd name="connsiteY3" fmla="*/ 0 h 422933"/>
              <a:gd name="connsiteX4" fmla="*/ 46520 w 317658"/>
              <a:gd name="connsiteY4" fmla="*/ 46453 h 422933"/>
              <a:gd name="connsiteX5" fmla="*/ 0 w 317658"/>
              <a:gd name="connsiteY5" fmla="*/ 158600 h 422933"/>
              <a:gd name="connsiteX6" fmla="*/ 158829 w 317658"/>
              <a:gd name="connsiteY6" fmla="*/ 422933 h 422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7658" h="422933">
                <a:moveTo>
                  <a:pt x="158829" y="422933"/>
                </a:moveTo>
                <a:cubicBezTo>
                  <a:pt x="158829" y="422933"/>
                  <a:pt x="317658" y="272633"/>
                  <a:pt x="317658" y="158600"/>
                </a:cubicBezTo>
                <a:cubicBezTo>
                  <a:pt x="317658" y="116537"/>
                  <a:pt x="300924" y="76196"/>
                  <a:pt x="271139" y="46453"/>
                </a:cubicBezTo>
                <a:cubicBezTo>
                  <a:pt x="241352" y="16710"/>
                  <a:pt x="200953" y="0"/>
                  <a:pt x="158829" y="0"/>
                </a:cubicBezTo>
                <a:cubicBezTo>
                  <a:pt x="116705" y="0"/>
                  <a:pt x="76306" y="16710"/>
                  <a:pt x="46520" y="46453"/>
                </a:cubicBezTo>
                <a:cubicBezTo>
                  <a:pt x="16734" y="76196"/>
                  <a:pt x="0" y="116537"/>
                  <a:pt x="0" y="158600"/>
                </a:cubicBezTo>
                <a:cubicBezTo>
                  <a:pt x="0" y="272633"/>
                  <a:pt x="158829" y="422933"/>
                  <a:pt x="158829" y="422933"/>
                </a:cubicBezTo>
                <a:close/>
              </a:path>
            </a:pathLst>
          </a:custGeom>
          <a:solidFill>
            <a:srgbClr val="0097D8"/>
          </a:solidFill>
          <a:ln w="1776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Полилиния 44">
            <a:extLst>
              <a:ext uri="{FF2B5EF4-FFF2-40B4-BE49-F238E27FC236}">
                <a16:creationId xmlns:a16="http://schemas.microsoft.com/office/drawing/2014/main" id="{EC00FEE3-944C-6D4A-8B9A-80FCE29603FC}"/>
              </a:ext>
            </a:extLst>
          </p:cNvPr>
          <p:cNvSpPr/>
          <p:nvPr/>
        </p:nvSpPr>
        <p:spPr>
          <a:xfrm>
            <a:off x="6287769" y="4413386"/>
            <a:ext cx="158828" cy="158599"/>
          </a:xfrm>
          <a:custGeom>
            <a:avLst/>
            <a:gdLst>
              <a:gd name="connsiteX0" fmla="*/ 79415 w 158828"/>
              <a:gd name="connsiteY0" fmla="*/ 158600 h 158599"/>
              <a:gd name="connsiteX1" fmla="*/ 135569 w 158828"/>
              <a:gd name="connsiteY1" fmla="*/ 135373 h 158599"/>
              <a:gd name="connsiteX2" fmla="*/ 158828 w 158828"/>
              <a:gd name="connsiteY2" fmla="*/ 79300 h 158599"/>
              <a:gd name="connsiteX3" fmla="*/ 135569 w 158828"/>
              <a:gd name="connsiteY3" fmla="*/ 23226 h 158599"/>
              <a:gd name="connsiteX4" fmla="*/ 79415 w 158828"/>
              <a:gd name="connsiteY4" fmla="*/ 0 h 158599"/>
              <a:gd name="connsiteX5" fmla="*/ 23260 w 158828"/>
              <a:gd name="connsiteY5" fmla="*/ 23226 h 158599"/>
              <a:gd name="connsiteX6" fmla="*/ 0 w 158828"/>
              <a:gd name="connsiteY6" fmla="*/ 79300 h 158599"/>
              <a:gd name="connsiteX7" fmla="*/ 23260 w 158828"/>
              <a:gd name="connsiteY7" fmla="*/ 135373 h 158599"/>
              <a:gd name="connsiteX8" fmla="*/ 79415 w 158828"/>
              <a:gd name="connsiteY8" fmla="*/ 158600 h 158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28" h="158599">
                <a:moveTo>
                  <a:pt x="79415" y="158600"/>
                </a:moveTo>
                <a:cubicBezTo>
                  <a:pt x="100476" y="158600"/>
                  <a:pt x="120677" y="150244"/>
                  <a:pt x="135569" y="135373"/>
                </a:cubicBezTo>
                <a:cubicBezTo>
                  <a:pt x="150462" y="120502"/>
                  <a:pt x="158828" y="100332"/>
                  <a:pt x="158828" y="79300"/>
                </a:cubicBezTo>
                <a:cubicBezTo>
                  <a:pt x="158828" y="58268"/>
                  <a:pt x="150462" y="38098"/>
                  <a:pt x="135569" y="23226"/>
                </a:cubicBezTo>
                <a:cubicBezTo>
                  <a:pt x="120677" y="8355"/>
                  <a:pt x="100476" y="0"/>
                  <a:pt x="79415" y="0"/>
                </a:cubicBezTo>
                <a:cubicBezTo>
                  <a:pt x="58353" y="0"/>
                  <a:pt x="38153" y="8355"/>
                  <a:pt x="23260" y="23226"/>
                </a:cubicBezTo>
                <a:cubicBezTo>
                  <a:pt x="8367" y="38098"/>
                  <a:pt x="0" y="58268"/>
                  <a:pt x="0" y="79300"/>
                </a:cubicBezTo>
                <a:cubicBezTo>
                  <a:pt x="0" y="100332"/>
                  <a:pt x="8367" y="120502"/>
                  <a:pt x="23260" y="135373"/>
                </a:cubicBezTo>
                <a:cubicBezTo>
                  <a:pt x="38153" y="150244"/>
                  <a:pt x="58353" y="158600"/>
                  <a:pt x="79415" y="158600"/>
                </a:cubicBezTo>
                <a:close/>
              </a:path>
            </a:pathLst>
          </a:custGeom>
          <a:solidFill>
            <a:srgbClr val="FFFFFF"/>
          </a:solidFill>
          <a:ln w="1776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A8AAA167-24D7-5049-8D97-90BFFA4189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36074" y="1143166"/>
            <a:ext cx="1799151" cy="981931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2E495A98-64BF-804A-8DB3-78F429EF6A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53313" y="2474609"/>
            <a:ext cx="2028745" cy="1107238"/>
          </a:xfrm>
          <a:prstGeom prst="rect">
            <a:avLst/>
          </a:prstGeom>
        </p:spPr>
      </p:pic>
      <p:sp>
        <p:nvSpPr>
          <p:cNvPr id="99" name="Graphic 235">
            <a:extLst>
              <a:ext uri="{FF2B5EF4-FFF2-40B4-BE49-F238E27FC236}">
                <a16:creationId xmlns:a16="http://schemas.microsoft.com/office/drawing/2014/main" id="{0A02CA08-FA9F-1F40-8714-AC001F5C1303}"/>
              </a:ext>
            </a:extLst>
          </p:cNvPr>
          <p:cNvSpPr/>
          <p:nvPr/>
        </p:nvSpPr>
        <p:spPr>
          <a:xfrm>
            <a:off x="3252139" y="4272956"/>
            <a:ext cx="425071" cy="423574"/>
          </a:xfrm>
          <a:custGeom>
            <a:avLst/>
            <a:gdLst>
              <a:gd name="connsiteX0" fmla="*/ 212536 w 425071"/>
              <a:gd name="connsiteY0" fmla="*/ 0 h 423574"/>
              <a:gd name="connsiteX1" fmla="*/ 276895 w 425071"/>
              <a:gd name="connsiteY1" fmla="*/ 139196 h 423574"/>
              <a:gd name="connsiteX2" fmla="*/ 425072 w 425071"/>
              <a:gd name="connsiteY2" fmla="*/ 161647 h 423574"/>
              <a:gd name="connsiteX3" fmla="*/ 317307 w 425071"/>
              <a:gd name="connsiteY3" fmla="*/ 269412 h 423574"/>
              <a:gd name="connsiteX4" fmla="*/ 342751 w 425071"/>
              <a:gd name="connsiteY4" fmla="*/ 423575 h 423574"/>
              <a:gd name="connsiteX5" fmla="*/ 212536 w 425071"/>
              <a:gd name="connsiteY5" fmla="*/ 350235 h 423574"/>
              <a:gd name="connsiteX6" fmla="*/ 80824 w 425071"/>
              <a:gd name="connsiteY6" fmla="*/ 423575 h 423574"/>
              <a:gd name="connsiteX7" fmla="*/ 106268 w 425071"/>
              <a:gd name="connsiteY7" fmla="*/ 269412 h 423574"/>
              <a:gd name="connsiteX8" fmla="*/ 0 w 425071"/>
              <a:gd name="connsiteY8" fmla="*/ 161647 h 423574"/>
              <a:gd name="connsiteX9" fmla="*/ 146679 w 425071"/>
              <a:gd name="connsiteY9" fmla="*/ 139196 h 423574"/>
              <a:gd name="connsiteX10" fmla="*/ 212536 w 425071"/>
              <a:gd name="connsiteY10" fmla="*/ 0 h 4235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5071" h="423574">
                <a:moveTo>
                  <a:pt x="212536" y="0"/>
                </a:moveTo>
                <a:lnTo>
                  <a:pt x="276895" y="139196"/>
                </a:lnTo>
                <a:lnTo>
                  <a:pt x="425072" y="161647"/>
                </a:lnTo>
                <a:lnTo>
                  <a:pt x="317307" y="269412"/>
                </a:lnTo>
                <a:lnTo>
                  <a:pt x="342751" y="423575"/>
                </a:lnTo>
                <a:lnTo>
                  <a:pt x="212536" y="350235"/>
                </a:lnTo>
                <a:lnTo>
                  <a:pt x="80824" y="423575"/>
                </a:lnTo>
                <a:lnTo>
                  <a:pt x="106268" y="269412"/>
                </a:lnTo>
                <a:lnTo>
                  <a:pt x="0" y="161647"/>
                </a:lnTo>
                <a:lnTo>
                  <a:pt x="146679" y="139196"/>
                </a:lnTo>
                <a:lnTo>
                  <a:pt x="212536" y="0"/>
                </a:lnTo>
                <a:close/>
              </a:path>
            </a:pathLst>
          </a:custGeom>
          <a:solidFill>
            <a:srgbClr val="0097D8"/>
          </a:solidFill>
          <a:ln w="14780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33A6A74F-1279-E442-A797-D4E9141BBFDD}"/>
              </a:ext>
            </a:extLst>
          </p:cNvPr>
          <p:cNvSpPr>
            <a:spLocks noChangeAspect="1"/>
          </p:cNvSpPr>
          <p:nvPr/>
        </p:nvSpPr>
        <p:spPr>
          <a:xfrm rot="2700000">
            <a:off x="5280109" y="2763450"/>
            <a:ext cx="266400" cy="266400"/>
          </a:xfrm>
          <a:prstGeom prst="rect">
            <a:avLst/>
          </a:prstGeom>
          <a:noFill/>
          <a:ln w="12700">
            <a:solidFill>
              <a:srgbClr val="0097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2" name="Graphic 266">
            <a:extLst>
              <a:ext uri="{FF2B5EF4-FFF2-40B4-BE49-F238E27FC236}">
                <a16:creationId xmlns:a16="http://schemas.microsoft.com/office/drawing/2014/main" id="{5CD0C6A8-B330-7245-9EC3-D42312F2C75F}"/>
              </a:ext>
            </a:extLst>
          </p:cNvPr>
          <p:cNvSpPr>
            <a:spLocks/>
          </p:cNvSpPr>
          <p:nvPr/>
        </p:nvSpPr>
        <p:spPr>
          <a:xfrm>
            <a:off x="6211893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E65907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3" name="Graphic 266">
            <a:extLst>
              <a:ext uri="{FF2B5EF4-FFF2-40B4-BE49-F238E27FC236}">
                <a16:creationId xmlns:a16="http://schemas.microsoft.com/office/drawing/2014/main" id="{25AC2351-48E4-944A-AD45-4132214EF65D}"/>
              </a:ext>
            </a:extLst>
          </p:cNvPr>
          <p:cNvSpPr>
            <a:spLocks/>
          </p:cNvSpPr>
          <p:nvPr/>
        </p:nvSpPr>
        <p:spPr>
          <a:xfrm>
            <a:off x="3295158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004596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Graphic 266">
            <a:extLst>
              <a:ext uri="{FF2B5EF4-FFF2-40B4-BE49-F238E27FC236}">
                <a16:creationId xmlns:a16="http://schemas.microsoft.com/office/drawing/2014/main" id="{C1FB8F95-1626-5148-B8E0-1EB45BBB1136}"/>
              </a:ext>
            </a:extLst>
          </p:cNvPr>
          <p:cNvSpPr>
            <a:spLocks/>
          </p:cNvSpPr>
          <p:nvPr/>
        </p:nvSpPr>
        <p:spPr>
          <a:xfrm>
            <a:off x="7178981" y="3492693"/>
            <a:ext cx="370800" cy="370800"/>
          </a:xfrm>
          <a:custGeom>
            <a:avLst/>
            <a:gdLst>
              <a:gd name="connsiteX0" fmla="*/ 417358 w 417357"/>
              <a:gd name="connsiteY0" fmla="*/ 0 h 417357"/>
              <a:gd name="connsiteX1" fmla="*/ 0 w 417357"/>
              <a:gd name="connsiteY1" fmla="*/ 0 h 417357"/>
              <a:gd name="connsiteX2" fmla="*/ 0 w 417357"/>
              <a:gd name="connsiteY2" fmla="*/ 417358 h 417357"/>
              <a:gd name="connsiteX3" fmla="*/ 417358 w 417357"/>
              <a:gd name="connsiteY3" fmla="*/ 417358 h 417357"/>
              <a:gd name="connsiteX4" fmla="*/ 417358 w 417357"/>
              <a:gd name="connsiteY4" fmla="*/ 0 h 41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357" h="417357">
                <a:moveTo>
                  <a:pt x="417358" y="0"/>
                </a:moveTo>
                <a:lnTo>
                  <a:pt x="0" y="0"/>
                </a:lnTo>
                <a:lnTo>
                  <a:pt x="0" y="417358"/>
                </a:lnTo>
                <a:lnTo>
                  <a:pt x="417358" y="417358"/>
                </a:lnTo>
                <a:lnTo>
                  <a:pt x="417358" y="0"/>
                </a:lnTo>
                <a:close/>
              </a:path>
            </a:pathLst>
          </a:custGeom>
          <a:solidFill>
            <a:srgbClr val="CCCCCC"/>
          </a:solidFill>
          <a:ln w="32971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77A01E90-DE38-4B40-BB4B-F955E94C4A33}"/>
              </a:ext>
            </a:extLst>
          </p:cNvPr>
          <p:cNvSpPr>
            <a:spLocks noChangeAspect="1"/>
          </p:cNvSpPr>
          <p:nvPr/>
        </p:nvSpPr>
        <p:spPr>
          <a:xfrm rot="2700000">
            <a:off x="6247904" y="2763449"/>
            <a:ext cx="266400" cy="2664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88B03CF8-D101-B144-AC72-10839E92A1F3}"/>
              </a:ext>
            </a:extLst>
          </p:cNvPr>
          <p:cNvSpPr>
            <a:spLocks noChangeAspect="1"/>
          </p:cNvSpPr>
          <p:nvPr/>
        </p:nvSpPr>
        <p:spPr>
          <a:xfrm rot="2700000">
            <a:off x="7229050" y="2763449"/>
            <a:ext cx="266400" cy="266400"/>
          </a:xfrm>
          <a:prstGeom prst="rect">
            <a:avLst/>
          </a:prstGeom>
          <a:solidFill>
            <a:srgbClr val="CCCCC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C63D97-042D-E8EC-D8DC-43C18958094C}"/>
              </a:ext>
            </a:extLst>
          </p:cNvPr>
          <p:cNvGrpSpPr/>
          <p:nvPr/>
        </p:nvGrpSpPr>
        <p:grpSpPr>
          <a:xfrm>
            <a:off x="7154691" y="1143625"/>
            <a:ext cx="370800" cy="370800"/>
            <a:chOff x="7154691" y="1143625"/>
            <a:chExt cx="370800" cy="370800"/>
          </a:xfrm>
        </p:grpSpPr>
        <p:sp>
          <p:nvSpPr>
            <p:cNvPr id="101" name="Полилиния 100">
              <a:extLst>
                <a:ext uri="{FF2B5EF4-FFF2-40B4-BE49-F238E27FC236}">
                  <a16:creationId xmlns:a16="http://schemas.microsoft.com/office/drawing/2014/main" id="{46EC94FB-E856-3A4F-AD93-5B241A340F33}"/>
                </a:ext>
              </a:extLst>
            </p:cNvPr>
            <p:cNvSpPr/>
            <p:nvPr/>
          </p:nvSpPr>
          <p:spPr>
            <a:xfrm>
              <a:off x="7154691" y="1143625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E65907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Полилиния 101">
              <a:extLst>
                <a:ext uri="{FF2B5EF4-FFF2-40B4-BE49-F238E27FC236}">
                  <a16:creationId xmlns:a16="http://schemas.microsoft.com/office/drawing/2014/main" id="{EA89598A-F51B-F64E-91A0-F40678C1F750}"/>
                </a:ext>
              </a:extLst>
            </p:cNvPr>
            <p:cNvSpPr/>
            <p:nvPr/>
          </p:nvSpPr>
          <p:spPr>
            <a:xfrm>
              <a:off x="7319938" y="1404133"/>
              <a:ext cx="40304" cy="40304"/>
            </a:xfrm>
            <a:custGeom>
              <a:avLst/>
              <a:gdLst>
                <a:gd name="connsiteX0" fmla="*/ 40304 w 40304"/>
                <a:gd name="connsiteY0" fmla="*/ 20152 h 40304"/>
                <a:gd name="connsiteX1" fmla="*/ 20152 w 40304"/>
                <a:gd name="connsiteY1" fmla="*/ 40304 h 40304"/>
                <a:gd name="connsiteX2" fmla="*/ 0 w 40304"/>
                <a:gd name="connsiteY2" fmla="*/ 20152 h 40304"/>
                <a:gd name="connsiteX3" fmla="*/ 20152 w 40304"/>
                <a:gd name="connsiteY3" fmla="*/ 0 h 40304"/>
                <a:gd name="connsiteX4" fmla="*/ 40304 w 40304"/>
                <a:gd name="connsiteY4" fmla="*/ 20152 h 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304" h="40304">
                  <a:moveTo>
                    <a:pt x="40304" y="20152"/>
                  </a:moveTo>
                  <a:cubicBezTo>
                    <a:pt x="40304" y="31282"/>
                    <a:pt x="31282" y="40304"/>
                    <a:pt x="20152" y="40304"/>
                  </a:cubicBezTo>
                  <a:cubicBezTo>
                    <a:pt x="9022" y="40304"/>
                    <a:pt x="0" y="31282"/>
                    <a:pt x="0" y="20152"/>
                  </a:cubicBezTo>
                  <a:cubicBezTo>
                    <a:pt x="0" y="9022"/>
                    <a:pt x="9022" y="0"/>
                    <a:pt x="20152" y="0"/>
                  </a:cubicBezTo>
                  <a:cubicBezTo>
                    <a:pt x="31282" y="0"/>
                    <a:pt x="40304" y="9022"/>
                    <a:pt x="40304" y="20152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Полилиния 102">
              <a:extLst>
                <a:ext uri="{FF2B5EF4-FFF2-40B4-BE49-F238E27FC236}">
                  <a16:creationId xmlns:a16="http://schemas.microsoft.com/office/drawing/2014/main" id="{9E7DA419-5EB9-044F-9A33-470F0DD635C1}"/>
                </a:ext>
              </a:extLst>
            </p:cNvPr>
            <p:cNvSpPr/>
            <p:nvPr/>
          </p:nvSpPr>
          <p:spPr>
            <a:xfrm>
              <a:off x="7319938" y="1213486"/>
              <a:ext cx="40304" cy="171632"/>
            </a:xfrm>
            <a:custGeom>
              <a:avLst/>
              <a:gdLst>
                <a:gd name="connsiteX0" fmla="*/ 20152 w 40304"/>
                <a:gd name="connsiteY0" fmla="*/ 171633 h 171632"/>
                <a:gd name="connsiteX1" fmla="*/ 0 w 40304"/>
                <a:gd name="connsiteY1" fmla="*/ 151481 h 171632"/>
                <a:gd name="connsiteX2" fmla="*/ 0 w 40304"/>
                <a:gd name="connsiteY2" fmla="*/ 20152 h 171632"/>
                <a:gd name="connsiteX3" fmla="*/ 20152 w 40304"/>
                <a:gd name="connsiteY3" fmla="*/ 0 h 171632"/>
                <a:gd name="connsiteX4" fmla="*/ 40304 w 40304"/>
                <a:gd name="connsiteY4" fmla="*/ 20152 h 171632"/>
                <a:gd name="connsiteX5" fmla="*/ 40304 w 40304"/>
                <a:gd name="connsiteY5" fmla="*/ 151481 h 171632"/>
                <a:gd name="connsiteX6" fmla="*/ 20152 w 40304"/>
                <a:gd name="connsiteY6" fmla="*/ 171633 h 171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04" h="171632">
                  <a:moveTo>
                    <a:pt x="20152" y="171633"/>
                  </a:moveTo>
                  <a:cubicBezTo>
                    <a:pt x="9023" y="171633"/>
                    <a:pt x="0" y="162610"/>
                    <a:pt x="0" y="151481"/>
                  </a:cubicBezTo>
                  <a:lnTo>
                    <a:pt x="0" y="20152"/>
                  </a:lnTo>
                  <a:cubicBezTo>
                    <a:pt x="0" y="9022"/>
                    <a:pt x="9023" y="0"/>
                    <a:pt x="20152" y="0"/>
                  </a:cubicBezTo>
                  <a:cubicBezTo>
                    <a:pt x="31282" y="0"/>
                    <a:pt x="40304" y="9022"/>
                    <a:pt x="40304" y="20152"/>
                  </a:cubicBezTo>
                  <a:lnTo>
                    <a:pt x="40304" y="151481"/>
                  </a:lnTo>
                  <a:cubicBezTo>
                    <a:pt x="40304" y="162610"/>
                    <a:pt x="31282" y="171633"/>
                    <a:pt x="20152" y="171633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37BB15F-A450-EF52-CA18-F8E8010E0B50}"/>
              </a:ext>
            </a:extLst>
          </p:cNvPr>
          <p:cNvGrpSpPr/>
          <p:nvPr/>
        </p:nvGrpSpPr>
        <p:grpSpPr>
          <a:xfrm>
            <a:off x="6162415" y="1141707"/>
            <a:ext cx="370800" cy="370800"/>
            <a:chOff x="6162415" y="1141707"/>
            <a:chExt cx="370800" cy="370800"/>
          </a:xfrm>
        </p:grpSpPr>
        <p:sp>
          <p:nvSpPr>
            <p:cNvPr id="105" name="Полилиния 104">
              <a:extLst>
                <a:ext uri="{FF2B5EF4-FFF2-40B4-BE49-F238E27FC236}">
                  <a16:creationId xmlns:a16="http://schemas.microsoft.com/office/drawing/2014/main" id="{96D71103-F758-5D46-A809-2BE8777FF110}"/>
                </a:ext>
              </a:extLst>
            </p:cNvPr>
            <p:cNvSpPr/>
            <p:nvPr/>
          </p:nvSpPr>
          <p:spPr>
            <a:xfrm>
              <a:off x="6162415" y="114170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CD222C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Полилиния 105">
              <a:extLst>
                <a:ext uri="{FF2B5EF4-FFF2-40B4-BE49-F238E27FC236}">
                  <a16:creationId xmlns:a16="http://schemas.microsoft.com/office/drawing/2014/main" id="{1DAFE5A5-5B39-854B-BF19-4EBD67145CF2}"/>
                </a:ext>
              </a:extLst>
            </p:cNvPr>
            <p:cNvSpPr/>
            <p:nvPr/>
          </p:nvSpPr>
          <p:spPr>
            <a:xfrm>
              <a:off x="6249741" y="1306954"/>
              <a:ext cx="195815" cy="40304"/>
            </a:xfrm>
            <a:custGeom>
              <a:avLst/>
              <a:gdLst>
                <a:gd name="connsiteX0" fmla="*/ 0 w 195815"/>
                <a:gd name="connsiteY0" fmla="*/ 20152 h 40304"/>
                <a:gd name="connsiteX1" fmla="*/ 20152 w 195815"/>
                <a:gd name="connsiteY1" fmla="*/ 0 h 40304"/>
                <a:gd name="connsiteX2" fmla="*/ 175664 w 195815"/>
                <a:gd name="connsiteY2" fmla="*/ 0 h 40304"/>
                <a:gd name="connsiteX3" fmla="*/ 195816 w 195815"/>
                <a:gd name="connsiteY3" fmla="*/ 20152 h 40304"/>
                <a:gd name="connsiteX4" fmla="*/ 175664 w 195815"/>
                <a:gd name="connsiteY4" fmla="*/ 40304 h 40304"/>
                <a:gd name="connsiteX5" fmla="*/ 20152 w 195815"/>
                <a:gd name="connsiteY5" fmla="*/ 40304 h 40304"/>
                <a:gd name="connsiteX6" fmla="*/ 0 w 195815"/>
                <a:gd name="connsiteY6" fmla="*/ 20152 h 40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815" h="40304">
                  <a:moveTo>
                    <a:pt x="0" y="20152"/>
                  </a:moveTo>
                  <a:cubicBezTo>
                    <a:pt x="0" y="9023"/>
                    <a:pt x="9022" y="0"/>
                    <a:pt x="20152" y="0"/>
                  </a:cubicBezTo>
                  <a:lnTo>
                    <a:pt x="175664" y="0"/>
                  </a:lnTo>
                  <a:cubicBezTo>
                    <a:pt x="186793" y="0"/>
                    <a:pt x="195816" y="9023"/>
                    <a:pt x="195816" y="20152"/>
                  </a:cubicBezTo>
                  <a:cubicBezTo>
                    <a:pt x="195816" y="31282"/>
                    <a:pt x="186793" y="40304"/>
                    <a:pt x="175664" y="40304"/>
                  </a:cubicBezTo>
                  <a:lnTo>
                    <a:pt x="20152" y="40304"/>
                  </a:lnTo>
                  <a:cubicBezTo>
                    <a:pt x="9022" y="40304"/>
                    <a:pt x="0" y="31282"/>
                    <a:pt x="0" y="20152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4431767-7430-6F55-9BAF-6B8BBBCC595D}"/>
              </a:ext>
            </a:extLst>
          </p:cNvPr>
          <p:cNvGrpSpPr/>
          <p:nvPr/>
        </p:nvGrpSpPr>
        <p:grpSpPr>
          <a:xfrm>
            <a:off x="5195014" y="1141707"/>
            <a:ext cx="369461" cy="370800"/>
            <a:chOff x="5195014" y="1141707"/>
            <a:chExt cx="369461" cy="370800"/>
          </a:xfrm>
        </p:grpSpPr>
        <p:sp>
          <p:nvSpPr>
            <p:cNvPr id="108" name="Полилиния 107">
              <a:extLst>
                <a:ext uri="{FF2B5EF4-FFF2-40B4-BE49-F238E27FC236}">
                  <a16:creationId xmlns:a16="http://schemas.microsoft.com/office/drawing/2014/main" id="{66BFFB85-1A3E-A544-867B-E091B51BE842}"/>
                </a:ext>
              </a:extLst>
            </p:cNvPr>
            <p:cNvSpPr/>
            <p:nvPr/>
          </p:nvSpPr>
          <p:spPr>
            <a:xfrm>
              <a:off x="5195014" y="1141707"/>
              <a:ext cx="369461" cy="370800"/>
            </a:xfrm>
            <a:custGeom>
              <a:avLst/>
              <a:gdLst>
                <a:gd name="connsiteX0" fmla="*/ 356075 w 369461"/>
                <a:gd name="connsiteY0" fmla="*/ 0 h 370800"/>
                <a:gd name="connsiteX1" fmla="*/ 369461 w 369461"/>
                <a:gd name="connsiteY1" fmla="*/ 0 h 370800"/>
                <a:gd name="connsiteX2" fmla="*/ 369461 w 369461"/>
                <a:gd name="connsiteY2" fmla="*/ 370800 h 370800"/>
                <a:gd name="connsiteX3" fmla="*/ 356075 w 369461"/>
                <a:gd name="connsiteY3" fmla="*/ 370800 h 370800"/>
                <a:gd name="connsiteX4" fmla="*/ 13386 w 369461"/>
                <a:gd name="connsiteY4" fmla="*/ 370800 h 370800"/>
                <a:gd name="connsiteX5" fmla="*/ 0 w 369461"/>
                <a:gd name="connsiteY5" fmla="*/ 370800 h 370800"/>
                <a:gd name="connsiteX6" fmla="*/ 0 w 369461"/>
                <a:gd name="connsiteY6" fmla="*/ 0 h 370800"/>
                <a:gd name="connsiteX7" fmla="*/ 13386 w 369461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9461" h="370800">
                  <a:moveTo>
                    <a:pt x="356075" y="0"/>
                  </a:moveTo>
                  <a:cubicBezTo>
                    <a:pt x="363468" y="0"/>
                    <a:pt x="369461" y="0"/>
                    <a:pt x="369461" y="0"/>
                  </a:cubicBezTo>
                  <a:lnTo>
                    <a:pt x="369461" y="370800"/>
                  </a:lnTo>
                  <a:cubicBezTo>
                    <a:pt x="369461" y="370800"/>
                    <a:pt x="363468" y="370800"/>
                    <a:pt x="356075" y="370800"/>
                  </a:cubicBezTo>
                  <a:lnTo>
                    <a:pt x="13386" y="370800"/>
                  </a:lnTo>
                  <a:cubicBezTo>
                    <a:pt x="5993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5993" y="0"/>
                    <a:pt x="13386" y="0"/>
                  </a:cubicBezTo>
                  <a:close/>
                </a:path>
              </a:pathLst>
            </a:custGeom>
            <a:solidFill>
              <a:srgbClr val="CD222C"/>
            </a:solidFill>
            <a:ln w="13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Полилиния 108">
              <a:extLst>
                <a:ext uri="{FF2B5EF4-FFF2-40B4-BE49-F238E27FC236}">
                  <a16:creationId xmlns:a16="http://schemas.microsoft.com/office/drawing/2014/main" id="{26D60C9A-60BB-F740-B7D4-4203851B4933}"/>
                </a:ext>
              </a:extLst>
            </p:cNvPr>
            <p:cNvSpPr/>
            <p:nvPr/>
          </p:nvSpPr>
          <p:spPr>
            <a:xfrm>
              <a:off x="5304716" y="1251805"/>
              <a:ext cx="149726" cy="150268"/>
            </a:xfrm>
            <a:custGeom>
              <a:avLst/>
              <a:gdLst>
                <a:gd name="connsiteX0" fmla="*/ 5883 w 149726"/>
                <a:gd name="connsiteY0" fmla="*/ 144366 h 150268"/>
                <a:gd name="connsiteX1" fmla="*/ 5883 w 149726"/>
                <a:gd name="connsiteY1" fmla="*/ 115866 h 150268"/>
                <a:gd name="connsiteX2" fmla="*/ 46467 w 149726"/>
                <a:gd name="connsiteY2" fmla="*/ 75135 h 150268"/>
                <a:gd name="connsiteX3" fmla="*/ 5881 w 149726"/>
                <a:gd name="connsiteY3" fmla="*/ 34402 h 150268"/>
                <a:gd name="connsiteX4" fmla="*/ 5881 w 149726"/>
                <a:gd name="connsiteY4" fmla="*/ 5902 h 150268"/>
                <a:gd name="connsiteX5" fmla="*/ 34277 w 149726"/>
                <a:gd name="connsiteY5" fmla="*/ 5902 h 150268"/>
                <a:gd name="connsiteX6" fmla="*/ 74863 w 149726"/>
                <a:gd name="connsiteY6" fmla="*/ 46636 h 150268"/>
                <a:gd name="connsiteX7" fmla="*/ 115449 w 149726"/>
                <a:gd name="connsiteY7" fmla="*/ 5903 h 150268"/>
                <a:gd name="connsiteX8" fmla="*/ 143845 w 149726"/>
                <a:gd name="connsiteY8" fmla="*/ 5903 h 150268"/>
                <a:gd name="connsiteX9" fmla="*/ 143845 w 149726"/>
                <a:gd name="connsiteY9" fmla="*/ 34403 h 150268"/>
                <a:gd name="connsiteX10" fmla="*/ 103261 w 149726"/>
                <a:gd name="connsiteY10" fmla="*/ 75135 h 150268"/>
                <a:gd name="connsiteX11" fmla="*/ 143844 w 149726"/>
                <a:gd name="connsiteY11" fmla="*/ 115865 h 150268"/>
                <a:gd name="connsiteX12" fmla="*/ 143844 w 149726"/>
                <a:gd name="connsiteY12" fmla="*/ 144366 h 150268"/>
                <a:gd name="connsiteX13" fmla="*/ 115448 w 149726"/>
                <a:gd name="connsiteY13" fmla="*/ 144366 h 150268"/>
                <a:gd name="connsiteX14" fmla="*/ 74863 w 149726"/>
                <a:gd name="connsiteY14" fmla="*/ 103634 h 150268"/>
                <a:gd name="connsiteX15" fmla="*/ 34280 w 149726"/>
                <a:gd name="connsiteY15" fmla="*/ 144366 h 150268"/>
                <a:gd name="connsiteX16" fmla="*/ 5883 w 149726"/>
                <a:gd name="connsiteY16" fmla="*/ 144366 h 150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9726" h="150268">
                  <a:moveTo>
                    <a:pt x="5883" y="144366"/>
                  </a:moveTo>
                  <a:cubicBezTo>
                    <a:pt x="-1959" y="136495"/>
                    <a:pt x="-1959" y="123736"/>
                    <a:pt x="5883" y="115866"/>
                  </a:cubicBezTo>
                  <a:lnTo>
                    <a:pt x="46467" y="75135"/>
                  </a:lnTo>
                  <a:lnTo>
                    <a:pt x="5881" y="34402"/>
                  </a:lnTo>
                  <a:cubicBezTo>
                    <a:pt x="-1960" y="26532"/>
                    <a:pt x="-1960" y="13772"/>
                    <a:pt x="5881" y="5902"/>
                  </a:cubicBezTo>
                  <a:cubicBezTo>
                    <a:pt x="13723" y="-1967"/>
                    <a:pt x="26437" y="-1967"/>
                    <a:pt x="34277" y="5902"/>
                  </a:cubicBezTo>
                  <a:lnTo>
                    <a:pt x="74863" y="46636"/>
                  </a:lnTo>
                  <a:lnTo>
                    <a:pt x="115449" y="5903"/>
                  </a:lnTo>
                  <a:cubicBezTo>
                    <a:pt x="123291" y="-1967"/>
                    <a:pt x="136004" y="-1967"/>
                    <a:pt x="143845" y="5903"/>
                  </a:cubicBezTo>
                  <a:cubicBezTo>
                    <a:pt x="151687" y="13773"/>
                    <a:pt x="151687" y="26533"/>
                    <a:pt x="143845" y="34403"/>
                  </a:cubicBezTo>
                  <a:lnTo>
                    <a:pt x="103261" y="75135"/>
                  </a:lnTo>
                  <a:lnTo>
                    <a:pt x="143844" y="115865"/>
                  </a:lnTo>
                  <a:cubicBezTo>
                    <a:pt x="151686" y="123735"/>
                    <a:pt x="151686" y="136495"/>
                    <a:pt x="143844" y="144366"/>
                  </a:cubicBezTo>
                  <a:cubicBezTo>
                    <a:pt x="136002" y="152234"/>
                    <a:pt x="123288" y="152234"/>
                    <a:pt x="115448" y="144366"/>
                  </a:cubicBezTo>
                  <a:lnTo>
                    <a:pt x="74863" y="103634"/>
                  </a:lnTo>
                  <a:lnTo>
                    <a:pt x="34280" y="144366"/>
                  </a:lnTo>
                  <a:cubicBezTo>
                    <a:pt x="26438" y="152236"/>
                    <a:pt x="13724" y="152236"/>
                    <a:pt x="5883" y="144366"/>
                  </a:cubicBezTo>
                  <a:close/>
                </a:path>
              </a:pathLst>
            </a:custGeom>
            <a:solidFill>
              <a:srgbClr val="FFFFFF"/>
            </a:solidFill>
            <a:ln w="13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954509F-3F48-25F5-EB35-7D876F69D0CF}"/>
              </a:ext>
            </a:extLst>
          </p:cNvPr>
          <p:cNvGrpSpPr/>
          <p:nvPr/>
        </p:nvGrpSpPr>
        <p:grpSpPr>
          <a:xfrm>
            <a:off x="4234171" y="1129097"/>
            <a:ext cx="370800" cy="370800"/>
            <a:chOff x="4234171" y="1129097"/>
            <a:chExt cx="370800" cy="370800"/>
          </a:xfrm>
        </p:grpSpPr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BA7A885D-AED7-2946-BED5-8DD3E6DF388A}"/>
                </a:ext>
              </a:extLst>
            </p:cNvPr>
            <p:cNvSpPr/>
            <p:nvPr/>
          </p:nvSpPr>
          <p:spPr>
            <a:xfrm>
              <a:off x="4234171" y="112909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48A044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BE95B2F8-0024-3B43-A1AC-A6568DDA43D8}"/>
                </a:ext>
              </a:extLst>
            </p:cNvPr>
            <p:cNvSpPr/>
            <p:nvPr/>
          </p:nvSpPr>
          <p:spPr>
            <a:xfrm>
              <a:off x="4321497" y="1216421"/>
              <a:ext cx="195815" cy="195815"/>
            </a:xfrm>
            <a:custGeom>
              <a:avLst/>
              <a:gdLst>
                <a:gd name="connsiteX0" fmla="*/ 0 w 195815"/>
                <a:gd name="connsiteY0" fmla="*/ 97910 h 195815"/>
                <a:gd name="connsiteX1" fmla="*/ 20152 w 195815"/>
                <a:gd name="connsiteY1" fmla="*/ 77758 h 195815"/>
                <a:gd name="connsiteX2" fmla="*/ 77755 w 195815"/>
                <a:gd name="connsiteY2" fmla="*/ 77758 h 195815"/>
                <a:gd name="connsiteX3" fmla="*/ 77755 w 195815"/>
                <a:gd name="connsiteY3" fmla="*/ 20152 h 195815"/>
                <a:gd name="connsiteX4" fmla="*/ 97907 w 195815"/>
                <a:gd name="connsiteY4" fmla="*/ 0 h 195815"/>
                <a:gd name="connsiteX5" fmla="*/ 118060 w 195815"/>
                <a:gd name="connsiteY5" fmla="*/ 20152 h 195815"/>
                <a:gd name="connsiteX6" fmla="*/ 118060 w 195815"/>
                <a:gd name="connsiteY6" fmla="*/ 77758 h 195815"/>
                <a:gd name="connsiteX7" fmla="*/ 175664 w 195815"/>
                <a:gd name="connsiteY7" fmla="*/ 77758 h 195815"/>
                <a:gd name="connsiteX8" fmla="*/ 195816 w 195815"/>
                <a:gd name="connsiteY8" fmla="*/ 97910 h 195815"/>
                <a:gd name="connsiteX9" fmla="*/ 175664 w 195815"/>
                <a:gd name="connsiteY9" fmla="*/ 118062 h 195815"/>
                <a:gd name="connsiteX10" fmla="*/ 118060 w 195815"/>
                <a:gd name="connsiteY10" fmla="*/ 118062 h 195815"/>
                <a:gd name="connsiteX11" fmla="*/ 118060 w 195815"/>
                <a:gd name="connsiteY11" fmla="*/ 175664 h 195815"/>
                <a:gd name="connsiteX12" fmla="*/ 97907 w 195815"/>
                <a:gd name="connsiteY12" fmla="*/ 195816 h 195815"/>
                <a:gd name="connsiteX13" fmla="*/ 77755 w 195815"/>
                <a:gd name="connsiteY13" fmla="*/ 175664 h 195815"/>
                <a:gd name="connsiteX14" fmla="*/ 77755 w 195815"/>
                <a:gd name="connsiteY14" fmla="*/ 118062 h 195815"/>
                <a:gd name="connsiteX15" fmla="*/ 20152 w 195815"/>
                <a:gd name="connsiteY15" fmla="*/ 118062 h 195815"/>
                <a:gd name="connsiteX16" fmla="*/ 0 w 195815"/>
                <a:gd name="connsiteY16" fmla="*/ 97910 h 19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5815" h="195815">
                  <a:moveTo>
                    <a:pt x="0" y="97910"/>
                  </a:moveTo>
                  <a:cubicBezTo>
                    <a:pt x="0" y="86779"/>
                    <a:pt x="9022" y="77758"/>
                    <a:pt x="20152" y="77758"/>
                  </a:cubicBezTo>
                  <a:lnTo>
                    <a:pt x="77755" y="77758"/>
                  </a:lnTo>
                  <a:lnTo>
                    <a:pt x="77755" y="20152"/>
                  </a:lnTo>
                  <a:cubicBezTo>
                    <a:pt x="77755" y="9023"/>
                    <a:pt x="86778" y="0"/>
                    <a:pt x="97907" y="0"/>
                  </a:cubicBezTo>
                  <a:cubicBezTo>
                    <a:pt x="109037" y="0"/>
                    <a:pt x="118060" y="9023"/>
                    <a:pt x="118060" y="20152"/>
                  </a:cubicBezTo>
                  <a:lnTo>
                    <a:pt x="118060" y="77758"/>
                  </a:lnTo>
                  <a:lnTo>
                    <a:pt x="175664" y="77758"/>
                  </a:lnTo>
                  <a:cubicBezTo>
                    <a:pt x="186793" y="77758"/>
                    <a:pt x="195816" y="86779"/>
                    <a:pt x="195816" y="97910"/>
                  </a:cubicBezTo>
                  <a:cubicBezTo>
                    <a:pt x="195816" y="109039"/>
                    <a:pt x="186793" y="118062"/>
                    <a:pt x="175664" y="118062"/>
                  </a:cubicBezTo>
                  <a:lnTo>
                    <a:pt x="118060" y="118062"/>
                  </a:lnTo>
                  <a:lnTo>
                    <a:pt x="118060" y="175664"/>
                  </a:lnTo>
                  <a:cubicBezTo>
                    <a:pt x="118060" y="186793"/>
                    <a:pt x="109037" y="195816"/>
                    <a:pt x="97907" y="195816"/>
                  </a:cubicBezTo>
                  <a:cubicBezTo>
                    <a:pt x="86778" y="195816"/>
                    <a:pt x="77755" y="186793"/>
                    <a:pt x="77755" y="175664"/>
                  </a:cubicBezTo>
                  <a:lnTo>
                    <a:pt x="77755" y="118062"/>
                  </a:lnTo>
                  <a:lnTo>
                    <a:pt x="20152" y="118062"/>
                  </a:lnTo>
                  <a:cubicBezTo>
                    <a:pt x="9022" y="118062"/>
                    <a:pt x="0" y="109039"/>
                    <a:pt x="0" y="97910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E3A8539-125D-8A0E-4B3C-BD8CBF9F51D6}"/>
              </a:ext>
            </a:extLst>
          </p:cNvPr>
          <p:cNvGrpSpPr/>
          <p:nvPr/>
        </p:nvGrpSpPr>
        <p:grpSpPr>
          <a:xfrm>
            <a:off x="3251200" y="1129097"/>
            <a:ext cx="370800" cy="370800"/>
            <a:chOff x="3251200" y="1129097"/>
            <a:chExt cx="370800" cy="370800"/>
          </a:xfrm>
        </p:grpSpPr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7D721D14-EBBC-A54B-BB25-07BB2E49950D}"/>
                </a:ext>
              </a:extLst>
            </p:cNvPr>
            <p:cNvSpPr/>
            <p:nvPr/>
          </p:nvSpPr>
          <p:spPr>
            <a:xfrm>
              <a:off x="3251200" y="1129097"/>
              <a:ext cx="370800" cy="370800"/>
            </a:xfrm>
            <a:custGeom>
              <a:avLst/>
              <a:gdLst>
                <a:gd name="connsiteX0" fmla="*/ 357365 w 370800"/>
                <a:gd name="connsiteY0" fmla="*/ 0 h 370800"/>
                <a:gd name="connsiteX1" fmla="*/ 370800 w 370800"/>
                <a:gd name="connsiteY1" fmla="*/ 0 h 370800"/>
                <a:gd name="connsiteX2" fmla="*/ 370800 w 370800"/>
                <a:gd name="connsiteY2" fmla="*/ 370800 h 370800"/>
                <a:gd name="connsiteX3" fmla="*/ 357365 w 370800"/>
                <a:gd name="connsiteY3" fmla="*/ 370800 h 370800"/>
                <a:gd name="connsiteX4" fmla="*/ 13435 w 370800"/>
                <a:gd name="connsiteY4" fmla="*/ 370800 h 370800"/>
                <a:gd name="connsiteX5" fmla="*/ 0 w 370800"/>
                <a:gd name="connsiteY5" fmla="*/ 370800 h 370800"/>
                <a:gd name="connsiteX6" fmla="*/ 0 w 370800"/>
                <a:gd name="connsiteY6" fmla="*/ 0 h 370800"/>
                <a:gd name="connsiteX7" fmla="*/ 13435 w 370800"/>
                <a:gd name="connsiteY7" fmla="*/ 0 h 37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0800" h="370800">
                  <a:moveTo>
                    <a:pt x="357365" y="0"/>
                  </a:moveTo>
                  <a:cubicBezTo>
                    <a:pt x="364785" y="0"/>
                    <a:pt x="370800" y="0"/>
                    <a:pt x="370800" y="0"/>
                  </a:cubicBezTo>
                  <a:lnTo>
                    <a:pt x="370800" y="370800"/>
                  </a:lnTo>
                  <a:cubicBezTo>
                    <a:pt x="370800" y="370800"/>
                    <a:pt x="364785" y="370800"/>
                    <a:pt x="357365" y="370800"/>
                  </a:cubicBezTo>
                  <a:lnTo>
                    <a:pt x="13435" y="370800"/>
                  </a:lnTo>
                  <a:cubicBezTo>
                    <a:pt x="6015" y="370800"/>
                    <a:pt x="0" y="370800"/>
                    <a:pt x="0" y="370800"/>
                  </a:cubicBezTo>
                  <a:lnTo>
                    <a:pt x="0" y="0"/>
                  </a:lnTo>
                  <a:cubicBezTo>
                    <a:pt x="0" y="0"/>
                    <a:pt x="6015" y="0"/>
                    <a:pt x="13435" y="0"/>
                  </a:cubicBezTo>
                  <a:close/>
                </a:path>
              </a:pathLst>
            </a:custGeom>
            <a:solidFill>
              <a:srgbClr val="48A044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7DE56135-7D92-7B43-B14A-8EEED1DBAEAB}"/>
                </a:ext>
              </a:extLst>
            </p:cNvPr>
            <p:cNvSpPr/>
            <p:nvPr/>
          </p:nvSpPr>
          <p:spPr>
            <a:xfrm>
              <a:off x="3347930" y="1225827"/>
              <a:ext cx="178356" cy="178354"/>
            </a:xfrm>
            <a:custGeom>
              <a:avLst/>
              <a:gdLst>
                <a:gd name="connsiteX0" fmla="*/ 168825 w 178356"/>
                <a:gd name="connsiteY0" fmla="*/ 3031 h 178354"/>
                <a:gd name="connsiteX1" fmla="*/ 175325 w 178356"/>
                <a:gd name="connsiteY1" fmla="*/ 30779 h 178354"/>
                <a:gd name="connsiteX2" fmla="*/ 89676 w 178356"/>
                <a:gd name="connsiteY2" fmla="*/ 168827 h 178354"/>
                <a:gd name="connsiteX3" fmla="*/ 73354 w 178356"/>
                <a:gd name="connsiteY3" fmla="*/ 178339 h 178354"/>
                <a:gd name="connsiteX4" fmla="*/ 56328 w 178356"/>
                <a:gd name="connsiteY4" fmla="*/ 170157 h 178354"/>
                <a:gd name="connsiteX5" fmla="*/ 3930 w 178356"/>
                <a:gd name="connsiteY5" fmla="*/ 99041 h 178354"/>
                <a:gd name="connsiteX6" fmla="*/ 8200 w 178356"/>
                <a:gd name="connsiteY6" fmla="*/ 70863 h 178354"/>
                <a:gd name="connsiteX7" fmla="*/ 36377 w 178356"/>
                <a:gd name="connsiteY7" fmla="*/ 75133 h 178354"/>
                <a:gd name="connsiteX8" fmla="*/ 71120 w 178356"/>
                <a:gd name="connsiteY8" fmla="*/ 122286 h 178354"/>
                <a:gd name="connsiteX9" fmla="*/ 141077 w 178356"/>
                <a:gd name="connsiteY9" fmla="*/ 9530 h 178354"/>
                <a:gd name="connsiteX10" fmla="*/ 168825 w 178356"/>
                <a:gd name="connsiteY10" fmla="*/ 3031 h 178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356" h="178354">
                  <a:moveTo>
                    <a:pt x="168825" y="3031"/>
                  </a:moveTo>
                  <a:cubicBezTo>
                    <a:pt x="178284" y="8899"/>
                    <a:pt x="181194" y="21322"/>
                    <a:pt x="175325" y="30779"/>
                  </a:cubicBezTo>
                  <a:lnTo>
                    <a:pt x="89676" y="168827"/>
                  </a:lnTo>
                  <a:cubicBezTo>
                    <a:pt x="86151" y="174510"/>
                    <a:pt x="80036" y="178073"/>
                    <a:pt x="73354" y="178339"/>
                  </a:cubicBezTo>
                  <a:cubicBezTo>
                    <a:pt x="66673" y="178605"/>
                    <a:pt x="60294" y="175540"/>
                    <a:pt x="56328" y="170157"/>
                  </a:cubicBezTo>
                  <a:lnTo>
                    <a:pt x="3930" y="99041"/>
                  </a:lnTo>
                  <a:cubicBezTo>
                    <a:pt x="-2672" y="90080"/>
                    <a:pt x="-761" y="77465"/>
                    <a:pt x="8200" y="70863"/>
                  </a:cubicBezTo>
                  <a:cubicBezTo>
                    <a:pt x="17160" y="64261"/>
                    <a:pt x="29775" y="66173"/>
                    <a:pt x="36377" y="75133"/>
                  </a:cubicBezTo>
                  <a:lnTo>
                    <a:pt x="71120" y="122286"/>
                  </a:lnTo>
                  <a:lnTo>
                    <a:pt x="141077" y="9530"/>
                  </a:lnTo>
                  <a:cubicBezTo>
                    <a:pt x="146946" y="73"/>
                    <a:pt x="159369" y="-2837"/>
                    <a:pt x="168825" y="3031"/>
                  </a:cubicBezTo>
                  <a:close/>
                </a:path>
              </a:pathLst>
            </a:custGeom>
            <a:solidFill>
              <a:srgbClr val="FFFFFF"/>
            </a:solidFill>
            <a:ln w="131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16" name="Рисунок 20">
            <a:extLst>
              <a:ext uri="{FF2B5EF4-FFF2-40B4-BE49-F238E27FC236}">
                <a16:creationId xmlns:a16="http://schemas.microsoft.com/office/drawing/2014/main" id="{4AD2F200-303E-D94B-9FFB-C75A5357122F}"/>
              </a:ext>
            </a:extLst>
          </p:cNvPr>
          <p:cNvSpPr/>
          <p:nvPr/>
        </p:nvSpPr>
        <p:spPr>
          <a:xfrm>
            <a:off x="3273945" y="5104951"/>
            <a:ext cx="367188" cy="367827"/>
          </a:xfrm>
          <a:custGeom>
            <a:avLst/>
            <a:gdLst>
              <a:gd name="connsiteX0" fmla="*/ 347568 w 367188"/>
              <a:gd name="connsiteY0" fmla="*/ 6251 h 367827"/>
              <a:gd name="connsiteX1" fmla="*/ 360948 w 367188"/>
              <a:gd name="connsiteY1" fmla="*/ 63477 h 367827"/>
              <a:gd name="connsiteX2" fmla="*/ 184618 w 367188"/>
              <a:gd name="connsiteY2" fmla="*/ 348178 h 367827"/>
              <a:gd name="connsiteX3" fmla="*/ 151017 w 367188"/>
              <a:gd name="connsiteY3" fmla="*/ 367794 h 367827"/>
              <a:gd name="connsiteX4" fmla="*/ 115963 w 367188"/>
              <a:gd name="connsiteY4" fmla="*/ 350919 h 367827"/>
              <a:gd name="connsiteX5" fmla="*/ 8090 w 367188"/>
              <a:gd name="connsiteY5" fmla="*/ 204256 h 367827"/>
              <a:gd name="connsiteX6" fmla="*/ 16881 w 367188"/>
              <a:gd name="connsiteY6" fmla="*/ 146143 h 367827"/>
              <a:gd name="connsiteX7" fmla="*/ 74891 w 367188"/>
              <a:gd name="connsiteY7" fmla="*/ 154950 h 367827"/>
              <a:gd name="connsiteX8" fmla="*/ 146416 w 367188"/>
              <a:gd name="connsiteY8" fmla="*/ 252195 h 367827"/>
              <a:gd name="connsiteX9" fmla="*/ 290442 w 367188"/>
              <a:gd name="connsiteY9" fmla="*/ 19655 h 367827"/>
              <a:gd name="connsiteX10" fmla="*/ 347568 w 367188"/>
              <a:gd name="connsiteY10" fmla="*/ 6251 h 36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67188" h="367827">
                <a:moveTo>
                  <a:pt x="347568" y="6251"/>
                </a:moveTo>
                <a:cubicBezTo>
                  <a:pt x="367038" y="18352"/>
                  <a:pt x="373028" y="43973"/>
                  <a:pt x="360948" y="63477"/>
                </a:cubicBezTo>
                <a:lnTo>
                  <a:pt x="184618" y="348178"/>
                </a:lnTo>
                <a:cubicBezTo>
                  <a:pt x="177360" y="359895"/>
                  <a:pt x="164772" y="367246"/>
                  <a:pt x="151017" y="367794"/>
                </a:cubicBezTo>
                <a:cubicBezTo>
                  <a:pt x="137261" y="368343"/>
                  <a:pt x="124129" y="362022"/>
                  <a:pt x="115963" y="350919"/>
                </a:cubicBezTo>
                <a:lnTo>
                  <a:pt x="8090" y="204256"/>
                </a:lnTo>
                <a:cubicBezTo>
                  <a:pt x="-5502" y="185776"/>
                  <a:pt x="-1566" y="159758"/>
                  <a:pt x="16881" y="146143"/>
                </a:cubicBezTo>
                <a:cubicBezTo>
                  <a:pt x="35328" y="132528"/>
                  <a:pt x="61300" y="136471"/>
                  <a:pt x="74891" y="154950"/>
                </a:cubicBezTo>
                <a:lnTo>
                  <a:pt x="146416" y="252195"/>
                </a:lnTo>
                <a:lnTo>
                  <a:pt x="290442" y="19655"/>
                </a:lnTo>
                <a:cubicBezTo>
                  <a:pt x="302522" y="151"/>
                  <a:pt x="328097" y="-5850"/>
                  <a:pt x="347568" y="6251"/>
                </a:cubicBezTo>
                <a:close/>
              </a:path>
            </a:pathLst>
          </a:custGeom>
          <a:solidFill>
            <a:srgbClr val="48A044"/>
          </a:solidFill>
          <a:ln w="189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123A97-00A2-0E1E-820D-80A38E84EE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09</a:t>
            </a:fld>
            <a:endParaRPr lang="ru-RU" dirty="0"/>
          </a:p>
        </p:txBody>
      </p:sp>
      <p:sp>
        <p:nvSpPr>
          <p:cNvPr id="29" name="Полилиния 10">
            <a:extLst>
              <a:ext uri="{FF2B5EF4-FFF2-40B4-BE49-F238E27FC236}">
                <a16:creationId xmlns:a16="http://schemas.microsoft.com/office/drawing/2014/main" id="{E610D19A-4F8B-2845-6335-F8E3E976F0A2}"/>
              </a:ext>
            </a:extLst>
          </p:cNvPr>
          <p:cNvSpPr/>
          <p:nvPr/>
        </p:nvSpPr>
        <p:spPr>
          <a:xfrm>
            <a:off x="4256168" y="5085512"/>
            <a:ext cx="344673" cy="344669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rgbClr val="004596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Полилиния 10">
            <a:extLst>
              <a:ext uri="{FF2B5EF4-FFF2-40B4-BE49-F238E27FC236}">
                <a16:creationId xmlns:a16="http://schemas.microsoft.com/office/drawing/2014/main" id="{2630906D-DD60-80F1-0882-8E4D0807E68A}"/>
              </a:ext>
            </a:extLst>
          </p:cNvPr>
          <p:cNvSpPr/>
          <p:nvPr/>
        </p:nvSpPr>
        <p:spPr>
          <a:xfrm>
            <a:off x="5223089" y="5085511"/>
            <a:ext cx="344673" cy="344669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rgbClr val="E65907"/>
            </a:solidFill>
            <a:prstDash val="solid"/>
            <a:round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6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96F0F5D1-F466-63AD-7C8C-FD9A3401C561}"/>
              </a:ext>
            </a:extLst>
          </p:cNvPr>
          <p:cNvSpPr/>
          <p:nvPr/>
        </p:nvSpPr>
        <p:spPr>
          <a:xfrm>
            <a:off x="337044" y="1128389"/>
            <a:ext cx="3741389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966469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24">
            <a:extLst>
              <a:ext uri="{FF2B5EF4-FFF2-40B4-BE49-F238E27FC236}">
                <a16:creationId xmlns:a16="http://schemas.microsoft.com/office/drawing/2014/main" id="{B48FBACF-C23B-636B-195F-7EEB77735829}"/>
              </a:ext>
            </a:extLst>
          </p:cNvPr>
          <p:cNvSpPr/>
          <p:nvPr/>
        </p:nvSpPr>
        <p:spPr>
          <a:xfrm>
            <a:off x="337044" y="2718198"/>
            <a:ext cx="3741389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5">
            <a:extLst>
              <a:ext uri="{FF2B5EF4-FFF2-40B4-BE49-F238E27FC236}">
                <a16:creationId xmlns:a16="http://schemas.microsoft.com/office/drawing/2014/main" id="{537F8769-ABDB-07A7-E468-0223789A9798}"/>
              </a:ext>
            </a:extLst>
          </p:cNvPr>
          <p:cNvSpPr/>
          <p:nvPr/>
        </p:nvSpPr>
        <p:spPr>
          <a:xfrm>
            <a:off x="337044" y="4289092"/>
            <a:ext cx="3741389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6">
            <a:extLst>
              <a:ext uri="{FF2B5EF4-FFF2-40B4-BE49-F238E27FC236}">
                <a16:creationId xmlns:a16="http://schemas.microsoft.com/office/drawing/2014/main" id="{6A2ED5C1-D8D8-EC5D-3113-BDFF6CD477B7}"/>
              </a:ext>
            </a:extLst>
          </p:cNvPr>
          <p:cNvSpPr/>
          <p:nvPr/>
        </p:nvSpPr>
        <p:spPr>
          <a:xfrm>
            <a:off x="4224338" y="1128389"/>
            <a:ext cx="374169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966469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</a:p>
          <a:p>
            <a:pPr marR="966469" lvl="0">
              <a:defRPr/>
            </a:pP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27">
            <a:extLst>
              <a:ext uri="{FF2B5EF4-FFF2-40B4-BE49-F238E27FC236}">
                <a16:creationId xmlns:a16="http://schemas.microsoft.com/office/drawing/2014/main" id="{E3A87B43-4444-C73B-B030-6A38860EBAB4}"/>
              </a:ext>
            </a:extLst>
          </p:cNvPr>
          <p:cNvSpPr/>
          <p:nvPr/>
        </p:nvSpPr>
        <p:spPr>
          <a:xfrm>
            <a:off x="4224338" y="2718198"/>
            <a:ext cx="3741692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28">
            <a:extLst>
              <a:ext uri="{FF2B5EF4-FFF2-40B4-BE49-F238E27FC236}">
                <a16:creationId xmlns:a16="http://schemas.microsoft.com/office/drawing/2014/main" id="{FE3117AE-16E2-7A4D-2563-E028F7EA63DE}"/>
              </a:ext>
            </a:extLst>
          </p:cNvPr>
          <p:cNvSpPr/>
          <p:nvPr/>
        </p:nvSpPr>
        <p:spPr>
          <a:xfrm>
            <a:off x="4224338" y="4289092"/>
            <a:ext cx="374169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Прямоугольник 129">
            <a:extLst>
              <a:ext uri="{FF2B5EF4-FFF2-40B4-BE49-F238E27FC236}">
                <a16:creationId xmlns:a16="http://schemas.microsoft.com/office/drawing/2014/main" id="{77A9A3A5-195F-19F1-78E7-C77A94FEAA7B}"/>
              </a:ext>
            </a:extLst>
          </p:cNvPr>
          <p:cNvSpPr/>
          <p:nvPr/>
        </p:nvSpPr>
        <p:spPr>
          <a:xfrm>
            <a:off x="8112125" y="1128389"/>
            <a:ext cx="3744913" cy="143864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130">
            <a:extLst>
              <a:ext uri="{FF2B5EF4-FFF2-40B4-BE49-F238E27FC236}">
                <a16:creationId xmlns:a16="http://schemas.microsoft.com/office/drawing/2014/main" id="{C9D87570-CC89-3E98-00F6-3F5EBE5B2480}"/>
              </a:ext>
            </a:extLst>
          </p:cNvPr>
          <p:cNvSpPr/>
          <p:nvPr/>
        </p:nvSpPr>
        <p:spPr>
          <a:xfrm>
            <a:off x="8112126" y="2718198"/>
            <a:ext cx="3744912" cy="1438642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lang="en-US" sz="3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2" name="Прямоугольник 131">
            <a:extLst>
              <a:ext uri="{FF2B5EF4-FFF2-40B4-BE49-F238E27FC236}">
                <a16:creationId xmlns:a16="http://schemas.microsoft.com/office/drawing/2014/main" id="{171F6322-32D9-CBDB-C304-1690C6A15CD4}"/>
              </a:ext>
            </a:extLst>
          </p:cNvPr>
          <p:cNvSpPr/>
          <p:nvPr/>
        </p:nvSpPr>
        <p:spPr>
          <a:xfrm>
            <a:off x="8112125" y="4289092"/>
            <a:ext cx="3744913" cy="144495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ctr"/>
          <a:lstStyle/>
          <a:p>
            <a:pPr marR="966469" lvl="0"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E11303-4F73-84AA-6363-FBAD98690345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Сравнение статистики за 2021 и 2020 г. Источник данных –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Медиалог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79244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2493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ЭЛЕМЕНТЫ</a:t>
            </a:r>
          </a:p>
        </p:txBody>
      </p:sp>
      <p:pic>
        <p:nvPicPr>
          <p:cNvPr id="152" name="Рисунок 151">
            <a:extLst>
              <a:ext uri="{FF2B5EF4-FFF2-40B4-BE49-F238E27FC236}">
                <a16:creationId xmlns:a16="http://schemas.microsoft.com/office/drawing/2014/main" id="{F3A0E825-8A1B-3140-A626-F97651DC4B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337045" y="1916113"/>
            <a:ext cx="329949" cy="149155"/>
          </a:xfrm>
          <a:prstGeom prst="rect">
            <a:avLst/>
          </a:prstGeom>
        </p:spPr>
      </p:pic>
      <p:sp>
        <p:nvSpPr>
          <p:cNvPr id="162" name="Стрелка вверх 161">
            <a:extLst>
              <a:ext uri="{FF2B5EF4-FFF2-40B4-BE49-F238E27FC236}">
                <a16:creationId xmlns:a16="http://schemas.microsoft.com/office/drawing/2014/main" id="{D062481B-8A5F-BB45-933F-DA81BFEA2B6C}"/>
              </a:ext>
            </a:extLst>
          </p:cNvPr>
          <p:cNvSpPr/>
          <p:nvPr/>
        </p:nvSpPr>
        <p:spPr>
          <a:xfrm rot="10800000">
            <a:off x="337045" y="1125538"/>
            <a:ext cx="238711" cy="442895"/>
          </a:xfrm>
          <a:prstGeom prst="upArrow">
            <a:avLst/>
          </a:prstGeom>
          <a:solidFill>
            <a:srgbClr val="CD22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5" name="Стрелка вверх 164">
            <a:extLst>
              <a:ext uri="{FF2B5EF4-FFF2-40B4-BE49-F238E27FC236}">
                <a16:creationId xmlns:a16="http://schemas.microsoft.com/office/drawing/2014/main" id="{D80F0BAF-DFB1-604C-9CA6-3863C435536B}"/>
              </a:ext>
            </a:extLst>
          </p:cNvPr>
          <p:cNvSpPr/>
          <p:nvPr/>
        </p:nvSpPr>
        <p:spPr>
          <a:xfrm>
            <a:off x="1308100" y="1125537"/>
            <a:ext cx="238711" cy="442895"/>
          </a:xfrm>
          <a:prstGeom prst="upArrow">
            <a:avLst/>
          </a:prstGeom>
          <a:solidFill>
            <a:srgbClr val="47A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9" name="Стрелка вверх 68">
            <a:extLst>
              <a:ext uri="{FF2B5EF4-FFF2-40B4-BE49-F238E27FC236}">
                <a16:creationId xmlns:a16="http://schemas.microsoft.com/office/drawing/2014/main" id="{5D5F9C55-37BB-8943-9286-1E692CEDF299}"/>
              </a:ext>
            </a:extLst>
          </p:cNvPr>
          <p:cNvSpPr/>
          <p:nvPr/>
        </p:nvSpPr>
        <p:spPr>
          <a:xfrm rot="5400000">
            <a:off x="2381742" y="1023446"/>
            <a:ext cx="238711" cy="442895"/>
          </a:xfrm>
          <a:prstGeom prst="upArrow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0" name="Стрелка вверх 69">
            <a:extLst>
              <a:ext uri="{FF2B5EF4-FFF2-40B4-BE49-F238E27FC236}">
                <a16:creationId xmlns:a16="http://schemas.microsoft.com/office/drawing/2014/main" id="{5130F336-F46F-7541-AE0B-1AF6B0A20AB2}"/>
              </a:ext>
            </a:extLst>
          </p:cNvPr>
          <p:cNvSpPr/>
          <p:nvPr/>
        </p:nvSpPr>
        <p:spPr>
          <a:xfrm rot="16200000">
            <a:off x="3353292" y="1023446"/>
            <a:ext cx="238711" cy="442895"/>
          </a:xfrm>
          <a:prstGeom prst="upArrow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1" name="Стрелка вверх 70">
            <a:extLst>
              <a:ext uri="{FF2B5EF4-FFF2-40B4-BE49-F238E27FC236}">
                <a16:creationId xmlns:a16="http://schemas.microsoft.com/office/drawing/2014/main" id="{B3FDFBF3-A730-8C4D-93C0-A632EA3EF2CA}"/>
              </a:ext>
            </a:extLst>
          </p:cNvPr>
          <p:cNvSpPr/>
          <p:nvPr/>
        </p:nvSpPr>
        <p:spPr>
          <a:xfrm rot="5400000">
            <a:off x="4327274" y="1023446"/>
            <a:ext cx="238711" cy="442895"/>
          </a:xfrm>
          <a:prstGeom prst="upArrow">
            <a:avLst/>
          </a:prstGeom>
          <a:solidFill>
            <a:srgbClr val="E659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2" name="Стрелка вверх 71">
            <a:extLst>
              <a:ext uri="{FF2B5EF4-FFF2-40B4-BE49-F238E27FC236}">
                <a16:creationId xmlns:a16="http://schemas.microsoft.com/office/drawing/2014/main" id="{E951B7A2-8D82-6E4B-9436-889EA680BAE3}"/>
              </a:ext>
            </a:extLst>
          </p:cNvPr>
          <p:cNvSpPr/>
          <p:nvPr/>
        </p:nvSpPr>
        <p:spPr>
          <a:xfrm rot="16200000">
            <a:off x="5298824" y="1023446"/>
            <a:ext cx="238711" cy="442895"/>
          </a:xfrm>
          <a:prstGeom prst="upArrow">
            <a:avLst/>
          </a:prstGeom>
          <a:solidFill>
            <a:srgbClr val="E659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3" name="Стрелка вверх 72">
            <a:extLst>
              <a:ext uri="{FF2B5EF4-FFF2-40B4-BE49-F238E27FC236}">
                <a16:creationId xmlns:a16="http://schemas.microsoft.com/office/drawing/2014/main" id="{18EB172D-6748-5947-9C31-C285095FBDAA}"/>
              </a:ext>
            </a:extLst>
          </p:cNvPr>
          <p:cNvSpPr/>
          <p:nvPr/>
        </p:nvSpPr>
        <p:spPr>
          <a:xfrm rot="5400000">
            <a:off x="6266321" y="1023446"/>
            <a:ext cx="238711" cy="442895"/>
          </a:xfrm>
          <a:prstGeom prst="upArrow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4" name="Стрелка вверх 73">
            <a:extLst>
              <a:ext uri="{FF2B5EF4-FFF2-40B4-BE49-F238E27FC236}">
                <a16:creationId xmlns:a16="http://schemas.microsoft.com/office/drawing/2014/main" id="{1A4AB991-B1C7-1B4E-A310-6E28B59DE36B}"/>
              </a:ext>
            </a:extLst>
          </p:cNvPr>
          <p:cNvSpPr/>
          <p:nvPr/>
        </p:nvSpPr>
        <p:spPr>
          <a:xfrm rot="16200000">
            <a:off x="7237871" y="1023446"/>
            <a:ext cx="238711" cy="442895"/>
          </a:xfrm>
          <a:prstGeom prst="upArrow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5" name="Стрелка вверх 74">
            <a:extLst>
              <a:ext uri="{FF2B5EF4-FFF2-40B4-BE49-F238E27FC236}">
                <a16:creationId xmlns:a16="http://schemas.microsoft.com/office/drawing/2014/main" id="{741398AD-D728-DC42-A232-AA9E870714FC}"/>
              </a:ext>
            </a:extLst>
          </p:cNvPr>
          <p:cNvSpPr/>
          <p:nvPr/>
        </p:nvSpPr>
        <p:spPr>
          <a:xfrm rot="5400000">
            <a:off x="8218338" y="1023446"/>
            <a:ext cx="238711" cy="442895"/>
          </a:xfrm>
          <a:prstGeom prst="upArrow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6" name="Стрелка вверх 75">
            <a:extLst>
              <a:ext uri="{FF2B5EF4-FFF2-40B4-BE49-F238E27FC236}">
                <a16:creationId xmlns:a16="http://schemas.microsoft.com/office/drawing/2014/main" id="{F016AB87-37EF-9342-8A4B-3B53E6DAA4D1}"/>
              </a:ext>
            </a:extLst>
          </p:cNvPr>
          <p:cNvSpPr/>
          <p:nvPr/>
        </p:nvSpPr>
        <p:spPr>
          <a:xfrm rot="16200000">
            <a:off x="9189888" y="1023446"/>
            <a:ext cx="238711" cy="442895"/>
          </a:xfrm>
          <a:prstGeom prst="upArrow">
            <a:avLst/>
          </a:pr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256D8482-CCAF-F54A-9C00-A33678FDBE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7045" y="2131548"/>
            <a:ext cx="329949" cy="149155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FF5EEAAE-801F-694F-8185-17E3FD4F67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400000">
            <a:off x="1217703" y="2006510"/>
            <a:ext cx="329949" cy="149155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1E545AB4-274C-6446-98D6-D131828547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6200000">
            <a:off x="1456414" y="2006510"/>
            <a:ext cx="329949" cy="149155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3E3B8A75-E8B1-0F42-844B-167F0B9571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5400000">
            <a:off x="2199127" y="2006510"/>
            <a:ext cx="329949" cy="149155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5242E9AA-25C7-2248-ABCB-C1B36BCEE7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2437838" y="2006510"/>
            <a:ext cx="329949" cy="149155"/>
          </a:xfrm>
          <a:prstGeom prst="rect">
            <a:avLst/>
          </a:prstGeom>
        </p:spPr>
      </p:pic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6E200E16-165D-6741-8808-8CF02B3F694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5400000">
            <a:off x="3166188" y="2006510"/>
            <a:ext cx="329949" cy="149155"/>
          </a:xfrm>
          <a:prstGeom prst="rect">
            <a:avLst/>
          </a:prstGeom>
        </p:spPr>
      </p:pic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E8E644DB-D5FE-E14A-BE2D-F2742C1B36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200000">
            <a:off x="3404899" y="2006510"/>
            <a:ext cx="329949" cy="149155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F855A499-1442-FD4E-9F6F-F2189442A91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5400000">
            <a:off x="4133250" y="2006510"/>
            <a:ext cx="329949" cy="149155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66F887B3-9491-324E-A2FE-062C55722B9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200000">
            <a:off x="4371961" y="2006510"/>
            <a:ext cx="329949" cy="14915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5AEFFF4-B873-D84B-8F91-CCE9B3E0AC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0</a:t>
            </a:fld>
            <a:endParaRPr lang="ru-RU" dirty="0"/>
          </a:p>
        </p:txBody>
      </p:sp>
      <p:sp>
        <p:nvSpPr>
          <p:cNvPr id="3" name="Graphic 45">
            <a:extLst>
              <a:ext uri="{FF2B5EF4-FFF2-40B4-BE49-F238E27FC236}">
                <a16:creationId xmlns:a16="http://schemas.microsoft.com/office/drawing/2014/main" id="{7B6B59A7-5E7A-4981-E00B-057ECBCF7869}"/>
              </a:ext>
            </a:extLst>
          </p:cNvPr>
          <p:cNvSpPr/>
          <p:nvPr/>
        </p:nvSpPr>
        <p:spPr>
          <a:xfrm>
            <a:off x="372433" y="279411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48A044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Graphic 45">
            <a:extLst>
              <a:ext uri="{FF2B5EF4-FFF2-40B4-BE49-F238E27FC236}">
                <a16:creationId xmlns:a16="http://schemas.microsoft.com/office/drawing/2014/main" id="{EC85E3AA-2194-54B7-264B-D8FF79682EC2}"/>
              </a:ext>
            </a:extLst>
          </p:cNvPr>
          <p:cNvSpPr/>
          <p:nvPr/>
        </p:nvSpPr>
        <p:spPr>
          <a:xfrm rot="10800000">
            <a:off x="1356031" y="2797925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D222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60D198C-9381-C59B-E292-16FE7321CD3C}"/>
              </a:ext>
            </a:extLst>
          </p:cNvPr>
          <p:cNvGrpSpPr/>
          <p:nvPr/>
        </p:nvGrpSpPr>
        <p:grpSpPr>
          <a:xfrm>
            <a:off x="2273709" y="3519434"/>
            <a:ext cx="325783" cy="314883"/>
            <a:chOff x="2295171" y="4336373"/>
            <a:chExt cx="325783" cy="314883"/>
          </a:xfrm>
        </p:grpSpPr>
        <p:sp>
          <p:nvSpPr>
            <p:cNvPr id="5" name="Полилиния 4">
              <a:extLst>
                <a:ext uri="{FF2B5EF4-FFF2-40B4-BE49-F238E27FC236}">
                  <a16:creationId xmlns:a16="http://schemas.microsoft.com/office/drawing/2014/main" id="{8B9D1EFB-21A3-A4F0-428C-D3D20E438310}"/>
                </a:ext>
              </a:extLst>
            </p:cNvPr>
            <p:cNvSpPr/>
            <p:nvPr/>
          </p:nvSpPr>
          <p:spPr>
            <a:xfrm>
              <a:off x="2468203" y="4336373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" name="Полилиния 6">
              <a:extLst>
                <a:ext uri="{FF2B5EF4-FFF2-40B4-BE49-F238E27FC236}">
                  <a16:creationId xmlns:a16="http://schemas.microsoft.com/office/drawing/2014/main" id="{CE7BF40A-3B34-4323-E035-EE8D12370582}"/>
                </a:ext>
              </a:extLst>
            </p:cNvPr>
            <p:cNvSpPr/>
            <p:nvPr/>
          </p:nvSpPr>
          <p:spPr>
            <a:xfrm>
              <a:off x="2295171" y="4493301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" name="Graphic 45">
            <a:extLst>
              <a:ext uri="{FF2B5EF4-FFF2-40B4-BE49-F238E27FC236}">
                <a16:creationId xmlns:a16="http://schemas.microsoft.com/office/drawing/2014/main" id="{CE710EFA-1489-370E-6271-DE24B45226E7}"/>
              </a:ext>
            </a:extLst>
          </p:cNvPr>
          <p:cNvSpPr/>
          <p:nvPr/>
        </p:nvSpPr>
        <p:spPr>
          <a:xfrm rot="5400000">
            <a:off x="2313377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4596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Graphic 45">
            <a:extLst>
              <a:ext uri="{FF2B5EF4-FFF2-40B4-BE49-F238E27FC236}">
                <a16:creationId xmlns:a16="http://schemas.microsoft.com/office/drawing/2014/main" id="{3E570472-D44B-BC5A-9095-03F15F09282C}"/>
              </a:ext>
            </a:extLst>
          </p:cNvPr>
          <p:cNvSpPr/>
          <p:nvPr/>
        </p:nvSpPr>
        <p:spPr>
          <a:xfrm rot="16200000">
            <a:off x="3279536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4596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Graphic 45">
            <a:extLst>
              <a:ext uri="{FF2B5EF4-FFF2-40B4-BE49-F238E27FC236}">
                <a16:creationId xmlns:a16="http://schemas.microsoft.com/office/drawing/2014/main" id="{317AB50D-D245-9A5F-4007-9B1F9F732AAF}"/>
              </a:ext>
            </a:extLst>
          </p:cNvPr>
          <p:cNvSpPr/>
          <p:nvPr/>
        </p:nvSpPr>
        <p:spPr>
          <a:xfrm rot="5400000">
            <a:off x="4254321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E65907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Graphic 45">
            <a:extLst>
              <a:ext uri="{FF2B5EF4-FFF2-40B4-BE49-F238E27FC236}">
                <a16:creationId xmlns:a16="http://schemas.microsoft.com/office/drawing/2014/main" id="{DC7C57FD-1D51-D0CD-03E1-3CC8BE0C3AC7}"/>
              </a:ext>
            </a:extLst>
          </p:cNvPr>
          <p:cNvSpPr/>
          <p:nvPr/>
        </p:nvSpPr>
        <p:spPr>
          <a:xfrm rot="16200000">
            <a:off x="5220480" y="2773092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E65907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Graphic 45">
            <a:extLst>
              <a:ext uri="{FF2B5EF4-FFF2-40B4-BE49-F238E27FC236}">
                <a16:creationId xmlns:a16="http://schemas.microsoft.com/office/drawing/2014/main" id="{A76FDF73-E100-98CA-DA32-6396B11A0FE0}"/>
              </a:ext>
            </a:extLst>
          </p:cNvPr>
          <p:cNvSpPr/>
          <p:nvPr/>
        </p:nvSpPr>
        <p:spPr>
          <a:xfrm rot="5400000">
            <a:off x="6158118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97D8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Graphic 45">
            <a:extLst>
              <a:ext uri="{FF2B5EF4-FFF2-40B4-BE49-F238E27FC236}">
                <a16:creationId xmlns:a16="http://schemas.microsoft.com/office/drawing/2014/main" id="{A00E759F-1E6B-C540-6497-D26E512774C7}"/>
              </a:ext>
            </a:extLst>
          </p:cNvPr>
          <p:cNvSpPr/>
          <p:nvPr/>
        </p:nvSpPr>
        <p:spPr>
          <a:xfrm rot="16200000">
            <a:off x="7124277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0097D8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Graphic 45">
            <a:extLst>
              <a:ext uri="{FF2B5EF4-FFF2-40B4-BE49-F238E27FC236}">
                <a16:creationId xmlns:a16="http://schemas.microsoft.com/office/drawing/2014/main" id="{CC0EE609-FFDC-E8CE-50C7-516F8839380B}"/>
              </a:ext>
            </a:extLst>
          </p:cNvPr>
          <p:cNvSpPr/>
          <p:nvPr/>
        </p:nvSpPr>
        <p:spPr>
          <a:xfrm rot="5400000">
            <a:off x="8099062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CCCC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Graphic 45">
            <a:extLst>
              <a:ext uri="{FF2B5EF4-FFF2-40B4-BE49-F238E27FC236}">
                <a16:creationId xmlns:a16="http://schemas.microsoft.com/office/drawing/2014/main" id="{95E74E36-B439-3ADD-70B3-30D8279129CE}"/>
              </a:ext>
            </a:extLst>
          </p:cNvPr>
          <p:cNvSpPr/>
          <p:nvPr/>
        </p:nvSpPr>
        <p:spPr>
          <a:xfrm rot="16200000">
            <a:off x="9065221" y="2765699"/>
            <a:ext cx="346249" cy="311881"/>
          </a:xfrm>
          <a:custGeom>
            <a:avLst/>
            <a:gdLst>
              <a:gd name="connsiteX0" fmla="*/ 0 w 346249"/>
              <a:gd name="connsiteY0" fmla="*/ 311882 h 311881"/>
              <a:gd name="connsiteX1" fmla="*/ 170817 w 346249"/>
              <a:gd name="connsiteY1" fmla="*/ 0 h 311881"/>
              <a:gd name="connsiteX2" fmla="*/ 346249 w 346249"/>
              <a:gd name="connsiteY2" fmla="*/ 311882 h 311881"/>
              <a:gd name="connsiteX3" fmla="*/ 0 w 346249"/>
              <a:gd name="connsiteY3" fmla="*/ 311882 h 311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249" h="311881">
                <a:moveTo>
                  <a:pt x="0" y="311882"/>
                </a:moveTo>
                <a:lnTo>
                  <a:pt x="170817" y="0"/>
                </a:lnTo>
                <a:lnTo>
                  <a:pt x="346249" y="311882"/>
                </a:lnTo>
                <a:lnTo>
                  <a:pt x="0" y="311882"/>
                </a:lnTo>
                <a:close/>
              </a:path>
            </a:pathLst>
          </a:custGeom>
          <a:solidFill>
            <a:srgbClr val="CCCCCC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" name="Группа 116">
            <a:extLst>
              <a:ext uri="{FF2B5EF4-FFF2-40B4-BE49-F238E27FC236}">
                <a16:creationId xmlns:a16="http://schemas.microsoft.com/office/drawing/2014/main" id="{4EA6F181-056E-2A42-549B-019D1336EFF3}"/>
              </a:ext>
            </a:extLst>
          </p:cNvPr>
          <p:cNvGrpSpPr/>
          <p:nvPr/>
        </p:nvGrpSpPr>
        <p:grpSpPr>
          <a:xfrm>
            <a:off x="3289072" y="3519436"/>
            <a:ext cx="325783" cy="314883"/>
            <a:chOff x="7193717" y="4604605"/>
            <a:chExt cx="325783" cy="314883"/>
          </a:xfrm>
        </p:grpSpPr>
        <p:sp>
          <p:nvSpPr>
            <p:cNvPr id="16" name="Полилиния 46">
              <a:extLst>
                <a:ext uri="{FF2B5EF4-FFF2-40B4-BE49-F238E27FC236}">
                  <a16:creationId xmlns:a16="http://schemas.microsoft.com/office/drawing/2014/main" id="{A2B4BA87-BF6B-4C48-1585-529C4D90A483}"/>
                </a:ext>
              </a:extLst>
            </p:cNvPr>
            <p:cNvSpPr/>
            <p:nvPr/>
          </p:nvSpPr>
          <p:spPr>
            <a:xfrm rot="10800000">
              <a:off x="7194488" y="4604605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" name="Полилиния 47">
              <a:extLst>
                <a:ext uri="{FF2B5EF4-FFF2-40B4-BE49-F238E27FC236}">
                  <a16:creationId xmlns:a16="http://schemas.microsoft.com/office/drawing/2014/main" id="{C968FD7D-73C7-15CD-CA7A-129B12148802}"/>
                </a:ext>
              </a:extLst>
            </p:cNvPr>
            <p:cNvSpPr/>
            <p:nvPr/>
          </p:nvSpPr>
          <p:spPr>
            <a:xfrm rot="10800000">
              <a:off x="7193717" y="476204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459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F4094CA-7A7D-A7B9-D4E5-CDAF0E866B05}"/>
              </a:ext>
            </a:extLst>
          </p:cNvPr>
          <p:cNvGrpSpPr/>
          <p:nvPr/>
        </p:nvGrpSpPr>
        <p:grpSpPr>
          <a:xfrm>
            <a:off x="4212868" y="3519434"/>
            <a:ext cx="325783" cy="314883"/>
            <a:chOff x="2318647" y="4339299"/>
            <a:chExt cx="325783" cy="314883"/>
          </a:xfrm>
        </p:grpSpPr>
        <p:sp>
          <p:nvSpPr>
            <p:cNvPr id="18" name="Полилиния 68">
              <a:extLst>
                <a:ext uri="{FF2B5EF4-FFF2-40B4-BE49-F238E27FC236}">
                  <a16:creationId xmlns:a16="http://schemas.microsoft.com/office/drawing/2014/main" id="{F7314177-FA9D-C18A-FECC-3E6E69594F53}"/>
                </a:ext>
              </a:extLst>
            </p:cNvPr>
            <p:cNvSpPr/>
            <p:nvPr/>
          </p:nvSpPr>
          <p:spPr>
            <a:xfrm>
              <a:off x="2491679" y="433929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" name="Полилиния 76">
              <a:extLst>
                <a:ext uri="{FF2B5EF4-FFF2-40B4-BE49-F238E27FC236}">
                  <a16:creationId xmlns:a16="http://schemas.microsoft.com/office/drawing/2014/main" id="{935746FC-0A8D-CCBC-0BF2-84A3BF65B8AF}"/>
                </a:ext>
              </a:extLst>
            </p:cNvPr>
            <p:cNvSpPr/>
            <p:nvPr/>
          </p:nvSpPr>
          <p:spPr>
            <a:xfrm>
              <a:off x="2318647" y="449622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3597585-6108-3852-30B9-B3DEDB2E054A}"/>
              </a:ext>
            </a:extLst>
          </p:cNvPr>
          <p:cNvGrpSpPr/>
          <p:nvPr/>
        </p:nvGrpSpPr>
        <p:grpSpPr>
          <a:xfrm>
            <a:off x="5228231" y="3519436"/>
            <a:ext cx="325783" cy="314883"/>
            <a:chOff x="3334010" y="4339301"/>
            <a:chExt cx="325783" cy="314883"/>
          </a:xfrm>
        </p:grpSpPr>
        <p:sp>
          <p:nvSpPr>
            <p:cNvPr id="20" name="Полилиния 78">
              <a:extLst>
                <a:ext uri="{FF2B5EF4-FFF2-40B4-BE49-F238E27FC236}">
                  <a16:creationId xmlns:a16="http://schemas.microsoft.com/office/drawing/2014/main" id="{A57DA9EE-1F17-7442-8507-1FB4C077DD9A}"/>
                </a:ext>
              </a:extLst>
            </p:cNvPr>
            <p:cNvSpPr/>
            <p:nvPr/>
          </p:nvSpPr>
          <p:spPr>
            <a:xfrm rot="10800000">
              <a:off x="3334781" y="4339301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" name="Полилиния 79">
              <a:extLst>
                <a:ext uri="{FF2B5EF4-FFF2-40B4-BE49-F238E27FC236}">
                  <a16:creationId xmlns:a16="http://schemas.microsoft.com/office/drawing/2014/main" id="{26BD4C73-9D68-8A90-6A9D-A1E889CF78D0}"/>
                </a:ext>
              </a:extLst>
            </p:cNvPr>
            <p:cNvSpPr/>
            <p:nvPr/>
          </p:nvSpPr>
          <p:spPr>
            <a:xfrm rot="10800000">
              <a:off x="3334010" y="4496743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E65907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096B5A7-3067-A516-EB5C-866169A8BA2D}"/>
              </a:ext>
            </a:extLst>
          </p:cNvPr>
          <p:cNvGrpSpPr/>
          <p:nvPr/>
        </p:nvGrpSpPr>
        <p:grpSpPr>
          <a:xfrm>
            <a:off x="6160938" y="3519434"/>
            <a:ext cx="325783" cy="314883"/>
            <a:chOff x="4266717" y="4339299"/>
            <a:chExt cx="325783" cy="314883"/>
          </a:xfrm>
        </p:grpSpPr>
        <p:sp>
          <p:nvSpPr>
            <p:cNvPr id="22" name="Полилиния 81">
              <a:extLst>
                <a:ext uri="{FF2B5EF4-FFF2-40B4-BE49-F238E27FC236}">
                  <a16:creationId xmlns:a16="http://schemas.microsoft.com/office/drawing/2014/main" id="{28BEA961-FE5D-B4B7-DF26-7BFA5F4366A2}"/>
                </a:ext>
              </a:extLst>
            </p:cNvPr>
            <p:cNvSpPr/>
            <p:nvPr/>
          </p:nvSpPr>
          <p:spPr>
            <a:xfrm>
              <a:off x="4439749" y="433929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" name="Полилиния 82">
              <a:extLst>
                <a:ext uri="{FF2B5EF4-FFF2-40B4-BE49-F238E27FC236}">
                  <a16:creationId xmlns:a16="http://schemas.microsoft.com/office/drawing/2014/main" id="{0EE44602-A91E-3CE7-1045-7177D0CAC9DE}"/>
                </a:ext>
              </a:extLst>
            </p:cNvPr>
            <p:cNvSpPr/>
            <p:nvPr/>
          </p:nvSpPr>
          <p:spPr>
            <a:xfrm>
              <a:off x="4266717" y="4496227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500F8DE-D779-BDE6-5F26-D8ADED1C0400}"/>
              </a:ext>
            </a:extLst>
          </p:cNvPr>
          <p:cNvGrpSpPr/>
          <p:nvPr/>
        </p:nvGrpSpPr>
        <p:grpSpPr>
          <a:xfrm>
            <a:off x="7176301" y="3519436"/>
            <a:ext cx="325783" cy="314883"/>
            <a:chOff x="5282080" y="4339301"/>
            <a:chExt cx="325783" cy="314883"/>
          </a:xfrm>
        </p:grpSpPr>
        <p:sp>
          <p:nvSpPr>
            <p:cNvPr id="24" name="Полилиния 84">
              <a:extLst>
                <a:ext uri="{FF2B5EF4-FFF2-40B4-BE49-F238E27FC236}">
                  <a16:creationId xmlns:a16="http://schemas.microsoft.com/office/drawing/2014/main" id="{BC226180-B894-3B3A-A063-F66D0A18C720}"/>
                </a:ext>
              </a:extLst>
            </p:cNvPr>
            <p:cNvSpPr/>
            <p:nvPr/>
          </p:nvSpPr>
          <p:spPr>
            <a:xfrm rot="10800000">
              <a:off x="5282851" y="4339301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" name="Полилиния 85">
              <a:extLst>
                <a:ext uri="{FF2B5EF4-FFF2-40B4-BE49-F238E27FC236}">
                  <a16:creationId xmlns:a16="http://schemas.microsoft.com/office/drawing/2014/main" id="{D1D0E161-EFC6-E220-1DEB-0D2930A0F004}"/>
                </a:ext>
              </a:extLst>
            </p:cNvPr>
            <p:cNvSpPr/>
            <p:nvPr/>
          </p:nvSpPr>
          <p:spPr>
            <a:xfrm rot="10800000">
              <a:off x="5282080" y="4496743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0097D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F1D70DC-1646-3B64-59BA-F97A494ACC42}"/>
              </a:ext>
            </a:extLst>
          </p:cNvPr>
          <p:cNvGrpSpPr/>
          <p:nvPr/>
        </p:nvGrpSpPr>
        <p:grpSpPr>
          <a:xfrm>
            <a:off x="8160255" y="3564527"/>
            <a:ext cx="325783" cy="314883"/>
            <a:chOff x="8160255" y="3564527"/>
            <a:chExt cx="325783" cy="314883"/>
          </a:xfrm>
        </p:grpSpPr>
        <p:sp>
          <p:nvSpPr>
            <p:cNvPr id="26" name="Полилиния 87">
              <a:extLst>
                <a:ext uri="{FF2B5EF4-FFF2-40B4-BE49-F238E27FC236}">
                  <a16:creationId xmlns:a16="http://schemas.microsoft.com/office/drawing/2014/main" id="{3E01C125-23F1-A360-BF54-34ED59E27A91}"/>
                </a:ext>
              </a:extLst>
            </p:cNvPr>
            <p:cNvSpPr/>
            <p:nvPr/>
          </p:nvSpPr>
          <p:spPr>
            <a:xfrm>
              <a:off x="8333287" y="3564527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" name="Полилиния 88">
              <a:extLst>
                <a:ext uri="{FF2B5EF4-FFF2-40B4-BE49-F238E27FC236}">
                  <a16:creationId xmlns:a16="http://schemas.microsoft.com/office/drawing/2014/main" id="{FD10F341-FB4A-4E98-DFB1-A269BFA19CB5}"/>
                </a:ext>
              </a:extLst>
            </p:cNvPr>
            <p:cNvSpPr/>
            <p:nvPr/>
          </p:nvSpPr>
          <p:spPr>
            <a:xfrm>
              <a:off x="8160255" y="3721455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22C23B2-1888-1285-942D-94E2563564FF}"/>
              </a:ext>
            </a:extLst>
          </p:cNvPr>
          <p:cNvGrpSpPr/>
          <p:nvPr/>
        </p:nvGrpSpPr>
        <p:grpSpPr>
          <a:xfrm>
            <a:off x="9175618" y="3564529"/>
            <a:ext cx="325783" cy="314883"/>
            <a:chOff x="9175618" y="3564529"/>
            <a:chExt cx="325783" cy="314883"/>
          </a:xfrm>
        </p:grpSpPr>
        <p:sp>
          <p:nvSpPr>
            <p:cNvPr id="28" name="Полилиния 90">
              <a:extLst>
                <a:ext uri="{FF2B5EF4-FFF2-40B4-BE49-F238E27FC236}">
                  <a16:creationId xmlns:a16="http://schemas.microsoft.com/office/drawing/2014/main" id="{8EC90B21-353E-29F9-6735-D7D3AE26612F}"/>
                </a:ext>
              </a:extLst>
            </p:cNvPr>
            <p:cNvSpPr/>
            <p:nvPr/>
          </p:nvSpPr>
          <p:spPr>
            <a:xfrm rot="10800000">
              <a:off x="9176389" y="3564529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" name="Полилиния 91">
              <a:extLst>
                <a:ext uri="{FF2B5EF4-FFF2-40B4-BE49-F238E27FC236}">
                  <a16:creationId xmlns:a16="http://schemas.microsoft.com/office/drawing/2014/main" id="{3EA7E363-9797-7901-5649-FBB1E1A8EC0F}"/>
                </a:ext>
              </a:extLst>
            </p:cNvPr>
            <p:cNvSpPr/>
            <p:nvPr/>
          </p:nvSpPr>
          <p:spPr>
            <a:xfrm rot="10800000">
              <a:off x="9175618" y="3721971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CCCC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8A78BAB-3F55-D35C-BCF5-6036C1922ECB}"/>
              </a:ext>
            </a:extLst>
          </p:cNvPr>
          <p:cNvGrpSpPr/>
          <p:nvPr/>
        </p:nvGrpSpPr>
        <p:grpSpPr>
          <a:xfrm>
            <a:off x="372433" y="3624859"/>
            <a:ext cx="314883" cy="325783"/>
            <a:chOff x="6233463" y="3585649"/>
            <a:chExt cx="314883" cy="325783"/>
          </a:xfrm>
        </p:grpSpPr>
        <p:sp>
          <p:nvSpPr>
            <p:cNvPr id="30" name="Полилиния 93">
              <a:extLst>
                <a:ext uri="{FF2B5EF4-FFF2-40B4-BE49-F238E27FC236}">
                  <a16:creationId xmlns:a16="http://schemas.microsoft.com/office/drawing/2014/main" id="{FCB5B427-84EC-3553-2C9C-D5076CCE0271}"/>
                </a:ext>
              </a:extLst>
            </p:cNvPr>
            <p:cNvSpPr/>
            <p:nvPr/>
          </p:nvSpPr>
          <p:spPr>
            <a:xfrm rot="16200000">
              <a:off x="6314915" y="3504968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48A04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" name="Полилиния 94">
              <a:extLst>
                <a:ext uri="{FF2B5EF4-FFF2-40B4-BE49-F238E27FC236}">
                  <a16:creationId xmlns:a16="http://schemas.microsoft.com/office/drawing/2014/main" id="{6C5FF749-F8FC-21FD-BD31-A963878BF52E}"/>
                </a:ext>
              </a:extLst>
            </p:cNvPr>
            <p:cNvSpPr/>
            <p:nvPr/>
          </p:nvSpPr>
          <p:spPr>
            <a:xfrm rot="16200000">
              <a:off x="6227756" y="3748284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47A04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A1337C4-0DE3-235A-6475-056B5F316F2B}"/>
              </a:ext>
            </a:extLst>
          </p:cNvPr>
          <p:cNvGrpSpPr/>
          <p:nvPr/>
        </p:nvGrpSpPr>
        <p:grpSpPr>
          <a:xfrm>
            <a:off x="1338056" y="3571717"/>
            <a:ext cx="314883" cy="325783"/>
            <a:chOff x="7199086" y="3532507"/>
            <a:chExt cx="314883" cy="325783"/>
          </a:xfrm>
        </p:grpSpPr>
        <p:sp>
          <p:nvSpPr>
            <p:cNvPr id="32" name="Полилиния 96">
              <a:extLst>
                <a:ext uri="{FF2B5EF4-FFF2-40B4-BE49-F238E27FC236}">
                  <a16:creationId xmlns:a16="http://schemas.microsoft.com/office/drawing/2014/main" id="{EE457823-3B98-3FDF-503C-2102CF512AE3}"/>
                </a:ext>
              </a:extLst>
            </p:cNvPr>
            <p:cNvSpPr/>
            <p:nvPr/>
          </p:nvSpPr>
          <p:spPr>
            <a:xfrm rot="5400000">
              <a:off x="7280538" y="3624088"/>
              <a:ext cx="151980" cy="314883"/>
            </a:xfrm>
            <a:custGeom>
              <a:avLst/>
              <a:gdLst>
                <a:gd name="connsiteX0" fmla="*/ 0 w 151980"/>
                <a:gd name="connsiteY0" fmla="*/ 314883 h 314883"/>
                <a:gd name="connsiteX1" fmla="*/ 151981 w 151980"/>
                <a:gd name="connsiteY1" fmla="*/ 157442 h 314883"/>
                <a:gd name="connsiteX2" fmla="*/ 0 w 151980"/>
                <a:gd name="connsiteY2" fmla="*/ 0 h 31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1980" h="314883">
                  <a:moveTo>
                    <a:pt x="0" y="314883"/>
                  </a:moveTo>
                  <a:lnTo>
                    <a:pt x="151981" y="157442"/>
                  </a:ln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D222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Полилиния 97">
              <a:extLst>
                <a:ext uri="{FF2B5EF4-FFF2-40B4-BE49-F238E27FC236}">
                  <a16:creationId xmlns:a16="http://schemas.microsoft.com/office/drawing/2014/main" id="{2EA047A0-BA26-F9B7-DE20-28F52DF77DAB}"/>
                </a:ext>
              </a:extLst>
            </p:cNvPr>
            <p:cNvSpPr/>
            <p:nvPr/>
          </p:nvSpPr>
          <p:spPr>
            <a:xfrm rot="5400000">
              <a:off x="7193893" y="3695142"/>
              <a:ext cx="325783" cy="513"/>
            </a:xfrm>
            <a:custGeom>
              <a:avLst/>
              <a:gdLst>
                <a:gd name="connsiteX0" fmla="*/ 325783 w 325783"/>
                <a:gd name="connsiteY0" fmla="*/ 0 h 513"/>
                <a:gd name="connsiteX1" fmla="*/ 0 w 325783"/>
                <a:gd name="connsiteY1" fmla="*/ 0 h 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5783" h="513">
                  <a:moveTo>
                    <a:pt x="325783" y="0"/>
                  </a:moveTo>
                  <a:lnTo>
                    <a:pt x="0" y="0"/>
                  </a:lnTo>
                </a:path>
              </a:pathLst>
            </a:custGeom>
            <a:noFill/>
            <a:ln w="64604" cap="flat">
              <a:solidFill>
                <a:srgbClr val="CD222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7823660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ИКОНКИ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656A7C34-8B44-364A-9574-93822B4E18D3}"/>
              </a:ext>
            </a:extLst>
          </p:cNvPr>
          <p:cNvSpPr txBox="1"/>
          <p:nvPr/>
        </p:nvSpPr>
        <p:spPr>
          <a:xfrm>
            <a:off x="17989550" y="484238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C1B224D-9FC1-9332-87D6-C8BB79A13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1</a:t>
            </a:fld>
            <a:endParaRPr lang="ru-RU"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BB3DDD80-E7F2-AC4A-A325-2B18AD9C968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50727" y="2014279"/>
            <a:ext cx="358905" cy="44863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6EA7D2EF-89CF-3148-AA41-0A07AFF7EBB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59342" y="1234743"/>
            <a:ext cx="323013" cy="44863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45BBA34C-3A8A-3448-AF28-3AA0943997FA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432365" y="2014279"/>
            <a:ext cx="376849" cy="452219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05B4EC8-0291-E448-9E43-F03A78102495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7560" y="2014279"/>
            <a:ext cx="480931" cy="45221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CA688F9-FA8C-BD4D-B4E6-95244F6ACF6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01900" y="1234743"/>
            <a:ext cx="470429" cy="470429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44696853-8CBC-7443-9623-0671F2DB9A3F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3869" y="1234743"/>
            <a:ext cx="448630" cy="452219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46478FF-68AC-5E4F-9EF2-084122A8CC42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406880" y="1234743"/>
            <a:ext cx="635260" cy="376849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95A9431B-3DB9-5D46-9E00-8AD562215FDE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488815" y="2014279"/>
            <a:ext cx="441451" cy="441451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2702E9C-37B4-344B-A014-F529D70CF791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60590" y="2014279"/>
            <a:ext cx="441451" cy="441451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536A9800-70D9-4B47-8789-F68341EFBAD4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377323" y="1234743"/>
            <a:ext cx="517145" cy="448911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FACC74A-1B3C-C847-96F0-D5615DE81520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78465" y="1234743"/>
            <a:ext cx="449014" cy="452605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F6E2EC3-8EE6-864F-8D62-80C6A223B5E6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409575" y="1234743"/>
            <a:ext cx="624591" cy="441522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2FAA49DE-6F40-554E-876A-75D023BBD667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420262" y="1234743"/>
            <a:ext cx="548090" cy="411963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BAF94B63-2F7B-3A47-B8E8-28594C3989E5}"/>
              </a:ext>
            </a:extLst>
          </p:cNvPr>
          <p:cNvPicPr>
            <a:picLocks noChangeAspect="1"/>
          </p:cNvPicPr>
          <p:nvPr/>
        </p:nvPicPr>
        <p:blipFill>
          <a:blip r:embed="rId29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195747" y="1160099"/>
            <a:ext cx="628211" cy="6318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46A36DC7-41CC-BA45-A835-D610F789B97F}"/>
              </a:ext>
            </a:extLst>
          </p:cNvPr>
          <p:cNvPicPr>
            <a:picLocks noChangeAspect="1"/>
          </p:cNvPicPr>
          <p:nvPr/>
        </p:nvPicPr>
        <p:blipFill>
          <a:blip r:embed="rId3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377323" y="2014279"/>
            <a:ext cx="499303" cy="452605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AEFA3070-CB34-7A40-9D91-40D029AE9F54}"/>
              </a:ext>
            </a:extLst>
          </p:cNvPr>
          <p:cNvPicPr>
            <a:picLocks noChangeAspect="1"/>
          </p:cNvPicPr>
          <p:nvPr/>
        </p:nvPicPr>
        <p:blipFill>
          <a:blip r:embed="rId3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440354" y="2817520"/>
            <a:ext cx="449897" cy="40625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B516505A-A4D9-0147-8DCA-EEF7158D8D2B}"/>
              </a:ext>
            </a:extLst>
          </p:cNvPr>
          <p:cNvPicPr>
            <a:picLocks noChangeAspect="1"/>
          </p:cNvPicPr>
          <p:nvPr/>
        </p:nvPicPr>
        <p:blipFill>
          <a:blip r:embed="rId3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342031" y="2892164"/>
            <a:ext cx="453255" cy="352532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BD0FB022-9041-3F43-BCFC-F43E464F2406}"/>
              </a:ext>
            </a:extLst>
          </p:cNvPr>
          <p:cNvPicPr>
            <a:picLocks noChangeAspect="1"/>
          </p:cNvPicPr>
          <p:nvPr/>
        </p:nvPicPr>
        <p:blipFill>
          <a:blip r:embed="rId3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3408649" y="2817520"/>
            <a:ext cx="449897" cy="406251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240D976-6266-ED48-A260-1802C705B310}"/>
              </a:ext>
            </a:extLst>
          </p:cNvPr>
          <p:cNvPicPr>
            <a:picLocks noChangeAspect="1"/>
          </p:cNvPicPr>
          <p:nvPr/>
        </p:nvPicPr>
        <p:blipFill>
          <a:blip r:embed="rId3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479686" y="1234743"/>
            <a:ext cx="315600" cy="453255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F14780AA-AA94-7D44-ACFA-36A47A1EA0D3}"/>
              </a:ext>
            </a:extLst>
          </p:cNvPr>
          <p:cNvPicPr>
            <a:picLocks noChangeAspect="1"/>
          </p:cNvPicPr>
          <p:nvPr/>
        </p:nvPicPr>
        <p:blipFill>
          <a:blip r:embed="rId4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10272618" y="2014279"/>
            <a:ext cx="449897" cy="449897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07FCE51D-311E-BF4A-B6A4-62F86E708F38}"/>
              </a:ext>
            </a:extLst>
          </p:cNvPr>
          <p:cNvPicPr>
            <a:picLocks noChangeAspect="1"/>
          </p:cNvPicPr>
          <p:nvPr/>
        </p:nvPicPr>
        <p:blipFill>
          <a:blip r:embed="rId4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2506001" y="2817520"/>
            <a:ext cx="318958" cy="45325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8576C0B8-2241-9A4B-AAD8-1C5DE0F05409}"/>
              </a:ext>
            </a:extLst>
          </p:cNvPr>
          <p:cNvPicPr>
            <a:picLocks noChangeAspect="1"/>
          </p:cNvPicPr>
          <p:nvPr/>
        </p:nvPicPr>
        <p:blipFill>
          <a:blip r:embed="rId4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4392326" y="2817520"/>
            <a:ext cx="443183" cy="43982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4EF39BF4-536F-6342-8E07-3AA7042A35D8}"/>
              </a:ext>
            </a:extLst>
          </p:cNvPr>
          <p:cNvPicPr>
            <a:picLocks noChangeAspect="1"/>
          </p:cNvPicPr>
          <p:nvPr/>
        </p:nvPicPr>
        <p:blipFill>
          <a:blip r:embed="rId47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9340886" y="2014279"/>
            <a:ext cx="449897" cy="44989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968E8692-6AF6-354D-95FD-4B5E425D6262}"/>
              </a:ext>
            </a:extLst>
          </p:cNvPr>
          <p:cNvPicPr>
            <a:picLocks noChangeAspect="1"/>
          </p:cNvPicPr>
          <p:nvPr/>
        </p:nvPicPr>
        <p:blipFill>
          <a:blip r:embed="rId4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8293129" y="2014279"/>
            <a:ext cx="453255" cy="449897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C6AF516-6F42-4C47-B8B2-9BB829A4B30E}"/>
              </a:ext>
            </a:extLst>
          </p:cNvPr>
          <p:cNvPicPr>
            <a:picLocks noChangeAspect="1"/>
          </p:cNvPicPr>
          <p:nvPr/>
        </p:nvPicPr>
        <p:blipFill>
          <a:blip r:embed="rId5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1273468" y="2014279"/>
            <a:ext cx="339103" cy="446541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638C9DE2-1DED-F142-BC50-028DD7C901A1}"/>
              </a:ext>
            </a:extLst>
          </p:cNvPr>
          <p:cNvPicPr>
            <a:picLocks noChangeAspect="1"/>
          </p:cNvPicPr>
          <p:nvPr/>
        </p:nvPicPr>
        <p:blipFill>
          <a:blip r:embed="rId5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4447753" y="1234743"/>
            <a:ext cx="449897" cy="453255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30A75D97-E80D-1240-BAED-0B5E1CF33609}"/>
              </a:ext>
            </a:extLst>
          </p:cNvPr>
          <p:cNvPicPr>
            <a:picLocks noChangeAspect="1"/>
          </p:cNvPicPr>
          <p:nvPr/>
        </p:nvPicPr>
        <p:blipFill>
          <a:blip r:embed="rId55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7327375" y="2014279"/>
            <a:ext cx="449897" cy="449897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9A77DE46-1DC6-C843-AAC1-DD99DE76D9F9}"/>
              </a:ext>
            </a:extLst>
          </p:cNvPr>
          <p:cNvPicPr>
            <a:picLocks noChangeAspect="1"/>
          </p:cNvPicPr>
          <p:nvPr/>
        </p:nvPicPr>
        <p:blipFill>
          <a:blip r:embed="rId57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506619" y="2985469"/>
            <a:ext cx="451872" cy="212448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2CEAFA8D-544C-1A4B-A780-5D0F24E9EA2B}"/>
              </a:ext>
            </a:extLst>
          </p:cNvPr>
          <p:cNvPicPr>
            <a:picLocks noChangeAspect="1"/>
          </p:cNvPicPr>
          <p:nvPr/>
        </p:nvPicPr>
        <p:blipFill>
          <a:blip r:embed="rId59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5399955" y="2126245"/>
            <a:ext cx="448886" cy="251243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D76D9E54-67E7-824D-A068-5216E60A32A2}"/>
              </a:ext>
            </a:extLst>
          </p:cNvPr>
          <p:cNvPicPr>
            <a:picLocks noChangeAspect="1"/>
          </p:cNvPicPr>
          <p:nvPr/>
        </p:nvPicPr>
        <p:blipFill>
          <a:blip r:embed="rId61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11161753" y="1234743"/>
            <a:ext cx="450818" cy="41381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126B84A-D3A3-2FDB-3D20-44DE2609D90E}"/>
              </a:ext>
            </a:extLst>
          </p:cNvPr>
          <p:cNvSpPr txBox="1"/>
          <p:nvPr/>
        </p:nvSpPr>
        <p:spPr>
          <a:xfrm>
            <a:off x="13268131" y="1995618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en-PT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853557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056198"/>
              </p:ext>
            </p:extLst>
          </p:nvPr>
        </p:nvGraphicFramePr>
        <p:xfrm>
          <a:off x="334963" y="1128393"/>
          <a:ext cx="11518664" cy="507238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6486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20316F-7719-CE6D-E30F-33518C69E0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8664569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305803"/>
              </p:ext>
            </p:extLst>
          </p:nvPr>
        </p:nvGraphicFramePr>
        <p:xfrm>
          <a:off x="334963" y="1128393"/>
          <a:ext cx="11518664" cy="5072381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648629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105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56623E-5388-C58B-A08B-DCCC2141CD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3044273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606425"/>
              </p:ext>
            </p:extLst>
          </p:nvPr>
        </p:nvGraphicFramePr>
        <p:xfrm>
          <a:off x="334963" y="1128393"/>
          <a:ext cx="11518664" cy="5072380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5675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4383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E24680-098E-ECC9-8EF0-D3D14061D6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607710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3298827"/>
              </p:ext>
            </p:extLst>
          </p:nvPr>
        </p:nvGraphicFramePr>
        <p:xfrm>
          <a:off x="334963" y="1128393"/>
          <a:ext cx="11518664" cy="5072380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565089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1983179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484416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  <a:gridCol w="1793174">
                  <a:extLst>
                    <a:ext uri="{9D8B030D-6E8A-4147-A177-3AD203B41FA5}">
                      <a16:colId xmlns:a16="http://schemas.microsoft.com/office/drawing/2014/main" val="1542189547"/>
                    </a:ext>
                  </a:extLst>
                </a:gridCol>
                <a:gridCol w="1781298">
                  <a:extLst>
                    <a:ext uri="{9D8B030D-6E8A-4147-A177-3AD203B41FA5}">
                      <a16:colId xmlns:a16="http://schemas.microsoft.com/office/drawing/2014/main" val="2722736441"/>
                    </a:ext>
                  </a:extLst>
                </a:gridCol>
                <a:gridCol w="1448790">
                  <a:extLst>
                    <a:ext uri="{9D8B030D-6E8A-4147-A177-3AD203B41FA5}">
                      <a16:colId xmlns:a16="http://schemas.microsoft.com/office/drawing/2014/main" val="576524394"/>
                    </a:ext>
                  </a:extLst>
                </a:gridCol>
                <a:gridCol w="1462718">
                  <a:extLst>
                    <a:ext uri="{9D8B030D-6E8A-4147-A177-3AD203B41FA5}">
                      <a16:colId xmlns:a16="http://schemas.microsoft.com/office/drawing/2014/main" val="616735420"/>
                    </a:ext>
                  </a:extLst>
                </a:gridCol>
              </a:tblGrid>
              <a:tr h="567577">
                <a:tc gridSpan="7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43837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101660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428562-C399-E142-DDE4-D440A1E2D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7807915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471691"/>
              </p:ext>
            </p:extLst>
          </p:nvPr>
        </p:nvGraphicFramePr>
        <p:xfrm>
          <a:off x="334963" y="1140178"/>
          <a:ext cx="5689600" cy="5085174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78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542094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94360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446067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D7CF4DE7-15EB-C34F-AA1E-27A2963F3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8807965"/>
              </p:ext>
            </p:extLst>
          </p:nvPr>
        </p:nvGraphicFramePr>
        <p:xfrm>
          <a:off x="6167437" y="1128393"/>
          <a:ext cx="5689600" cy="5096959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4960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5420945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943608"/>
                  </a:ext>
                </a:extLst>
              </a:tr>
              <a:tr h="6353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446067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74E44D-BDF6-AA7A-B3FB-981EF2AE7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latin typeface="мукв"/>
              </a:rPr>
              <a:pPr/>
              <a:t>116</a:t>
            </a:fld>
            <a:endParaRPr lang="ru-RU" dirty="0">
              <a:latin typeface="мукв"/>
            </a:endParaRPr>
          </a:p>
        </p:txBody>
      </p:sp>
    </p:spTree>
    <p:extLst>
      <p:ext uri="{BB962C8B-B14F-4D97-AF65-F5344CB8AC3E}">
        <p14:creationId xmlns:p14="http://schemas.microsoft.com/office/powerpoint/2010/main" val="222169796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F74041F-48EF-9544-A9B6-7134CEB75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823970"/>
              </p:ext>
            </p:extLst>
          </p:nvPr>
        </p:nvGraphicFramePr>
        <p:xfrm>
          <a:off x="334963" y="1128392"/>
          <a:ext cx="5689600" cy="5072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927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400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14904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31021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47530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A838FAFE-A25A-2640-887D-6A3465FE70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912209"/>
              </p:ext>
            </p:extLst>
          </p:nvPr>
        </p:nvGraphicFramePr>
        <p:xfrm>
          <a:off x="6167437" y="1128392"/>
          <a:ext cx="5689600" cy="5072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9279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400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4714904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931021"/>
                  </a:ext>
                </a:extLst>
              </a:tr>
              <a:tr h="5847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47530"/>
                  </a:ext>
                </a:extLst>
              </a:tr>
            </a:tbl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D1666A-12C7-3EB6-AE87-9F15DA414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8821591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АБЛИЦ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D673F269-BCD3-1E4A-9627-DA0B643761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31806"/>
              </p:ext>
            </p:extLst>
          </p:nvPr>
        </p:nvGraphicFramePr>
        <p:xfrm>
          <a:off x="334963" y="1140178"/>
          <a:ext cx="5689600" cy="2217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51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85EE2522-7C3D-704A-96C4-13F0077CAF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9537354"/>
              </p:ext>
            </p:extLst>
          </p:nvPr>
        </p:nvGraphicFramePr>
        <p:xfrm>
          <a:off x="334963" y="3516665"/>
          <a:ext cx="5689600" cy="2217385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513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1629963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340456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193C21BB-9E55-6E4E-B047-D464DC7925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101688"/>
              </p:ext>
            </p:extLst>
          </p:nvPr>
        </p:nvGraphicFramePr>
        <p:xfrm>
          <a:off x="6167437" y="1128394"/>
          <a:ext cx="5689600" cy="2233379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43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226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421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310163"/>
                  </a:ext>
                </a:extLst>
              </a:tr>
            </a:tbl>
          </a:graphicData>
        </a:graphic>
      </p:graphicFrame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0526934F-83D8-6741-BF2F-85F63BE656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571246"/>
              </p:ext>
            </p:extLst>
          </p:nvPr>
        </p:nvGraphicFramePr>
        <p:xfrm>
          <a:off x="6167437" y="3512225"/>
          <a:ext cx="5689600" cy="2225518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1769380">
                  <a:extLst>
                    <a:ext uri="{9D8B030D-6E8A-4147-A177-3AD203B41FA5}">
                      <a16:colId xmlns:a16="http://schemas.microsoft.com/office/drawing/2014/main" val="4266581615"/>
                    </a:ext>
                  </a:extLst>
                </a:gridCol>
                <a:gridCol w="2242043">
                  <a:extLst>
                    <a:ext uri="{9D8B030D-6E8A-4147-A177-3AD203B41FA5}">
                      <a16:colId xmlns:a16="http://schemas.microsoft.com/office/drawing/2014/main" val="1948436412"/>
                    </a:ext>
                  </a:extLst>
                </a:gridCol>
                <a:gridCol w="1678177">
                  <a:extLst>
                    <a:ext uri="{9D8B030D-6E8A-4147-A177-3AD203B41FA5}">
                      <a16:colId xmlns:a16="http://schemas.microsoft.com/office/drawing/2014/main" val="721086846"/>
                    </a:ext>
                  </a:extLst>
                </a:gridCol>
              </a:tblGrid>
              <a:tr h="634687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ru-RU" sz="1200" b="1" i="0" kern="120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cap="all" baseline="0" dirty="0">
                          <a:solidFill>
                            <a:schemeClr val="bg1"/>
                          </a:solidFill>
                          <a:latin typeface="GPN_DIN Condensed Bold" panose="020B0504020202020204" pitchFamily="34" charset="0"/>
                          <a:ea typeface="GPN_DIN Condensed Bold" panose="020B050402020202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4389228"/>
                  </a:ext>
                </a:extLst>
              </a:tr>
              <a:tr h="3231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8732079"/>
                  </a:ext>
                </a:extLst>
              </a:tr>
              <a:tr h="422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808518"/>
                  </a:ext>
                </a:extLst>
              </a:tr>
              <a:tr h="4226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0340965"/>
                  </a:ext>
                </a:extLst>
              </a:tr>
              <a:tr h="4187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4238518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0FC4E0-0732-2828-A3E0-695D60B02E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6216290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425A2291-AC8B-6CDC-9A69-02A5BE61CA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4223503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FA20934C-0B3B-6769-90C4-EF7453D976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615952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4F706D-6F29-7051-FFB9-7141D01D2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4134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509E49A6-FF2C-1747-3CBB-E01EFBDEDB3F}"/>
              </a:ext>
            </a:extLst>
          </p:cNvPr>
          <p:cNvSpPr txBox="1">
            <a:spLocks/>
          </p:cNvSpPr>
          <p:nvPr/>
        </p:nvSpPr>
        <p:spPr>
          <a:xfrm>
            <a:off x="338374" y="1125930"/>
            <a:ext cx="3742700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r>
              <a:rPr kumimoji="0" lang="ru-RU" sz="12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tabLst/>
              <a:defRPr/>
            </a:pPr>
            <a:endParaRPr kumimoji="0" lang="ru-RU" sz="12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FC761FF-6D41-396C-7FA8-9336CE573DA4}"/>
              </a:ext>
            </a:extLst>
          </p:cNvPr>
          <p:cNvSpPr/>
          <p:nvPr/>
        </p:nvSpPr>
        <p:spPr>
          <a:xfrm>
            <a:off x="337045" y="1919031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8">
            <a:extLst>
              <a:ext uri="{FF2B5EF4-FFF2-40B4-BE49-F238E27FC236}">
                <a16:creationId xmlns:a16="http://schemas.microsoft.com/office/drawing/2014/main" id="{0B69002E-48F5-8DCF-E824-ED62D2DDA581}"/>
              </a:ext>
            </a:extLst>
          </p:cNvPr>
          <p:cNvSpPr/>
          <p:nvPr/>
        </p:nvSpPr>
        <p:spPr>
          <a:xfrm>
            <a:off x="4229423" y="1919031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9">
            <a:extLst>
              <a:ext uri="{FF2B5EF4-FFF2-40B4-BE49-F238E27FC236}">
                <a16:creationId xmlns:a16="http://schemas.microsoft.com/office/drawing/2014/main" id="{6B62CDD0-C84C-E346-96B1-A3FBFBFD1222}"/>
              </a:ext>
            </a:extLst>
          </p:cNvPr>
          <p:cNvSpPr/>
          <p:nvPr/>
        </p:nvSpPr>
        <p:spPr>
          <a:xfrm>
            <a:off x="8109445" y="1919031"/>
            <a:ext cx="374759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30">
            <a:extLst>
              <a:ext uri="{FF2B5EF4-FFF2-40B4-BE49-F238E27FC236}">
                <a16:creationId xmlns:a16="http://schemas.microsoft.com/office/drawing/2014/main" id="{6707D772-4C95-D7E8-1707-76B682CDB729}"/>
              </a:ext>
            </a:extLst>
          </p:cNvPr>
          <p:cNvSpPr/>
          <p:nvPr/>
        </p:nvSpPr>
        <p:spPr>
          <a:xfrm>
            <a:off x="337045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C9C6DA49-DC25-1BA4-2C1C-06E0FA8DFB69}"/>
              </a:ext>
            </a:extLst>
          </p:cNvPr>
          <p:cNvSpPr txBox="1">
            <a:spLocks/>
          </p:cNvSpPr>
          <p:nvPr/>
        </p:nvSpPr>
        <p:spPr>
          <a:xfrm>
            <a:off x="4229423" y="1125930"/>
            <a:ext cx="3745506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defPPr>
              <a:defRPr lang="en-RU"/>
            </a:defPPr>
            <a:lvl1pPr marL="180000" marR="0" lvl="0" indent="0" fontAlgn="auto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706F6F">
                  <a:lumMod val="50000"/>
                </a:srgbClr>
              </a:buClr>
              <a:buSzPct val="100000"/>
              <a:buFont typeface="Wingdings" pitchFamily="2" charset="2"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3C3C3C">
                    <a:lumMod val="75000"/>
                  </a:srgbClr>
                </a:solidFill>
                <a:effectLst/>
                <a:uLnTx/>
                <a:uFillTx/>
                <a:latin typeface="GPN_DIN Condensed Regular"/>
              </a:defRPr>
            </a:lvl1pPr>
            <a:lvl2pPr marL="266700" marR="0" indent="-2667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/>
            </a:lvl2pPr>
            <a:lvl3pPr marL="449263" indent="-169863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>
              <a:spcBef>
                <a:spcPts val="0"/>
              </a:spcBef>
              <a:defRPr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spcBef>
                <a:spcPts val="0"/>
              </a:spcBef>
              <a:defRPr/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spcBef>
                <a:spcPts val="0"/>
              </a:spcBef>
              <a:defRPr/>
            </a:pP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F4F7E844-AE49-949E-5337-97B6302E191E}"/>
              </a:ext>
            </a:extLst>
          </p:cNvPr>
          <p:cNvSpPr txBox="1">
            <a:spLocks/>
          </p:cNvSpPr>
          <p:nvPr/>
        </p:nvSpPr>
        <p:spPr>
          <a:xfrm>
            <a:off x="8118497" y="1125930"/>
            <a:ext cx="3734981" cy="6630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44000" tIns="54000" rIns="144000" bIns="5400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r>
              <a:rPr lang="ru-RU" sz="12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buClr>
                <a:srgbClr val="706F6F">
                  <a:lumMod val="50000"/>
                </a:srgbClr>
              </a:buClr>
              <a:buSzPct val="100000"/>
              <a:defRPr/>
            </a:pPr>
            <a:endParaRPr lang="ru-RU" sz="1200" b="0" cap="none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33">
            <a:extLst>
              <a:ext uri="{FF2B5EF4-FFF2-40B4-BE49-F238E27FC236}">
                <a16:creationId xmlns:a16="http://schemas.microsoft.com/office/drawing/2014/main" id="{C2363CDA-50F6-D622-75ED-0265374F9810}"/>
              </a:ext>
            </a:extLst>
          </p:cNvPr>
          <p:cNvSpPr/>
          <p:nvPr/>
        </p:nvSpPr>
        <p:spPr>
          <a:xfrm>
            <a:off x="4229424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fontAlgn="t"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2" name="Прямоугольник 134">
            <a:extLst>
              <a:ext uri="{FF2B5EF4-FFF2-40B4-BE49-F238E27FC236}">
                <a16:creationId xmlns:a16="http://schemas.microsoft.com/office/drawing/2014/main" id="{CC63433A-A4C2-657E-8A78-B5694F8E625C}"/>
              </a:ext>
            </a:extLst>
          </p:cNvPr>
          <p:cNvSpPr/>
          <p:nvPr/>
        </p:nvSpPr>
        <p:spPr>
          <a:xfrm>
            <a:off x="8109445" y="2567030"/>
            <a:ext cx="3744029" cy="36292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792445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ВОК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724484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1D0DC5A5-6C23-9A17-5FC7-5A025FF5C6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8388011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EEA84037-6D8A-28FA-E5A1-2799A525E9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6698150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015049E-9F67-FE84-A1F9-5343FA73DC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616545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78F6D200-75E2-71CC-82CA-23E7C2BCC3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0527187"/>
              </p:ext>
            </p:extLst>
          </p:nvPr>
        </p:nvGraphicFramePr>
        <p:xfrm>
          <a:off x="108158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6765A3EC-494A-EBE2-F478-77A7348D4B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6919957"/>
              </p:ext>
            </p:extLst>
          </p:nvPr>
        </p:nvGraphicFramePr>
        <p:xfrm>
          <a:off x="625471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9E66033-E02B-3C37-7ED9-59C9AFE67F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7809313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1">
            <a:extLst>
              <a:ext uri="{FF2B5EF4-FFF2-40B4-BE49-F238E27FC236}">
                <a16:creationId xmlns:a16="http://schemas.microsoft.com/office/drawing/2014/main" id="{F57FFAD3-9805-C6C7-8E71-C9A138C581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68402336"/>
              </p:ext>
            </p:extLst>
          </p:nvPr>
        </p:nvGraphicFramePr>
        <p:xfrm>
          <a:off x="118450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946209F0-143B-C797-4465-9616A49B9B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4558708"/>
              </p:ext>
            </p:extLst>
          </p:nvPr>
        </p:nvGraphicFramePr>
        <p:xfrm>
          <a:off x="630291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D7F59F-653A-D777-4061-D16C3E7AA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5351372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1">
            <a:extLst>
              <a:ext uri="{FF2B5EF4-FFF2-40B4-BE49-F238E27FC236}">
                <a16:creationId xmlns:a16="http://schemas.microsoft.com/office/drawing/2014/main" id="{3A9FDF18-2AD8-8DA3-6A43-0C5D54FAEC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4572454"/>
              </p:ext>
            </p:extLst>
          </p:nvPr>
        </p:nvGraphicFramePr>
        <p:xfrm>
          <a:off x="118450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87571514-1FE4-35D9-D470-A1E3883E8C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4741776"/>
              </p:ext>
            </p:extLst>
          </p:nvPr>
        </p:nvGraphicFramePr>
        <p:xfrm>
          <a:off x="6302917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C6A29B1-5F6C-DA1D-45BB-9403163FFC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9474837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C74C31B2-5574-3E35-0AC9-0DB7DF0B2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9116832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0832571A-95A2-3287-B73D-0B2A001BC3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314294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CDF4AFE-3E8F-2195-2452-BDB977BB24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1574885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DBE202BD-142F-1026-5F2C-ED873F39DC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1831365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48DFEA18-4CB0-6EF7-86A1-7191E7AD6A7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19110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A92D9BA-DC3C-F7DE-B64C-75DE770395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5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497822837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BE19A608-7B72-DD96-11E1-752D66909C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6317278"/>
              </p:ext>
            </p:extLst>
          </p:nvPr>
        </p:nvGraphicFramePr>
        <p:xfrm>
          <a:off x="10677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BAE781DB-894F-AAAA-D36F-F4FD30676F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8936296"/>
              </p:ext>
            </p:extLst>
          </p:nvPr>
        </p:nvGraphicFramePr>
        <p:xfrm>
          <a:off x="6249326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CCF7B85-F11D-E745-20FD-56673EC9ED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6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069906309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5F96CC87-5269-BEB6-2A48-AF199142DF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3237408"/>
              </p:ext>
            </p:extLst>
          </p:nvPr>
        </p:nvGraphicFramePr>
        <p:xfrm>
          <a:off x="132898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2235D4A3-3A53-115B-482C-472103E759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2357631"/>
              </p:ext>
            </p:extLst>
          </p:nvPr>
        </p:nvGraphicFramePr>
        <p:xfrm>
          <a:off x="602936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8D1E3BD-3F5F-02F5-A37A-5C24295C3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7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260879991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3" name="Диаграмма 7">
            <a:extLst>
              <a:ext uri="{FF2B5EF4-FFF2-40B4-BE49-F238E27FC236}">
                <a16:creationId xmlns:a16="http://schemas.microsoft.com/office/drawing/2014/main" id="{6C566E7A-C2B2-1A55-F5D6-EF645DC3C6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431725"/>
              </p:ext>
            </p:extLst>
          </p:nvPr>
        </p:nvGraphicFramePr>
        <p:xfrm>
          <a:off x="1328983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7">
            <a:extLst>
              <a:ext uri="{FF2B5EF4-FFF2-40B4-BE49-F238E27FC236}">
                <a16:creationId xmlns:a16="http://schemas.microsoft.com/office/drawing/2014/main" id="{BD88A460-D166-F568-53AF-4C95299761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45895785"/>
              </p:ext>
            </p:extLst>
          </p:nvPr>
        </p:nvGraphicFramePr>
        <p:xfrm>
          <a:off x="6029360" y="2061427"/>
          <a:ext cx="4406572" cy="2735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D5F4771-C53F-760A-939E-E3526B1211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8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1643274333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14038E4-0857-2F41-89EB-DE783F93AC12}"/>
              </a:ext>
            </a:extLst>
          </p:cNvPr>
          <p:cNvSpPr txBox="1"/>
          <p:nvPr/>
        </p:nvSpPr>
        <p:spPr>
          <a:xfrm>
            <a:off x="-154379" y="93815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A1D450-25DF-B144-8155-DA25F79BC1A4}"/>
              </a:ext>
            </a:extLst>
          </p:cNvPr>
          <p:cNvSpPr txBox="1"/>
          <p:nvPr/>
        </p:nvSpPr>
        <p:spPr>
          <a:xfrm>
            <a:off x="-368135" y="961901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55E158-8B54-550D-0DC7-D8D0E2F3D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29</a:t>
            </a:fld>
            <a:endParaRPr lang="ru-RU" dirty="0"/>
          </a:p>
        </p:txBody>
      </p:sp>
      <p:graphicFrame>
        <p:nvGraphicFramePr>
          <p:cNvPr id="9" name="Диаграмма 7">
            <a:extLst>
              <a:ext uri="{FF2B5EF4-FFF2-40B4-BE49-F238E27FC236}">
                <a16:creationId xmlns:a16="http://schemas.microsoft.com/office/drawing/2014/main" id="{91434A72-3748-834C-89D2-DA4AB132BB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37160670"/>
              </p:ext>
            </p:extLst>
          </p:nvPr>
        </p:nvGraphicFramePr>
        <p:xfrm>
          <a:off x="655111" y="2006512"/>
          <a:ext cx="4583520" cy="2844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Диаграмма 7">
            <a:extLst>
              <a:ext uri="{FF2B5EF4-FFF2-40B4-BE49-F238E27FC236}">
                <a16:creationId xmlns:a16="http://schemas.microsoft.com/office/drawing/2014/main" id="{60842F5F-D0BF-8242-8674-215867520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5827005"/>
              </p:ext>
            </p:extLst>
          </p:nvPr>
        </p:nvGraphicFramePr>
        <p:xfrm>
          <a:off x="6096000" y="2006512"/>
          <a:ext cx="4583520" cy="2844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2796731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59A027-E1E7-4765-C2F1-F598BAA945F1}"/>
              </a:ext>
            </a:extLst>
          </p:cNvPr>
          <p:cNvSpPr txBox="1"/>
          <p:nvPr/>
        </p:nvSpPr>
        <p:spPr>
          <a:xfrm>
            <a:off x="337044" y="279107"/>
            <a:ext cx="1151124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ВОК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A710A7-6B36-F580-4140-50705207AE01}"/>
              </a:ext>
            </a:extLst>
          </p:cNvPr>
          <p:cNvSpPr txBox="1"/>
          <p:nvPr/>
        </p:nvSpPr>
        <p:spPr>
          <a:xfrm>
            <a:off x="474194" y="2103017"/>
            <a:ext cx="5693589" cy="276999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Condensed Regular" panose="020B0704020202020204" pitchFamily="34" charset="0"/>
              <a:ea typeface="GPN_DIN Condensed Regular" panose="020B0704020202020204" pitchFamily="34" charset="0"/>
              <a:cs typeface="+mn-cs"/>
            </a:endParaRP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98897CF9-37D2-47EB-1237-9FA80983CA51}"/>
              </a:ext>
            </a:extLst>
          </p:cNvPr>
          <p:cNvSpPr>
            <a:spLocks/>
          </p:cNvSpPr>
          <p:nvPr/>
        </p:nvSpPr>
        <p:spPr>
          <a:xfrm>
            <a:off x="340127" y="1133836"/>
            <a:ext cx="3740445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Freeform: Shape 130">
            <a:extLst>
              <a:ext uri="{FF2B5EF4-FFF2-40B4-BE49-F238E27FC236}">
                <a16:creationId xmlns:a16="http://schemas.microsoft.com/office/drawing/2014/main" id="{5EAE18DD-DC91-F19C-55AE-2C078D36675C}"/>
              </a:ext>
            </a:extLst>
          </p:cNvPr>
          <p:cNvSpPr>
            <a:spLocks/>
          </p:cNvSpPr>
          <p:nvPr/>
        </p:nvSpPr>
        <p:spPr>
          <a:xfrm>
            <a:off x="4080572" y="1133836"/>
            <a:ext cx="7776465" cy="63752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72000" rtlCol="0" anchor="ctr"/>
          <a:lstStyle/>
          <a:p>
            <a:pPr marR="5374" defTabSz="967252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ЗАГОЛОВК</a:t>
            </a:r>
          </a:p>
          <a:p>
            <a:pPr marR="5374" defTabSz="967252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16C4EBF5-F6E4-28D0-8A8A-B7A42B16275B}"/>
              </a:ext>
            </a:extLst>
          </p:cNvPr>
          <p:cNvSpPr>
            <a:spLocks/>
          </p:cNvSpPr>
          <p:nvPr/>
        </p:nvSpPr>
        <p:spPr>
          <a:xfrm>
            <a:off x="337044" y="2562830"/>
            <a:ext cx="11519994" cy="375801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R="5374" defTabSz="967252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GPN_DIN Regular" panose="020B0504020202020204" pitchFamily="34" charset="0"/>
              <a:ea typeface="GPN_DIN Regular" panose="020B0504020202020204" pitchFamily="34" charset="0"/>
              <a:cs typeface="Tahoma"/>
            </a:endParaRPr>
          </a:p>
        </p:txBody>
      </p:sp>
      <p:sp>
        <p:nvSpPr>
          <p:cNvPr id="8" name="Freeform: Shape 156">
            <a:extLst>
              <a:ext uri="{FF2B5EF4-FFF2-40B4-BE49-F238E27FC236}">
                <a16:creationId xmlns:a16="http://schemas.microsoft.com/office/drawing/2014/main" id="{CCA7725D-4A19-BF73-749A-3BC8720087D9}"/>
              </a:ext>
            </a:extLst>
          </p:cNvPr>
          <p:cNvSpPr>
            <a:spLocks/>
          </p:cNvSpPr>
          <p:nvPr/>
        </p:nvSpPr>
        <p:spPr>
          <a:xfrm>
            <a:off x="337044" y="1914833"/>
            <a:ext cx="11519994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К</a:t>
            </a: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9FE8A331-9A59-80BD-1114-8A7F47F51F04}"/>
              </a:ext>
            </a:extLst>
          </p:cNvPr>
          <p:cNvSpPr txBox="1"/>
          <p:nvPr/>
        </p:nvSpPr>
        <p:spPr>
          <a:xfrm>
            <a:off x="1798521" y="4421676"/>
            <a:ext cx="269367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0" name="object 18">
            <a:extLst>
              <a:ext uri="{FF2B5EF4-FFF2-40B4-BE49-F238E27FC236}">
                <a16:creationId xmlns:a16="http://schemas.microsoft.com/office/drawing/2014/main" id="{FE0B4E9E-15A4-6F9E-D43E-EB0BF6F31A24}"/>
              </a:ext>
            </a:extLst>
          </p:cNvPr>
          <p:cNvSpPr txBox="1"/>
          <p:nvPr/>
        </p:nvSpPr>
        <p:spPr>
          <a:xfrm>
            <a:off x="1798521" y="29634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  <a:endParaRPr kumimoji="0" sz="140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508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sz="120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21">
            <a:extLst>
              <a:ext uri="{FF2B5EF4-FFF2-40B4-BE49-F238E27FC236}">
                <a16:creationId xmlns:a16="http://schemas.microsoft.com/office/drawing/2014/main" id="{3D17BC0A-C4FD-91B8-776D-88246A35A219}"/>
              </a:ext>
            </a:extLst>
          </p:cNvPr>
          <p:cNvSpPr/>
          <p:nvPr/>
        </p:nvSpPr>
        <p:spPr>
          <a:xfrm>
            <a:off x="554302" y="44418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ject 24">
            <a:extLst>
              <a:ext uri="{FF2B5EF4-FFF2-40B4-BE49-F238E27FC236}">
                <a16:creationId xmlns:a16="http://schemas.microsoft.com/office/drawing/2014/main" id="{733419FD-589C-54A6-4FE4-9A892401FD19}"/>
              </a:ext>
            </a:extLst>
          </p:cNvPr>
          <p:cNvSpPr/>
          <p:nvPr/>
        </p:nvSpPr>
        <p:spPr>
          <a:xfrm>
            <a:off x="4573344" y="4441800"/>
            <a:ext cx="946785" cy="927100"/>
          </a:xfrm>
          <a:custGeom>
            <a:avLst/>
            <a:gdLst/>
            <a:ahLst/>
            <a:cxnLst/>
            <a:rect l="l" t="t" r="r" b="b"/>
            <a:pathLst>
              <a:path w="946784" h="927100">
                <a:moveTo>
                  <a:pt x="473201" y="0"/>
                </a:moveTo>
                <a:lnTo>
                  <a:pt x="424815" y="2391"/>
                </a:lnTo>
                <a:lnTo>
                  <a:pt x="377828" y="9411"/>
                </a:lnTo>
                <a:lnTo>
                  <a:pt x="332477" y="20825"/>
                </a:lnTo>
                <a:lnTo>
                  <a:pt x="289000" y="36403"/>
                </a:lnTo>
                <a:lnTo>
                  <a:pt x="247635" y="55910"/>
                </a:lnTo>
                <a:lnTo>
                  <a:pt x="208619" y="79114"/>
                </a:lnTo>
                <a:lnTo>
                  <a:pt x="172191" y="105783"/>
                </a:lnTo>
                <a:lnTo>
                  <a:pt x="138588" y="135683"/>
                </a:lnTo>
                <a:lnTo>
                  <a:pt x="108048" y="168582"/>
                </a:lnTo>
                <a:lnTo>
                  <a:pt x="80809" y="204247"/>
                </a:lnTo>
                <a:lnTo>
                  <a:pt x="57108" y="242446"/>
                </a:lnTo>
                <a:lnTo>
                  <a:pt x="37183" y="282946"/>
                </a:lnTo>
                <a:lnTo>
                  <a:pt x="21272" y="325513"/>
                </a:lnTo>
                <a:lnTo>
                  <a:pt x="9612" y="369916"/>
                </a:lnTo>
                <a:lnTo>
                  <a:pt x="2442" y="415921"/>
                </a:lnTo>
                <a:lnTo>
                  <a:pt x="0" y="463296"/>
                </a:lnTo>
                <a:lnTo>
                  <a:pt x="2442" y="510670"/>
                </a:lnTo>
                <a:lnTo>
                  <a:pt x="9612" y="556675"/>
                </a:lnTo>
                <a:lnTo>
                  <a:pt x="21272" y="601078"/>
                </a:lnTo>
                <a:lnTo>
                  <a:pt x="37183" y="643645"/>
                </a:lnTo>
                <a:lnTo>
                  <a:pt x="57108" y="684145"/>
                </a:lnTo>
                <a:lnTo>
                  <a:pt x="80809" y="722344"/>
                </a:lnTo>
                <a:lnTo>
                  <a:pt x="108048" y="758009"/>
                </a:lnTo>
                <a:lnTo>
                  <a:pt x="138588" y="790908"/>
                </a:lnTo>
                <a:lnTo>
                  <a:pt x="172191" y="820808"/>
                </a:lnTo>
                <a:lnTo>
                  <a:pt x="208619" y="847477"/>
                </a:lnTo>
                <a:lnTo>
                  <a:pt x="247635" y="870681"/>
                </a:lnTo>
                <a:lnTo>
                  <a:pt x="289000" y="890188"/>
                </a:lnTo>
                <a:lnTo>
                  <a:pt x="332477" y="905766"/>
                </a:lnTo>
                <a:lnTo>
                  <a:pt x="377828" y="917180"/>
                </a:lnTo>
                <a:lnTo>
                  <a:pt x="424815" y="924200"/>
                </a:lnTo>
                <a:lnTo>
                  <a:pt x="473201" y="926592"/>
                </a:lnTo>
                <a:lnTo>
                  <a:pt x="521588" y="924200"/>
                </a:lnTo>
                <a:lnTo>
                  <a:pt x="568575" y="917180"/>
                </a:lnTo>
                <a:lnTo>
                  <a:pt x="613926" y="905766"/>
                </a:lnTo>
                <a:lnTo>
                  <a:pt x="657403" y="890188"/>
                </a:lnTo>
                <a:lnTo>
                  <a:pt x="698768" y="870681"/>
                </a:lnTo>
                <a:lnTo>
                  <a:pt x="737784" y="847477"/>
                </a:lnTo>
                <a:lnTo>
                  <a:pt x="774212" y="820808"/>
                </a:lnTo>
                <a:lnTo>
                  <a:pt x="807815" y="790908"/>
                </a:lnTo>
                <a:lnTo>
                  <a:pt x="838355" y="758009"/>
                </a:lnTo>
                <a:lnTo>
                  <a:pt x="865594" y="722344"/>
                </a:lnTo>
                <a:lnTo>
                  <a:pt x="889295" y="684145"/>
                </a:lnTo>
                <a:lnTo>
                  <a:pt x="909220" y="643645"/>
                </a:lnTo>
                <a:lnTo>
                  <a:pt x="925131" y="601078"/>
                </a:lnTo>
                <a:lnTo>
                  <a:pt x="936791" y="556675"/>
                </a:lnTo>
                <a:lnTo>
                  <a:pt x="943961" y="510670"/>
                </a:lnTo>
                <a:lnTo>
                  <a:pt x="946403" y="463296"/>
                </a:lnTo>
                <a:lnTo>
                  <a:pt x="943961" y="415921"/>
                </a:lnTo>
                <a:lnTo>
                  <a:pt x="936791" y="369916"/>
                </a:lnTo>
                <a:lnTo>
                  <a:pt x="925131" y="325513"/>
                </a:lnTo>
                <a:lnTo>
                  <a:pt x="909220" y="282946"/>
                </a:lnTo>
                <a:lnTo>
                  <a:pt x="889295" y="242446"/>
                </a:lnTo>
                <a:lnTo>
                  <a:pt x="865594" y="204247"/>
                </a:lnTo>
                <a:lnTo>
                  <a:pt x="838355" y="168582"/>
                </a:lnTo>
                <a:lnTo>
                  <a:pt x="807815" y="135683"/>
                </a:lnTo>
                <a:lnTo>
                  <a:pt x="774212" y="105783"/>
                </a:lnTo>
                <a:lnTo>
                  <a:pt x="737784" y="79114"/>
                </a:lnTo>
                <a:lnTo>
                  <a:pt x="698768" y="55910"/>
                </a:lnTo>
                <a:lnTo>
                  <a:pt x="657403" y="36403"/>
                </a:lnTo>
                <a:lnTo>
                  <a:pt x="613926" y="20825"/>
                </a:lnTo>
                <a:lnTo>
                  <a:pt x="568575" y="9411"/>
                </a:lnTo>
                <a:lnTo>
                  <a:pt x="521588" y="2391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27">
            <a:extLst>
              <a:ext uri="{FF2B5EF4-FFF2-40B4-BE49-F238E27FC236}">
                <a16:creationId xmlns:a16="http://schemas.microsoft.com/office/drawing/2014/main" id="{4553B35A-A38B-043F-278E-2D5A29D6AFD2}"/>
              </a:ext>
            </a:extLst>
          </p:cNvPr>
          <p:cNvSpPr/>
          <p:nvPr/>
        </p:nvSpPr>
        <p:spPr>
          <a:xfrm>
            <a:off x="8382473" y="4435831"/>
            <a:ext cx="932815" cy="927100"/>
          </a:xfrm>
          <a:custGeom>
            <a:avLst/>
            <a:gdLst/>
            <a:ahLst/>
            <a:cxnLst/>
            <a:rect l="l" t="t" r="r" b="b"/>
            <a:pathLst>
              <a:path w="932815" h="927100">
                <a:moveTo>
                  <a:pt x="466344" y="0"/>
                </a:moveTo>
                <a:lnTo>
                  <a:pt x="418662" y="2391"/>
                </a:lnTo>
                <a:lnTo>
                  <a:pt x="372359" y="9411"/>
                </a:lnTo>
                <a:lnTo>
                  <a:pt x="327667" y="20825"/>
                </a:lnTo>
                <a:lnTo>
                  <a:pt x="284821" y="36403"/>
                </a:lnTo>
                <a:lnTo>
                  <a:pt x="244056" y="55910"/>
                </a:lnTo>
                <a:lnTo>
                  <a:pt x="205606" y="79114"/>
                </a:lnTo>
                <a:lnTo>
                  <a:pt x="169705" y="105783"/>
                </a:lnTo>
                <a:lnTo>
                  <a:pt x="136588" y="135683"/>
                </a:lnTo>
                <a:lnTo>
                  <a:pt x="106489" y="168582"/>
                </a:lnTo>
                <a:lnTo>
                  <a:pt x="79643" y="204247"/>
                </a:lnTo>
                <a:lnTo>
                  <a:pt x="56284" y="242446"/>
                </a:lnTo>
                <a:lnTo>
                  <a:pt x="36647" y="282946"/>
                </a:lnTo>
                <a:lnTo>
                  <a:pt x="20965" y="325513"/>
                </a:lnTo>
                <a:lnTo>
                  <a:pt x="9474" y="369916"/>
                </a:lnTo>
                <a:lnTo>
                  <a:pt x="2407" y="415921"/>
                </a:lnTo>
                <a:lnTo>
                  <a:pt x="0" y="463295"/>
                </a:lnTo>
                <a:lnTo>
                  <a:pt x="2407" y="510664"/>
                </a:lnTo>
                <a:lnTo>
                  <a:pt x="9474" y="556665"/>
                </a:lnTo>
                <a:lnTo>
                  <a:pt x="20965" y="601064"/>
                </a:lnTo>
                <a:lnTo>
                  <a:pt x="36647" y="643629"/>
                </a:lnTo>
                <a:lnTo>
                  <a:pt x="56284" y="684128"/>
                </a:lnTo>
                <a:lnTo>
                  <a:pt x="79643" y="722327"/>
                </a:lnTo>
                <a:lnTo>
                  <a:pt x="106489" y="757993"/>
                </a:lnTo>
                <a:lnTo>
                  <a:pt x="136588" y="790894"/>
                </a:lnTo>
                <a:lnTo>
                  <a:pt x="169705" y="820796"/>
                </a:lnTo>
                <a:lnTo>
                  <a:pt x="205606" y="847467"/>
                </a:lnTo>
                <a:lnTo>
                  <a:pt x="244056" y="870673"/>
                </a:lnTo>
                <a:lnTo>
                  <a:pt x="284821" y="890183"/>
                </a:lnTo>
                <a:lnTo>
                  <a:pt x="327667" y="905762"/>
                </a:lnTo>
                <a:lnTo>
                  <a:pt x="372359" y="917179"/>
                </a:lnTo>
                <a:lnTo>
                  <a:pt x="418662" y="924200"/>
                </a:lnTo>
                <a:lnTo>
                  <a:pt x="466344" y="926591"/>
                </a:lnTo>
                <a:lnTo>
                  <a:pt x="514025" y="924200"/>
                </a:lnTo>
                <a:lnTo>
                  <a:pt x="560328" y="917179"/>
                </a:lnTo>
                <a:lnTo>
                  <a:pt x="605020" y="905762"/>
                </a:lnTo>
                <a:lnTo>
                  <a:pt x="647866" y="890183"/>
                </a:lnTo>
                <a:lnTo>
                  <a:pt x="688631" y="870673"/>
                </a:lnTo>
                <a:lnTo>
                  <a:pt x="727081" y="847467"/>
                </a:lnTo>
                <a:lnTo>
                  <a:pt x="762982" y="820796"/>
                </a:lnTo>
                <a:lnTo>
                  <a:pt x="796099" y="790894"/>
                </a:lnTo>
                <a:lnTo>
                  <a:pt x="826198" y="757993"/>
                </a:lnTo>
                <a:lnTo>
                  <a:pt x="853044" y="722327"/>
                </a:lnTo>
                <a:lnTo>
                  <a:pt x="876403" y="684128"/>
                </a:lnTo>
                <a:lnTo>
                  <a:pt x="896040" y="643629"/>
                </a:lnTo>
                <a:lnTo>
                  <a:pt x="911722" y="601064"/>
                </a:lnTo>
                <a:lnTo>
                  <a:pt x="923213" y="556665"/>
                </a:lnTo>
                <a:lnTo>
                  <a:pt x="930280" y="510664"/>
                </a:lnTo>
                <a:lnTo>
                  <a:pt x="932687" y="463295"/>
                </a:lnTo>
                <a:lnTo>
                  <a:pt x="930280" y="415921"/>
                </a:lnTo>
                <a:lnTo>
                  <a:pt x="923213" y="369916"/>
                </a:lnTo>
                <a:lnTo>
                  <a:pt x="911722" y="325513"/>
                </a:lnTo>
                <a:lnTo>
                  <a:pt x="896040" y="282946"/>
                </a:lnTo>
                <a:lnTo>
                  <a:pt x="876403" y="242446"/>
                </a:lnTo>
                <a:lnTo>
                  <a:pt x="853044" y="204247"/>
                </a:lnTo>
                <a:lnTo>
                  <a:pt x="826198" y="168582"/>
                </a:lnTo>
                <a:lnTo>
                  <a:pt x="796099" y="135683"/>
                </a:lnTo>
                <a:lnTo>
                  <a:pt x="762982" y="105783"/>
                </a:lnTo>
                <a:lnTo>
                  <a:pt x="727081" y="79114"/>
                </a:lnTo>
                <a:lnTo>
                  <a:pt x="688631" y="55910"/>
                </a:lnTo>
                <a:lnTo>
                  <a:pt x="647866" y="36403"/>
                </a:lnTo>
                <a:lnTo>
                  <a:pt x="605020" y="20825"/>
                </a:lnTo>
                <a:lnTo>
                  <a:pt x="560328" y="9411"/>
                </a:lnTo>
                <a:lnTo>
                  <a:pt x="514025" y="2391"/>
                </a:lnTo>
                <a:lnTo>
                  <a:pt x="466344" y="0"/>
                </a:lnTo>
                <a:close/>
              </a:path>
            </a:pathLst>
          </a:custGeom>
          <a:solidFill>
            <a:srgbClr val="28BE46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12CF301F-B3B0-3BE4-D2BF-12A0F64F0630}"/>
              </a:ext>
            </a:extLst>
          </p:cNvPr>
          <p:cNvSpPr txBox="1"/>
          <p:nvPr/>
        </p:nvSpPr>
        <p:spPr>
          <a:xfrm>
            <a:off x="5827955" y="29634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5" name="object 18">
            <a:extLst>
              <a:ext uri="{FF2B5EF4-FFF2-40B4-BE49-F238E27FC236}">
                <a16:creationId xmlns:a16="http://schemas.microsoft.com/office/drawing/2014/main" id="{6645377B-C2B4-BE01-A46D-8AE3BA0F49AE}"/>
              </a:ext>
            </a:extLst>
          </p:cNvPr>
          <p:cNvSpPr txBox="1"/>
          <p:nvPr/>
        </p:nvSpPr>
        <p:spPr>
          <a:xfrm>
            <a:off x="9555272" y="296491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AA6CB086-D8A9-6CE4-CFB0-17688F9B654C}"/>
              </a:ext>
            </a:extLst>
          </p:cNvPr>
          <p:cNvSpPr txBox="1"/>
          <p:nvPr/>
        </p:nvSpPr>
        <p:spPr>
          <a:xfrm>
            <a:off x="5827955" y="4421676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" name="object 12">
            <a:extLst>
              <a:ext uri="{FF2B5EF4-FFF2-40B4-BE49-F238E27FC236}">
                <a16:creationId xmlns:a16="http://schemas.microsoft.com/office/drawing/2014/main" id="{0A25D628-CB04-D66F-1B5F-8B5DA527C9C8}"/>
              </a:ext>
            </a:extLst>
          </p:cNvPr>
          <p:cNvSpPr txBox="1"/>
          <p:nvPr/>
        </p:nvSpPr>
        <p:spPr>
          <a:xfrm>
            <a:off x="9555272" y="4439100"/>
            <a:ext cx="2292350" cy="4770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ЗВАНИЕ</a:t>
            </a:r>
          </a:p>
          <a:p>
            <a:pPr marR="5080" lvl="0">
              <a:spcBef>
                <a:spcPts val="600"/>
              </a:spcBef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676F9A-E0A2-749D-0E08-2F0A4F195F99}"/>
              </a:ext>
            </a:extLst>
          </p:cNvPr>
          <p:cNvSpPr txBox="1"/>
          <p:nvPr/>
        </p:nvSpPr>
        <p:spPr>
          <a:xfrm>
            <a:off x="338374" y="6425713"/>
            <a:ext cx="5672530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* подтекс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119958-F4EE-DF6C-5881-90DB128A81B7}"/>
              </a:ext>
            </a:extLst>
          </p:cNvPr>
          <p:cNvSpPr txBox="1"/>
          <p:nvPr/>
        </p:nvSpPr>
        <p:spPr>
          <a:xfrm>
            <a:off x="12210757" y="741367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spcBef>
                <a:spcPts val="600"/>
              </a:spcBef>
            </a:pPr>
            <a:endParaRPr lang="ru-RU" sz="1100" dirty="0" err="1"/>
          </a:p>
        </p:txBody>
      </p:sp>
      <p:pic>
        <p:nvPicPr>
          <p:cNvPr id="20" name="Рисунок 3">
            <a:extLst>
              <a:ext uri="{FF2B5EF4-FFF2-40B4-BE49-F238E27FC236}">
                <a16:creationId xmlns:a16="http://schemas.microsoft.com/office/drawing/2014/main" id="{3E91286B-F34F-91A1-E21E-8C8170FC868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6539" y="4640508"/>
            <a:ext cx="571963" cy="512205"/>
          </a:xfrm>
          <a:prstGeom prst="rect">
            <a:avLst/>
          </a:prstGeom>
        </p:spPr>
      </p:pic>
      <p:pic>
        <p:nvPicPr>
          <p:cNvPr id="21" name="Рисунок 11">
            <a:extLst>
              <a:ext uri="{FF2B5EF4-FFF2-40B4-BE49-F238E27FC236}">
                <a16:creationId xmlns:a16="http://schemas.microsoft.com/office/drawing/2014/main" id="{D6F8CC92-2A2C-9BC0-F9A9-5C482E141A7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89625" y="4627346"/>
            <a:ext cx="517070" cy="517070"/>
          </a:xfrm>
          <a:prstGeom prst="rect">
            <a:avLst/>
          </a:prstGeom>
        </p:spPr>
      </p:pic>
      <p:pic>
        <p:nvPicPr>
          <p:cNvPr id="22" name="Рисунок 16">
            <a:extLst>
              <a:ext uri="{FF2B5EF4-FFF2-40B4-BE49-F238E27FC236}">
                <a16:creationId xmlns:a16="http://schemas.microsoft.com/office/drawing/2014/main" id="{83343CD0-3AEA-28F2-A9B7-F2B0D6EFFB4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94957" y="4619049"/>
            <a:ext cx="525367" cy="525367"/>
          </a:xfrm>
          <a:prstGeom prst="rect">
            <a:avLst/>
          </a:prstGeom>
        </p:spPr>
      </p:pic>
      <p:sp>
        <p:nvSpPr>
          <p:cNvPr id="23" name="object 21">
            <a:extLst>
              <a:ext uri="{FF2B5EF4-FFF2-40B4-BE49-F238E27FC236}">
                <a16:creationId xmlns:a16="http://schemas.microsoft.com/office/drawing/2014/main" id="{734CB8B2-E6C6-4615-9F0D-5EECD0221CD8}"/>
              </a:ext>
            </a:extLst>
          </p:cNvPr>
          <p:cNvSpPr/>
          <p:nvPr/>
        </p:nvSpPr>
        <p:spPr>
          <a:xfrm>
            <a:off x="554302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bject 21">
            <a:extLst>
              <a:ext uri="{FF2B5EF4-FFF2-40B4-BE49-F238E27FC236}">
                <a16:creationId xmlns:a16="http://schemas.microsoft.com/office/drawing/2014/main" id="{BC156A43-950E-842A-6078-1981191C22CF}"/>
              </a:ext>
            </a:extLst>
          </p:cNvPr>
          <p:cNvSpPr/>
          <p:nvPr/>
        </p:nvSpPr>
        <p:spPr>
          <a:xfrm>
            <a:off x="4573343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bject 21">
            <a:extLst>
              <a:ext uri="{FF2B5EF4-FFF2-40B4-BE49-F238E27FC236}">
                <a16:creationId xmlns:a16="http://schemas.microsoft.com/office/drawing/2014/main" id="{077A74E6-A2F7-6BC4-EFE0-CC97979E5F3B}"/>
              </a:ext>
            </a:extLst>
          </p:cNvPr>
          <p:cNvSpPr/>
          <p:nvPr/>
        </p:nvSpPr>
        <p:spPr>
          <a:xfrm>
            <a:off x="8382473" y="2981300"/>
            <a:ext cx="946785" cy="931544"/>
          </a:xfrm>
          <a:custGeom>
            <a:avLst/>
            <a:gdLst/>
            <a:ahLst/>
            <a:cxnLst/>
            <a:rect l="l" t="t" r="r" b="b"/>
            <a:pathLst>
              <a:path w="946784" h="931544">
                <a:moveTo>
                  <a:pt x="473201" y="0"/>
                </a:moveTo>
                <a:lnTo>
                  <a:pt x="424815" y="2403"/>
                </a:lnTo>
                <a:lnTo>
                  <a:pt x="377828" y="9457"/>
                </a:lnTo>
                <a:lnTo>
                  <a:pt x="332477" y="20928"/>
                </a:lnTo>
                <a:lnTo>
                  <a:pt x="289000" y="36581"/>
                </a:lnTo>
                <a:lnTo>
                  <a:pt x="247635" y="56184"/>
                </a:lnTo>
                <a:lnTo>
                  <a:pt x="208619" y="79503"/>
                </a:lnTo>
                <a:lnTo>
                  <a:pt x="172191" y="106302"/>
                </a:lnTo>
                <a:lnTo>
                  <a:pt x="138588" y="136350"/>
                </a:lnTo>
                <a:lnTo>
                  <a:pt x="108048" y="169411"/>
                </a:lnTo>
                <a:lnTo>
                  <a:pt x="80809" y="205252"/>
                </a:lnTo>
                <a:lnTo>
                  <a:pt x="57108" y="243639"/>
                </a:lnTo>
                <a:lnTo>
                  <a:pt x="37183" y="284339"/>
                </a:lnTo>
                <a:lnTo>
                  <a:pt x="21272" y="327116"/>
                </a:lnTo>
                <a:lnTo>
                  <a:pt x="9612" y="371739"/>
                </a:lnTo>
                <a:lnTo>
                  <a:pt x="2442" y="417972"/>
                </a:lnTo>
                <a:lnTo>
                  <a:pt x="0" y="465581"/>
                </a:lnTo>
                <a:lnTo>
                  <a:pt x="2442" y="513191"/>
                </a:lnTo>
                <a:lnTo>
                  <a:pt x="9612" y="559424"/>
                </a:lnTo>
                <a:lnTo>
                  <a:pt x="21272" y="604047"/>
                </a:lnTo>
                <a:lnTo>
                  <a:pt x="37183" y="646824"/>
                </a:lnTo>
                <a:lnTo>
                  <a:pt x="57108" y="687524"/>
                </a:lnTo>
                <a:lnTo>
                  <a:pt x="80809" y="725911"/>
                </a:lnTo>
                <a:lnTo>
                  <a:pt x="108048" y="761752"/>
                </a:lnTo>
                <a:lnTo>
                  <a:pt x="138588" y="794813"/>
                </a:lnTo>
                <a:lnTo>
                  <a:pt x="172191" y="824861"/>
                </a:lnTo>
                <a:lnTo>
                  <a:pt x="208619" y="851660"/>
                </a:lnTo>
                <a:lnTo>
                  <a:pt x="247635" y="874979"/>
                </a:lnTo>
                <a:lnTo>
                  <a:pt x="289000" y="894582"/>
                </a:lnTo>
                <a:lnTo>
                  <a:pt x="332477" y="910235"/>
                </a:lnTo>
                <a:lnTo>
                  <a:pt x="377828" y="921706"/>
                </a:lnTo>
                <a:lnTo>
                  <a:pt x="424815" y="928760"/>
                </a:lnTo>
                <a:lnTo>
                  <a:pt x="473201" y="931163"/>
                </a:lnTo>
                <a:lnTo>
                  <a:pt x="521588" y="928760"/>
                </a:lnTo>
                <a:lnTo>
                  <a:pt x="568575" y="921706"/>
                </a:lnTo>
                <a:lnTo>
                  <a:pt x="613926" y="910235"/>
                </a:lnTo>
                <a:lnTo>
                  <a:pt x="657403" y="894582"/>
                </a:lnTo>
                <a:lnTo>
                  <a:pt x="698768" y="874979"/>
                </a:lnTo>
                <a:lnTo>
                  <a:pt x="737784" y="851660"/>
                </a:lnTo>
                <a:lnTo>
                  <a:pt x="774212" y="824861"/>
                </a:lnTo>
                <a:lnTo>
                  <a:pt x="807815" y="794813"/>
                </a:lnTo>
                <a:lnTo>
                  <a:pt x="838355" y="761752"/>
                </a:lnTo>
                <a:lnTo>
                  <a:pt x="865594" y="725911"/>
                </a:lnTo>
                <a:lnTo>
                  <a:pt x="889295" y="687524"/>
                </a:lnTo>
                <a:lnTo>
                  <a:pt x="909220" y="646824"/>
                </a:lnTo>
                <a:lnTo>
                  <a:pt x="925131" y="604047"/>
                </a:lnTo>
                <a:lnTo>
                  <a:pt x="936791" y="559424"/>
                </a:lnTo>
                <a:lnTo>
                  <a:pt x="943961" y="513191"/>
                </a:lnTo>
                <a:lnTo>
                  <a:pt x="946403" y="465581"/>
                </a:lnTo>
                <a:lnTo>
                  <a:pt x="943961" y="417972"/>
                </a:lnTo>
                <a:lnTo>
                  <a:pt x="936791" y="371739"/>
                </a:lnTo>
                <a:lnTo>
                  <a:pt x="925131" y="327116"/>
                </a:lnTo>
                <a:lnTo>
                  <a:pt x="909220" y="284339"/>
                </a:lnTo>
                <a:lnTo>
                  <a:pt x="889295" y="243639"/>
                </a:lnTo>
                <a:lnTo>
                  <a:pt x="865594" y="205252"/>
                </a:lnTo>
                <a:lnTo>
                  <a:pt x="838355" y="169411"/>
                </a:lnTo>
                <a:lnTo>
                  <a:pt x="807815" y="136350"/>
                </a:lnTo>
                <a:lnTo>
                  <a:pt x="774212" y="106302"/>
                </a:lnTo>
                <a:lnTo>
                  <a:pt x="737784" y="79503"/>
                </a:lnTo>
                <a:lnTo>
                  <a:pt x="698768" y="56184"/>
                </a:lnTo>
                <a:lnTo>
                  <a:pt x="657403" y="36581"/>
                </a:lnTo>
                <a:lnTo>
                  <a:pt x="613926" y="20928"/>
                </a:lnTo>
                <a:lnTo>
                  <a:pt x="568575" y="9457"/>
                </a:lnTo>
                <a:lnTo>
                  <a:pt x="521588" y="2403"/>
                </a:lnTo>
                <a:lnTo>
                  <a:pt x="473201" y="0"/>
                </a:lnTo>
                <a:close/>
              </a:path>
            </a:pathLst>
          </a:custGeom>
          <a:solidFill>
            <a:srgbClr val="28BE4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18">
            <a:extLst>
              <a:ext uri="{FF2B5EF4-FFF2-40B4-BE49-F238E27FC236}">
                <a16:creationId xmlns:a16="http://schemas.microsoft.com/office/drawing/2014/main" id="{6B9766B6-C1AE-3352-5193-93A4F7C0987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1523" y="3163993"/>
            <a:ext cx="601994" cy="601994"/>
          </a:xfrm>
          <a:prstGeom prst="rect">
            <a:avLst/>
          </a:prstGeom>
        </p:spPr>
      </p:pic>
      <p:pic>
        <p:nvPicPr>
          <p:cNvPr id="27" name="Рисунок 20">
            <a:extLst>
              <a:ext uri="{FF2B5EF4-FFF2-40B4-BE49-F238E27FC236}">
                <a16:creationId xmlns:a16="http://schemas.microsoft.com/office/drawing/2014/main" id="{898E148D-BA4E-678A-3909-DEE6AF9006D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76520" y="3105715"/>
            <a:ext cx="578583" cy="583990"/>
          </a:xfrm>
          <a:prstGeom prst="rect">
            <a:avLst/>
          </a:prstGeom>
        </p:spPr>
      </p:pic>
      <p:pic>
        <p:nvPicPr>
          <p:cNvPr id="28" name="Рисунок 22">
            <a:extLst>
              <a:ext uri="{FF2B5EF4-FFF2-40B4-BE49-F238E27FC236}">
                <a16:creationId xmlns:a16="http://schemas.microsoft.com/office/drawing/2014/main" id="{B7357C00-1717-5FB6-F029-28C4B837D46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789625" y="3163993"/>
            <a:ext cx="530014" cy="530014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909348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55E158-8B54-550D-0DC7-D8D0E2F3D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30</a:t>
            </a:fld>
            <a:endParaRPr lang="ru-RU" dirty="0"/>
          </a:p>
        </p:txBody>
      </p:sp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id="{9B673E50-713D-4340-AAA5-27E5446F4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9479875"/>
              </p:ext>
            </p:extLst>
          </p:nvPr>
        </p:nvGraphicFramePr>
        <p:xfrm>
          <a:off x="1436299" y="2040198"/>
          <a:ext cx="4227642" cy="2624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17005281-0356-1146-8E96-F8A3373CCE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0456507"/>
              </p:ext>
            </p:extLst>
          </p:nvPr>
        </p:nvGraphicFramePr>
        <p:xfrm>
          <a:off x="5872027" y="2040198"/>
          <a:ext cx="4930652" cy="2624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0A95481-65BD-8844-A0B7-C9DCF0EEE141}"/>
              </a:ext>
            </a:extLst>
          </p:cNvPr>
          <p:cNvSpPr txBox="1">
            <a:spLocks/>
          </p:cNvSpPr>
          <p:nvPr/>
        </p:nvSpPr>
        <p:spPr>
          <a:xfrm>
            <a:off x="338374" y="298800"/>
            <a:ext cx="9572108" cy="3424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РАФИКИ</a:t>
            </a:r>
          </a:p>
        </p:txBody>
      </p:sp>
    </p:spTree>
    <p:extLst>
      <p:ext uri="{BB962C8B-B14F-4D97-AF65-F5344CB8AC3E}">
        <p14:creationId xmlns:p14="http://schemas.microsoft.com/office/powerpoint/2010/main" val="32796823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0F6CAC-2634-9581-5F3D-150AA8E1DA47}"/>
              </a:ext>
            </a:extLst>
          </p:cNvPr>
          <p:cNvSpPr txBox="1"/>
          <p:nvPr/>
        </p:nvSpPr>
        <p:spPr>
          <a:xfrm>
            <a:off x="337043" y="463773"/>
            <a:ext cx="9274789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Freeform: Shape 156">
            <a:extLst>
              <a:ext uri="{FF2B5EF4-FFF2-40B4-BE49-F238E27FC236}">
                <a16:creationId xmlns:a16="http://schemas.microsoft.com/office/drawing/2014/main" id="{AA6AA48C-2823-E73B-7F0D-FDA9AAD117FD}"/>
              </a:ext>
            </a:extLst>
          </p:cNvPr>
          <p:cNvSpPr>
            <a:spLocks/>
          </p:cNvSpPr>
          <p:nvPr/>
        </p:nvSpPr>
        <p:spPr>
          <a:xfrm>
            <a:off x="340126" y="1133836"/>
            <a:ext cx="11516911" cy="64799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Freeform: Shape 130">
            <a:extLst>
              <a:ext uri="{FF2B5EF4-FFF2-40B4-BE49-F238E27FC236}">
                <a16:creationId xmlns:a16="http://schemas.microsoft.com/office/drawing/2014/main" id="{5C6CAFE3-7765-A7D7-BBB3-53EE023A36F5}"/>
              </a:ext>
            </a:extLst>
          </p:cNvPr>
          <p:cNvSpPr>
            <a:spLocks/>
          </p:cNvSpPr>
          <p:nvPr/>
        </p:nvSpPr>
        <p:spPr>
          <a:xfrm>
            <a:off x="340629" y="1918376"/>
            <a:ext cx="5683581" cy="222607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</p:txBody>
      </p:sp>
      <p:pic>
        <p:nvPicPr>
          <p:cNvPr id="6" name="Рисунок 136">
            <a:extLst>
              <a:ext uri="{FF2B5EF4-FFF2-40B4-BE49-F238E27FC236}">
                <a16:creationId xmlns:a16="http://schemas.microsoft.com/office/drawing/2014/main" id="{47F58FAB-CD34-DDB1-CAF7-77ABBE98AA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044" y="4290304"/>
            <a:ext cx="11488878" cy="1900800"/>
          </a:xfrm>
          <a:prstGeom prst="rect">
            <a:avLst/>
          </a:prstGeom>
        </p:spPr>
      </p:pic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4A2737E7-7314-59CC-7404-2AE67DBD0B96}"/>
              </a:ext>
            </a:extLst>
          </p:cNvPr>
          <p:cNvSpPr>
            <a:spLocks/>
          </p:cNvSpPr>
          <p:nvPr/>
        </p:nvSpPr>
        <p:spPr>
          <a:xfrm>
            <a:off x="6166242" y="1918376"/>
            <a:ext cx="5690796" cy="222607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176400" marR="5374" indent="-176400" defTabSz="967252">
              <a:spcBef>
                <a:spcPts val="600"/>
              </a:spcBef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0883247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9EF1177-DED1-B892-F84F-5A4E2C088F06}"/>
              </a:ext>
            </a:extLst>
          </p:cNvPr>
          <p:cNvSpPr txBox="1"/>
          <p:nvPr/>
        </p:nvSpPr>
        <p:spPr>
          <a:xfrm>
            <a:off x="337045" y="279107"/>
            <a:ext cx="898280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en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19573C5A-3AC6-9070-3F67-32C9C7A59002}"/>
              </a:ext>
            </a:extLst>
          </p:cNvPr>
          <p:cNvSpPr/>
          <p:nvPr/>
        </p:nvSpPr>
        <p:spPr>
          <a:xfrm>
            <a:off x="337045" y="1128391"/>
            <a:ext cx="11516581" cy="143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24">
            <a:extLst>
              <a:ext uri="{FF2B5EF4-FFF2-40B4-BE49-F238E27FC236}">
                <a16:creationId xmlns:a16="http://schemas.microsoft.com/office/drawing/2014/main" id="{5DA40AD7-54A2-C3E8-1215-1353EF81424A}"/>
              </a:ext>
            </a:extLst>
          </p:cNvPr>
          <p:cNvSpPr/>
          <p:nvPr/>
        </p:nvSpPr>
        <p:spPr>
          <a:xfrm>
            <a:off x="337044" y="2708275"/>
            <a:ext cx="3744030" cy="1448565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lang="ru-RU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28">
            <a:extLst>
              <a:ext uri="{FF2B5EF4-FFF2-40B4-BE49-F238E27FC236}">
                <a16:creationId xmlns:a16="http://schemas.microsoft.com/office/drawing/2014/main" id="{36EC7316-D1F9-D6A2-ED5F-5F0A03624668}"/>
              </a:ext>
            </a:extLst>
          </p:cNvPr>
          <p:cNvSpPr/>
          <p:nvPr/>
        </p:nvSpPr>
        <p:spPr>
          <a:xfrm>
            <a:off x="4224338" y="2707737"/>
            <a:ext cx="3758176" cy="1449104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29">
            <a:extLst>
              <a:ext uri="{FF2B5EF4-FFF2-40B4-BE49-F238E27FC236}">
                <a16:creationId xmlns:a16="http://schemas.microsoft.com/office/drawing/2014/main" id="{81B2AE4D-D0CD-25BE-DB0C-ABA6D4B1A337}"/>
              </a:ext>
            </a:extLst>
          </p:cNvPr>
          <p:cNvSpPr/>
          <p:nvPr/>
        </p:nvSpPr>
        <p:spPr>
          <a:xfrm>
            <a:off x="8124684" y="2707737"/>
            <a:ext cx="3744030" cy="1449104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8" name="Прямоугольник 130">
            <a:extLst>
              <a:ext uri="{FF2B5EF4-FFF2-40B4-BE49-F238E27FC236}">
                <a16:creationId xmlns:a16="http://schemas.microsoft.com/office/drawing/2014/main" id="{54AE09E0-8B58-48B5-2E3F-6D51A5F91CE0}"/>
              </a:ext>
            </a:extLst>
          </p:cNvPr>
          <p:cNvSpPr/>
          <p:nvPr/>
        </p:nvSpPr>
        <p:spPr>
          <a:xfrm>
            <a:off x="337045" y="4290475"/>
            <a:ext cx="2772461" cy="144856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31">
            <a:extLst>
              <a:ext uri="{FF2B5EF4-FFF2-40B4-BE49-F238E27FC236}">
                <a16:creationId xmlns:a16="http://schemas.microsoft.com/office/drawing/2014/main" id="{31D69425-7D61-73DE-9F5E-E14B8196DBA8}"/>
              </a:ext>
            </a:extLst>
          </p:cNvPr>
          <p:cNvSpPr/>
          <p:nvPr/>
        </p:nvSpPr>
        <p:spPr>
          <a:xfrm>
            <a:off x="3251201" y="4289936"/>
            <a:ext cx="2784386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32">
            <a:extLst>
              <a:ext uri="{FF2B5EF4-FFF2-40B4-BE49-F238E27FC236}">
                <a16:creationId xmlns:a16="http://schemas.microsoft.com/office/drawing/2014/main" id="{FA51199C-ACB9-5789-A218-4268D27F5C67}"/>
              </a:ext>
            </a:extLst>
          </p:cNvPr>
          <p:cNvSpPr/>
          <p:nvPr/>
        </p:nvSpPr>
        <p:spPr>
          <a:xfrm>
            <a:off x="6167438" y="4289936"/>
            <a:ext cx="2771476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33">
            <a:extLst>
              <a:ext uri="{FF2B5EF4-FFF2-40B4-BE49-F238E27FC236}">
                <a16:creationId xmlns:a16="http://schemas.microsoft.com/office/drawing/2014/main" id="{CC4E65B0-2038-E1BF-7F39-B56A0630FEE2}"/>
              </a:ext>
            </a:extLst>
          </p:cNvPr>
          <p:cNvSpPr/>
          <p:nvPr/>
        </p:nvSpPr>
        <p:spPr>
          <a:xfrm>
            <a:off x="9084805" y="4289936"/>
            <a:ext cx="2772461" cy="144910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Рисунок 4">
            <a:extLst>
              <a:ext uri="{FF2B5EF4-FFF2-40B4-BE49-F238E27FC236}">
                <a16:creationId xmlns:a16="http://schemas.microsoft.com/office/drawing/2014/main" id="{F18DF175-B9A1-FD63-82CC-AF735823F86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79311" y="4453044"/>
            <a:ext cx="572604" cy="572604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D4C300F-0E4D-8840-86B2-9E9688F5F674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9210" y="4468561"/>
            <a:ext cx="541229" cy="49680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6F67EF25-9EF8-AF48-B37A-11734279F6A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88516" y="4455890"/>
            <a:ext cx="547536" cy="5688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5591C27-1DE2-5D4B-A1B6-F7A236E88BA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268403" y="4493761"/>
            <a:ext cx="476007" cy="4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446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BC6AF1-90B2-6051-DA20-4041782C8A9F}"/>
              </a:ext>
            </a:extLst>
          </p:cNvPr>
          <p:cNvSpPr txBox="1"/>
          <p:nvPr/>
        </p:nvSpPr>
        <p:spPr>
          <a:xfrm>
            <a:off x="337045" y="279107"/>
            <a:ext cx="976388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en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Рисунок 123">
            <a:extLst>
              <a:ext uri="{FF2B5EF4-FFF2-40B4-BE49-F238E27FC236}">
                <a16:creationId xmlns:a16="http://schemas.microsoft.com/office/drawing/2014/main" id="{EC8CBFF1-253D-3A90-6A07-87405BF448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043" y="4290304"/>
            <a:ext cx="11530031" cy="1905948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31CF041-DE24-B7C3-A405-9CE0C54D9A1C}"/>
              </a:ext>
            </a:extLst>
          </p:cNvPr>
          <p:cNvSpPr/>
          <p:nvPr/>
        </p:nvSpPr>
        <p:spPr>
          <a:xfrm>
            <a:off x="337044" y="1128391"/>
            <a:ext cx="5687170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125">
            <a:extLst>
              <a:ext uri="{FF2B5EF4-FFF2-40B4-BE49-F238E27FC236}">
                <a16:creationId xmlns:a16="http://schemas.microsoft.com/office/drawing/2014/main" id="{E14F15DF-387E-F3D0-282B-C27FB0B565E5}"/>
              </a:ext>
            </a:extLst>
          </p:cNvPr>
          <p:cNvSpPr/>
          <p:nvPr/>
        </p:nvSpPr>
        <p:spPr>
          <a:xfrm>
            <a:off x="337044" y="2709218"/>
            <a:ext cx="5687170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126">
            <a:extLst>
              <a:ext uri="{FF2B5EF4-FFF2-40B4-BE49-F238E27FC236}">
                <a16:creationId xmlns:a16="http://schemas.microsoft.com/office/drawing/2014/main" id="{245112E8-6C69-24FC-3E77-D4A05EAE9EA8}"/>
              </a:ext>
            </a:extLst>
          </p:cNvPr>
          <p:cNvSpPr/>
          <p:nvPr/>
        </p:nvSpPr>
        <p:spPr>
          <a:xfrm>
            <a:off x="6167438" y="1128391"/>
            <a:ext cx="5699637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127">
            <a:extLst>
              <a:ext uri="{FF2B5EF4-FFF2-40B4-BE49-F238E27FC236}">
                <a16:creationId xmlns:a16="http://schemas.microsoft.com/office/drawing/2014/main" id="{AD75A78F-956E-BE1A-1BE9-EFD27C44D32F}"/>
              </a:ext>
            </a:extLst>
          </p:cNvPr>
          <p:cNvSpPr/>
          <p:nvPr/>
        </p:nvSpPr>
        <p:spPr>
          <a:xfrm>
            <a:off x="6167438" y="2709218"/>
            <a:ext cx="5699637" cy="1438643"/>
          </a:xfrm>
          <a:prstGeom prst="rect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ahoma"/>
            </a:endParaRPr>
          </a:p>
          <a:p>
            <a:pPr marL="0" lvl="1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Tahoma"/>
              </a:rPr>
              <a:t>ТЕКСТ</a:t>
            </a: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9" name="Рисунок 5">
            <a:extLst>
              <a:ext uri="{FF2B5EF4-FFF2-40B4-BE49-F238E27FC236}">
                <a16:creationId xmlns:a16="http://schemas.microsoft.com/office/drawing/2014/main" id="{3ED0306B-3457-5D2F-E11D-AFA2587B557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0388" y="1301771"/>
            <a:ext cx="311021" cy="441449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64CB7D3C-AE61-3296-68A9-34486F2D1EF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10690" y="1376509"/>
            <a:ext cx="393625" cy="331086"/>
          </a:xfrm>
          <a:prstGeom prst="rect">
            <a:avLst/>
          </a:prstGeom>
        </p:spPr>
      </p:pic>
      <p:pic>
        <p:nvPicPr>
          <p:cNvPr id="12" name="Рисунок 15">
            <a:extLst>
              <a:ext uri="{FF2B5EF4-FFF2-40B4-BE49-F238E27FC236}">
                <a16:creationId xmlns:a16="http://schemas.microsoft.com/office/drawing/2014/main" id="{85427A09-E11C-B401-A492-524D1113C6E3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4837" y="2897059"/>
            <a:ext cx="476286" cy="42732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331C70D-9608-5A4B-A974-24A3FBD1E630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47985" y="2849720"/>
            <a:ext cx="519034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55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3" name="Рисунок 343">
            <a:extLst>
              <a:ext uri="{FF2B5EF4-FFF2-40B4-BE49-F238E27FC236}">
                <a16:creationId xmlns:a16="http://schemas.microsoft.com/office/drawing/2014/main" id="{D08ECDB8-DF8E-3466-C9ED-38C3C9F34D3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8052" y="1128391"/>
            <a:ext cx="3739298" cy="2229284"/>
          </a:xfrm>
          <a:prstGeom prst="rect">
            <a:avLst/>
          </a:prstGeom>
        </p:spPr>
      </p:pic>
      <p:pic>
        <p:nvPicPr>
          <p:cNvPr id="4" name="Рисунок 344">
            <a:extLst>
              <a:ext uri="{FF2B5EF4-FFF2-40B4-BE49-F238E27FC236}">
                <a16:creationId xmlns:a16="http://schemas.microsoft.com/office/drawing/2014/main" id="{C92CE938-BED7-88AC-2CA0-D6D9C75FE49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0268" y="1128391"/>
            <a:ext cx="3746111" cy="2229282"/>
          </a:xfrm>
          <a:prstGeom prst="rect">
            <a:avLst/>
          </a:prstGeom>
        </p:spPr>
      </p:pic>
      <p:pic>
        <p:nvPicPr>
          <p:cNvPr id="5" name="Рисунок 342">
            <a:extLst>
              <a:ext uri="{FF2B5EF4-FFF2-40B4-BE49-F238E27FC236}">
                <a16:creationId xmlns:a16="http://schemas.microsoft.com/office/drawing/2014/main" id="{CD85AA4C-2EE3-10F2-F366-9CB68701048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4324" y="1125201"/>
            <a:ext cx="3742714" cy="224467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B1AC772-BFDF-E321-D506-06BD46BE226C}"/>
              </a:ext>
            </a:extLst>
          </p:cNvPr>
          <p:cNvSpPr txBox="1"/>
          <p:nvPr/>
        </p:nvSpPr>
        <p:spPr>
          <a:xfrm>
            <a:off x="337045" y="495750"/>
            <a:ext cx="9848946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7" name="Прямоугольник 1">
            <a:extLst>
              <a:ext uri="{FF2B5EF4-FFF2-40B4-BE49-F238E27FC236}">
                <a16:creationId xmlns:a16="http://schemas.microsoft.com/office/drawing/2014/main" id="{A7E53F4A-7412-9E16-2FF1-9B9C80C3C109}"/>
              </a:ext>
            </a:extLst>
          </p:cNvPr>
          <p:cNvSpPr/>
          <p:nvPr/>
        </p:nvSpPr>
        <p:spPr>
          <a:xfrm>
            <a:off x="8113654" y="4167019"/>
            <a:ext cx="3743384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Прямоугольник 2">
            <a:extLst>
              <a:ext uri="{FF2B5EF4-FFF2-40B4-BE49-F238E27FC236}">
                <a16:creationId xmlns:a16="http://schemas.microsoft.com/office/drawing/2014/main" id="{F0FA6001-401C-FB04-8F04-DBC7C1B3BFFE}"/>
              </a:ext>
            </a:extLst>
          </p:cNvPr>
          <p:cNvSpPr/>
          <p:nvPr/>
        </p:nvSpPr>
        <p:spPr>
          <a:xfrm>
            <a:off x="4228973" y="4167019"/>
            <a:ext cx="3738373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9" name="Прямоугольник 3">
            <a:extLst>
              <a:ext uri="{FF2B5EF4-FFF2-40B4-BE49-F238E27FC236}">
                <a16:creationId xmlns:a16="http://schemas.microsoft.com/office/drawing/2014/main" id="{A8F352ED-5EB4-497C-1D88-89A6066C3661}"/>
              </a:ext>
            </a:extLst>
          </p:cNvPr>
          <p:cNvSpPr/>
          <p:nvPr/>
        </p:nvSpPr>
        <p:spPr>
          <a:xfrm>
            <a:off x="337045" y="4153600"/>
            <a:ext cx="3744029" cy="2042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4">
            <a:extLst>
              <a:ext uri="{FF2B5EF4-FFF2-40B4-BE49-F238E27FC236}">
                <a16:creationId xmlns:a16="http://schemas.microsoft.com/office/drawing/2014/main" id="{AE985F01-9422-3DFE-6B78-E61A5F424A40}"/>
              </a:ext>
            </a:extLst>
          </p:cNvPr>
          <p:cNvSpPr/>
          <p:nvPr/>
        </p:nvSpPr>
        <p:spPr>
          <a:xfrm>
            <a:off x="337045" y="349947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ВОК</a:t>
            </a:r>
          </a:p>
        </p:txBody>
      </p:sp>
      <p:sp>
        <p:nvSpPr>
          <p:cNvPr id="11" name="Прямоугольник 5">
            <a:extLst>
              <a:ext uri="{FF2B5EF4-FFF2-40B4-BE49-F238E27FC236}">
                <a16:creationId xmlns:a16="http://schemas.microsoft.com/office/drawing/2014/main" id="{4AF1CDB4-6E27-F0DA-663E-265DF31562DA}"/>
              </a:ext>
            </a:extLst>
          </p:cNvPr>
          <p:cNvSpPr/>
          <p:nvPr/>
        </p:nvSpPr>
        <p:spPr>
          <a:xfrm>
            <a:off x="8113654" y="3514828"/>
            <a:ext cx="3743384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ОВОК</a:t>
            </a:r>
          </a:p>
        </p:txBody>
      </p:sp>
      <p:sp>
        <p:nvSpPr>
          <p:cNvPr id="12" name="Прямоугольник 6">
            <a:extLst>
              <a:ext uri="{FF2B5EF4-FFF2-40B4-BE49-F238E27FC236}">
                <a16:creationId xmlns:a16="http://schemas.microsoft.com/office/drawing/2014/main" id="{27592F34-DB94-D049-E800-A60894F016D6}"/>
              </a:ext>
            </a:extLst>
          </p:cNvPr>
          <p:cNvSpPr/>
          <p:nvPr/>
        </p:nvSpPr>
        <p:spPr>
          <a:xfrm>
            <a:off x="4228974" y="3514828"/>
            <a:ext cx="3738373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0269913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3" name="Прямоугольник 140">
            <a:extLst>
              <a:ext uri="{FF2B5EF4-FFF2-40B4-BE49-F238E27FC236}">
                <a16:creationId xmlns:a16="http://schemas.microsoft.com/office/drawing/2014/main" id="{36BBC10F-925C-D65A-E28E-A4A9BB429DBC}"/>
              </a:ext>
            </a:extLst>
          </p:cNvPr>
          <p:cNvSpPr/>
          <p:nvPr/>
        </p:nvSpPr>
        <p:spPr>
          <a:xfrm>
            <a:off x="8113654" y="4167019"/>
            <a:ext cx="3743384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134">
            <a:extLst>
              <a:ext uri="{FF2B5EF4-FFF2-40B4-BE49-F238E27FC236}">
                <a16:creationId xmlns:a16="http://schemas.microsoft.com/office/drawing/2014/main" id="{443623EB-62A7-91A9-E895-1D5C213B3239}"/>
              </a:ext>
            </a:extLst>
          </p:cNvPr>
          <p:cNvSpPr/>
          <p:nvPr/>
        </p:nvSpPr>
        <p:spPr>
          <a:xfrm>
            <a:off x="4228973" y="4167019"/>
            <a:ext cx="3738373" cy="202923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id="{775D95B5-E164-9386-B9AC-EBCA5B083376}"/>
              </a:ext>
            </a:extLst>
          </p:cNvPr>
          <p:cNvSpPr/>
          <p:nvPr/>
        </p:nvSpPr>
        <p:spPr>
          <a:xfrm>
            <a:off x="337045" y="4153600"/>
            <a:ext cx="3744029" cy="2042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 lvl="0">
              <a:spcBef>
                <a:spcPts val="600"/>
              </a:spcBef>
              <a:spcAft>
                <a:spcPts val="800"/>
              </a:spcAft>
              <a:buClr>
                <a:srgbClr val="000000"/>
              </a:buClr>
              <a:defRPr/>
            </a:pPr>
            <a:r>
              <a:rPr lang="ru-RU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C1D1EA-4AFB-7ACD-7DDE-8FC010626C0F}"/>
              </a:ext>
            </a:extLst>
          </p:cNvPr>
          <p:cNvSpPr txBox="1"/>
          <p:nvPr/>
        </p:nvSpPr>
        <p:spPr>
          <a:xfrm>
            <a:off x="337045" y="280307"/>
            <a:ext cx="9592401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7" name="Рисунок 127">
            <a:extLst>
              <a:ext uri="{FF2B5EF4-FFF2-40B4-BE49-F238E27FC236}">
                <a16:creationId xmlns:a16="http://schemas.microsoft.com/office/drawing/2014/main" id="{E3BA2F96-7DC4-4EF4-19F7-CD2263E72B97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76"/>
          <a:stretch/>
        </p:blipFill>
        <p:spPr>
          <a:xfrm>
            <a:off x="4231439" y="1125538"/>
            <a:ext cx="3735907" cy="2244404"/>
          </a:xfrm>
          <a:prstGeom prst="rect">
            <a:avLst/>
          </a:prstGeom>
        </p:spPr>
      </p:pic>
      <p:pic>
        <p:nvPicPr>
          <p:cNvPr id="8" name="Рисунок 128">
            <a:extLst>
              <a:ext uri="{FF2B5EF4-FFF2-40B4-BE49-F238E27FC236}">
                <a16:creationId xmlns:a16="http://schemas.microsoft.com/office/drawing/2014/main" id="{DCC00B67-23B1-764B-BEBB-234818420D4D}"/>
              </a:ext>
            </a:extLst>
          </p:cNvPr>
          <p:cNvPicPr>
            <a:picLocks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37" b="-76"/>
          <a:stretch/>
        </p:blipFill>
        <p:spPr>
          <a:xfrm>
            <a:off x="343842" y="1116440"/>
            <a:ext cx="3744029" cy="2252117"/>
          </a:xfrm>
          <a:prstGeom prst="rect">
            <a:avLst/>
          </a:prstGeom>
        </p:spPr>
      </p:pic>
      <p:pic>
        <p:nvPicPr>
          <p:cNvPr id="9" name="Рисунок 129">
            <a:extLst>
              <a:ext uri="{FF2B5EF4-FFF2-40B4-BE49-F238E27FC236}">
                <a16:creationId xmlns:a16="http://schemas.microsoft.com/office/drawing/2014/main" id="{A762776E-AC3A-56AC-791C-C26BDCB6A413}"/>
              </a:ext>
            </a:extLst>
          </p:cNvPr>
          <p:cNvPicPr>
            <a:picLocks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3654" y="1125537"/>
            <a:ext cx="3743384" cy="2243019"/>
          </a:xfrm>
          <a:prstGeom prst="rect">
            <a:avLst/>
          </a:prstGeom>
        </p:spPr>
      </p:pic>
      <p:sp>
        <p:nvSpPr>
          <p:cNvPr id="10" name="Текст 2">
            <a:extLst>
              <a:ext uri="{FF2B5EF4-FFF2-40B4-BE49-F238E27FC236}">
                <a16:creationId xmlns:a16="http://schemas.microsoft.com/office/drawing/2014/main" id="{DF889785-2356-DF33-EA25-3ECB034E7A3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395712" y="3085391"/>
            <a:ext cx="266700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ct val="0"/>
              </a:spcAft>
            </a:pPr>
            <a:endParaRPr lang="ru-RU" sz="1067">
              <a:sym typeface="+mn-lt"/>
            </a:endParaRPr>
          </a:p>
        </p:txBody>
      </p:sp>
      <p:sp>
        <p:nvSpPr>
          <p:cNvPr id="11" name="Прямоугольник 131">
            <a:extLst>
              <a:ext uri="{FF2B5EF4-FFF2-40B4-BE49-F238E27FC236}">
                <a16:creationId xmlns:a16="http://schemas.microsoft.com/office/drawing/2014/main" id="{FD2A0273-8DE2-B044-EEDD-28505EC7F9FD}"/>
              </a:ext>
            </a:extLst>
          </p:cNvPr>
          <p:cNvSpPr/>
          <p:nvPr/>
        </p:nvSpPr>
        <p:spPr>
          <a:xfrm>
            <a:off x="337045" y="349947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2" name="Прямоугольник 133">
            <a:extLst>
              <a:ext uri="{FF2B5EF4-FFF2-40B4-BE49-F238E27FC236}">
                <a16:creationId xmlns:a16="http://schemas.microsoft.com/office/drawing/2014/main" id="{15FB3974-EADF-46E4-79B0-A0368BF5BE1C}"/>
              </a:ext>
            </a:extLst>
          </p:cNvPr>
          <p:cNvSpPr/>
          <p:nvPr/>
        </p:nvSpPr>
        <p:spPr>
          <a:xfrm>
            <a:off x="8113654" y="3514828"/>
            <a:ext cx="3743384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3" name="Прямоугольник 139">
            <a:extLst>
              <a:ext uri="{FF2B5EF4-FFF2-40B4-BE49-F238E27FC236}">
                <a16:creationId xmlns:a16="http://schemas.microsoft.com/office/drawing/2014/main" id="{61E2C73F-85AB-ADAB-15B5-C0961A1893EF}"/>
              </a:ext>
            </a:extLst>
          </p:cNvPr>
          <p:cNvSpPr/>
          <p:nvPr/>
        </p:nvSpPr>
        <p:spPr>
          <a:xfrm>
            <a:off x="4228974" y="3514828"/>
            <a:ext cx="3738373" cy="6348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7529605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3" name="Прямоугольник 140">
            <a:extLst>
              <a:ext uri="{FF2B5EF4-FFF2-40B4-BE49-F238E27FC236}">
                <a16:creationId xmlns:a16="http://schemas.microsoft.com/office/drawing/2014/main" id="{CB072742-B464-E855-ED36-9C78E2D20979}"/>
              </a:ext>
            </a:extLst>
          </p:cNvPr>
          <p:cNvSpPr/>
          <p:nvPr/>
        </p:nvSpPr>
        <p:spPr>
          <a:xfrm>
            <a:off x="6176526" y="4290963"/>
            <a:ext cx="5691600" cy="19052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4" name="Прямоугольник 1">
            <a:extLst>
              <a:ext uri="{FF2B5EF4-FFF2-40B4-BE49-F238E27FC236}">
                <a16:creationId xmlns:a16="http://schemas.microsoft.com/office/drawing/2014/main" id="{67C5FAFE-469F-FA0A-BA08-0F94C9E70421}"/>
              </a:ext>
            </a:extLst>
          </p:cNvPr>
          <p:cNvSpPr/>
          <p:nvPr/>
        </p:nvSpPr>
        <p:spPr>
          <a:xfrm>
            <a:off x="337045" y="4292600"/>
            <a:ext cx="5691600" cy="190365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2AFF20-F563-FC20-19B8-BAD59610FB69}"/>
              </a:ext>
            </a:extLst>
          </p:cNvPr>
          <p:cNvSpPr txBox="1"/>
          <p:nvPr/>
        </p:nvSpPr>
        <p:spPr>
          <a:xfrm>
            <a:off x="337045" y="280307"/>
            <a:ext cx="568716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51FB9C4B-0B70-B201-7B6D-B69354AD0796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395712" y="3085391"/>
            <a:ext cx="266700" cy="162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ct val="0"/>
              </a:spcAft>
            </a:pPr>
            <a:endParaRPr lang="ru-RU" sz="1067">
              <a:sym typeface="+mn-lt"/>
            </a:endParaRPr>
          </a:p>
        </p:txBody>
      </p:sp>
      <p:sp>
        <p:nvSpPr>
          <p:cNvPr id="7" name="Прямоугольник 131">
            <a:extLst>
              <a:ext uri="{FF2B5EF4-FFF2-40B4-BE49-F238E27FC236}">
                <a16:creationId xmlns:a16="http://schemas.microsoft.com/office/drawing/2014/main" id="{9261B7EE-7179-3849-1B5E-6B90DD0E7785}"/>
              </a:ext>
            </a:extLst>
          </p:cNvPr>
          <p:cNvSpPr/>
          <p:nvPr/>
        </p:nvSpPr>
        <p:spPr>
          <a:xfrm>
            <a:off x="337045" y="3499478"/>
            <a:ext cx="5691600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Прямоугольник 133">
            <a:extLst>
              <a:ext uri="{FF2B5EF4-FFF2-40B4-BE49-F238E27FC236}">
                <a16:creationId xmlns:a16="http://schemas.microsoft.com/office/drawing/2014/main" id="{067F08D7-C277-9D67-96D1-CC655E14E411}"/>
              </a:ext>
            </a:extLst>
          </p:cNvPr>
          <p:cNvSpPr/>
          <p:nvPr/>
        </p:nvSpPr>
        <p:spPr>
          <a:xfrm>
            <a:off x="6176527" y="3499478"/>
            <a:ext cx="5691600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b="1" spc="-13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pic>
        <p:nvPicPr>
          <p:cNvPr id="9" name="Рисунок 137">
            <a:extLst>
              <a:ext uri="{FF2B5EF4-FFF2-40B4-BE49-F238E27FC236}">
                <a16:creationId xmlns:a16="http://schemas.microsoft.com/office/drawing/2014/main" id="{8E298368-AF85-569D-302C-E4757D85849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05" r="-1"/>
          <a:stretch/>
        </p:blipFill>
        <p:spPr>
          <a:xfrm>
            <a:off x="324345" y="1127661"/>
            <a:ext cx="5695910" cy="2229172"/>
          </a:xfrm>
          <a:prstGeom prst="rect">
            <a:avLst/>
          </a:prstGeom>
        </p:spPr>
      </p:pic>
      <p:pic>
        <p:nvPicPr>
          <p:cNvPr id="10" name="Рисунок 138">
            <a:extLst>
              <a:ext uri="{FF2B5EF4-FFF2-40B4-BE49-F238E27FC236}">
                <a16:creationId xmlns:a16="http://schemas.microsoft.com/office/drawing/2014/main" id="{595C31A8-A602-41C8-8A6E-6B0F1E35224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9227" y="1128391"/>
            <a:ext cx="5680511" cy="2229172"/>
          </a:xfrm>
          <a:prstGeom prst="rect">
            <a:avLst/>
          </a:prstGeom>
        </p:spPr>
      </p:pic>
      <p:sp>
        <p:nvSpPr>
          <p:cNvPr id="11" name="Блок-схема: процесс 17">
            <a:extLst>
              <a:ext uri="{FF2B5EF4-FFF2-40B4-BE49-F238E27FC236}">
                <a16:creationId xmlns:a16="http://schemas.microsoft.com/office/drawing/2014/main" id="{A5A0A56A-6E35-D30D-C698-1B8C60B17E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6422" y="6220106"/>
            <a:ext cx="8343121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К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нтракт с автопроизводителем запрещает публикацию информации о производителе и поставщике моторных масел для TOYOTA</a:t>
            </a:r>
          </a:p>
        </p:txBody>
      </p:sp>
    </p:spTree>
    <p:extLst>
      <p:ext uri="{BB962C8B-B14F-4D97-AF65-F5344CB8AC3E}">
        <p14:creationId xmlns:p14="http://schemas.microsoft.com/office/powerpoint/2010/main" val="175349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A84997-0FB9-7FF3-06EE-8980B8A517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PT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D2935-860D-E447-5185-ECC784B16F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09EB32-346A-8953-F3CC-AE1929CAFCA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ТЕЗИСАМИ</a:t>
            </a:r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8687EA-A3BD-9A66-F41A-C093622F5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16562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3" name="Freeform: Shape 99">
            <a:extLst>
              <a:ext uri="{FF2B5EF4-FFF2-40B4-BE49-F238E27FC236}">
                <a16:creationId xmlns:a16="http://schemas.microsoft.com/office/drawing/2014/main" id="{8DC057D7-C98E-67BD-C502-54BFDAF23A0B}"/>
              </a:ext>
            </a:extLst>
          </p:cNvPr>
          <p:cNvSpPr>
            <a:spLocks/>
          </p:cNvSpPr>
          <p:nvPr/>
        </p:nvSpPr>
        <p:spPr>
          <a:xfrm>
            <a:off x="338374" y="1476183"/>
            <a:ext cx="5684752" cy="5135595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Рисунок 91">
            <a:extLst>
              <a:ext uri="{FF2B5EF4-FFF2-40B4-BE49-F238E27FC236}">
                <a16:creationId xmlns:a16="http://schemas.microsoft.com/office/drawing/2014/main" id="{A5659CDC-D47E-41FA-4ACA-2C710BD408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66694" y="3500320"/>
            <a:ext cx="5686932" cy="26959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65362BF-0A06-0DF1-8F51-5F002260B052}"/>
              </a:ext>
            </a:extLst>
          </p:cNvPr>
          <p:cNvSpPr txBox="1"/>
          <p:nvPr/>
        </p:nvSpPr>
        <p:spPr>
          <a:xfrm>
            <a:off x="6172286" y="6517423"/>
            <a:ext cx="4543436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GPN_DIN Condensed Regular" panose="020B0506020202020204" pitchFamily="34" charset="-52"/>
                <a:ea typeface="GPN_DIN Condensed Regular" panose="020B0506020202020204" pitchFamily="34" charset="-52"/>
                <a:cs typeface="+mn-cs"/>
              </a:rPr>
              <a:t>* Текст</a:t>
            </a:r>
          </a:p>
        </p:txBody>
      </p:sp>
      <p:sp>
        <p:nvSpPr>
          <p:cNvPr id="6" name="TextBox 86">
            <a:extLst>
              <a:ext uri="{FF2B5EF4-FFF2-40B4-BE49-F238E27FC236}">
                <a16:creationId xmlns:a16="http://schemas.microsoft.com/office/drawing/2014/main" id="{16579BBB-276E-93E4-DD22-9F088DEF47A0}"/>
              </a:ext>
            </a:extLst>
          </p:cNvPr>
          <p:cNvSpPr txBox="1"/>
          <p:nvPr/>
        </p:nvSpPr>
        <p:spPr bwMode="auto">
          <a:xfrm>
            <a:off x="574270" y="3016114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7" name="TextBox 87">
            <a:extLst>
              <a:ext uri="{FF2B5EF4-FFF2-40B4-BE49-F238E27FC236}">
                <a16:creationId xmlns:a16="http://schemas.microsoft.com/office/drawing/2014/main" id="{11F46379-F5F1-AD28-D65B-287745327BBA}"/>
              </a:ext>
            </a:extLst>
          </p:cNvPr>
          <p:cNvSpPr txBox="1"/>
          <p:nvPr/>
        </p:nvSpPr>
        <p:spPr bwMode="auto">
          <a:xfrm>
            <a:off x="574270" y="5601789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" name="TextBox 88">
            <a:extLst>
              <a:ext uri="{FF2B5EF4-FFF2-40B4-BE49-F238E27FC236}">
                <a16:creationId xmlns:a16="http://schemas.microsoft.com/office/drawing/2014/main" id="{838B4C10-766C-950B-B91F-C13D594D7D84}"/>
              </a:ext>
            </a:extLst>
          </p:cNvPr>
          <p:cNvSpPr txBox="1"/>
          <p:nvPr/>
        </p:nvSpPr>
        <p:spPr bwMode="auto">
          <a:xfrm>
            <a:off x="3251990" y="3048934"/>
            <a:ext cx="2230978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9" name="TextBox 89">
            <a:extLst>
              <a:ext uri="{FF2B5EF4-FFF2-40B4-BE49-F238E27FC236}">
                <a16:creationId xmlns:a16="http://schemas.microsoft.com/office/drawing/2014/main" id="{3EF8091E-4965-A87B-1FC7-7088270E6D56}"/>
              </a:ext>
            </a:extLst>
          </p:cNvPr>
          <p:cNvSpPr txBox="1"/>
          <p:nvPr/>
        </p:nvSpPr>
        <p:spPr bwMode="auto">
          <a:xfrm>
            <a:off x="574270" y="4317776"/>
            <a:ext cx="2535240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0" name="TextBox 90">
            <a:extLst>
              <a:ext uri="{FF2B5EF4-FFF2-40B4-BE49-F238E27FC236}">
                <a16:creationId xmlns:a16="http://schemas.microsoft.com/office/drawing/2014/main" id="{FA4E05CD-71E6-9E75-A2CC-17DB2CB9CCB6}"/>
              </a:ext>
            </a:extLst>
          </p:cNvPr>
          <p:cNvSpPr txBox="1"/>
          <p:nvPr/>
        </p:nvSpPr>
        <p:spPr bwMode="auto">
          <a:xfrm>
            <a:off x="3253077" y="4314280"/>
            <a:ext cx="2579441" cy="5155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lvl="0" defTabSz="1219170">
              <a:spcBef>
                <a:spcPts val="600"/>
              </a:spcBef>
              <a:spcAft>
                <a:spcPts val="300"/>
              </a:spcAft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1DA385D-0F42-4E4C-BE2C-3B64A50793BD}"/>
              </a:ext>
            </a:extLst>
          </p:cNvPr>
          <p:cNvSpPr txBox="1"/>
          <p:nvPr/>
        </p:nvSpPr>
        <p:spPr>
          <a:xfrm>
            <a:off x="337045" y="285883"/>
            <a:ext cx="9882720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55">
            <a:extLst>
              <a:ext uri="{FF2B5EF4-FFF2-40B4-BE49-F238E27FC236}">
                <a16:creationId xmlns:a16="http://schemas.microsoft.com/office/drawing/2014/main" id="{B2E9D7C2-B4B4-469D-02D3-8E515DBF3C1D}"/>
              </a:ext>
            </a:extLst>
          </p:cNvPr>
          <p:cNvSpPr/>
          <p:nvPr/>
        </p:nvSpPr>
        <p:spPr>
          <a:xfrm>
            <a:off x="524169" y="2041905"/>
            <a:ext cx="2582391" cy="8392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endParaRPr>
          </a:p>
        </p:txBody>
      </p:sp>
      <p:sp>
        <p:nvSpPr>
          <p:cNvPr id="13" name="Прямоугольник 55">
            <a:extLst>
              <a:ext uri="{FF2B5EF4-FFF2-40B4-BE49-F238E27FC236}">
                <a16:creationId xmlns:a16="http://schemas.microsoft.com/office/drawing/2014/main" id="{82BAE231-50FF-21A9-30C1-11206A83968F}"/>
              </a:ext>
            </a:extLst>
          </p:cNvPr>
          <p:cNvSpPr/>
          <p:nvPr/>
        </p:nvSpPr>
        <p:spPr>
          <a:xfrm>
            <a:off x="3250128" y="2041905"/>
            <a:ext cx="2582391" cy="83926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PN_DIN Regular" panose="020B0504020202020204" pitchFamily="34" charset="-52"/>
              <a:ea typeface="GPN_DIN Regular" panose="020B0504020202020204" pitchFamily="34" charset="-52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15C53D8-8B9E-FCE1-2536-E4BF4508AB14}"/>
              </a:ext>
            </a:extLst>
          </p:cNvPr>
          <p:cNvGrpSpPr/>
          <p:nvPr/>
        </p:nvGrpSpPr>
        <p:grpSpPr>
          <a:xfrm>
            <a:off x="618431" y="2191372"/>
            <a:ext cx="5475763" cy="307777"/>
            <a:chOff x="618431" y="2191372"/>
            <a:chExt cx="5475763" cy="307777"/>
          </a:xfrm>
        </p:grpSpPr>
        <p:sp>
          <p:nvSpPr>
            <p:cNvPr id="15" name="TextBox 82">
              <a:extLst>
                <a:ext uri="{FF2B5EF4-FFF2-40B4-BE49-F238E27FC236}">
                  <a16:creationId xmlns:a16="http://schemas.microsoft.com/office/drawing/2014/main" id="{F58207D7-9403-918C-F8C2-D6409EEE2B44}"/>
                </a:ext>
              </a:extLst>
            </p:cNvPr>
            <p:cNvSpPr txBox="1"/>
            <p:nvPr/>
          </p:nvSpPr>
          <p:spPr bwMode="auto">
            <a:xfrm>
              <a:off x="3693172" y="2191372"/>
              <a:ext cx="240102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83">
              <a:extLst>
                <a:ext uri="{FF2B5EF4-FFF2-40B4-BE49-F238E27FC236}">
                  <a16:creationId xmlns:a16="http://schemas.microsoft.com/office/drawing/2014/main" id="{A7A4DC04-A8B7-81EF-A967-DB0AF412850E}"/>
                </a:ext>
              </a:extLst>
            </p:cNvPr>
            <p:cNvSpPr txBox="1"/>
            <p:nvPr/>
          </p:nvSpPr>
          <p:spPr bwMode="auto">
            <a:xfrm>
              <a:off x="902362" y="2191372"/>
              <a:ext cx="220714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219170">
                <a:spcBef>
                  <a:spcPts val="600"/>
                </a:spcBef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17" name="TextBox 85">
              <a:extLst>
                <a:ext uri="{FF2B5EF4-FFF2-40B4-BE49-F238E27FC236}">
                  <a16:creationId xmlns:a16="http://schemas.microsoft.com/office/drawing/2014/main" id="{C6FEB8BA-FA63-0374-346F-A1A6F8F434CC}"/>
                </a:ext>
              </a:extLst>
            </p:cNvPr>
            <p:cNvSpPr txBox="1"/>
            <p:nvPr/>
          </p:nvSpPr>
          <p:spPr bwMode="auto">
            <a:xfrm>
              <a:off x="618431" y="2191372"/>
              <a:ext cx="26689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R="0" lvl="0" indent="0" algn="r" defTabSz="1219170" fontAlgn="auto">
                <a:lnSpc>
                  <a:spcPct val="100000"/>
                </a:lnSpc>
                <a:spcBef>
                  <a:spcPts val="10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strike="noStrike" kern="0" cap="none" spc="0" normalizeH="0" baseline="0">
                  <a:ln>
                    <a:noFill/>
                  </a:ln>
                  <a:solidFill>
                    <a:srgbClr val="004596"/>
                  </a:solidFill>
                  <a:effectLst/>
                  <a:uLnTx/>
                  <a:uFillTx/>
                  <a:latin typeface="GPN_DIN Condensed Bold"/>
                  <a:cs typeface="Arial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  <p:sp>
          <p:nvSpPr>
            <p:cNvPr id="18" name="TextBox 85">
              <a:extLst>
                <a:ext uri="{FF2B5EF4-FFF2-40B4-BE49-F238E27FC236}">
                  <a16:creationId xmlns:a16="http://schemas.microsoft.com/office/drawing/2014/main" id="{C4CD6A7D-9250-DF60-DB72-95367B810CF9}"/>
                </a:ext>
              </a:extLst>
            </p:cNvPr>
            <p:cNvSpPr txBox="1"/>
            <p:nvPr/>
          </p:nvSpPr>
          <p:spPr bwMode="auto">
            <a:xfrm>
              <a:off x="3366240" y="2191372"/>
              <a:ext cx="26689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R="0" lvl="0" indent="0" algn="r" defTabSz="1219170" fontAlgn="auto">
                <a:lnSpc>
                  <a:spcPct val="100000"/>
                </a:lnSpc>
                <a:spcBef>
                  <a:spcPts val="1067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400" b="0" i="0" strike="noStrike" kern="0" cap="none" spc="0" normalizeH="0" baseline="0">
                  <a:ln>
                    <a:noFill/>
                  </a:ln>
                  <a:solidFill>
                    <a:srgbClr val="004596"/>
                  </a:solidFill>
                  <a:effectLst/>
                  <a:uLnTx/>
                  <a:uFillTx/>
                  <a:latin typeface="GPN_DIN Condensed Bold"/>
                  <a:cs typeface="Arial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</a:p>
          </p:txBody>
        </p:sp>
      </p:grpSp>
      <p:sp>
        <p:nvSpPr>
          <p:cNvPr id="19" name="TextBox 81">
            <a:extLst>
              <a:ext uri="{FF2B5EF4-FFF2-40B4-BE49-F238E27FC236}">
                <a16:creationId xmlns:a16="http://schemas.microsoft.com/office/drawing/2014/main" id="{A410792E-A71D-4D45-4ABE-2240B18F6E2F}"/>
              </a:ext>
            </a:extLst>
          </p:cNvPr>
          <p:cNvSpPr txBox="1"/>
          <p:nvPr/>
        </p:nvSpPr>
        <p:spPr bwMode="auto">
          <a:xfrm>
            <a:off x="524170" y="1635838"/>
            <a:ext cx="446405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0" name="Прямоугольник 133">
            <a:extLst>
              <a:ext uri="{FF2B5EF4-FFF2-40B4-BE49-F238E27FC236}">
                <a16:creationId xmlns:a16="http://schemas.microsoft.com/office/drawing/2014/main" id="{87B22A89-8E34-C098-5985-FB7A65E9DACB}"/>
              </a:ext>
            </a:extLst>
          </p:cNvPr>
          <p:cNvSpPr/>
          <p:nvPr/>
        </p:nvSpPr>
        <p:spPr bwMode="auto">
          <a:xfrm>
            <a:off x="6165609" y="3500320"/>
            <a:ext cx="1801741" cy="269593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95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Condensed Regular"/>
              <a:ea typeface="+mn-ea"/>
              <a:cs typeface="Arial"/>
            </a:endParaRPr>
          </a:p>
        </p:txBody>
      </p:sp>
      <p:sp>
        <p:nvSpPr>
          <p:cNvPr id="21" name="TextBox 134">
            <a:extLst>
              <a:ext uri="{FF2B5EF4-FFF2-40B4-BE49-F238E27FC236}">
                <a16:creationId xmlns:a16="http://schemas.microsoft.com/office/drawing/2014/main" id="{4A1D66B8-0DAC-A025-4412-BCE1FFDCD953}"/>
              </a:ext>
            </a:extLst>
          </p:cNvPr>
          <p:cNvSpPr txBox="1"/>
          <p:nvPr/>
        </p:nvSpPr>
        <p:spPr bwMode="auto">
          <a:xfrm>
            <a:off x="6287601" y="5320943"/>
            <a:ext cx="14013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rPr>
              <a:t>ТЕКСТ</a:t>
            </a:r>
            <a:endParaRPr kumimoji="0" lang="ru-RU" sz="140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3373B00-452B-F7A2-7989-4F97A8975CD8}"/>
              </a:ext>
            </a:extLst>
          </p:cNvPr>
          <p:cNvGrpSpPr/>
          <p:nvPr/>
        </p:nvGrpSpPr>
        <p:grpSpPr>
          <a:xfrm>
            <a:off x="6172286" y="1476184"/>
            <a:ext cx="5684752" cy="1881490"/>
            <a:chOff x="6183623" y="1476184"/>
            <a:chExt cx="5673415" cy="1881490"/>
          </a:xfrm>
        </p:grpSpPr>
        <p:sp>
          <p:nvSpPr>
            <p:cNvPr id="23" name="Freeform: Shape 29">
              <a:extLst>
                <a:ext uri="{FF2B5EF4-FFF2-40B4-BE49-F238E27FC236}">
                  <a16:creationId xmlns:a16="http://schemas.microsoft.com/office/drawing/2014/main" id="{B342E2EA-11B0-B086-2289-8153C9D12365}"/>
                </a:ext>
              </a:extLst>
            </p:cNvPr>
            <p:cNvSpPr>
              <a:spLocks/>
            </p:cNvSpPr>
            <p:nvPr/>
          </p:nvSpPr>
          <p:spPr>
            <a:xfrm>
              <a:off x="6183623" y="1476184"/>
              <a:ext cx="5673415" cy="188149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28BE4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" name="TextBox 92">
              <a:extLst>
                <a:ext uri="{FF2B5EF4-FFF2-40B4-BE49-F238E27FC236}">
                  <a16:creationId xmlns:a16="http://schemas.microsoft.com/office/drawing/2014/main" id="{FF483CDE-D10F-54F7-91F5-11A1117513B9}"/>
                </a:ext>
              </a:extLst>
            </p:cNvPr>
            <p:cNvSpPr txBox="1"/>
            <p:nvPr/>
          </p:nvSpPr>
          <p:spPr bwMode="auto">
            <a:xfrm>
              <a:off x="7949394" y="1591569"/>
              <a:ext cx="192373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Т</a:t>
              </a:r>
              <a:r>
                <a:rPr kumimoji="0" lang="ru-RU" sz="12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ЕКСТ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5" name="TextBox 93">
              <a:extLst>
                <a:ext uri="{FF2B5EF4-FFF2-40B4-BE49-F238E27FC236}">
                  <a16:creationId xmlns:a16="http://schemas.microsoft.com/office/drawing/2014/main" id="{E1A5F969-E1E0-7844-7804-CEA1CA725B25}"/>
                </a:ext>
              </a:extLst>
            </p:cNvPr>
            <p:cNvSpPr txBox="1"/>
            <p:nvPr/>
          </p:nvSpPr>
          <p:spPr bwMode="auto">
            <a:xfrm>
              <a:off x="10099636" y="1596028"/>
              <a:ext cx="153926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/>
                </a:rPr>
                <a:t>ТЕКСТ</a:t>
              </a:r>
              <a:endParaRPr kumimoji="0" sz="12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pic>
          <p:nvPicPr>
            <p:cNvPr id="26" name="Picture 3">
              <a:extLst>
                <a:ext uri="{FF2B5EF4-FFF2-40B4-BE49-F238E27FC236}">
                  <a16:creationId xmlns:a16="http://schemas.microsoft.com/office/drawing/2014/main" id="{43372936-02B9-0AE3-E7F3-B06A2832F9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6367869" y="1654342"/>
              <a:ext cx="1321088" cy="1321088"/>
            </a:xfrm>
            <a:prstGeom prst="ellipse">
              <a:avLst/>
            </a:prstGeom>
            <a:ln w="12700">
              <a:solidFill>
                <a:schemeClr val="bg1"/>
              </a:solidFill>
            </a:ln>
          </p:spPr>
        </p:pic>
      </p:grpSp>
      <p:sp>
        <p:nvSpPr>
          <p:cNvPr id="27" name="Полилиния 33">
            <a:extLst>
              <a:ext uri="{FF2B5EF4-FFF2-40B4-BE49-F238E27FC236}">
                <a16:creationId xmlns:a16="http://schemas.microsoft.com/office/drawing/2014/main" id="{B1CFBF0C-CF62-3FB6-BC73-F72820EAC826}"/>
              </a:ext>
            </a:extLst>
          </p:cNvPr>
          <p:cNvSpPr/>
          <p:nvPr/>
        </p:nvSpPr>
        <p:spPr>
          <a:xfrm>
            <a:off x="6316499" y="4394954"/>
            <a:ext cx="671780" cy="671773"/>
          </a:xfrm>
          <a:custGeom>
            <a:avLst/>
            <a:gdLst>
              <a:gd name="connsiteX0" fmla="*/ 168157 w 177650"/>
              <a:gd name="connsiteY0" fmla="*/ 3019 h 177648"/>
              <a:gd name="connsiteX1" fmla="*/ 174631 w 177650"/>
              <a:gd name="connsiteY1" fmla="*/ 30657 h 177648"/>
              <a:gd name="connsiteX2" fmla="*/ 89321 w 177650"/>
              <a:gd name="connsiteY2" fmla="*/ 168158 h 177648"/>
              <a:gd name="connsiteX3" fmla="*/ 73063 w 177650"/>
              <a:gd name="connsiteY3" fmla="*/ 177633 h 177648"/>
              <a:gd name="connsiteX4" fmla="*/ 56105 w 177650"/>
              <a:gd name="connsiteY4" fmla="*/ 169483 h 177648"/>
              <a:gd name="connsiteX5" fmla="*/ 3914 w 177650"/>
              <a:gd name="connsiteY5" fmla="*/ 98649 h 177648"/>
              <a:gd name="connsiteX6" fmla="*/ 8167 w 177650"/>
              <a:gd name="connsiteY6" fmla="*/ 70583 h 177648"/>
              <a:gd name="connsiteX7" fmla="*/ 36233 w 177650"/>
              <a:gd name="connsiteY7" fmla="*/ 74835 h 177648"/>
              <a:gd name="connsiteX8" fmla="*/ 70838 w 177650"/>
              <a:gd name="connsiteY8" fmla="*/ 121802 h 177648"/>
              <a:gd name="connsiteX9" fmla="*/ 140519 w 177650"/>
              <a:gd name="connsiteY9" fmla="*/ 9493 h 177648"/>
              <a:gd name="connsiteX10" fmla="*/ 168157 w 177650"/>
              <a:gd name="connsiteY10" fmla="*/ 3019 h 177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7650" h="177648">
                <a:moveTo>
                  <a:pt x="168157" y="3019"/>
                </a:moveTo>
                <a:cubicBezTo>
                  <a:pt x="177578" y="8863"/>
                  <a:pt x="180476" y="21238"/>
                  <a:pt x="174631" y="30657"/>
                </a:cubicBezTo>
                <a:lnTo>
                  <a:pt x="89321" y="168158"/>
                </a:lnTo>
                <a:cubicBezTo>
                  <a:pt x="85809" y="173819"/>
                  <a:pt x="79719" y="177368"/>
                  <a:pt x="73063" y="177633"/>
                </a:cubicBezTo>
                <a:cubicBezTo>
                  <a:pt x="66409" y="177898"/>
                  <a:pt x="60055" y="174845"/>
                  <a:pt x="56105" y="169483"/>
                </a:cubicBezTo>
                <a:lnTo>
                  <a:pt x="3914" y="98649"/>
                </a:lnTo>
                <a:cubicBezTo>
                  <a:pt x="-2662" y="89724"/>
                  <a:pt x="-758" y="77158"/>
                  <a:pt x="8167" y="70583"/>
                </a:cubicBezTo>
                <a:cubicBezTo>
                  <a:pt x="17092" y="64007"/>
                  <a:pt x="29658" y="65911"/>
                  <a:pt x="36233" y="74835"/>
                </a:cubicBezTo>
                <a:lnTo>
                  <a:pt x="70838" y="121802"/>
                </a:lnTo>
                <a:lnTo>
                  <a:pt x="140519" y="9493"/>
                </a:lnTo>
                <a:cubicBezTo>
                  <a:pt x="146364" y="73"/>
                  <a:pt x="158738" y="-2826"/>
                  <a:pt x="168157" y="3019"/>
                </a:cubicBezTo>
                <a:close/>
              </a:path>
            </a:pathLst>
          </a:custGeom>
          <a:noFill/>
          <a:ln w="19050" cap="rnd">
            <a:solidFill>
              <a:schemeClr val="bg1"/>
            </a:solidFill>
            <a:prstDash val="solid"/>
            <a:round/>
          </a:ln>
        </p:spPr>
        <p:txBody>
          <a:bodyPr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486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FAC2E2-F676-264E-3817-DB3CE5E3378B}"/>
              </a:ext>
            </a:extLst>
          </p:cNvPr>
          <p:cNvSpPr txBox="1"/>
          <p:nvPr/>
        </p:nvSpPr>
        <p:spPr>
          <a:xfrm>
            <a:off x="337046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C4633087-2652-4FB1-34A5-9D843A980A3A}"/>
              </a:ext>
            </a:extLst>
          </p:cNvPr>
          <p:cNvSpPr/>
          <p:nvPr/>
        </p:nvSpPr>
        <p:spPr>
          <a:xfrm>
            <a:off x="337045" y="1128391"/>
            <a:ext cx="3734534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>
            <a:noAutofit/>
          </a:bodyPr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0">
            <a:extLst>
              <a:ext uri="{FF2B5EF4-FFF2-40B4-BE49-F238E27FC236}">
                <a16:creationId xmlns:a16="http://schemas.microsoft.com/office/drawing/2014/main" id="{85432105-3829-CD74-4EEA-26E5501A5316}"/>
              </a:ext>
            </a:extLst>
          </p:cNvPr>
          <p:cNvSpPr/>
          <p:nvPr/>
        </p:nvSpPr>
        <p:spPr>
          <a:xfrm>
            <a:off x="337045" y="1767581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131">
            <a:extLst>
              <a:ext uri="{FF2B5EF4-FFF2-40B4-BE49-F238E27FC236}">
                <a16:creationId xmlns:a16="http://schemas.microsoft.com/office/drawing/2014/main" id="{52B012A7-5A29-83EB-113F-E181F3061E9E}"/>
              </a:ext>
            </a:extLst>
          </p:cNvPr>
          <p:cNvSpPr/>
          <p:nvPr/>
        </p:nvSpPr>
        <p:spPr>
          <a:xfrm>
            <a:off x="4219235" y="1128391"/>
            <a:ext cx="37484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132">
            <a:extLst>
              <a:ext uri="{FF2B5EF4-FFF2-40B4-BE49-F238E27FC236}">
                <a16:creationId xmlns:a16="http://schemas.microsoft.com/office/drawing/2014/main" id="{57D09B25-F538-6F47-84E8-E28E3709950A}"/>
              </a:ext>
            </a:extLst>
          </p:cNvPr>
          <p:cNvSpPr/>
          <p:nvPr/>
        </p:nvSpPr>
        <p:spPr>
          <a:xfrm>
            <a:off x="4219235" y="1767581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33">
            <a:extLst>
              <a:ext uri="{FF2B5EF4-FFF2-40B4-BE49-F238E27FC236}">
                <a16:creationId xmlns:a16="http://schemas.microsoft.com/office/drawing/2014/main" id="{0FA3D550-6C54-CE14-AD85-E2F258491227}"/>
              </a:ext>
            </a:extLst>
          </p:cNvPr>
          <p:cNvSpPr/>
          <p:nvPr/>
        </p:nvSpPr>
        <p:spPr>
          <a:xfrm>
            <a:off x="337045" y="2716560"/>
            <a:ext cx="37440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34">
            <a:extLst>
              <a:ext uri="{FF2B5EF4-FFF2-40B4-BE49-F238E27FC236}">
                <a16:creationId xmlns:a16="http://schemas.microsoft.com/office/drawing/2014/main" id="{2A6405B7-D192-11AC-0BE5-88329937F4A4}"/>
              </a:ext>
            </a:extLst>
          </p:cNvPr>
          <p:cNvSpPr/>
          <p:nvPr/>
        </p:nvSpPr>
        <p:spPr>
          <a:xfrm>
            <a:off x="337045" y="3355750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35">
            <a:extLst>
              <a:ext uri="{FF2B5EF4-FFF2-40B4-BE49-F238E27FC236}">
                <a16:creationId xmlns:a16="http://schemas.microsoft.com/office/drawing/2014/main" id="{27B694F7-7F2A-AEF1-2782-B9A4BAD6824A}"/>
              </a:ext>
            </a:extLst>
          </p:cNvPr>
          <p:cNvSpPr/>
          <p:nvPr/>
        </p:nvSpPr>
        <p:spPr>
          <a:xfrm>
            <a:off x="4219235" y="2716560"/>
            <a:ext cx="374842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36">
            <a:extLst>
              <a:ext uri="{FF2B5EF4-FFF2-40B4-BE49-F238E27FC236}">
                <a16:creationId xmlns:a16="http://schemas.microsoft.com/office/drawing/2014/main" id="{FEAC10E5-DEB6-81C1-C86F-DB6BF0719AD9}"/>
              </a:ext>
            </a:extLst>
          </p:cNvPr>
          <p:cNvSpPr/>
          <p:nvPr/>
        </p:nvSpPr>
        <p:spPr>
          <a:xfrm>
            <a:off x="4219235" y="3355750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37">
            <a:extLst>
              <a:ext uri="{FF2B5EF4-FFF2-40B4-BE49-F238E27FC236}">
                <a16:creationId xmlns:a16="http://schemas.microsoft.com/office/drawing/2014/main" id="{9A85C466-5193-E3A9-7C3E-F28D98F83489}"/>
              </a:ext>
            </a:extLst>
          </p:cNvPr>
          <p:cNvSpPr/>
          <p:nvPr/>
        </p:nvSpPr>
        <p:spPr>
          <a:xfrm>
            <a:off x="337045" y="4288686"/>
            <a:ext cx="3744028" cy="6532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38">
            <a:extLst>
              <a:ext uri="{FF2B5EF4-FFF2-40B4-BE49-F238E27FC236}">
                <a16:creationId xmlns:a16="http://schemas.microsoft.com/office/drawing/2014/main" id="{CFC7FF39-4028-F1B8-951A-12E326848978}"/>
              </a:ext>
            </a:extLst>
          </p:cNvPr>
          <p:cNvSpPr/>
          <p:nvPr/>
        </p:nvSpPr>
        <p:spPr>
          <a:xfrm>
            <a:off x="337045" y="4927877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9">
            <a:extLst>
              <a:ext uri="{FF2B5EF4-FFF2-40B4-BE49-F238E27FC236}">
                <a16:creationId xmlns:a16="http://schemas.microsoft.com/office/drawing/2014/main" id="{68535829-A7B2-A7D4-0245-32525A79052B}"/>
              </a:ext>
            </a:extLst>
          </p:cNvPr>
          <p:cNvSpPr/>
          <p:nvPr/>
        </p:nvSpPr>
        <p:spPr>
          <a:xfrm>
            <a:off x="4219235" y="4288686"/>
            <a:ext cx="3744028" cy="6532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0">
            <a:extLst>
              <a:ext uri="{FF2B5EF4-FFF2-40B4-BE49-F238E27FC236}">
                <a16:creationId xmlns:a16="http://schemas.microsoft.com/office/drawing/2014/main" id="{EF0C2A9F-0B73-2732-0442-C19790845746}"/>
              </a:ext>
            </a:extLst>
          </p:cNvPr>
          <p:cNvSpPr/>
          <p:nvPr/>
        </p:nvSpPr>
        <p:spPr>
          <a:xfrm>
            <a:off x="4219235" y="4927877"/>
            <a:ext cx="3744028" cy="7994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object 23">
            <a:extLst>
              <a:ext uri="{FF2B5EF4-FFF2-40B4-BE49-F238E27FC236}">
                <a16:creationId xmlns:a16="http://schemas.microsoft.com/office/drawing/2014/main" id="{CE92AB5C-708B-E997-37AE-17DBA6A82787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0919" y="3507203"/>
            <a:ext cx="3742707" cy="2225858"/>
          </a:xfrm>
          <a:prstGeom prst="rect">
            <a:avLst/>
          </a:prstGeom>
        </p:spPr>
      </p:pic>
      <p:pic>
        <p:nvPicPr>
          <p:cNvPr id="17" name="object 24">
            <a:extLst>
              <a:ext uri="{FF2B5EF4-FFF2-40B4-BE49-F238E27FC236}">
                <a16:creationId xmlns:a16="http://schemas.microsoft.com/office/drawing/2014/main" id="{40F9FFA1-31A1-4158-38D2-1F8A16AAE6D2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0919" y="1128391"/>
            <a:ext cx="3742707" cy="2236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5407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E0217E70-6797-322F-3BCB-D5E6A1429D89}"/>
              </a:ext>
            </a:extLst>
          </p:cNvPr>
          <p:cNvSpPr/>
          <p:nvPr/>
        </p:nvSpPr>
        <p:spPr>
          <a:xfrm>
            <a:off x="337045" y="1128390"/>
            <a:ext cx="3744028" cy="143636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3">
            <a:extLst>
              <a:ext uri="{FF2B5EF4-FFF2-40B4-BE49-F238E27FC236}">
                <a16:creationId xmlns:a16="http://schemas.microsoft.com/office/drawing/2014/main" id="{0046D5CE-4E81-7F73-A06A-858DD18622AA}"/>
              </a:ext>
            </a:extLst>
          </p:cNvPr>
          <p:cNvSpPr/>
          <p:nvPr/>
        </p:nvSpPr>
        <p:spPr>
          <a:xfrm>
            <a:off x="337045" y="2716559"/>
            <a:ext cx="3744028" cy="142720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object 23">
            <a:extLst>
              <a:ext uri="{FF2B5EF4-FFF2-40B4-BE49-F238E27FC236}">
                <a16:creationId xmlns:a16="http://schemas.microsoft.com/office/drawing/2014/main" id="{31E6EBCB-4A2B-2530-5BF9-CD47D1B39C45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0919" y="3507203"/>
            <a:ext cx="3742707" cy="2225858"/>
          </a:xfrm>
          <a:prstGeom prst="rect">
            <a:avLst/>
          </a:prstGeom>
        </p:spPr>
      </p:pic>
      <p:pic>
        <p:nvPicPr>
          <p:cNvPr id="7" name="object 24">
            <a:extLst>
              <a:ext uri="{FF2B5EF4-FFF2-40B4-BE49-F238E27FC236}">
                <a16:creationId xmlns:a16="http://schemas.microsoft.com/office/drawing/2014/main" id="{8CABA772-A06E-5253-9EA9-E51318E91530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0919" y="1128391"/>
            <a:ext cx="3742707" cy="2236169"/>
          </a:xfrm>
          <a:prstGeom prst="rect">
            <a:avLst/>
          </a:prstGeom>
        </p:spPr>
      </p:pic>
      <p:sp>
        <p:nvSpPr>
          <p:cNvPr id="8" name="Прямоугольник 143">
            <a:extLst>
              <a:ext uri="{FF2B5EF4-FFF2-40B4-BE49-F238E27FC236}">
                <a16:creationId xmlns:a16="http://schemas.microsoft.com/office/drawing/2014/main" id="{CD8CC55E-6363-3319-7746-EB9B78A6D662}"/>
              </a:ext>
            </a:extLst>
          </p:cNvPr>
          <p:cNvSpPr/>
          <p:nvPr/>
        </p:nvSpPr>
        <p:spPr>
          <a:xfrm>
            <a:off x="4235276" y="1128390"/>
            <a:ext cx="3744028" cy="143636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144">
            <a:extLst>
              <a:ext uri="{FF2B5EF4-FFF2-40B4-BE49-F238E27FC236}">
                <a16:creationId xmlns:a16="http://schemas.microsoft.com/office/drawing/2014/main" id="{74FF7EE5-0306-B743-DAAF-6486619949A1}"/>
              </a:ext>
            </a:extLst>
          </p:cNvPr>
          <p:cNvSpPr/>
          <p:nvPr/>
        </p:nvSpPr>
        <p:spPr>
          <a:xfrm>
            <a:off x="4235276" y="2716559"/>
            <a:ext cx="3744028" cy="142720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45">
            <a:extLst>
              <a:ext uri="{FF2B5EF4-FFF2-40B4-BE49-F238E27FC236}">
                <a16:creationId xmlns:a16="http://schemas.microsoft.com/office/drawing/2014/main" id="{03BB0653-D0BD-AD6B-4453-62F67366FBC5}"/>
              </a:ext>
            </a:extLst>
          </p:cNvPr>
          <p:cNvSpPr/>
          <p:nvPr/>
        </p:nvSpPr>
        <p:spPr>
          <a:xfrm>
            <a:off x="4235276" y="4288686"/>
            <a:ext cx="3744028" cy="1445363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R="966469">
              <a:spcBef>
                <a:spcPts val="600"/>
              </a:spcBef>
            </a:pP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3">
            <a:extLst>
              <a:ext uri="{FF2B5EF4-FFF2-40B4-BE49-F238E27FC236}">
                <a16:creationId xmlns:a16="http://schemas.microsoft.com/office/drawing/2014/main" id="{F553C3E8-D45F-E57D-763A-01898D69BA49}"/>
              </a:ext>
            </a:extLst>
          </p:cNvPr>
          <p:cNvSpPr/>
          <p:nvPr/>
        </p:nvSpPr>
        <p:spPr>
          <a:xfrm>
            <a:off x="334963" y="4288686"/>
            <a:ext cx="3744028" cy="1445363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  <a:defRPr/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FAC2E2-F676-264E-3817-DB3CE5E3378B}"/>
              </a:ext>
            </a:extLst>
          </p:cNvPr>
          <p:cNvSpPr txBox="1"/>
          <p:nvPr/>
        </p:nvSpPr>
        <p:spPr>
          <a:xfrm>
            <a:off x="337046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0668806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02BF7A-8FCA-E525-A8C4-9418B79E7D48}"/>
              </a:ext>
            </a:extLst>
          </p:cNvPr>
          <p:cNvSpPr txBox="1"/>
          <p:nvPr/>
        </p:nvSpPr>
        <p:spPr>
          <a:xfrm>
            <a:off x="337045" y="280307"/>
            <a:ext cx="1165175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29">
            <a:extLst>
              <a:ext uri="{FF2B5EF4-FFF2-40B4-BE49-F238E27FC236}">
                <a16:creationId xmlns:a16="http://schemas.microsoft.com/office/drawing/2014/main" id="{90E2846E-40E5-FD73-3E18-F9FE15B79E71}"/>
              </a:ext>
            </a:extLst>
          </p:cNvPr>
          <p:cNvSpPr/>
          <p:nvPr/>
        </p:nvSpPr>
        <p:spPr>
          <a:xfrm>
            <a:off x="3249301" y="1128391"/>
            <a:ext cx="277490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30">
            <a:extLst>
              <a:ext uri="{FF2B5EF4-FFF2-40B4-BE49-F238E27FC236}">
                <a16:creationId xmlns:a16="http://schemas.microsoft.com/office/drawing/2014/main" id="{97F5E15D-DED4-2C2E-BC68-71842D23C882}"/>
              </a:ext>
            </a:extLst>
          </p:cNvPr>
          <p:cNvSpPr/>
          <p:nvPr/>
        </p:nvSpPr>
        <p:spPr>
          <a:xfrm>
            <a:off x="3249096" y="1767581"/>
            <a:ext cx="2773792" cy="15900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  <a:p>
            <a:pPr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131">
            <a:extLst>
              <a:ext uri="{FF2B5EF4-FFF2-40B4-BE49-F238E27FC236}">
                <a16:creationId xmlns:a16="http://schemas.microsoft.com/office/drawing/2014/main" id="{76794216-E216-C631-8132-69B82843389B}"/>
              </a:ext>
            </a:extLst>
          </p:cNvPr>
          <p:cNvSpPr/>
          <p:nvPr/>
        </p:nvSpPr>
        <p:spPr>
          <a:xfrm>
            <a:off x="9082486" y="1128391"/>
            <a:ext cx="277113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32">
            <a:extLst>
              <a:ext uri="{FF2B5EF4-FFF2-40B4-BE49-F238E27FC236}">
                <a16:creationId xmlns:a16="http://schemas.microsoft.com/office/drawing/2014/main" id="{23E1A150-7E8A-29BD-B3B1-4C915AF3D07D}"/>
              </a:ext>
            </a:extLst>
          </p:cNvPr>
          <p:cNvSpPr/>
          <p:nvPr/>
        </p:nvSpPr>
        <p:spPr>
          <a:xfrm>
            <a:off x="9082486" y="1767580"/>
            <a:ext cx="2771138" cy="15900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  <a:p>
            <a:pPr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143">
            <a:extLst>
              <a:ext uri="{FF2B5EF4-FFF2-40B4-BE49-F238E27FC236}">
                <a16:creationId xmlns:a16="http://schemas.microsoft.com/office/drawing/2014/main" id="{42222EAE-C051-578C-7A70-BB01B9894052}"/>
              </a:ext>
            </a:extLst>
          </p:cNvPr>
          <p:cNvSpPr/>
          <p:nvPr/>
        </p:nvSpPr>
        <p:spPr>
          <a:xfrm>
            <a:off x="3249771" y="3502623"/>
            <a:ext cx="277443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45">
            <a:extLst>
              <a:ext uri="{FF2B5EF4-FFF2-40B4-BE49-F238E27FC236}">
                <a16:creationId xmlns:a16="http://schemas.microsoft.com/office/drawing/2014/main" id="{7E57F230-FD46-2DA3-436F-1965E12B6C35}"/>
              </a:ext>
            </a:extLst>
          </p:cNvPr>
          <p:cNvSpPr/>
          <p:nvPr/>
        </p:nvSpPr>
        <p:spPr>
          <a:xfrm>
            <a:off x="9082486" y="3502623"/>
            <a:ext cx="277113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10" name="object 29">
            <a:extLst>
              <a:ext uri="{FF2B5EF4-FFF2-40B4-BE49-F238E27FC236}">
                <a16:creationId xmlns:a16="http://schemas.microsoft.com/office/drawing/2014/main" id="{9DC77DFC-3117-C1DD-1207-C7193DAA5BB0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044" y="1126088"/>
            <a:ext cx="2769811" cy="2231585"/>
          </a:xfrm>
          <a:prstGeom prst="rect">
            <a:avLst/>
          </a:prstGeom>
        </p:spPr>
      </p:pic>
      <p:pic>
        <p:nvPicPr>
          <p:cNvPr id="11" name="object 10">
            <a:extLst>
              <a:ext uri="{FF2B5EF4-FFF2-40B4-BE49-F238E27FC236}">
                <a16:creationId xmlns:a16="http://schemas.microsoft.com/office/drawing/2014/main" id="{C338756A-275B-4922-DF3C-063B6353169B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245" y="3498017"/>
            <a:ext cx="2761283" cy="2231590"/>
          </a:xfrm>
          <a:prstGeom prst="rect">
            <a:avLst/>
          </a:prstGeom>
        </p:spPr>
      </p:pic>
      <p:pic>
        <p:nvPicPr>
          <p:cNvPr id="12" name="object 19">
            <a:extLst>
              <a:ext uri="{FF2B5EF4-FFF2-40B4-BE49-F238E27FC236}">
                <a16:creationId xmlns:a16="http://schemas.microsoft.com/office/drawing/2014/main" id="{7977ACD4-80F8-6705-9F86-8475C7B305DC}"/>
              </a:ext>
            </a:extLst>
          </p:cNvPr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7821" y="3495725"/>
            <a:ext cx="2757272" cy="2240958"/>
          </a:xfrm>
          <a:prstGeom prst="rect">
            <a:avLst/>
          </a:prstGeom>
        </p:spPr>
      </p:pic>
      <p:pic>
        <p:nvPicPr>
          <p:cNvPr id="13" name="object 28">
            <a:extLst>
              <a:ext uri="{FF2B5EF4-FFF2-40B4-BE49-F238E27FC236}">
                <a16:creationId xmlns:a16="http://schemas.microsoft.com/office/drawing/2014/main" id="{62F0C165-BD6B-ED5B-1EF4-92ACEFCACA43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7821" y="1126088"/>
            <a:ext cx="2769811" cy="2236188"/>
          </a:xfrm>
          <a:prstGeom prst="rect">
            <a:avLst/>
          </a:prstGeom>
        </p:spPr>
      </p:pic>
      <p:sp>
        <p:nvSpPr>
          <p:cNvPr id="14" name="Прямоугольник 151">
            <a:extLst>
              <a:ext uri="{FF2B5EF4-FFF2-40B4-BE49-F238E27FC236}">
                <a16:creationId xmlns:a16="http://schemas.microsoft.com/office/drawing/2014/main" id="{F6726209-A933-8D15-5984-ED79D158A56A}"/>
              </a:ext>
            </a:extLst>
          </p:cNvPr>
          <p:cNvSpPr/>
          <p:nvPr/>
        </p:nvSpPr>
        <p:spPr>
          <a:xfrm>
            <a:off x="3249096" y="4141814"/>
            <a:ext cx="2773792" cy="15900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*</a:t>
            </a:r>
          </a:p>
          <a:p>
            <a:pPr lvl="0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52">
            <a:extLst>
              <a:ext uri="{FF2B5EF4-FFF2-40B4-BE49-F238E27FC236}">
                <a16:creationId xmlns:a16="http://schemas.microsoft.com/office/drawing/2014/main" id="{F2ABEBD0-6205-8AAF-1695-53E375B5A7FF}"/>
              </a:ext>
            </a:extLst>
          </p:cNvPr>
          <p:cNvSpPr/>
          <p:nvPr/>
        </p:nvSpPr>
        <p:spPr>
          <a:xfrm>
            <a:off x="9082486" y="4141813"/>
            <a:ext cx="2771138" cy="15900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E2E675-5484-BE7E-429C-7D2DC01960BA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</p:spTree>
    <p:extLst>
      <p:ext uri="{BB962C8B-B14F-4D97-AF65-F5344CB8AC3E}">
        <p14:creationId xmlns:p14="http://schemas.microsoft.com/office/powerpoint/2010/main" val="3130822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3" name="Прямоугольник 154">
            <a:extLst>
              <a:ext uri="{FF2B5EF4-FFF2-40B4-BE49-F238E27FC236}">
                <a16:creationId xmlns:a16="http://schemas.microsoft.com/office/drawing/2014/main" id="{DE6F00F2-93F3-EA90-7B9C-944D7B5CF8C1}"/>
              </a:ext>
            </a:extLst>
          </p:cNvPr>
          <p:cNvSpPr/>
          <p:nvPr/>
        </p:nvSpPr>
        <p:spPr>
          <a:xfrm>
            <a:off x="8118970" y="1132030"/>
            <a:ext cx="3743377" cy="459757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874C90-0FF3-E73C-6B79-A7641FFC37C9}"/>
              </a:ext>
            </a:extLst>
          </p:cNvPr>
          <p:cNvSpPr txBox="1"/>
          <p:nvPr/>
        </p:nvSpPr>
        <p:spPr>
          <a:xfrm>
            <a:off x="8292956" y="1313045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63582B-0D7F-F4E7-8A31-72E485F1A545}"/>
              </a:ext>
            </a:extLst>
          </p:cNvPr>
          <p:cNvSpPr txBox="1"/>
          <p:nvPr/>
        </p:nvSpPr>
        <p:spPr>
          <a:xfrm>
            <a:off x="8292956" y="2438351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E7A435-CFB7-B6E2-D6BF-4BA77DAD4765}"/>
              </a:ext>
            </a:extLst>
          </p:cNvPr>
          <p:cNvSpPr txBox="1"/>
          <p:nvPr/>
        </p:nvSpPr>
        <p:spPr>
          <a:xfrm>
            <a:off x="8292956" y="3563657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75009A-17D6-BCF5-17A4-AE6ADCCBB907}"/>
              </a:ext>
            </a:extLst>
          </p:cNvPr>
          <p:cNvSpPr txBox="1"/>
          <p:nvPr/>
        </p:nvSpPr>
        <p:spPr>
          <a:xfrm>
            <a:off x="8292956" y="4688962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DF5B27-0A97-811B-F0D2-2748D55FD3F9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9" name="Прямоугольник 23">
            <a:extLst>
              <a:ext uri="{FF2B5EF4-FFF2-40B4-BE49-F238E27FC236}">
                <a16:creationId xmlns:a16="http://schemas.microsoft.com/office/drawing/2014/main" id="{B65692EE-6E42-A41F-639F-9F3BF9BF32D4}"/>
              </a:ext>
            </a:extLst>
          </p:cNvPr>
          <p:cNvSpPr/>
          <p:nvPr/>
        </p:nvSpPr>
        <p:spPr>
          <a:xfrm>
            <a:off x="337043" y="3496088"/>
            <a:ext cx="3743377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Прямоугольник 24">
            <a:extLst>
              <a:ext uri="{FF2B5EF4-FFF2-40B4-BE49-F238E27FC236}">
                <a16:creationId xmlns:a16="http://schemas.microsoft.com/office/drawing/2014/main" id="{DF23B0FD-9C0B-EFB7-23E4-0547E7732838}"/>
              </a:ext>
            </a:extLst>
          </p:cNvPr>
          <p:cNvSpPr/>
          <p:nvPr/>
        </p:nvSpPr>
        <p:spPr>
          <a:xfrm>
            <a:off x="4213397" y="3496088"/>
            <a:ext cx="3754266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27">
            <a:extLst>
              <a:ext uri="{FF2B5EF4-FFF2-40B4-BE49-F238E27FC236}">
                <a16:creationId xmlns:a16="http://schemas.microsoft.com/office/drawing/2014/main" id="{0F67F8FC-846B-7DC9-7278-B25D2ABC8AED}"/>
              </a:ext>
            </a:extLst>
          </p:cNvPr>
          <p:cNvSpPr/>
          <p:nvPr/>
        </p:nvSpPr>
        <p:spPr>
          <a:xfrm>
            <a:off x="337043" y="1132030"/>
            <a:ext cx="3743377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2" name="Прямоугольник 28">
            <a:extLst>
              <a:ext uri="{FF2B5EF4-FFF2-40B4-BE49-F238E27FC236}">
                <a16:creationId xmlns:a16="http://schemas.microsoft.com/office/drawing/2014/main" id="{0113533F-55DD-5B21-D791-B4CED1533C88}"/>
              </a:ext>
            </a:extLst>
          </p:cNvPr>
          <p:cNvSpPr/>
          <p:nvPr/>
        </p:nvSpPr>
        <p:spPr>
          <a:xfrm>
            <a:off x="4213397" y="1132030"/>
            <a:ext cx="3754266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Прямоугольник 29">
            <a:extLst>
              <a:ext uri="{FF2B5EF4-FFF2-40B4-BE49-F238E27FC236}">
                <a16:creationId xmlns:a16="http://schemas.microsoft.com/office/drawing/2014/main" id="{C3486913-A292-3BBC-8B74-66DCBC8DCF87}"/>
              </a:ext>
            </a:extLst>
          </p:cNvPr>
          <p:cNvSpPr/>
          <p:nvPr/>
        </p:nvSpPr>
        <p:spPr>
          <a:xfrm>
            <a:off x="342484" y="1783193"/>
            <a:ext cx="3745988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рямоугольник 30">
            <a:extLst>
              <a:ext uri="{FF2B5EF4-FFF2-40B4-BE49-F238E27FC236}">
                <a16:creationId xmlns:a16="http://schemas.microsoft.com/office/drawing/2014/main" id="{55A80E9D-C50C-746A-46BE-05803D557D49}"/>
              </a:ext>
            </a:extLst>
          </p:cNvPr>
          <p:cNvSpPr/>
          <p:nvPr/>
        </p:nvSpPr>
        <p:spPr>
          <a:xfrm>
            <a:off x="4213397" y="1783193"/>
            <a:ext cx="3743376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Прямоугольник 16">
            <a:extLst>
              <a:ext uri="{FF2B5EF4-FFF2-40B4-BE49-F238E27FC236}">
                <a16:creationId xmlns:a16="http://schemas.microsoft.com/office/drawing/2014/main" id="{4C9A4973-CE71-7EB9-5992-FB8F183F6E92}"/>
              </a:ext>
            </a:extLst>
          </p:cNvPr>
          <p:cNvSpPr/>
          <p:nvPr/>
        </p:nvSpPr>
        <p:spPr>
          <a:xfrm>
            <a:off x="342484" y="4145713"/>
            <a:ext cx="3745988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  <p:sp>
        <p:nvSpPr>
          <p:cNvPr id="16" name="Прямоугольник 17">
            <a:extLst>
              <a:ext uri="{FF2B5EF4-FFF2-40B4-BE49-F238E27FC236}">
                <a16:creationId xmlns:a16="http://schemas.microsoft.com/office/drawing/2014/main" id="{6A6B1579-C60B-F668-3A0C-5CBD2CDA2182}"/>
              </a:ext>
            </a:extLst>
          </p:cNvPr>
          <p:cNvSpPr/>
          <p:nvPr/>
        </p:nvSpPr>
        <p:spPr>
          <a:xfrm>
            <a:off x="4213397" y="4145713"/>
            <a:ext cx="3754266" cy="1585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</p:spTree>
    <p:extLst>
      <p:ext uri="{BB962C8B-B14F-4D97-AF65-F5344CB8AC3E}">
        <p14:creationId xmlns:p14="http://schemas.microsoft.com/office/powerpoint/2010/main" val="20352259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4F549A-9371-2F7C-0D66-365BF6423D8D}"/>
              </a:ext>
            </a:extLst>
          </p:cNvPr>
          <p:cNvSpPr txBox="1"/>
          <p:nvPr/>
        </p:nvSpPr>
        <p:spPr>
          <a:xfrm>
            <a:off x="337045" y="280307"/>
            <a:ext cx="1165175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977B19B3-8BE0-245B-C9EA-3D1C0E7458E8}"/>
              </a:ext>
            </a:extLst>
          </p:cNvPr>
          <p:cNvSpPr/>
          <p:nvPr/>
        </p:nvSpPr>
        <p:spPr>
          <a:xfrm>
            <a:off x="352445" y="2258829"/>
            <a:ext cx="3744028" cy="39374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object 7">
            <a:extLst>
              <a:ext uri="{FF2B5EF4-FFF2-40B4-BE49-F238E27FC236}">
                <a16:creationId xmlns:a16="http://schemas.microsoft.com/office/drawing/2014/main" id="{385742EF-D011-0BC6-4690-CAD7710DC6EC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7881" y="1124404"/>
            <a:ext cx="3739781" cy="2229285"/>
          </a:xfrm>
          <a:prstGeom prst="rect">
            <a:avLst/>
          </a:prstGeom>
        </p:spPr>
      </p:pic>
      <p:pic>
        <p:nvPicPr>
          <p:cNvPr id="6" name="object 8">
            <a:extLst>
              <a:ext uri="{FF2B5EF4-FFF2-40B4-BE49-F238E27FC236}">
                <a16:creationId xmlns:a16="http://schemas.microsoft.com/office/drawing/2014/main" id="{5BF76040-0073-7677-CE1C-DE320926083D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7881" y="3501773"/>
            <a:ext cx="3739781" cy="2699001"/>
          </a:xfrm>
          <a:prstGeom prst="rect">
            <a:avLst/>
          </a:prstGeom>
        </p:spPr>
      </p:pic>
      <p:pic>
        <p:nvPicPr>
          <p:cNvPr id="7" name="object 9">
            <a:extLst>
              <a:ext uri="{FF2B5EF4-FFF2-40B4-BE49-F238E27FC236}">
                <a16:creationId xmlns:a16="http://schemas.microsoft.com/office/drawing/2014/main" id="{454EA3B6-FE61-694F-650A-C2DDFA51C615}"/>
              </a:ext>
            </a:extLst>
          </p:cNvPr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2125" y="3501773"/>
            <a:ext cx="3728242" cy="2699001"/>
          </a:xfrm>
          <a:prstGeom prst="rect">
            <a:avLst/>
          </a:prstGeom>
        </p:spPr>
      </p:pic>
      <p:pic>
        <p:nvPicPr>
          <p:cNvPr id="8" name="object 11">
            <a:extLst>
              <a:ext uri="{FF2B5EF4-FFF2-40B4-BE49-F238E27FC236}">
                <a16:creationId xmlns:a16="http://schemas.microsoft.com/office/drawing/2014/main" id="{A3D2197A-EA11-FCE2-0BC2-049F3F2FEBAA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8112125" y="1124404"/>
            <a:ext cx="3741500" cy="2229285"/>
          </a:xfrm>
          <a:prstGeom prst="rect">
            <a:avLst/>
          </a:prstGeom>
        </p:spPr>
      </p:pic>
      <p:sp>
        <p:nvSpPr>
          <p:cNvPr id="9" name="Прямоугольник 123">
            <a:extLst>
              <a:ext uri="{FF2B5EF4-FFF2-40B4-BE49-F238E27FC236}">
                <a16:creationId xmlns:a16="http://schemas.microsoft.com/office/drawing/2014/main" id="{454FEC82-326F-F2F8-57C8-F114A9F221A4}"/>
              </a:ext>
            </a:extLst>
          </p:cNvPr>
          <p:cNvSpPr/>
          <p:nvPr/>
        </p:nvSpPr>
        <p:spPr>
          <a:xfrm>
            <a:off x="352445" y="2252615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0" name="Прямоугольник 124">
            <a:extLst>
              <a:ext uri="{FF2B5EF4-FFF2-40B4-BE49-F238E27FC236}">
                <a16:creationId xmlns:a16="http://schemas.microsoft.com/office/drawing/2014/main" id="{62CF541B-EA6A-9B3E-A9EF-3B6094BC0B30}"/>
              </a:ext>
            </a:extLst>
          </p:cNvPr>
          <p:cNvSpPr/>
          <p:nvPr/>
        </p:nvSpPr>
        <p:spPr>
          <a:xfrm>
            <a:off x="352445" y="3507123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</a:t>
            </a:r>
            <a: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 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1" name="Прямоугольник 125">
            <a:extLst>
              <a:ext uri="{FF2B5EF4-FFF2-40B4-BE49-F238E27FC236}">
                <a16:creationId xmlns:a16="http://schemas.microsoft.com/office/drawing/2014/main" id="{B0BF8CF4-081A-3E2B-2CF7-1531ED2A5312}"/>
              </a:ext>
            </a:extLst>
          </p:cNvPr>
          <p:cNvSpPr/>
          <p:nvPr/>
        </p:nvSpPr>
        <p:spPr>
          <a:xfrm>
            <a:off x="352445" y="476163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0" tIns="144000" rIns="144000" bIns="14400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br>
              <a:rPr lang="ru-RU" sz="3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lang="ru-RU" sz="20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R="966469"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 </a:t>
            </a:r>
          </a:p>
        </p:txBody>
      </p:sp>
      <p:sp>
        <p:nvSpPr>
          <p:cNvPr id="12" name="Прямоугольник 127">
            <a:extLst>
              <a:ext uri="{FF2B5EF4-FFF2-40B4-BE49-F238E27FC236}">
                <a16:creationId xmlns:a16="http://schemas.microsoft.com/office/drawing/2014/main" id="{EE6F65A7-6903-9E1D-F20E-878E091BC733}"/>
              </a:ext>
            </a:extLst>
          </p:cNvPr>
          <p:cNvSpPr/>
          <p:nvPr/>
        </p:nvSpPr>
        <p:spPr>
          <a:xfrm>
            <a:off x="337045" y="1128389"/>
            <a:ext cx="3744028" cy="113043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33918429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21B2CA-DDAD-1F43-BF2E-2EFA679B9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E7E7A3-AB8B-DFDB-F3B8-B7B61FC6EF44}"/>
              </a:ext>
            </a:extLst>
          </p:cNvPr>
          <p:cNvSpPr txBox="1"/>
          <p:nvPr/>
        </p:nvSpPr>
        <p:spPr>
          <a:xfrm>
            <a:off x="337045" y="280307"/>
            <a:ext cx="918972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7E7E7E"/>
                </a:solidFill>
                <a:latin typeface="GPN_DIN Condensed Bold" panose="020B0706020202020204" pitchFamily="34" charset="77"/>
                <a:ea typeface="GPN_DIN Condensed Bold" panose="020B0706020202020204" pitchFamily="34" charset="77"/>
              </a:defRPr>
            </a:lvl1pPr>
          </a:lstStyle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4">
            <a:extLst>
              <a:ext uri="{FF2B5EF4-FFF2-40B4-BE49-F238E27FC236}">
                <a16:creationId xmlns:a16="http://schemas.microsoft.com/office/drawing/2014/main" id="{26492278-4087-793F-0EB9-294527721134}"/>
              </a:ext>
            </a:extLst>
          </p:cNvPr>
          <p:cNvSpPr/>
          <p:nvPr/>
        </p:nvSpPr>
        <p:spPr>
          <a:xfrm>
            <a:off x="337045" y="1776389"/>
            <a:ext cx="4715597" cy="395321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.</a:t>
            </a:r>
          </a:p>
          <a:p>
            <a:pPr marL="12700">
              <a:spcBef>
                <a:spcPts val="600"/>
              </a:spcBef>
            </a:pPr>
            <a:r>
              <a:rPr lang="ru-RU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: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6400" indent="-176400">
              <a:spcBef>
                <a:spcPts val="600"/>
              </a:spcBef>
              <a:buFont typeface="Wingdings"/>
              <a:buChar char="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400" dirty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134">
            <a:extLst>
              <a:ext uri="{FF2B5EF4-FFF2-40B4-BE49-F238E27FC236}">
                <a16:creationId xmlns:a16="http://schemas.microsoft.com/office/drawing/2014/main" id="{012D5C4C-42B3-4F89-788E-201FF49ABF95}"/>
              </a:ext>
            </a:extLst>
          </p:cNvPr>
          <p:cNvSpPr/>
          <p:nvPr/>
        </p:nvSpPr>
        <p:spPr>
          <a:xfrm>
            <a:off x="337045" y="1128389"/>
            <a:ext cx="4715597" cy="6479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6" name="Прямоугольник 124">
            <a:extLst>
              <a:ext uri="{FF2B5EF4-FFF2-40B4-BE49-F238E27FC236}">
                <a16:creationId xmlns:a16="http://schemas.microsoft.com/office/drawing/2014/main" id="{AEA0D6C4-AD1A-278F-A46A-18150761504B}"/>
              </a:ext>
            </a:extLst>
          </p:cNvPr>
          <p:cNvSpPr/>
          <p:nvPr/>
        </p:nvSpPr>
        <p:spPr>
          <a:xfrm>
            <a:off x="337045" y="5157409"/>
            <a:ext cx="4715597" cy="65244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РТ – СЕНТЯБРЬ </a:t>
            </a:r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Г.</a:t>
            </a:r>
          </a:p>
        </p:txBody>
      </p:sp>
      <p:pic>
        <p:nvPicPr>
          <p:cNvPr id="7" name="object 27">
            <a:extLst>
              <a:ext uri="{FF2B5EF4-FFF2-40B4-BE49-F238E27FC236}">
                <a16:creationId xmlns:a16="http://schemas.microsoft.com/office/drawing/2014/main" id="{6B3D925D-E36A-3A68-4E57-11A0F197D298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5498" y="1123950"/>
            <a:ext cx="2772165" cy="2233724"/>
          </a:xfrm>
          <a:prstGeom prst="rect">
            <a:avLst/>
          </a:prstGeom>
        </p:spPr>
      </p:pic>
      <p:pic>
        <p:nvPicPr>
          <p:cNvPr id="8" name="object 28">
            <a:extLst>
              <a:ext uri="{FF2B5EF4-FFF2-40B4-BE49-F238E27FC236}">
                <a16:creationId xmlns:a16="http://schemas.microsoft.com/office/drawing/2014/main" id="{255F714B-BD83-A7CA-740A-EAD3A952BF9E}"/>
              </a:ext>
            </a:extLst>
          </p:cNvPr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5498" y="3579436"/>
            <a:ext cx="2772165" cy="2230415"/>
          </a:xfrm>
          <a:prstGeom prst="rect">
            <a:avLst/>
          </a:prstGeom>
        </p:spPr>
      </p:pic>
      <p:sp>
        <p:nvSpPr>
          <p:cNvPr id="9" name="Прямоугольник 127">
            <a:extLst>
              <a:ext uri="{FF2B5EF4-FFF2-40B4-BE49-F238E27FC236}">
                <a16:creationId xmlns:a16="http://schemas.microsoft.com/office/drawing/2014/main" id="{1E97426E-BAD7-6201-0D89-B480DE703905}"/>
              </a:ext>
            </a:extLst>
          </p:cNvPr>
          <p:cNvSpPr/>
          <p:nvPr/>
        </p:nvSpPr>
        <p:spPr>
          <a:xfrm>
            <a:off x="8109584" y="1128390"/>
            <a:ext cx="3747453" cy="460566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128">
            <a:extLst>
              <a:ext uri="{FF2B5EF4-FFF2-40B4-BE49-F238E27FC236}">
                <a16:creationId xmlns:a16="http://schemas.microsoft.com/office/drawing/2014/main" id="{0863C958-1FE1-ACE1-1634-646DBCD79EAA}"/>
              </a:ext>
            </a:extLst>
          </p:cNvPr>
          <p:cNvSpPr/>
          <p:nvPr/>
        </p:nvSpPr>
        <p:spPr>
          <a:xfrm>
            <a:off x="8251825" y="954484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с + 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Прямоугольник 129">
            <a:extLst>
              <a:ext uri="{FF2B5EF4-FFF2-40B4-BE49-F238E27FC236}">
                <a16:creationId xmlns:a16="http://schemas.microsoft.com/office/drawing/2014/main" id="{AFCFF89F-52C6-F1C6-AD6B-34D3D68D397B}"/>
              </a:ext>
            </a:extLst>
          </p:cNvPr>
          <p:cNvSpPr/>
          <p:nvPr/>
        </p:nvSpPr>
        <p:spPr>
          <a:xfrm>
            <a:off x="8251825" y="2082593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ыс + 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30">
            <a:extLst>
              <a:ext uri="{FF2B5EF4-FFF2-40B4-BE49-F238E27FC236}">
                <a16:creationId xmlns:a16="http://schemas.microsoft.com/office/drawing/2014/main" id="{04D0B308-E58C-F717-1E18-E8C13DBBE24D}"/>
              </a:ext>
            </a:extLst>
          </p:cNvPr>
          <p:cNvSpPr/>
          <p:nvPr/>
        </p:nvSpPr>
        <p:spPr>
          <a:xfrm>
            <a:off x="8251825" y="321070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31">
            <a:extLst>
              <a:ext uri="{FF2B5EF4-FFF2-40B4-BE49-F238E27FC236}">
                <a16:creationId xmlns:a16="http://schemas.microsoft.com/office/drawing/2014/main" id="{8DB56B13-87F1-8B20-755D-4CD2ED3E7FEB}"/>
              </a:ext>
            </a:extLst>
          </p:cNvPr>
          <p:cNvSpPr/>
          <p:nvPr/>
        </p:nvSpPr>
        <p:spPr>
          <a:xfrm>
            <a:off x="8251825" y="4338812"/>
            <a:ext cx="3744028" cy="142720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R="966469">
              <a:spcBef>
                <a:spcPts val="600"/>
              </a:spcBef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 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br>
              <a:rPr lang="ru-RU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5A5C1F-81B4-AA50-49F6-C8A7982F96DB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</p:spTree>
    <p:extLst>
      <p:ext uri="{BB962C8B-B14F-4D97-AF65-F5344CB8AC3E}">
        <p14:creationId xmlns:p14="http://schemas.microsoft.com/office/powerpoint/2010/main" val="24828413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0F5242C-FAFE-31A9-648B-255E272E4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27AD94-1220-4783-A3F9-B3400E7CE4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AD8A6C-D7B2-F917-F714-C692FFDC50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Д</a:t>
            </a:r>
            <a:r>
              <a:rPr lang="ru-RU" dirty="0"/>
              <a:t>ЭШБОРДЫ</a:t>
            </a:r>
          </a:p>
          <a:p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DD09EB-FF15-B9D8-E4BE-5D2205723B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87845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extBox 91">
            <a:extLst>
              <a:ext uri="{FF2B5EF4-FFF2-40B4-BE49-F238E27FC236}">
                <a16:creationId xmlns:a16="http://schemas.microsoft.com/office/drawing/2014/main" id="{3E764B6D-204E-E155-C9B1-225B2FA035EE}"/>
              </a:ext>
            </a:extLst>
          </p:cNvPr>
          <p:cNvSpPr txBox="1"/>
          <p:nvPr/>
        </p:nvSpPr>
        <p:spPr>
          <a:xfrm>
            <a:off x="337045" y="291459"/>
            <a:ext cx="805202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DB42F39E-836A-DFBA-F6C6-9B0CCD916D17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Прогноз 6+6</a:t>
            </a: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D8FBDC4-C172-12FB-CC2E-E415180EFC13}"/>
              </a:ext>
            </a:extLst>
          </p:cNvPr>
          <p:cNvSpPr>
            <a:spLocks/>
          </p:cNvSpPr>
          <p:nvPr/>
        </p:nvSpPr>
        <p:spPr>
          <a:xfrm>
            <a:off x="338374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669B8765-ED12-5FFC-70FE-F5514FA25084}"/>
              </a:ext>
            </a:extLst>
          </p:cNvPr>
          <p:cNvSpPr>
            <a:spLocks/>
          </p:cNvSpPr>
          <p:nvPr/>
        </p:nvSpPr>
        <p:spPr>
          <a:xfrm>
            <a:off x="8110926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A473A80E-C943-DE24-4EE7-680BDC955E65}"/>
              </a:ext>
            </a:extLst>
          </p:cNvPr>
          <p:cNvSpPr>
            <a:spLocks/>
          </p:cNvSpPr>
          <p:nvPr/>
        </p:nvSpPr>
        <p:spPr>
          <a:xfrm>
            <a:off x="4224638" y="1125538"/>
            <a:ext cx="3742700" cy="507523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FC0CCC2-69FB-A096-67D1-5433CEB874CF}"/>
              </a:ext>
            </a:extLst>
          </p:cNvPr>
          <p:cNvSpPr txBox="1"/>
          <p:nvPr/>
        </p:nvSpPr>
        <p:spPr>
          <a:xfrm>
            <a:off x="432386" y="5642391"/>
            <a:ext cx="33298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ОП-5 авиакомпаний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о пассажирообороту РФ, в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XX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г., 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B3E2A3C-34EE-1A97-8993-2C77CF2C9AD7}"/>
              </a:ext>
            </a:extLst>
          </p:cNvPr>
          <p:cNvSpPr txBox="1"/>
          <p:nvPr/>
        </p:nvSpPr>
        <p:spPr>
          <a:xfrm>
            <a:off x="394923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88B0B8-2D20-4C2F-B5DE-D26F70B54279}"/>
              </a:ext>
            </a:extLst>
          </p:cNvPr>
          <p:cNvSpPr txBox="1"/>
          <p:nvPr/>
        </p:nvSpPr>
        <p:spPr>
          <a:xfrm>
            <a:off x="4338625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51E5806-7488-1BBF-FB4B-8B3C028C4138}"/>
              </a:ext>
            </a:extLst>
          </p:cNvPr>
          <p:cNvSpPr txBox="1"/>
          <p:nvPr/>
        </p:nvSpPr>
        <p:spPr>
          <a:xfrm>
            <a:off x="8166996" y="1175867"/>
            <a:ext cx="34907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graphicFrame>
        <p:nvGraphicFramePr>
          <p:cNvPr id="163" name="Chart 162">
            <a:extLst>
              <a:ext uri="{FF2B5EF4-FFF2-40B4-BE49-F238E27FC236}">
                <a16:creationId xmlns:a16="http://schemas.microsoft.com/office/drawing/2014/main" id="{769715B8-DEC4-A72B-9AE6-DC3CDD5F9B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7685759"/>
              </p:ext>
            </p:extLst>
          </p:nvPr>
        </p:nvGraphicFramePr>
        <p:xfrm>
          <a:off x="630352" y="3426076"/>
          <a:ext cx="3112212" cy="1951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64" name="Picture 10">
            <a:extLst>
              <a:ext uri="{FF2B5EF4-FFF2-40B4-BE49-F238E27FC236}">
                <a16:creationId xmlns:a16="http://schemas.microsoft.com/office/drawing/2014/main" id="{55E27712-EAF9-93D0-16A3-DA79F779F60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351" t="77402" b="8965"/>
          <a:stretch/>
        </p:blipFill>
        <p:spPr bwMode="auto">
          <a:xfrm>
            <a:off x="3074839" y="4241927"/>
            <a:ext cx="916342" cy="33826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2560F5C-0DA3-CBDE-3DBC-73757384A5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3679" y="5272302"/>
            <a:ext cx="486854" cy="157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B3BFAD3-A37F-0586-92D0-8D12D3E08B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7725" y="4894246"/>
            <a:ext cx="565954" cy="188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3DC7713D-C6DC-6F5A-3949-DEB005F0E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288" y="4471591"/>
            <a:ext cx="412580" cy="150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A2B083C4-91ED-07BF-CDE1-CE9D4DBA6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7725" y="4129796"/>
            <a:ext cx="508432" cy="77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B2A831F7-B42D-F446-759A-2ABAFDC86870}"/>
              </a:ext>
            </a:extLst>
          </p:cNvPr>
          <p:cNvSpPr txBox="1"/>
          <p:nvPr/>
        </p:nvSpPr>
        <p:spPr>
          <a:xfrm>
            <a:off x="707725" y="3626534"/>
            <a:ext cx="10743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рочие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2250AF1-F14D-2545-B37D-01390B6CFE2D}"/>
              </a:ext>
            </a:extLst>
          </p:cNvPr>
          <p:cNvSpPr txBox="1"/>
          <p:nvPr/>
        </p:nvSpPr>
        <p:spPr>
          <a:xfrm>
            <a:off x="8110902" y="5642391"/>
            <a:ext cx="374272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Рынок розничной реализации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XX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/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XX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гг.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404C9C6-BA1B-E14C-83C6-5A4944562B0A}"/>
              </a:ext>
            </a:extLst>
          </p:cNvPr>
          <p:cNvGrpSpPr/>
          <p:nvPr/>
        </p:nvGrpSpPr>
        <p:grpSpPr>
          <a:xfrm>
            <a:off x="8389072" y="2459775"/>
            <a:ext cx="3137788" cy="3148721"/>
            <a:chOff x="-3950615" y="1924755"/>
            <a:chExt cx="3195046" cy="3206179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07407423-90F4-8C4E-AAD6-0586E3CA51B9}"/>
                </a:ext>
              </a:extLst>
            </p:cNvPr>
            <p:cNvGrpSpPr/>
            <p:nvPr/>
          </p:nvGrpSpPr>
          <p:grpSpPr>
            <a:xfrm>
              <a:off x="-3711630" y="2019753"/>
              <a:ext cx="2649788" cy="3111181"/>
              <a:chOff x="7065712" y="2019753"/>
              <a:chExt cx="2649788" cy="3111181"/>
            </a:xfrm>
          </p:grpSpPr>
          <p:graphicFrame>
            <p:nvGraphicFramePr>
              <p:cNvPr id="62" name="Chart 61">
                <a:extLst>
                  <a:ext uri="{FF2B5EF4-FFF2-40B4-BE49-F238E27FC236}">
                    <a16:creationId xmlns:a16="http://schemas.microsoft.com/office/drawing/2014/main" id="{1C1A6E22-7753-8C4D-B990-B3CD40ACA5E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521702790"/>
                  </p:ext>
                </p:extLst>
              </p:nvPr>
            </p:nvGraphicFramePr>
            <p:xfrm>
              <a:off x="7065712" y="2019753"/>
              <a:ext cx="2649788" cy="230968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68AD610A-C59B-3945-885A-D7D590748635}"/>
                  </a:ext>
                </a:extLst>
              </p:cNvPr>
              <p:cNvSpPr txBox="1"/>
              <p:nvPr/>
            </p:nvSpPr>
            <p:spPr>
              <a:xfrm>
                <a:off x="8043889" y="3544478"/>
                <a:ext cx="801674" cy="3447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Bef>
                    <a:spcPts val="600"/>
                  </a:spcBef>
                  <a:defRPr sz="1400">
                    <a:solidFill>
                      <a:srgbClr val="004596"/>
                    </a:solidFill>
                    <a:latin typeface="GPN_DIN Condensed Regular" panose="020B0506020202020204" pitchFamily="34" charset="0"/>
                    <a:ea typeface="GPN_DIN Condensed Regular" panose="020B0506020202020204" pitchFamily="34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E7E7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2008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1583FA22-4289-A147-BC9B-9A81695922E0}"/>
                  </a:ext>
                </a:extLst>
              </p:cNvPr>
              <p:cNvSpPr txBox="1"/>
              <p:nvPr/>
            </p:nvSpPr>
            <p:spPr>
              <a:xfrm>
                <a:off x="7842712" y="4660844"/>
                <a:ext cx="1333400" cy="47009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spcBef>
                    <a:spcPts val="600"/>
                  </a:spcBef>
                  <a:defRPr sz="1400">
                    <a:solidFill>
                      <a:srgbClr val="004596"/>
                    </a:solidFill>
                    <a:latin typeface="GPN_DIN Condensed Regular" panose="020B0506020202020204" pitchFamily="34" charset="0"/>
                    <a:ea typeface="GPN_DIN Condensed Regular" panose="020B0506020202020204" pitchFamily="34" charset="0"/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E7E7E"/>
                    </a:solidFill>
                    <a:effectLst/>
                    <a:uLnTx/>
                    <a:uFillTx/>
                    <a:latin typeface="Verdana" panose="020B0604030504040204" pitchFamily="34" charset="0"/>
                    <a:ea typeface="Verdana" panose="020B0604030504040204" pitchFamily="34" charset="0"/>
                  </a:rPr>
                  <a:t>2019</a:t>
                </a:r>
              </a:p>
            </p:txBody>
          </p:sp>
        </p:grpSp>
        <p:pic>
          <p:nvPicPr>
            <p:cNvPr id="51" name="Picture 4">
              <a:extLst>
                <a:ext uri="{FF2B5EF4-FFF2-40B4-BE49-F238E27FC236}">
                  <a16:creationId xmlns:a16="http://schemas.microsoft.com/office/drawing/2014/main" id="{2AE477D0-CC62-E541-905B-10D318F05A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950615" y="2044492"/>
              <a:ext cx="698024" cy="1977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6">
              <a:extLst>
                <a:ext uri="{FF2B5EF4-FFF2-40B4-BE49-F238E27FC236}">
                  <a16:creationId xmlns:a16="http://schemas.microsoft.com/office/drawing/2014/main" id="{99BD9AA5-8EDB-424B-9DDD-520FB5D304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45481" y="4102030"/>
              <a:ext cx="698025" cy="454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3F769CE7-284B-BA4B-8F97-55275C1A7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453593" y="1924755"/>
              <a:ext cx="698024" cy="342870"/>
            </a:xfrm>
            <a:prstGeom prst="rect">
              <a:avLst/>
            </a:prstGeom>
          </p:spPr>
        </p:pic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5CD6B5F5-5EA7-81C6-EBDF-EE24CFB23DE5}"/>
              </a:ext>
            </a:extLst>
          </p:cNvPr>
          <p:cNvSpPr txBox="1"/>
          <p:nvPr/>
        </p:nvSpPr>
        <p:spPr>
          <a:xfrm>
            <a:off x="3125695" y="2829131"/>
            <a:ext cx="10003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«АЭРОФЛОТ»</a:t>
            </a:r>
          </a:p>
          <a:p>
            <a:pPr algn="ctr">
              <a:defRPr/>
            </a:pPr>
            <a:r>
              <a:rPr lang="en-US" sz="80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</a:t>
            </a:r>
            <a:r>
              <a:rPr lang="ru-RU" sz="80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ГОД</a:t>
            </a:r>
          </a:p>
        </p:txBody>
      </p:sp>
      <p:grpSp>
        <p:nvGrpSpPr>
          <p:cNvPr id="65" name="Group 1">
            <a:extLst>
              <a:ext uri="{FF2B5EF4-FFF2-40B4-BE49-F238E27FC236}">
                <a16:creationId xmlns:a16="http://schemas.microsoft.com/office/drawing/2014/main" id="{2AC712D7-A34C-C6AA-94BE-D2180CCF6D47}"/>
              </a:ext>
            </a:extLst>
          </p:cNvPr>
          <p:cNvGrpSpPr/>
          <p:nvPr/>
        </p:nvGrpSpPr>
        <p:grpSpPr>
          <a:xfrm rot="5400000">
            <a:off x="1710567" y="1613790"/>
            <a:ext cx="286441" cy="2712274"/>
            <a:chOff x="-3052953" y="2283880"/>
            <a:chExt cx="286441" cy="3170770"/>
          </a:xfrm>
        </p:grpSpPr>
        <p:sp>
          <p:nvSpPr>
            <p:cNvPr id="66" name="Rectangle 155">
              <a:extLst>
                <a:ext uri="{FF2B5EF4-FFF2-40B4-BE49-F238E27FC236}">
                  <a16:creationId xmlns:a16="http://schemas.microsoft.com/office/drawing/2014/main" id="{F3AB8ACD-DE1C-B496-FC53-E7544CFBCCD1}"/>
                </a:ext>
              </a:extLst>
            </p:cNvPr>
            <p:cNvSpPr/>
            <p:nvPr/>
          </p:nvSpPr>
          <p:spPr>
            <a:xfrm rot="16200000">
              <a:off x="-4495118" y="3726045"/>
              <a:ext cx="3170770" cy="286439"/>
            </a:xfrm>
            <a:prstGeom prst="rect">
              <a:avLst/>
            </a:prstGeom>
            <a:solidFill>
              <a:srgbClr val="CCCCCC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Rectangle 157">
              <a:extLst>
                <a:ext uri="{FF2B5EF4-FFF2-40B4-BE49-F238E27FC236}">
                  <a16:creationId xmlns:a16="http://schemas.microsoft.com/office/drawing/2014/main" id="{7F6C4781-7829-B2D1-51E7-D98375269A53}"/>
                </a:ext>
              </a:extLst>
            </p:cNvPr>
            <p:cNvSpPr/>
            <p:nvPr/>
          </p:nvSpPr>
          <p:spPr>
            <a:xfrm rot="16200000">
              <a:off x="-3519331" y="4701828"/>
              <a:ext cx="1219198" cy="286441"/>
            </a:xfrm>
            <a:prstGeom prst="rect">
              <a:avLst/>
            </a:prstGeom>
            <a:solidFill>
              <a:srgbClr val="28BE4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06F00AC0-FE26-9E48-DD0A-62D8B2FC94D5}"/>
              </a:ext>
            </a:extLst>
          </p:cNvPr>
          <p:cNvSpPr txBox="1"/>
          <p:nvPr/>
        </p:nvSpPr>
        <p:spPr>
          <a:xfrm>
            <a:off x="497630" y="2876019"/>
            <a:ext cx="1042923" cy="215444"/>
          </a:xfrm>
          <a:prstGeom prst="rect">
            <a:avLst/>
          </a:prstGeom>
          <a:noFill/>
          <a:ln w="3175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49AA43A-BE7D-AED3-F71C-6E2F62E9ECD1}"/>
              </a:ext>
            </a:extLst>
          </p:cNvPr>
          <p:cNvSpPr txBox="1"/>
          <p:nvPr/>
        </p:nvSpPr>
        <p:spPr>
          <a:xfrm>
            <a:off x="497631" y="3139093"/>
            <a:ext cx="10429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ГАЗПРОМ НЕФТЬ</a:t>
            </a:r>
          </a:p>
        </p:txBody>
      </p:sp>
      <p:cxnSp>
        <p:nvCxnSpPr>
          <p:cNvPr id="71" name="Straight Arrow Connector 7">
            <a:extLst>
              <a:ext uri="{FF2B5EF4-FFF2-40B4-BE49-F238E27FC236}">
                <a16:creationId xmlns:a16="http://schemas.microsoft.com/office/drawing/2014/main" id="{F93FF83F-741A-2F08-0FAE-50C8EEE2D3A3}"/>
              </a:ext>
            </a:extLst>
          </p:cNvPr>
          <p:cNvCxnSpPr>
            <a:cxnSpLocks/>
          </p:cNvCxnSpPr>
          <p:nvPr/>
        </p:nvCxnSpPr>
        <p:spPr>
          <a:xfrm>
            <a:off x="497651" y="2496427"/>
            <a:ext cx="2712274" cy="0"/>
          </a:xfrm>
          <a:prstGeom prst="straightConnector1">
            <a:avLst/>
          </a:prstGeom>
          <a:ln w="6350">
            <a:solidFill>
              <a:srgbClr val="7E7E7E">
                <a:alpha val="99000"/>
              </a:srgb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50E1254F-1312-B439-1147-94DE55B66118}"/>
              </a:ext>
            </a:extLst>
          </p:cNvPr>
          <p:cNvSpPr txBox="1"/>
          <p:nvPr/>
        </p:nvSpPr>
        <p:spPr>
          <a:xfrm>
            <a:off x="1324935" y="2374390"/>
            <a:ext cx="1057706" cy="2769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МЛН Т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4EF8AD-3F53-0448-86EB-C73E6110452C}"/>
              </a:ext>
            </a:extLst>
          </p:cNvPr>
          <p:cNvSpPr txBox="1"/>
          <p:nvPr/>
        </p:nvSpPr>
        <p:spPr>
          <a:xfrm>
            <a:off x="10573092" y="6740278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76" name="Chart 4">
            <a:extLst>
              <a:ext uri="{FF2B5EF4-FFF2-40B4-BE49-F238E27FC236}">
                <a16:creationId xmlns:a16="http://schemas.microsoft.com/office/drawing/2014/main" id="{6A12A0A4-7590-1848-BFEC-6311CF4E19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99128141"/>
              </p:ext>
            </p:extLst>
          </p:nvPr>
        </p:nvGraphicFramePr>
        <p:xfrm>
          <a:off x="4472436" y="2155943"/>
          <a:ext cx="3509296" cy="1861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77" name="Chart 4">
            <a:extLst>
              <a:ext uri="{FF2B5EF4-FFF2-40B4-BE49-F238E27FC236}">
                <a16:creationId xmlns:a16="http://schemas.microsoft.com/office/drawing/2014/main" id="{06E33DD3-5EC2-9649-AC99-55516ECE09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59175210"/>
              </p:ext>
            </p:extLst>
          </p:nvPr>
        </p:nvGraphicFramePr>
        <p:xfrm>
          <a:off x="4472436" y="4155265"/>
          <a:ext cx="3509296" cy="18615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43" name="Chart 60">
            <a:extLst>
              <a:ext uri="{FF2B5EF4-FFF2-40B4-BE49-F238E27FC236}">
                <a16:creationId xmlns:a16="http://schemas.microsoft.com/office/drawing/2014/main" id="{25FC0784-8BA0-7245-9EBF-5A05C21C22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4561751"/>
              </p:ext>
            </p:extLst>
          </p:nvPr>
        </p:nvGraphicFramePr>
        <p:xfrm>
          <a:off x="8140262" y="2121686"/>
          <a:ext cx="3544175" cy="3089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93FA05-6067-3765-9C91-9417F7BACF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62227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B936C4F6-7ED6-39C7-F17D-F54B156BC9D1}"/>
              </a:ext>
            </a:extLst>
          </p:cNvPr>
          <p:cNvSpPr txBox="1"/>
          <p:nvPr/>
        </p:nvSpPr>
        <p:spPr>
          <a:xfrm>
            <a:off x="337044" y="285883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235A6BD5-22BA-3395-8338-B1E79ED76D1B}"/>
              </a:ext>
            </a:extLst>
          </p:cNvPr>
          <p:cNvSpPr>
            <a:spLocks/>
          </p:cNvSpPr>
          <p:nvPr/>
        </p:nvSpPr>
        <p:spPr>
          <a:xfrm>
            <a:off x="6357941" y="1122254"/>
            <a:ext cx="5495685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CD250A1A-7F81-FB1E-6FA3-A3CB92CEE762}"/>
              </a:ext>
            </a:extLst>
          </p:cNvPr>
          <p:cNvSpPr txBox="1"/>
          <p:nvPr/>
        </p:nvSpPr>
        <p:spPr>
          <a:xfrm>
            <a:off x="7663237" y="1180107"/>
            <a:ext cx="476361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FDE2313D-DCEE-1155-2859-11C81312B2C4}"/>
              </a:ext>
            </a:extLst>
          </p:cNvPr>
          <p:cNvSpPr txBox="1"/>
          <p:nvPr/>
        </p:nvSpPr>
        <p:spPr>
          <a:xfrm>
            <a:off x="6509426" y="1167329"/>
            <a:ext cx="119847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Arial Narrow" panose="020B0606020202030204" pitchFamily="34" charset="0"/>
              </a:rPr>
              <a:t>XXX</a:t>
            </a:r>
            <a:r>
              <a:rPr kumimoji="0" lang="ru-RU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sym typeface="Arial Narrow" panose="020B0606020202030204" pitchFamily="34" charset="0"/>
              </a:rPr>
              <a:t>%</a:t>
            </a:r>
          </a:p>
        </p:txBody>
      </p:sp>
      <p:grpSp>
        <p:nvGrpSpPr>
          <p:cNvPr id="114" name="GRID" hidden="1">
            <a:extLst>
              <a:ext uri="{FF2B5EF4-FFF2-40B4-BE49-F238E27FC236}">
                <a16:creationId xmlns:a16="http://schemas.microsoft.com/office/drawing/2014/main" id="{F342F22A-B8BB-B34B-6181-81ED198E4428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B5E15510-D602-ADC5-B999-A922C74BCDDA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9D03E0F1-49C1-7557-E92B-2FD52D0B63F8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B213B537-1CE6-E221-6729-71DA1F77250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3C40E6AB-1D50-6FEE-D74E-BA252BBD2FB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6735EBB9-1668-C872-CE72-A3CAA4939711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8ED7D9F6-11F3-B8A7-5919-55975253A80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9231FA01-0F07-DACC-0FF8-D3AF9362301C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037E14CC-A9E2-EDD1-03BD-968A57EFEE5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356FACC4-752E-0A61-9E67-AE282F6667F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B5070C7D-662F-170A-D995-69426C94E9E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C2641099-2BF1-C665-8C3A-7A6915B2283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: Shape 110">
                  <a:extLst>
                    <a:ext uri="{FF2B5EF4-FFF2-40B4-BE49-F238E27FC236}">
                      <a16:creationId xmlns:a16="http://schemas.microsoft.com/office/drawing/2014/main" id="{4C420AA8-1613-99BD-A96F-BBDFAAE190E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: Shape 111">
                  <a:extLst>
                    <a:ext uri="{FF2B5EF4-FFF2-40B4-BE49-F238E27FC236}">
                      <a16:creationId xmlns:a16="http://schemas.microsoft.com/office/drawing/2014/main" id="{652F44AB-8C14-0F5A-2574-3CF3DD901FAF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: Shape 112">
                  <a:extLst>
                    <a:ext uri="{FF2B5EF4-FFF2-40B4-BE49-F238E27FC236}">
                      <a16:creationId xmlns:a16="http://schemas.microsoft.com/office/drawing/2014/main" id="{3129FF53-B27C-5507-F0C6-60110A287D9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7204CC02-D53F-8C9E-0EA5-3D14A731E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02C31BDD-0E61-2F89-4FF6-3CF5469156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28BF9AD6-7AD3-F6AF-F39B-EB41A7177A7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88A30A85-37D0-2D5A-6AB2-BFCAD7B5604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6FC824B5-5B82-5AC0-93B9-EDFC26DC19D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1E40B165-AA1D-E030-75A2-58823281DCA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C68EA326-78F2-B9A9-CCB3-C1BA9D0A47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61325F90-383C-E4C0-4727-37008B4F95C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E425CEFD-F391-29E7-4ADE-A75300C4595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ED1FEB2-739E-DB2B-96C8-D7099D08A0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0F332B95-60AB-9349-34E6-F5631155D4E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BB0A92AB-8437-66AE-1911-3EBE6D72DD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243A194-F26F-9497-309A-97808337A31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8A0AEE7D-11ED-222E-F57A-44F5A58225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402854E-84AF-7014-0931-D5972975DD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B5BB6716-EE27-6697-0786-7480926067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990EE1C7-15CD-29FC-A82C-E6F891CFFC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F1856FB9-E32C-51F6-92BF-5CE3043A520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D2A3AC55-D4C5-52D7-7901-5B36A55F579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7636896D-7B1D-6D68-9E5B-2B1D8E103F9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048311-A0F8-9AA4-FAB5-CB67E5082E0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AE137E2D-8AD9-C253-AFAB-676ACDAF07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0A42B40-A609-6CF5-255F-A992BCA8B9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116D5A7-5AA4-0F79-B253-5E634BF679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DE38AF3-F49E-CA86-9B78-D5ABABB8A48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FABD50C1-2058-429D-EC87-5FD8887668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A359528E-962B-02AB-04C1-6FE66A791A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767D4B6E-2361-61EB-AD35-78C5D039BB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5D9610A-5448-5641-8EF0-8876A53C32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EFAF064-2672-A7DD-58D2-72E65ABAB4E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A1212288-FD00-FFA8-DAB6-853F490066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DFC3C667-5CD2-4FD3-3C99-30E451DB02E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A6CBFD5C-D5F1-EC3F-7C08-4ADB2C35F7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90D46FD-97E8-F979-9B21-13A9F90B5C8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C763EE6B-9512-1EA4-DAC9-EB7B24FC48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F34616EA-FE6F-8ABD-98D5-924D658D3A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58060E39-D7A1-82FC-1141-4A8081667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5E70F7B-30A1-DD57-88ED-27DD49D7EB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136C6BF7-E7DA-9BA6-6B84-7581C2FCF1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7944224A-5047-6F2E-D496-A92F6BA9E6F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472A7716-7868-20DC-093B-ADECAA9C9B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B792E317-2917-741D-EA45-56CE00340C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706C1AC-5845-4AA8-0119-71A7387C00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19E773EB-0B1C-8290-BF67-3D9A122182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1E2187B8-C2F9-0171-D6F8-536A5B2F05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79412823-6473-94AD-AD1E-8411A0D36B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179B7DE0-510C-3709-1608-5663DB1080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5074E23-C81C-8B74-E1CA-7AF5A05F43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EAA9CDE-E94A-3BF7-4414-C160A1D5AE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E9D2A0BD-6B4F-34C0-18B5-EC4CA8AAC8B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078D165F-F1D2-C5FA-295D-EED720E121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005ADC7C-D7C4-2829-2984-343996757C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84E1356B-31C2-2B3A-8879-579009766C2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9FFA16C-F2DF-DF82-2062-F2CAB0C775F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F3AABE33-006A-5203-448D-CE9A5D7731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8957AEE-EE18-0E85-41E8-E5A043EF64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FD23089-B70A-D62F-6792-F2F0BDF36B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95941BCF-7532-FCDD-4F38-F161479C0A9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9E84822F-FDA0-3115-6991-0C8D994410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03A27DD-98D7-1466-6B35-FFC96BC77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1D6AE487-FF8C-5A52-00E2-7C325F28F2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E620439-85E6-F0BA-FFD2-7DF06A5043F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335DDC4-894F-0702-09CB-AF040ADAE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837D333-BE20-0C86-F1D3-07B4C3A2E6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3BAB431-D3B5-56DE-A8CC-7A05A10C218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063D2909-AB0B-5EC5-0F41-26823938825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6A49B1B-6AD2-AA2D-70EE-E385744D59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9E13BAF-ED29-B522-C184-BD33966EE4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417B6A4B-94CC-1418-E3CE-901BA8A788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0A9A36F-F791-CCAA-F660-5A98DF4918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D4DF636-A68B-1F8B-C99F-EDA169DADA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1CB812D3-EA5B-90DB-1946-315EC380F4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6D269AA-3B23-83E5-EDCB-11706165C4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7C96547E-0A1A-88D1-061E-10A6C7E3F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FD59BF91-78A1-7C62-28BD-90CF93D1B21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E5E375C5-421C-34AA-1D4E-DBF84FC69F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D1CF340-404A-EFD5-A697-5269AA5E33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70C735A0-59C3-00EA-46FF-5015BBB9CA0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BA58FD6F-389C-60AD-F5A5-BFB7311D3D5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A11AA3A3-B5C4-B42D-3831-B9F507409C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96FBEBFE-724B-C4C1-9872-884FD96C003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1FC3CD87-9471-068C-027D-969BEFD937B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8A14752E-12EB-FFE8-F469-800796970F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287AF514-B75C-110A-5869-6572491FDAA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8C84A648-23C2-EFC2-D510-4BE038EF204D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FB92BDF5-4C15-4ECD-D3FC-9C3DC7AAF4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5F8BD2BF-6773-97F4-72CA-A333E35C49E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73AB10A2-E6E0-3316-28A9-11C1275D75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38F3B46-938D-4AB1-2AC9-731983C055E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A9CFAEA-02B0-85E6-CA3F-947298A43D5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4FC9244F-E141-009B-64DC-ABF809E2D14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97CB51D1-7B71-0794-58F5-D6E2F8208DC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1477FB9-4BE7-0ABC-4F4B-FD8F2EF1B0D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DF60BA70-CE00-AF39-ED5D-BCD5A9BCBC2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2D354AFA-3EBF-560B-B360-6B3E85D6C8C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B9D7DBAD-416F-4B76-5CB4-A7A9A162E4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8B6F3B8-F90A-B9AF-D8FA-74D2ACD312A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CAF1218A-A6C9-0ADE-7C74-D3C592CC13A5}"/>
              </a:ext>
            </a:extLst>
          </p:cNvPr>
          <p:cNvSpPr>
            <a:spLocks/>
          </p:cNvSpPr>
          <p:nvPr/>
        </p:nvSpPr>
        <p:spPr>
          <a:xfrm>
            <a:off x="6167782" y="1919034"/>
            <a:ext cx="5685844" cy="4277218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2" name="Isosceles Triangle 161">
            <a:extLst>
              <a:ext uri="{FF2B5EF4-FFF2-40B4-BE49-F238E27FC236}">
                <a16:creationId xmlns:a16="http://schemas.microsoft.com/office/drawing/2014/main" id="{8DBE4812-5476-C62B-6096-39D878459755}"/>
              </a:ext>
            </a:extLst>
          </p:cNvPr>
          <p:cNvSpPr/>
          <p:nvPr/>
        </p:nvSpPr>
        <p:spPr>
          <a:xfrm rot="16200000">
            <a:off x="5942384" y="1360836"/>
            <a:ext cx="648001" cy="183112"/>
          </a:xfrm>
          <a:prstGeom prst="triangle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0" bIns="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A5958105-C099-7A01-8705-7D1D7A1C239F}"/>
              </a:ext>
            </a:extLst>
          </p:cNvPr>
          <p:cNvSpPr txBox="1"/>
          <p:nvPr/>
        </p:nvSpPr>
        <p:spPr>
          <a:xfrm>
            <a:off x="6357941" y="2126333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ХХХ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→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ХХХ  → ХХХ: </a:t>
            </a:r>
          </a:p>
        </p:txBody>
      </p:sp>
      <p:sp>
        <p:nvSpPr>
          <p:cNvPr id="164" name="Прямоугольник 205">
            <a:extLst>
              <a:ext uri="{FF2B5EF4-FFF2-40B4-BE49-F238E27FC236}">
                <a16:creationId xmlns:a16="http://schemas.microsoft.com/office/drawing/2014/main" id="{1AD4A6B0-47C7-BAD8-9775-62474DF5F6E8}"/>
              </a:ext>
            </a:extLst>
          </p:cNvPr>
          <p:cNvSpPr/>
          <p:nvPr/>
        </p:nvSpPr>
        <p:spPr>
          <a:xfrm>
            <a:off x="6445032" y="2584730"/>
            <a:ext cx="4873843" cy="5039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6400" marR="0" lvl="0" indent="-1764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4C017C4D-94DE-09C1-DB93-CB6FAE8E1C57}"/>
              </a:ext>
            </a:extLst>
          </p:cNvPr>
          <p:cNvSpPr txBox="1"/>
          <p:nvPr/>
        </p:nvSpPr>
        <p:spPr>
          <a:xfrm>
            <a:off x="6509026" y="3220489"/>
            <a:ext cx="51469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6" name="Прямоугольник 205">
            <a:extLst>
              <a:ext uri="{FF2B5EF4-FFF2-40B4-BE49-F238E27FC236}">
                <a16:creationId xmlns:a16="http://schemas.microsoft.com/office/drawing/2014/main" id="{96D8C019-6387-AAD2-708C-11EA7078F486}"/>
              </a:ext>
            </a:extLst>
          </p:cNvPr>
          <p:cNvSpPr/>
          <p:nvPr/>
        </p:nvSpPr>
        <p:spPr>
          <a:xfrm>
            <a:off x="6445032" y="4271521"/>
            <a:ext cx="4873843" cy="55436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6400" marR="0" lvl="0" indent="-1764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DC433A9F-06DF-E003-6C92-1129BD60CC4C}"/>
              </a:ext>
            </a:extLst>
          </p:cNvPr>
          <p:cNvSpPr txBox="1"/>
          <p:nvPr/>
        </p:nvSpPr>
        <p:spPr>
          <a:xfrm>
            <a:off x="6509026" y="4977055"/>
            <a:ext cx="47865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5" name="Прямоугольник 207">
            <a:extLst>
              <a:ext uri="{FF2B5EF4-FFF2-40B4-BE49-F238E27FC236}">
                <a16:creationId xmlns:a16="http://schemas.microsoft.com/office/drawing/2014/main" id="{582B1483-E3AC-074C-A76C-682633353D79}"/>
              </a:ext>
            </a:extLst>
          </p:cNvPr>
          <p:cNvSpPr/>
          <p:nvPr/>
        </p:nvSpPr>
        <p:spPr>
          <a:xfrm>
            <a:off x="336249" y="1122254"/>
            <a:ext cx="5688000" cy="5077696"/>
          </a:xfrm>
          <a:prstGeom prst="rect">
            <a:avLst/>
          </a:pr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56" name="Chart 121">
            <a:extLst>
              <a:ext uri="{FF2B5EF4-FFF2-40B4-BE49-F238E27FC236}">
                <a16:creationId xmlns:a16="http://schemas.microsoft.com/office/drawing/2014/main" id="{06E2A443-3BCE-D444-8F05-9B087D8058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1972956"/>
              </p:ext>
            </p:extLst>
          </p:nvPr>
        </p:nvGraphicFramePr>
        <p:xfrm>
          <a:off x="482599" y="1304839"/>
          <a:ext cx="5540527" cy="5049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58" name="Прямая соединительная линия 35">
            <a:extLst>
              <a:ext uri="{FF2B5EF4-FFF2-40B4-BE49-F238E27FC236}">
                <a16:creationId xmlns:a16="http://schemas.microsoft.com/office/drawing/2014/main" id="{D0ADF105-8B1F-7A4C-8AC4-318C56B1CCF8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auto">
          <a:xfrm>
            <a:off x="4833938" y="2267381"/>
            <a:ext cx="1008062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Прямая соединительная линия 37">
            <a:extLst>
              <a:ext uri="{FF2B5EF4-FFF2-40B4-BE49-F238E27FC236}">
                <a16:creationId xmlns:a16="http://schemas.microsoft.com/office/drawing/2014/main" id="{D076A022-4860-1547-87F0-047489C5EAE1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V="1">
            <a:off x="5326172" y="1540906"/>
            <a:ext cx="0" cy="697488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Прямая соединительная линия 35">
            <a:extLst>
              <a:ext uri="{FF2B5EF4-FFF2-40B4-BE49-F238E27FC236}">
                <a16:creationId xmlns:a16="http://schemas.microsoft.com/office/drawing/2014/main" id="{03269C71-D51D-7F40-862C-E3B28D4DC9C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4833938" y="1477352"/>
            <a:ext cx="989012" cy="0"/>
          </a:xfrm>
          <a:prstGeom prst="line">
            <a:avLst/>
          </a:prstGeom>
          <a:ln w="63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E6F00CFD-1B8D-504C-80D1-786C8E5ABA5A}"/>
              </a:ext>
            </a:extLst>
          </p:cNvPr>
          <p:cNvSpPr txBox="1"/>
          <p:nvPr/>
        </p:nvSpPr>
        <p:spPr>
          <a:xfrm>
            <a:off x="2873343" y="4906866"/>
            <a:ext cx="816552" cy="3239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rgbClr val="000000"/>
                </a:solidFill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0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6A5ECE2D-4842-924D-9DB3-16596C8DBA42}"/>
              </a:ext>
            </a:extLst>
          </p:cNvPr>
          <p:cNvSpPr txBox="1"/>
          <p:nvPr/>
        </p:nvSpPr>
        <p:spPr>
          <a:xfrm>
            <a:off x="4360050" y="4882992"/>
            <a:ext cx="816552" cy="32399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>
                <a:solidFill>
                  <a:srgbClr val="000000"/>
                </a:solidFill>
                <a:latin typeface="GPN_DIN Regular" panose="020B0504020202020204" pitchFamily="34" charset="77"/>
                <a:ea typeface="GPN_DIN Regular" panose="020B0504020202020204" pitchFamily="34" charset="77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1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79900C0C-ECE2-A442-8A44-97D886C3BF2C}"/>
              </a:ext>
            </a:extLst>
          </p:cNvPr>
          <p:cNvSpPr txBox="1"/>
          <p:nvPr/>
        </p:nvSpPr>
        <p:spPr>
          <a:xfrm>
            <a:off x="4996582" y="1786826"/>
            <a:ext cx="659180" cy="29372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marL="0" lvl="1" algn="ctr" defTabSz="912700">
              <a:spcBef>
                <a:spcPct val="0"/>
              </a:spcBef>
              <a:spcAft>
                <a:spcPct val="0"/>
              </a:spcAft>
              <a:buClr>
                <a:srgbClr val="004077"/>
              </a:buClr>
              <a:buSzPct val="100000"/>
              <a:defRPr/>
            </a:pPr>
            <a:fld id="{473F30B7-2343-42C7-9293-4E75E85A79DF}" type="datetime'''''''''''''''''''''''''''''''''+''''2''''''''''''8''%'''''''">
              <a:rPr lang="ru-RU" altLang="en-US" sz="1200">
                <a:solidFill>
                  <a:srgbClr val="2FB4E9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 marL="0" lvl="1" algn="ctr" defTabSz="912700">
                <a:spcBef>
                  <a:spcPct val="0"/>
                </a:spcBef>
                <a:spcAft>
                  <a:spcPct val="0"/>
                </a:spcAft>
                <a:buClr>
                  <a:srgbClr val="004077"/>
                </a:buClr>
                <a:buSzPct val="100000"/>
                <a:defRPr/>
              </a:pPr>
              <a:t>+28%</a:t>
            </a:fld>
            <a:endParaRPr lang="ru-RU" sz="1600" dirty="0">
              <a:solidFill>
                <a:srgbClr val="2FB4E9"/>
              </a:solidFill>
              <a:latin typeface="Verdana" panose="020B0604030504040204" pitchFamily="34" charset="0"/>
              <a:ea typeface="Verdana" panose="020B0604030504040204" pitchFamily="34" charset="0"/>
              <a:sym typeface="Arial Narrow" panose="020B0606020202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9A9DA-E43D-2835-2802-DE5D8AC890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197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1F9CCA-622E-B1F7-E1B2-A7C2F2967D08}"/>
              </a:ext>
            </a:extLst>
          </p:cNvPr>
          <p:cNvSpPr txBox="1"/>
          <p:nvPr/>
        </p:nvSpPr>
        <p:spPr>
          <a:xfrm>
            <a:off x="337044" y="279107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29">
            <a:extLst>
              <a:ext uri="{FF2B5EF4-FFF2-40B4-BE49-F238E27FC236}">
                <a16:creationId xmlns:a16="http://schemas.microsoft.com/office/drawing/2014/main" id="{B3E37542-CE39-BCAF-0B2A-F8D1965EBC21}"/>
              </a:ext>
            </a:extLst>
          </p:cNvPr>
          <p:cNvSpPr/>
          <p:nvPr/>
        </p:nvSpPr>
        <p:spPr>
          <a:xfrm>
            <a:off x="337045" y="1125538"/>
            <a:ext cx="374403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30">
            <a:extLst>
              <a:ext uri="{FF2B5EF4-FFF2-40B4-BE49-F238E27FC236}">
                <a16:creationId xmlns:a16="http://schemas.microsoft.com/office/drawing/2014/main" id="{4D19A25C-1A2A-0038-4733-85DA1B7E920F}"/>
              </a:ext>
            </a:extLst>
          </p:cNvPr>
          <p:cNvSpPr/>
          <p:nvPr/>
        </p:nvSpPr>
        <p:spPr>
          <a:xfrm>
            <a:off x="4229423" y="1125538"/>
            <a:ext cx="374403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31">
            <a:extLst>
              <a:ext uri="{FF2B5EF4-FFF2-40B4-BE49-F238E27FC236}">
                <a16:creationId xmlns:a16="http://schemas.microsoft.com/office/drawing/2014/main" id="{3D068E76-A4BF-7D01-D0A5-C87A6FA622F7}"/>
              </a:ext>
            </a:extLst>
          </p:cNvPr>
          <p:cNvSpPr/>
          <p:nvPr/>
        </p:nvSpPr>
        <p:spPr>
          <a:xfrm>
            <a:off x="8109445" y="1125538"/>
            <a:ext cx="3747593" cy="648000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32">
            <a:extLst>
              <a:ext uri="{FF2B5EF4-FFF2-40B4-BE49-F238E27FC236}">
                <a16:creationId xmlns:a16="http://schemas.microsoft.com/office/drawing/2014/main" id="{4583629C-41E1-364D-2A9D-84184932A884}"/>
              </a:ext>
            </a:extLst>
          </p:cNvPr>
          <p:cNvSpPr/>
          <p:nvPr/>
        </p:nvSpPr>
        <p:spPr>
          <a:xfrm>
            <a:off x="337045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33">
            <a:extLst>
              <a:ext uri="{FF2B5EF4-FFF2-40B4-BE49-F238E27FC236}">
                <a16:creationId xmlns:a16="http://schemas.microsoft.com/office/drawing/2014/main" id="{751F4863-1890-D7C8-BD16-E404C9C4833A}"/>
              </a:ext>
            </a:extLst>
          </p:cNvPr>
          <p:cNvSpPr/>
          <p:nvPr/>
        </p:nvSpPr>
        <p:spPr>
          <a:xfrm>
            <a:off x="4229424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9" name="Прямоугольник 34">
            <a:extLst>
              <a:ext uri="{FF2B5EF4-FFF2-40B4-BE49-F238E27FC236}">
                <a16:creationId xmlns:a16="http://schemas.microsoft.com/office/drawing/2014/main" id="{1C2F3D1F-38E9-0907-C4C6-1BCBF4983AA0}"/>
              </a:ext>
            </a:extLst>
          </p:cNvPr>
          <p:cNvSpPr/>
          <p:nvPr/>
        </p:nvSpPr>
        <p:spPr>
          <a:xfrm>
            <a:off x="8109445" y="1773537"/>
            <a:ext cx="3744029" cy="395892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…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43966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DE38AF3-F49E-CA86-9B78-D5ABABB8A488}"/>
              </a:ext>
            </a:extLst>
          </p:cNvPr>
          <p:cNvSpPr>
            <a:spLocks/>
          </p:cNvSpPr>
          <p:nvPr/>
        </p:nvSpPr>
        <p:spPr>
          <a:xfrm>
            <a:off x="338374" y="1776391"/>
            <a:ext cx="5684752" cy="441986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C763EE6B-9512-1EA4-DAC9-EB7B24FC481F}"/>
              </a:ext>
            </a:extLst>
          </p:cNvPr>
          <p:cNvSpPr>
            <a:spLocks/>
          </p:cNvSpPr>
          <p:nvPr/>
        </p:nvSpPr>
        <p:spPr>
          <a:xfrm>
            <a:off x="6166217" y="1776391"/>
            <a:ext cx="5685844" cy="441986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56565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C33E15BD-0870-1C69-49A3-8B1497D718DB}"/>
              </a:ext>
            </a:extLst>
          </p:cNvPr>
          <p:cNvSpPr>
            <a:spLocks/>
          </p:cNvSpPr>
          <p:nvPr/>
        </p:nvSpPr>
        <p:spPr>
          <a:xfrm>
            <a:off x="338374" y="1128391"/>
            <a:ext cx="5684752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R="0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984E74C1-D545-8A0E-B74F-8B970A634FEF}"/>
              </a:ext>
            </a:extLst>
          </p:cNvPr>
          <p:cNvSpPr>
            <a:spLocks/>
          </p:cNvSpPr>
          <p:nvPr/>
        </p:nvSpPr>
        <p:spPr>
          <a:xfrm>
            <a:off x="6167782" y="1128391"/>
            <a:ext cx="5685844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defRPr/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..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25C02BFB-C73A-CCF8-1831-C265FDD815E5}"/>
              </a:ext>
            </a:extLst>
          </p:cNvPr>
          <p:cNvSpPr txBox="1"/>
          <p:nvPr/>
        </p:nvSpPr>
        <p:spPr>
          <a:xfrm>
            <a:off x="338374" y="6425713"/>
            <a:ext cx="4823493" cy="12311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Текст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09C5C3-AE96-92C0-56CF-898C5F64F06E}"/>
              </a:ext>
            </a:extLst>
          </p:cNvPr>
          <p:cNvSpPr txBox="1"/>
          <p:nvPr/>
        </p:nvSpPr>
        <p:spPr>
          <a:xfrm>
            <a:off x="394923" y="1846015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Прямоугольник 205">
            <a:extLst>
              <a:ext uri="{FF2B5EF4-FFF2-40B4-BE49-F238E27FC236}">
                <a16:creationId xmlns:a16="http://schemas.microsoft.com/office/drawing/2014/main" id="{9758C665-1603-DCDF-F48F-43272DA46244}"/>
              </a:ext>
            </a:extLst>
          </p:cNvPr>
          <p:cNvSpPr/>
          <p:nvPr/>
        </p:nvSpPr>
        <p:spPr>
          <a:xfrm>
            <a:off x="482015" y="2147198"/>
            <a:ext cx="2531525" cy="10535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marR="0" lvl="0" indent="-171450" algn="l" defTabSz="914400" rtl="0" eaLnBrk="1" fontAlgn="auto" latinLnBrk="0" hangingPunct="1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  <a:p>
            <a:pPr marL="244800" marR="0" lvl="0" indent="-171450" algn="l" defTabSz="914400" rtl="0" eaLnBrk="1" fontAlgn="auto" latinLnBrk="0" hangingPunct="1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216">
            <a:extLst>
              <a:ext uri="{FF2B5EF4-FFF2-40B4-BE49-F238E27FC236}">
                <a16:creationId xmlns:a16="http://schemas.microsoft.com/office/drawing/2014/main" id="{4FEB4CAC-55D7-1846-E023-40F64790A22C}"/>
              </a:ext>
            </a:extLst>
          </p:cNvPr>
          <p:cNvSpPr/>
          <p:nvPr/>
        </p:nvSpPr>
        <p:spPr>
          <a:xfrm>
            <a:off x="798291" y="3585037"/>
            <a:ext cx="2237706" cy="5232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000" dirty="0">
                <a:solidFill>
                  <a:srgbClr val="80808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3" name="Диаграмма 7">
            <a:extLst>
              <a:ext uri="{FF2B5EF4-FFF2-40B4-BE49-F238E27FC236}">
                <a16:creationId xmlns:a16="http://schemas.microsoft.com/office/drawing/2014/main" id="{FA6AEFEC-0F5B-8EE0-2037-CEE4970A04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5488154"/>
              </p:ext>
            </p:extLst>
          </p:nvPr>
        </p:nvGraphicFramePr>
        <p:xfrm>
          <a:off x="3108325" y="2251250"/>
          <a:ext cx="2916237" cy="1810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24" name="Соединительная линия уступом 102">
            <a:extLst>
              <a:ext uri="{FF2B5EF4-FFF2-40B4-BE49-F238E27FC236}">
                <a16:creationId xmlns:a16="http://schemas.microsoft.com/office/drawing/2014/main" id="{88866A62-088C-5325-614F-9E376F28CCC1}"/>
              </a:ext>
            </a:extLst>
          </p:cNvPr>
          <p:cNvCxnSpPr>
            <a:cxnSpLocks/>
          </p:cNvCxnSpPr>
          <p:nvPr/>
        </p:nvCxnSpPr>
        <p:spPr>
          <a:xfrm flipV="1">
            <a:off x="4558730" y="2308390"/>
            <a:ext cx="882000" cy="216000"/>
          </a:xfrm>
          <a:prstGeom prst="bentConnector4">
            <a:avLst>
              <a:gd name="adj1" fmla="val 408"/>
              <a:gd name="adj2" fmla="val 148387"/>
            </a:avLst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D5720021-09F2-9670-5E86-B6DCE188F2C0}"/>
              </a:ext>
            </a:extLst>
          </p:cNvPr>
          <p:cNvSpPr txBox="1"/>
          <p:nvPr/>
        </p:nvSpPr>
        <p:spPr>
          <a:xfrm>
            <a:off x="394923" y="4219111"/>
            <a:ext cx="48009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A997C1-1267-13D5-10CC-5D6952513F8B}"/>
              </a:ext>
            </a:extLst>
          </p:cNvPr>
          <p:cNvSpPr txBox="1"/>
          <p:nvPr/>
        </p:nvSpPr>
        <p:spPr>
          <a:xfrm>
            <a:off x="6226098" y="4219111"/>
            <a:ext cx="55260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33" name="Рисунок 11">
            <a:extLst>
              <a:ext uri="{FF2B5EF4-FFF2-40B4-BE49-F238E27FC236}">
                <a16:creationId xmlns:a16="http://schemas.microsoft.com/office/drawing/2014/main" id="{F12D6FCC-F03D-8FB9-5CE1-AD24DA04148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919" t="23493" r="55644" b="54885"/>
          <a:stretch/>
        </p:blipFill>
        <p:spPr>
          <a:xfrm>
            <a:off x="1994188" y="4544983"/>
            <a:ext cx="1472806" cy="1639703"/>
          </a:xfrm>
          <a:prstGeom prst="rect">
            <a:avLst/>
          </a:prstGeom>
        </p:spPr>
      </p:pic>
      <p:pic>
        <p:nvPicPr>
          <p:cNvPr id="34" name="Рисунок 13">
            <a:extLst>
              <a:ext uri="{FF2B5EF4-FFF2-40B4-BE49-F238E27FC236}">
                <a16:creationId xmlns:a16="http://schemas.microsoft.com/office/drawing/2014/main" id="{8DC6E491-E1D8-146D-9900-D394C4AE027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274" t="30860" r="14941" b="47993"/>
          <a:stretch/>
        </p:blipFill>
        <p:spPr>
          <a:xfrm>
            <a:off x="4310982" y="4576370"/>
            <a:ext cx="1348759" cy="1450293"/>
          </a:xfrm>
          <a:prstGeom prst="rect">
            <a:avLst/>
          </a:prstGeom>
        </p:spPr>
      </p:pic>
      <p:sp>
        <p:nvSpPr>
          <p:cNvPr id="35" name="Прямоугольник 83">
            <a:extLst>
              <a:ext uri="{FF2B5EF4-FFF2-40B4-BE49-F238E27FC236}">
                <a16:creationId xmlns:a16="http://schemas.microsoft.com/office/drawing/2014/main" id="{E674DC11-C223-CA3D-E9D6-062D3FA092B5}"/>
              </a:ext>
            </a:extLst>
          </p:cNvPr>
          <p:cNvSpPr/>
          <p:nvPr/>
        </p:nvSpPr>
        <p:spPr>
          <a:xfrm>
            <a:off x="482015" y="4719576"/>
            <a:ext cx="1510737" cy="9647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6" name="Прямоугольник 85">
            <a:extLst>
              <a:ext uri="{FF2B5EF4-FFF2-40B4-BE49-F238E27FC236}">
                <a16:creationId xmlns:a16="http://schemas.microsoft.com/office/drawing/2014/main" id="{E838C8C0-81A1-D7E3-A218-E8B5B2D107D4}"/>
              </a:ext>
            </a:extLst>
          </p:cNvPr>
          <p:cNvSpPr/>
          <p:nvPr/>
        </p:nvSpPr>
        <p:spPr>
          <a:xfrm>
            <a:off x="3524146" y="4719576"/>
            <a:ext cx="927242" cy="61651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XXXX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24"/>
              </a:spcAft>
              <a:buClrTx/>
              <a:buSzTx/>
              <a:buFontTx/>
              <a:buNone/>
              <a:tabLst/>
              <a:defRPr/>
            </a:pPr>
            <a:r>
              <a:rPr lang="ru-RU" sz="1400" b="0" i="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Прямая со стрелкой 15">
            <a:extLst>
              <a:ext uri="{FF2B5EF4-FFF2-40B4-BE49-F238E27FC236}">
                <a16:creationId xmlns:a16="http://schemas.microsoft.com/office/drawing/2014/main" id="{B8CE7C94-D8F1-85B7-E9D7-1BFDEB9FC67F}"/>
              </a:ext>
            </a:extLst>
          </p:cNvPr>
          <p:cNvCxnSpPr>
            <a:cxnSpLocks/>
          </p:cNvCxnSpPr>
          <p:nvPr/>
        </p:nvCxnSpPr>
        <p:spPr>
          <a:xfrm flipV="1">
            <a:off x="8876449" y="4634095"/>
            <a:ext cx="0" cy="667422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Текст 2">
            <a:extLst>
              <a:ext uri="{FF2B5EF4-FFF2-40B4-BE49-F238E27FC236}">
                <a16:creationId xmlns:a16="http://schemas.microsoft.com/office/drawing/2014/main" id="{9D53467A-16F4-1206-2B0F-8B2BDF758614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8743301" y="4878147"/>
            <a:ext cx="331624" cy="2099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9525" algn="ctr">
            <a:noFill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t>50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+mn-lt"/>
              </a:rPr>
              <a:t>%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5B3799F-B183-BDDF-1201-A5139418DC0F}"/>
              </a:ext>
            </a:extLst>
          </p:cNvPr>
          <p:cNvGrpSpPr/>
          <p:nvPr/>
        </p:nvGrpSpPr>
        <p:grpSpPr>
          <a:xfrm>
            <a:off x="9228338" y="2552772"/>
            <a:ext cx="2491626" cy="315598"/>
            <a:chOff x="16442688" y="2427647"/>
            <a:chExt cx="2491626" cy="315598"/>
          </a:xfrm>
        </p:grpSpPr>
        <p:sp>
          <p:nvSpPr>
            <p:cNvPr id="84" name="Прямоугольник 55">
              <a:extLst>
                <a:ext uri="{FF2B5EF4-FFF2-40B4-BE49-F238E27FC236}">
                  <a16:creationId xmlns:a16="http://schemas.microsoft.com/office/drawing/2014/main" id="{C53AEC22-0BD1-9FD5-B30A-93AA40203836}"/>
                </a:ext>
              </a:extLst>
            </p:cNvPr>
            <p:cNvSpPr/>
            <p:nvPr/>
          </p:nvSpPr>
          <p:spPr>
            <a:xfrm>
              <a:off x="16442688" y="2429892"/>
              <a:ext cx="1152000" cy="310379"/>
            </a:xfrm>
            <a:prstGeom prst="rect">
              <a:avLst/>
            </a:prstGeom>
            <a:solidFill>
              <a:srgbClr val="28BE46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Прямоугольник 56">
              <a:extLst>
                <a:ext uri="{FF2B5EF4-FFF2-40B4-BE49-F238E27FC236}">
                  <a16:creationId xmlns:a16="http://schemas.microsoft.com/office/drawing/2014/main" id="{3F64E84E-4591-570E-32E3-026CA41025F5}"/>
                </a:ext>
              </a:extLst>
            </p:cNvPr>
            <p:cNvSpPr/>
            <p:nvPr/>
          </p:nvSpPr>
          <p:spPr>
            <a:xfrm>
              <a:off x="17777638" y="2429892"/>
              <a:ext cx="1152000" cy="310379"/>
            </a:xfrm>
            <a:prstGeom prst="rect">
              <a:avLst/>
            </a:prstGeom>
            <a:solidFill>
              <a:srgbClr val="28BE46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9EDB764-CA4F-F2FA-75DD-ED0AE6B224C0}"/>
                </a:ext>
              </a:extLst>
            </p:cNvPr>
            <p:cNvSpPr txBox="1"/>
            <p:nvPr/>
          </p:nvSpPr>
          <p:spPr>
            <a:xfrm>
              <a:off x="17861763" y="2458939"/>
              <a:ext cx="719903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EAEFC758-CA1B-0FF4-343C-331C77D35570}"/>
                </a:ext>
              </a:extLst>
            </p:cNvPr>
            <p:cNvSpPr txBox="1"/>
            <p:nvPr/>
          </p:nvSpPr>
          <p:spPr>
            <a:xfrm>
              <a:off x="16520930" y="2458939"/>
              <a:ext cx="99286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Текст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E09FF374-997D-B076-D475-AED52564D450}"/>
                </a:ext>
              </a:extLst>
            </p:cNvPr>
            <p:cNvSpPr txBox="1"/>
            <p:nvPr/>
          </p:nvSpPr>
          <p:spPr>
            <a:xfrm>
              <a:off x="17127033" y="2435468"/>
              <a:ext cx="55775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81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XXX</a:t>
              </a:r>
              <a:endPara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F5F2C55-2241-4DA5-F2F2-34E5D61CC3D4}"/>
                </a:ext>
              </a:extLst>
            </p:cNvPr>
            <p:cNvSpPr txBox="1"/>
            <p:nvPr/>
          </p:nvSpPr>
          <p:spPr>
            <a:xfrm>
              <a:off x="18137287" y="2427647"/>
              <a:ext cx="7970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spcBef>
                  <a:spcPts val="816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Arial" panose="020B0604020202020204" pitchFamily="34" charset="0"/>
                </a:rPr>
                <a:t>XXX</a:t>
              </a:r>
              <a:endPara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2" name="Прямоугольник 205">
            <a:extLst>
              <a:ext uri="{FF2B5EF4-FFF2-40B4-BE49-F238E27FC236}">
                <a16:creationId xmlns:a16="http://schemas.microsoft.com/office/drawing/2014/main" id="{6C1C9FAE-5AC9-2163-1F45-FFD0A5212FCF}"/>
              </a:ext>
            </a:extLst>
          </p:cNvPr>
          <p:cNvSpPr/>
          <p:nvPr/>
        </p:nvSpPr>
        <p:spPr>
          <a:xfrm>
            <a:off x="6254874" y="2147197"/>
            <a:ext cx="2778764" cy="8970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spcBef>
                <a:spcPts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56F30C0-C738-497D-DB33-1B7FB7B4D5C0}"/>
              </a:ext>
            </a:extLst>
          </p:cNvPr>
          <p:cNvSpPr txBox="1"/>
          <p:nvPr/>
        </p:nvSpPr>
        <p:spPr>
          <a:xfrm>
            <a:off x="6167782" y="1846015"/>
            <a:ext cx="55260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400">
                <a:solidFill>
                  <a:srgbClr val="004596"/>
                </a:solidFill>
                <a:latin typeface="GPN_DIN Condensed Regular" panose="020B0506020202020204" pitchFamily="34" charset="0"/>
                <a:ea typeface="GPN_DIN Condensed Regular" panose="020B0506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200" b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Прямоугольник 205">
            <a:extLst>
              <a:ext uri="{FF2B5EF4-FFF2-40B4-BE49-F238E27FC236}">
                <a16:creationId xmlns:a16="http://schemas.microsoft.com/office/drawing/2014/main" id="{8170648F-D785-37C7-C421-B4B02FD4F8CA}"/>
              </a:ext>
            </a:extLst>
          </p:cNvPr>
          <p:cNvSpPr/>
          <p:nvPr/>
        </p:nvSpPr>
        <p:spPr>
          <a:xfrm>
            <a:off x="9165735" y="2147197"/>
            <a:ext cx="2687891" cy="8970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2" name="Прямоугольник 205">
            <a:extLst>
              <a:ext uri="{FF2B5EF4-FFF2-40B4-BE49-F238E27FC236}">
                <a16:creationId xmlns:a16="http://schemas.microsoft.com/office/drawing/2014/main" id="{D17FCD2D-F823-C63F-8DE7-198E017DFCD6}"/>
              </a:ext>
            </a:extLst>
          </p:cNvPr>
          <p:cNvSpPr/>
          <p:nvPr/>
        </p:nvSpPr>
        <p:spPr>
          <a:xfrm>
            <a:off x="9134155" y="4478145"/>
            <a:ext cx="2806520" cy="182799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44800" marR="0" lvl="0" indent="-171450" fontAlgn="auto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44800" marR="0" lvl="0" indent="-171450" fontAlgn="auto">
              <a:spcBef>
                <a:spcPts val="600"/>
              </a:spcBef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en-US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44800" lvl="0" indent="-171450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F3CC3C65-6A6F-97DD-9198-8A9FC61D0D88}"/>
              </a:ext>
            </a:extLst>
          </p:cNvPr>
          <p:cNvSpPr txBox="1"/>
          <p:nvPr/>
        </p:nvSpPr>
        <p:spPr>
          <a:xfrm>
            <a:off x="337044" y="285883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164DDCE-E86E-6142-945B-6A8DFFD01151}"/>
              </a:ext>
            </a:extLst>
          </p:cNvPr>
          <p:cNvSpPr txBox="1"/>
          <p:nvPr/>
        </p:nvSpPr>
        <p:spPr>
          <a:xfrm>
            <a:off x="4682840" y="2085813"/>
            <a:ext cx="659180" cy="2937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defRPr/>
            </a:pPr>
            <a:fld id="{C5DAB52B-22A9-493D-88FA-37B8F53C1568}" type="datetime'''+''''''''''''''''6''''''''''''''''''''''0'''''''',9''%'''''">
              <a:rPr lang="ru-RU" altLang="en-US" sz="120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defRPr/>
              </a:pPr>
              <a:t>+60,9%</a:t>
            </a:fld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61" name="Chart 3">
            <a:extLst>
              <a:ext uri="{FF2B5EF4-FFF2-40B4-BE49-F238E27FC236}">
                <a16:creationId xmlns:a16="http://schemas.microsoft.com/office/drawing/2014/main" id="{6A6F7DBA-67B2-B64B-865B-3030C20B01FB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492392"/>
              </p:ext>
            </p:extLst>
          </p:nvPr>
        </p:nvGraphicFramePr>
        <p:xfrm>
          <a:off x="6273701" y="4503138"/>
          <a:ext cx="2554911" cy="1543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8003696-0940-AA4D-B133-F6E988AF0A11}"/>
              </a:ext>
            </a:extLst>
          </p:cNvPr>
          <p:cNvSpPr txBox="1"/>
          <p:nvPr/>
        </p:nvSpPr>
        <p:spPr>
          <a:xfrm>
            <a:off x="14383265" y="3651422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1C51BF4-F15E-EC46-9D62-A4C5AEE8C627}"/>
              </a:ext>
            </a:extLst>
          </p:cNvPr>
          <p:cNvSpPr txBox="1"/>
          <p:nvPr/>
        </p:nvSpPr>
        <p:spPr>
          <a:xfrm>
            <a:off x="14463584" y="2872946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/>
          </a:p>
        </p:txBody>
      </p:sp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BA8F55E4-A5A1-134D-9EBA-2AA5DE0E4F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2958791"/>
              </p:ext>
            </p:extLst>
          </p:nvPr>
        </p:nvGraphicFramePr>
        <p:xfrm>
          <a:off x="9120731" y="2801791"/>
          <a:ext cx="2631400" cy="1343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F8E47639-A427-4243-BCC3-0987AB6FCC3E}"/>
              </a:ext>
            </a:extLst>
          </p:cNvPr>
          <p:cNvSpPr txBox="1"/>
          <p:nvPr/>
        </p:nvSpPr>
        <p:spPr>
          <a:xfrm>
            <a:off x="9426706" y="3084324"/>
            <a:ext cx="659180" cy="29372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 90 раз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2" name="Chart 4">
            <a:extLst>
              <a:ext uri="{FF2B5EF4-FFF2-40B4-BE49-F238E27FC236}">
                <a16:creationId xmlns:a16="http://schemas.microsoft.com/office/drawing/2014/main" id="{E4F8650C-2F94-5C4B-8A7E-333D7DB0E8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2519189"/>
              </p:ext>
            </p:extLst>
          </p:nvPr>
        </p:nvGraphicFramePr>
        <p:xfrm>
          <a:off x="6273701" y="2832180"/>
          <a:ext cx="2652330" cy="137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16D03C73-8634-5342-9E42-6F6FE28A02A7}"/>
              </a:ext>
            </a:extLst>
          </p:cNvPr>
          <p:cNvCxnSpPr>
            <a:cxnSpLocks/>
          </p:cNvCxnSpPr>
          <p:nvPr/>
        </p:nvCxnSpPr>
        <p:spPr>
          <a:xfrm flipH="1">
            <a:off x="6272137" y="3408603"/>
            <a:ext cx="2520940" cy="15321"/>
          </a:xfrm>
          <a:prstGeom prst="line">
            <a:avLst/>
          </a:prstGeom>
          <a:ln w="6350" cap="rnd">
            <a:solidFill>
              <a:srgbClr val="7E7E7E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7" name="TextBox 17">
            <a:extLst>
              <a:ext uri="{FF2B5EF4-FFF2-40B4-BE49-F238E27FC236}">
                <a16:creationId xmlns:a16="http://schemas.microsoft.com/office/drawing/2014/main" id="{E7EEB858-D148-E44E-9205-A041B8FABA55}"/>
              </a:ext>
            </a:extLst>
          </p:cNvPr>
          <p:cNvSpPr txBox="1"/>
          <p:nvPr/>
        </p:nvSpPr>
        <p:spPr>
          <a:xfrm>
            <a:off x="6329101" y="3218633"/>
            <a:ext cx="894801" cy="338554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0" rtlCol="0" anchor="t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7E7E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90 (2020) = 532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7E7E7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E0162D-AE51-E6AA-F7D5-626EAD862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79073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40">
            <a:extLst>
              <a:ext uri="{FF2B5EF4-FFF2-40B4-BE49-F238E27FC236}">
                <a16:creationId xmlns:a16="http://schemas.microsoft.com/office/drawing/2014/main" id="{B4198EC7-5342-4534-959A-CF01B0625D93}"/>
              </a:ext>
            </a:extLst>
          </p:cNvPr>
          <p:cNvSpPr/>
          <p:nvPr/>
        </p:nvSpPr>
        <p:spPr>
          <a:xfrm>
            <a:off x="6168866" y="1122713"/>
            <a:ext cx="5691600" cy="2234849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pPr>
              <a:spcBef>
                <a:spcPts val="600"/>
              </a:spcBef>
            </a:pPr>
            <a:endParaRPr lang="ru-RU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3FF725EF-5C47-7B40-3CF6-97F70FFC4BD6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433B071-1454-A28E-8B24-0F0BC0369023}"/>
              </a:ext>
            </a:extLst>
          </p:cNvPr>
          <p:cNvSpPr/>
          <p:nvPr/>
        </p:nvSpPr>
        <p:spPr>
          <a:xfrm>
            <a:off x="337044" y="1132030"/>
            <a:ext cx="5691600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 ПАРАМЕТР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0F45DE1F-7A14-0A53-B9A4-B34DBC5FA900}"/>
              </a:ext>
            </a:extLst>
          </p:cNvPr>
          <p:cNvSpPr/>
          <p:nvPr/>
        </p:nvSpPr>
        <p:spPr>
          <a:xfrm>
            <a:off x="336250" y="1786680"/>
            <a:ext cx="5691600" cy="441326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 ТЕКСТ ТЕКСТ ТЕКСТ ТЕКСТ ТЕКСТ ТЕКСТ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 ТЕКСТ ТЕКСТ ТЕКСТ ТЕКСТ ТЕКСТ 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6D575630-38FD-CCFF-13A4-D84AC5FE11F1}"/>
              </a:ext>
            </a:extLst>
          </p:cNvPr>
          <p:cNvSpPr txBox="1"/>
          <p:nvPr/>
        </p:nvSpPr>
        <p:spPr>
          <a:xfrm>
            <a:off x="6339017" y="1679450"/>
            <a:ext cx="1853595" cy="5356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место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10C74331-6799-6789-15DC-3E956111E586}"/>
              </a:ext>
            </a:extLst>
          </p:cNvPr>
          <p:cNvSpPr txBox="1"/>
          <p:nvPr/>
        </p:nvSpPr>
        <p:spPr>
          <a:xfrm>
            <a:off x="9116041" y="1679450"/>
            <a:ext cx="1853595" cy="53562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endParaRPr lang="ru-RU" sz="3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82" name="Диаграмма 481">
            <a:extLst>
              <a:ext uri="{FF2B5EF4-FFF2-40B4-BE49-F238E27FC236}">
                <a16:creationId xmlns:a16="http://schemas.microsoft.com/office/drawing/2014/main" id="{894DB083-858F-0390-28C4-9F39883741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3661542"/>
              </p:ext>
            </p:extLst>
          </p:nvPr>
        </p:nvGraphicFramePr>
        <p:xfrm>
          <a:off x="1409415" y="2074102"/>
          <a:ext cx="4185775" cy="1830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83" name="TextBox 482">
            <a:extLst>
              <a:ext uri="{FF2B5EF4-FFF2-40B4-BE49-F238E27FC236}">
                <a16:creationId xmlns:a16="http://schemas.microsoft.com/office/drawing/2014/main" id="{CB2281FE-62C6-6DCC-AE9F-4EB273752352}"/>
              </a:ext>
            </a:extLst>
          </p:cNvPr>
          <p:cNvSpPr txBox="1"/>
          <p:nvPr/>
        </p:nvSpPr>
        <p:spPr>
          <a:xfrm>
            <a:off x="5004048" y="2215072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486" name="TextBox 485">
            <a:extLst>
              <a:ext uri="{FF2B5EF4-FFF2-40B4-BE49-F238E27FC236}">
                <a16:creationId xmlns:a16="http://schemas.microsoft.com/office/drawing/2014/main" id="{57666142-EFD7-FEF9-4556-928816D5EEB1}"/>
              </a:ext>
            </a:extLst>
          </p:cNvPr>
          <p:cNvSpPr txBox="1"/>
          <p:nvPr/>
        </p:nvSpPr>
        <p:spPr>
          <a:xfrm>
            <a:off x="3502904" y="2795144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487" name="TextBox 486">
            <a:extLst>
              <a:ext uri="{FF2B5EF4-FFF2-40B4-BE49-F238E27FC236}">
                <a16:creationId xmlns:a16="http://schemas.microsoft.com/office/drawing/2014/main" id="{EC6C6EAA-AD31-4902-943C-9A97CD0F03A1}"/>
              </a:ext>
            </a:extLst>
          </p:cNvPr>
          <p:cNvSpPr txBox="1"/>
          <p:nvPr/>
        </p:nvSpPr>
        <p:spPr>
          <a:xfrm>
            <a:off x="3227843" y="3371725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grpSp>
        <p:nvGrpSpPr>
          <p:cNvPr id="489" name="TitleLogoRus">
            <a:extLst>
              <a:ext uri="{FF2B5EF4-FFF2-40B4-BE49-F238E27FC236}">
                <a16:creationId xmlns:a16="http://schemas.microsoft.com/office/drawing/2014/main" id="{C9CBC802-2041-4F54-ADDE-E5F2E92253E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2367" y="2208280"/>
            <a:ext cx="647560" cy="305978"/>
            <a:chOff x="264" y="1159"/>
            <a:chExt cx="3492" cy="1650"/>
          </a:xfrm>
          <a:solidFill>
            <a:schemeClr val="accent3"/>
          </a:solidFill>
        </p:grpSpPr>
        <p:sp>
          <p:nvSpPr>
            <p:cNvPr id="490" name="Freeform 6">
              <a:extLst>
                <a:ext uri="{FF2B5EF4-FFF2-40B4-BE49-F238E27FC236}">
                  <a16:creationId xmlns:a16="http://schemas.microsoft.com/office/drawing/2014/main" id="{AAC485B0-8BC2-D67A-4A75-8C80880B65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1" name="Freeform 9">
              <a:extLst>
                <a:ext uri="{FF2B5EF4-FFF2-40B4-BE49-F238E27FC236}">
                  <a16:creationId xmlns:a16="http://schemas.microsoft.com/office/drawing/2014/main" id="{6F8907F7-E529-7F30-4D90-0F596AD18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2" name="Freeform 10">
              <a:extLst>
                <a:ext uri="{FF2B5EF4-FFF2-40B4-BE49-F238E27FC236}">
                  <a16:creationId xmlns:a16="http://schemas.microsoft.com/office/drawing/2014/main" id="{32918FA8-557F-698D-4944-0957A8B8F6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3" name="Freeform 11">
              <a:extLst>
                <a:ext uri="{FF2B5EF4-FFF2-40B4-BE49-F238E27FC236}">
                  <a16:creationId xmlns:a16="http://schemas.microsoft.com/office/drawing/2014/main" id="{BB4EC55C-B848-4AE6-11D1-B27C524A2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4" name="Freeform 12">
              <a:extLst>
                <a:ext uri="{FF2B5EF4-FFF2-40B4-BE49-F238E27FC236}">
                  <a16:creationId xmlns:a16="http://schemas.microsoft.com/office/drawing/2014/main" id="{89931FDE-E827-8019-4749-DE874128E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5" name="Freeform 13">
              <a:extLst>
                <a:ext uri="{FF2B5EF4-FFF2-40B4-BE49-F238E27FC236}">
                  <a16:creationId xmlns:a16="http://schemas.microsoft.com/office/drawing/2014/main" id="{179CBC61-2788-81D6-A55B-7194B0882E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6" name="Freeform 14">
              <a:extLst>
                <a:ext uri="{FF2B5EF4-FFF2-40B4-BE49-F238E27FC236}">
                  <a16:creationId xmlns:a16="http://schemas.microsoft.com/office/drawing/2014/main" id="{78AB062C-CCF3-7009-57DF-E8DA7F895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7" name="Freeform 15">
              <a:extLst>
                <a:ext uri="{FF2B5EF4-FFF2-40B4-BE49-F238E27FC236}">
                  <a16:creationId xmlns:a16="http://schemas.microsoft.com/office/drawing/2014/main" id="{EA5C31AE-0303-48E9-DF19-1A863BEFC9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8" name="Freeform 19">
              <a:extLst>
                <a:ext uri="{FF2B5EF4-FFF2-40B4-BE49-F238E27FC236}">
                  <a16:creationId xmlns:a16="http://schemas.microsoft.com/office/drawing/2014/main" id="{D74AFAD8-CC3D-CAC3-F173-DF711DC06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9" name="Freeform 20">
              <a:extLst>
                <a:ext uri="{FF2B5EF4-FFF2-40B4-BE49-F238E27FC236}">
                  <a16:creationId xmlns:a16="http://schemas.microsoft.com/office/drawing/2014/main" id="{DBEFC164-2D4B-79E2-8B31-16A476E0A9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0" name="Freeform 27">
              <a:extLst>
                <a:ext uri="{FF2B5EF4-FFF2-40B4-BE49-F238E27FC236}">
                  <a16:creationId xmlns:a16="http://schemas.microsoft.com/office/drawing/2014/main" id="{458CD6F4-BDC7-A2A4-5062-500E906976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1" name="Freeform 28">
              <a:extLst>
                <a:ext uri="{FF2B5EF4-FFF2-40B4-BE49-F238E27FC236}">
                  <a16:creationId xmlns:a16="http://schemas.microsoft.com/office/drawing/2014/main" id="{1401A687-2845-15F9-2072-163C3AFDA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2" name="Freeform 29">
              <a:extLst>
                <a:ext uri="{FF2B5EF4-FFF2-40B4-BE49-F238E27FC236}">
                  <a16:creationId xmlns:a16="http://schemas.microsoft.com/office/drawing/2014/main" id="{E18966BB-3FA9-4345-A489-B734D200E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503" name="Рисунок 502">
            <a:extLst>
              <a:ext uri="{FF2B5EF4-FFF2-40B4-BE49-F238E27FC236}">
                <a16:creationId xmlns:a16="http://schemas.microsoft.com/office/drawing/2014/main" id="{7875DB33-A594-C2A6-41D6-7CF67479277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11" y="2695829"/>
            <a:ext cx="904204" cy="508614"/>
          </a:xfrm>
          <a:prstGeom prst="rect">
            <a:avLst/>
          </a:prstGeom>
        </p:spPr>
      </p:pic>
      <p:pic>
        <p:nvPicPr>
          <p:cNvPr id="504" name="Рисунок 503">
            <a:extLst>
              <a:ext uri="{FF2B5EF4-FFF2-40B4-BE49-F238E27FC236}">
                <a16:creationId xmlns:a16="http://schemas.microsoft.com/office/drawing/2014/main" id="{9B5755E9-5B7D-2929-8468-0166E4CE9E9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9291" y="3451984"/>
            <a:ext cx="750846" cy="240868"/>
          </a:xfrm>
          <a:prstGeom prst="rect">
            <a:avLst/>
          </a:prstGeom>
        </p:spPr>
      </p:pic>
      <p:graphicFrame>
        <p:nvGraphicFramePr>
          <p:cNvPr id="505" name="Диаграмма 504">
            <a:extLst>
              <a:ext uri="{FF2B5EF4-FFF2-40B4-BE49-F238E27FC236}">
                <a16:creationId xmlns:a16="http://schemas.microsoft.com/office/drawing/2014/main" id="{E58DF850-8CB2-8691-4E12-EBEAA00D61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8898234"/>
              </p:ext>
            </p:extLst>
          </p:nvPr>
        </p:nvGraphicFramePr>
        <p:xfrm>
          <a:off x="1409415" y="4219669"/>
          <a:ext cx="4185775" cy="1830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06" name="TextBox 505">
            <a:extLst>
              <a:ext uri="{FF2B5EF4-FFF2-40B4-BE49-F238E27FC236}">
                <a16:creationId xmlns:a16="http://schemas.microsoft.com/office/drawing/2014/main" id="{DA3AC339-D609-3166-BB8B-1D75F7AC9011}"/>
              </a:ext>
            </a:extLst>
          </p:cNvPr>
          <p:cNvSpPr txBox="1"/>
          <p:nvPr/>
        </p:nvSpPr>
        <p:spPr>
          <a:xfrm>
            <a:off x="5004048" y="4360639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48A04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09" name="TextBox 508">
            <a:extLst>
              <a:ext uri="{FF2B5EF4-FFF2-40B4-BE49-F238E27FC236}">
                <a16:creationId xmlns:a16="http://schemas.microsoft.com/office/drawing/2014/main" id="{06A471E8-AFE2-B39C-9814-6F08C5093234}"/>
              </a:ext>
            </a:extLst>
          </p:cNvPr>
          <p:cNvSpPr txBox="1"/>
          <p:nvPr/>
        </p:nvSpPr>
        <p:spPr>
          <a:xfrm>
            <a:off x="3502904" y="4940711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510" name="TextBox 509">
            <a:extLst>
              <a:ext uri="{FF2B5EF4-FFF2-40B4-BE49-F238E27FC236}">
                <a16:creationId xmlns:a16="http://schemas.microsoft.com/office/drawing/2014/main" id="{B0C545EB-2558-454B-2D11-BF8F76DE8DEE}"/>
              </a:ext>
            </a:extLst>
          </p:cNvPr>
          <p:cNvSpPr txBox="1"/>
          <p:nvPr/>
        </p:nvSpPr>
        <p:spPr>
          <a:xfrm>
            <a:off x="3227843" y="5517292"/>
            <a:ext cx="540655" cy="388620"/>
          </a:xfrm>
          <a:prstGeom prst="rect">
            <a:avLst/>
          </a:prstGeom>
          <a:noFill/>
        </p:spPr>
        <p:txBody>
          <a:bodyPr wrap="none" lIns="0" tIns="36000" rIns="0" bIns="0" rtlCol="0" anchor="ctr" anchorCtr="0">
            <a:noAutofit/>
          </a:bodyPr>
          <a:lstStyle/>
          <a:p>
            <a:pPr algn="l">
              <a:spcBef>
                <a:spcPts val="300"/>
              </a:spcBef>
            </a:pP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</a:t>
            </a:r>
            <a:r>
              <a:rPr lang="en-US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grpSp>
        <p:nvGrpSpPr>
          <p:cNvPr id="512" name="TitleLogoRus">
            <a:extLst>
              <a:ext uri="{FF2B5EF4-FFF2-40B4-BE49-F238E27FC236}">
                <a16:creationId xmlns:a16="http://schemas.microsoft.com/office/drawing/2014/main" id="{6CBCBE75-CB56-F1A2-9599-40BA9AA82D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2367" y="4314965"/>
            <a:ext cx="647560" cy="305978"/>
            <a:chOff x="264" y="1159"/>
            <a:chExt cx="3492" cy="1650"/>
          </a:xfrm>
          <a:solidFill>
            <a:schemeClr val="accent3"/>
          </a:solidFill>
        </p:grpSpPr>
        <p:sp>
          <p:nvSpPr>
            <p:cNvPr id="513" name="Freeform 6">
              <a:extLst>
                <a:ext uri="{FF2B5EF4-FFF2-40B4-BE49-F238E27FC236}">
                  <a16:creationId xmlns:a16="http://schemas.microsoft.com/office/drawing/2014/main" id="{D1DA753B-CD87-FC9C-3919-C57BBD8F9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4" name="Freeform 9">
              <a:extLst>
                <a:ext uri="{FF2B5EF4-FFF2-40B4-BE49-F238E27FC236}">
                  <a16:creationId xmlns:a16="http://schemas.microsoft.com/office/drawing/2014/main" id="{A100694A-7FC9-BCE7-7A42-CD80CFDF2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5" name="Freeform 10">
              <a:extLst>
                <a:ext uri="{FF2B5EF4-FFF2-40B4-BE49-F238E27FC236}">
                  <a16:creationId xmlns:a16="http://schemas.microsoft.com/office/drawing/2014/main" id="{F398F8C5-3596-8899-DCC3-70620046C6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6" name="Freeform 11">
              <a:extLst>
                <a:ext uri="{FF2B5EF4-FFF2-40B4-BE49-F238E27FC236}">
                  <a16:creationId xmlns:a16="http://schemas.microsoft.com/office/drawing/2014/main" id="{2BABED53-CE1F-A193-8548-E07DA6A79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7" name="Freeform 12">
              <a:extLst>
                <a:ext uri="{FF2B5EF4-FFF2-40B4-BE49-F238E27FC236}">
                  <a16:creationId xmlns:a16="http://schemas.microsoft.com/office/drawing/2014/main" id="{05570A15-5AB9-53F5-82A0-0EC4583B9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8" name="Freeform 13">
              <a:extLst>
                <a:ext uri="{FF2B5EF4-FFF2-40B4-BE49-F238E27FC236}">
                  <a16:creationId xmlns:a16="http://schemas.microsoft.com/office/drawing/2014/main" id="{9F939690-8A72-5733-BBE6-A0B42C377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9" name="Freeform 14">
              <a:extLst>
                <a:ext uri="{FF2B5EF4-FFF2-40B4-BE49-F238E27FC236}">
                  <a16:creationId xmlns:a16="http://schemas.microsoft.com/office/drawing/2014/main" id="{8AEBB5F9-7740-D6A5-FFF7-25051E3A4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0" name="Freeform 15">
              <a:extLst>
                <a:ext uri="{FF2B5EF4-FFF2-40B4-BE49-F238E27FC236}">
                  <a16:creationId xmlns:a16="http://schemas.microsoft.com/office/drawing/2014/main" id="{1F683EC1-6E65-69A6-9D02-C3905766F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1" name="Freeform 19">
              <a:extLst>
                <a:ext uri="{FF2B5EF4-FFF2-40B4-BE49-F238E27FC236}">
                  <a16:creationId xmlns:a16="http://schemas.microsoft.com/office/drawing/2014/main" id="{F41A443D-1660-E628-1190-4F22080D0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2" name="Freeform 20">
              <a:extLst>
                <a:ext uri="{FF2B5EF4-FFF2-40B4-BE49-F238E27FC236}">
                  <a16:creationId xmlns:a16="http://schemas.microsoft.com/office/drawing/2014/main" id="{A2B28A59-43C8-82F1-CCCA-6F68FD029B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3" name="Freeform 27">
              <a:extLst>
                <a:ext uri="{FF2B5EF4-FFF2-40B4-BE49-F238E27FC236}">
                  <a16:creationId xmlns:a16="http://schemas.microsoft.com/office/drawing/2014/main" id="{2E2720C7-8588-C75B-017C-AE542C2DC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4" name="Freeform 28">
              <a:extLst>
                <a:ext uri="{FF2B5EF4-FFF2-40B4-BE49-F238E27FC236}">
                  <a16:creationId xmlns:a16="http://schemas.microsoft.com/office/drawing/2014/main" id="{43E44DB9-7CE9-0DA5-9F52-BC3F14520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5" name="Freeform 29">
              <a:extLst>
                <a:ext uri="{FF2B5EF4-FFF2-40B4-BE49-F238E27FC236}">
                  <a16:creationId xmlns:a16="http://schemas.microsoft.com/office/drawing/2014/main" id="{D3517259-6EB8-88D6-6F85-1317F5C4F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200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526" name="Рисунок 525">
            <a:extLst>
              <a:ext uri="{FF2B5EF4-FFF2-40B4-BE49-F238E27FC236}">
                <a16:creationId xmlns:a16="http://schemas.microsoft.com/office/drawing/2014/main" id="{34E469C6-F79F-20BD-5C18-390E449C519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11" y="4802514"/>
            <a:ext cx="904204" cy="508614"/>
          </a:xfrm>
          <a:prstGeom prst="rect">
            <a:avLst/>
          </a:prstGeom>
        </p:spPr>
      </p:pic>
      <p:pic>
        <p:nvPicPr>
          <p:cNvPr id="527" name="Рисунок 526">
            <a:extLst>
              <a:ext uri="{FF2B5EF4-FFF2-40B4-BE49-F238E27FC236}">
                <a16:creationId xmlns:a16="http://schemas.microsoft.com/office/drawing/2014/main" id="{D5859FD4-C46D-2B08-272B-A96D3F8C3C9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9291" y="5558669"/>
            <a:ext cx="750846" cy="240868"/>
          </a:xfrm>
          <a:prstGeom prst="rect">
            <a:avLst/>
          </a:prstGeom>
        </p:spPr>
      </p:pic>
      <p:sp>
        <p:nvSpPr>
          <p:cNvPr id="528" name="Прямоугольник 527">
            <a:extLst>
              <a:ext uri="{FF2B5EF4-FFF2-40B4-BE49-F238E27FC236}">
                <a16:creationId xmlns:a16="http://schemas.microsoft.com/office/drawing/2014/main" id="{9ACA03BC-82EF-251C-4C2B-2FF8CE459C7B}"/>
              </a:ext>
            </a:extLst>
          </p:cNvPr>
          <p:cNvSpPr/>
          <p:nvPr/>
        </p:nvSpPr>
        <p:spPr>
          <a:xfrm>
            <a:off x="6168866" y="3508335"/>
            <a:ext cx="5691600" cy="644400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НФОРМАЦИОННЫЕ ПАРТНЕРЫ</a:t>
            </a:r>
          </a:p>
        </p:txBody>
      </p:sp>
      <p:sp>
        <p:nvSpPr>
          <p:cNvPr id="529" name="Прямоугольник 528">
            <a:extLst>
              <a:ext uri="{FF2B5EF4-FFF2-40B4-BE49-F238E27FC236}">
                <a16:creationId xmlns:a16="http://schemas.microsoft.com/office/drawing/2014/main" id="{6086C074-5B70-84FB-0E84-3BEA8BAB7713}"/>
              </a:ext>
            </a:extLst>
          </p:cNvPr>
          <p:cNvSpPr/>
          <p:nvPr/>
        </p:nvSpPr>
        <p:spPr>
          <a:xfrm>
            <a:off x="6168866" y="4152736"/>
            <a:ext cx="5691600" cy="204721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5C86ACDA-200B-7EA8-963F-DA0BC70A1DDA}"/>
              </a:ext>
            </a:extLst>
          </p:cNvPr>
          <p:cNvGrpSpPr/>
          <p:nvPr/>
        </p:nvGrpSpPr>
        <p:grpSpPr>
          <a:xfrm>
            <a:off x="6472877" y="4402753"/>
            <a:ext cx="5035411" cy="1547180"/>
            <a:chOff x="6472877" y="4529333"/>
            <a:chExt cx="5035411" cy="1547180"/>
          </a:xfrm>
        </p:grpSpPr>
        <p:pic>
          <p:nvPicPr>
            <p:cNvPr id="553" name="Рисунок 552">
              <a:extLst>
                <a:ext uri="{FF2B5EF4-FFF2-40B4-BE49-F238E27FC236}">
                  <a16:creationId xmlns:a16="http://schemas.microsoft.com/office/drawing/2014/main" id="{103AC5C6-FE21-1855-F7DF-733339BE6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72877" y="4529333"/>
              <a:ext cx="643200" cy="633536"/>
            </a:xfrm>
            <a:prstGeom prst="rect">
              <a:avLst/>
            </a:prstGeom>
          </p:spPr>
        </p:pic>
        <p:pic>
          <p:nvPicPr>
            <p:cNvPr id="554" name="Рисунок 553">
              <a:extLst>
                <a:ext uri="{FF2B5EF4-FFF2-40B4-BE49-F238E27FC236}">
                  <a16:creationId xmlns:a16="http://schemas.microsoft.com/office/drawing/2014/main" id="{C9A4FD8D-2C18-16F9-83A6-C94BF80EFD1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361511" y="4655177"/>
              <a:ext cx="1881073" cy="430295"/>
            </a:xfrm>
            <a:prstGeom prst="rect">
              <a:avLst/>
            </a:prstGeom>
          </p:spPr>
        </p:pic>
        <p:pic>
          <p:nvPicPr>
            <p:cNvPr id="555" name="Рисунок 554">
              <a:extLst>
                <a:ext uri="{FF2B5EF4-FFF2-40B4-BE49-F238E27FC236}">
                  <a16:creationId xmlns:a16="http://schemas.microsoft.com/office/drawing/2014/main" id="{805131A0-AABB-6DF3-ED5B-D8E80A353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367108" y="5384223"/>
              <a:ext cx="692290" cy="692290"/>
            </a:xfrm>
            <a:prstGeom prst="rect">
              <a:avLst/>
            </a:prstGeom>
          </p:spPr>
        </p:pic>
        <p:pic>
          <p:nvPicPr>
            <p:cNvPr id="556" name="Рисунок 555">
              <a:extLst>
                <a:ext uri="{FF2B5EF4-FFF2-40B4-BE49-F238E27FC236}">
                  <a16:creationId xmlns:a16="http://schemas.microsoft.com/office/drawing/2014/main" id="{56752AEE-924C-7076-9809-AB960EF6E5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479601" y="5623128"/>
              <a:ext cx="1370129" cy="365368"/>
            </a:xfrm>
            <a:prstGeom prst="rect">
              <a:avLst/>
            </a:prstGeom>
          </p:spPr>
        </p:pic>
        <p:pic>
          <p:nvPicPr>
            <p:cNvPr id="557" name="Рисунок 556">
              <a:extLst>
                <a:ext uri="{FF2B5EF4-FFF2-40B4-BE49-F238E27FC236}">
                  <a16:creationId xmlns:a16="http://schemas.microsoft.com/office/drawing/2014/main" id="{0434BB91-92B3-9623-A292-E462D93C25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9600919" y="4751111"/>
              <a:ext cx="1881073" cy="357258"/>
            </a:xfrm>
            <a:prstGeom prst="rect">
              <a:avLst/>
            </a:prstGeom>
          </p:spPr>
        </p:pic>
        <p:pic>
          <p:nvPicPr>
            <p:cNvPr id="558" name="Рисунок 557">
              <a:extLst>
                <a:ext uri="{FF2B5EF4-FFF2-40B4-BE49-F238E27FC236}">
                  <a16:creationId xmlns:a16="http://schemas.microsoft.com/office/drawing/2014/main" id="{C03D6367-F5B9-E87D-D2AB-5E622CAE1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9469938" y="5537866"/>
              <a:ext cx="2038350" cy="333375"/>
            </a:xfrm>
            <a:prstGeom prst="rect">
              <a:avLst/>
            </a:prstGeom>
          </p:spPr>
        </p:pic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0B030B-E2EB-07B4-8688-6EB1EE7C11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97526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 hidden="1">
            <a:extLst>
              <a:ext uri="{FF2B5EF4-FFF2-40B4-BE49-F238E27FC236}">
                <a16:creationId xmlns:a16="http://schemas.microsoft.com/office/drawing/2014/main" id="{E87BD8E4-DED4-8FD6-8752-E07E5EFEAEFE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3" name="Group 1">
              <a:extLst>
                <a:ext uri="{FF2B5EF4-FFF2-40B4-BE49-F238E27FC236}">
                  <a16:creationId xmlns:a16="http://schemas.microsoft.com/office/drawing/2014/main" id="{95C4DB61-B3DC-B786-44BE-72A96ECEA6D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88" name="Freeform: Shape 15">
                <a:extLst>
                  <a:ext uri="{FF2B5EF4-FFF2-40B4-BE49-F238E27FC236}">
                    <a16:creationId xmlns:a16="http://schemas.microsoft.com/office/drawing/2014/main" id="{5FFB66CE-5303-DC0D-246A-FC91BF90C7B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16">
                <a:extLst>
                  <a:ext uri="{FF2B5EF4-FFF2-40B4-BE49-F238E27FC236}">
                    <a16:creationId xmlns:a16="http://schemas.microsoft.com/office/drawing/2014/main" id="{94749208-22E4-9E28-76A4-9E72BFAA71F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17">
                <a:extLst>
                  <a:ext uri="{FF2B5EF4-FFF2-40B4-BE49-F238E27FC236}">
                    <a16:creationId xmlns:a16="http://schemas.microsoft.com/office/drawing/2014/main" id="{E5F5FD7A-8799-5408-9A51-5B8FBFEDDB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18">
                <a:extLst>
                  <a:ext uri="{FF2B5EF4-FFF2-40B4-BE49-F238E27FC236}">
                    <a16:creationId xmlns:a16="http://schemas.microsoft.com/office/drawing/2014/main" id="{0C01D1EB-1403-EF2F-FEA8-4C685ABE7A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19">
                <a:extLst>
                  <a:ext uri="{FF2B5EF4-FFF2-40B4-BE49-F238E27FC236}">
                    <a16:creationId xmlns:a16="http://schemas.microsoft.com/office/drawing/2014/main" id="{BB059FFE-8791-3994-498D-9BF12E3275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20">
                <a:extLst>
                  <a:ext uri="{FF2B5EF4-FFF2-40B4-BE49-F238E27FC236}">
                    <a16:creationId xmlns:a16="http://schemas.microsoft.com/office/drawing/2014/main" id="{48DDA791-4A8A-1D06-EAD2-A447E0801F6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21">
                <a:extLst>
                  <a:ext uri="{FF2B5EF4-FFF2-40B4-BE49-F238E27FC236}">
                    <a16:creationId xmlns:a16="http://schemas.microsoft.com/office/drawing/2014/main" id="{38E73F35-7600-1290-7528-653B6D1FDC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22">
                <a:extLst>
                  <a:ext uri="{FF2B5EF4-FFF2-40B4-BE49-F238E27FC236}">
                    <a16:creationId xmlns:a16="http://schemas.microsoft.com/office/drawing/2014/main" id="{910E1712-D944-7B18-CD41-C6AC5CF1A25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23">
                <a:extLst>
                  <a:ext uri="{FF2B5EF4-FFF2-40B4-BE49-F238E27FC236}">
                    <a16:creationId xmlns:a16="http://schemas.microsoft.com/office/drawing/2014/main" id="{0FEF2EC3-8975-80DE-AC6E-E1C1818B0AC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24">
                <a:extLst>
                  <a:ext uri="{FF2B5EF4-FFF2-40B4-BE49-F238E27FC236}">
                    <a16:creationId xmlns:a16="http://schemas.microsoft.com/office/drawing/2014/main" id="{BA9DC380-2FB8-1097-69EF-5AEFFFBAE9B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25">
                <a:extLst>
                  <a:ext uri="{FF2B5EF4-FFF2-40B4-BE49-F238E27FC236}">
                    <a16:creationId xmlns:a16="http://schemas.microsoft.com/office/drawing/2014/main" id="{EF305DAE-D786-8C6B-6F53-FFDE9B8983A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26">
                <a:extLst>
                  <a:ext uri="{FF2B5EF4-FFF2-40B4-BE49-F238E27FC236}">
                    <a16:creationId xmlns:a16="http://schemas.microsoft.com/office/drawing/2014/main" id="{7B8D78CC-0AC0-9C1B-71DD-E6D689E2350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4" name="Freeform: Shape 27">
              <a:extLst>
                <a:ext uri="{FF2B5EF4-FFF2-40B4-BE49-F238E27FC236}">
                  <a16:creationId xmlns:a16="http://schemas.microsoft.com/office/drawing/2014/main" id="{37ADB266-1AF6-9637-67B7-6624C62FF0E1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Freeform: Shape 28">
              <a:extLst>
                <a:ext uri="{FF2B5EF4-FFF2-40B4-BE49-F238E27FC236}">
                  <a16:creationId xmlns:a16="http://schemas.microsoft.com/office/drawing/2014/main" id="{45054A9F-1395-4BD3-F163-DDC55BE2921F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Freeform: Shape 29">
              <a:extLst>
                <a:ext uri="{FF2B5EF4-FFF2-40B4-BE49-F238E27FC236}">
                  <a16:creationId xmlns:a16="http://schemas.microsoft.com/office/drawing/2014/main" id="{E33B4EA4-A67A-3C69-463A-7EDFF04BEEA5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F3ED9F4F-DB1C-E337-8E24-2211AAC0F2C0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7E7F4A10-2962-218A-9E4E-80758990AF5A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F5045311-D7A1-D46D-0674-A93A7A4D813C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31A15328-402D-6D45-90CC-BA9F582BB177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0B301DC2-79C3-6EBE-8225-CBDBEF78B516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35">
              <a:extLst>
                <a:ext uri="{FF2B5EF4-FFF2-40B4-BE49-F238E27FC236}">
                  <a16:creationId xmlns:a16="http://schemas.microsoft.com/office/drawing/2014/main" id="{2DB2AF93-392C-C17A-1BED-8704795EA852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36">
              <a:extLst>
                <a:ext uri="{FF2B5EF4-FFF2-40B4-BE49-F238E27FC236}">
                  <a16:creationId xmlns:a16="http://schemas.microsoft.com/office/drawing/2014/main" id="{EDE6C71C-7BCE-FB6E-CFF1-7A92C94D6DE4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37">
              <a:extLst>
                <a:ext uri="{FF2B5EF4-FFF2-40B4-BE49-F238E27FC236}">
                  <a16:creationId xmlns:a16="http://schemas.microsoft.com/office/drawing/2014/main" id="{CCB112D5-5845-4A86-8278-440A0236B3B8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38">
              <a:extLst>
                <a:ext uri="{FF2B5EF4-FFF2-40B4-BE49-F238E27FC236}">
                  <a16:creationId xmlns:a16="http://schemas.microsoft.com/office/drawing/2014/main" id="{6A042993-C064-F49E-062C-D5B78598B3D2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39">
              <a:extLst>
                <a:ext uri="{FF2B5EF4-FFF2-40B4-BE49-F238E27FC236}">
                  <a16:creationId xmlns:a16="http://schemas.microsoft.com/office/drawing/2014/main" id="{E5F433F8-317F-2EA6-0B9C-DEEB03C70BCE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40">
              <a:extLst>
                <a:ext uri="{FF2B5EF4-FFF2-40B4-BE49-F238E27FC236}">
                  <a16:creationId xmlns:a16="http://schemas.microsoft.com/office/drawing/2014/main" id="{0C681B1C-B511-A584-C037-457D8F300203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41">
              <a:extLst>
                <a:ext uri="{FF2B5EF4-FFF2-40B4-BE49-F238E27FC236}">
                  <a16:creationId xmlns:a16="http://schemas.microsoft.com/office/drawing/2014/main" id="{F4295FC1-CB13-6E4B-1AD0-F7387008E824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42">
              <a:extLst>
                <a:ext uri="{FF2B5EF4-FFF2-40B4-BE49-F238E27FC236}">
                  <a16:creationId xmlns:a16="http://schemas.microsoft.com/office/drawing/2014/main" id="{276CABF8-FEF7-26C4-DFF2-30E68453B861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43">
              <a:extLst>
                <a:ext uri="{FF2B5EF4-FFF2-40B4-BE49-F238E27FC236}">
                  <a16:creationId xmlns:a16="http://schemas.microsoft.com/office/drawing/2014/main" id="{4E4AE5F0-1504-A821-1A7B-91C72F8E466C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44">
              <a:extLst>
                <a:ext uri="{FF2B5EF4-FFF2-40B4-BE49-F238E27FC236}">
                  <a16:creationId xmlns:a16="http://schemas.microsoft.com/office/drawing/2014/main" id="{1AA2695F-4532-3D27-2A69-7338BC21924C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45">
              <a:extLst>
                <a:ext uri="{FF2B5EF4-FFF2-40B4-BE49-F238E27FC236}">
                  <a16:creationId xmlns:a16="http://schemas.microsoft.com/office/drawing/2014/main" id="{B9D6BA12-B011-2ABF-5D74-0EED52FE2C22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46">
              <a:extLst>
                <a:ext uri="{FF2B5EF4-FFF2-40B4-BE49-F238E27FC236}">
                  <a16:creationId xmlns:a16="http://schemas.microsoft.com/office/drawing/2014/main" id="{76C5FE91-9CB1-7E58-0F02-25485F23B76C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47">
              <a:extLst>
                <a:ext uri="{FF2B5EF4-FFF2-40B4-BE49-F238E27FC236}">
                  <a16:creationId xmlns:a16="http://schemas.microsoft.com/office/drawing/2014/main" id="{DD2B931A-3081-47CB-2C66-2EA29510CEE2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48">
              <a:extLst>
                <a:ext uri="{FF2B5EF4-FFF2-40B4-BE49-F238E27FC236}">
                  <a16:creationId xmlns:a16="http://schemas.microsoft.com/office/drawing/2014/main" id="{2CB94AEA-00D0-0313-F4CC-8D803D006392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49">
              <a:extLst>
                <a:ext uri="{FF2B5EF4-FFF2-40B4-BE49-F238E27FC236}">
                  <a16:creationId xmlns:a16="http://schemas.microsoft.com/office/drawing/2014/main" id="{E0EAD24E-6DE1-ABE1-A520-C098E4470AF4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50">
              <a:extLst>
                <a:ext uri="{FF2B5EF4-FFF2-40B4-BE49-F238E27FC236}">
                  <a16:creationId xmlns:a16="http://schemas.microsoft.com/office/drawing/2014/main" id="{EE49A3C6-2B23-1B8E-3DEA-E872A6F576A4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51">
              <a:extLst>
                <a:ext uri="{FF2B5EF4-FFF2-40B4-BE49-F238E27FC236}">
                  <a16:creationId xmlns:a16="http://schemas.microsoft.com/office/drawing/2014/main" id="{50F797A0-585E-1571-0A18-4C39DE48CA22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52">
              <a:extLst>
                <a:ext uri="{FF2B5EF4-FFF2-40B4-BE49-F238E27FC236}">
                  <a16:creationId xmlns:a16="http://schemas.microsoft.com/office/drawing/2014/main" id="{2028AE77-7906-1077-ACE2-D4E8478F2607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53">
              <a:extLst>
                <a:ext uri="{FF2B5EF4-FFF2-40B4-BE49-F238E27FC236}">
                  <a16:creationId xmlns:a16="http://schemas.microsoft.com/office/drawing/2014/main" id="{BDA1A180-57A2-5BD4-9356-727FB8108D4B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54">
              <a:extLst>
                <a:ext uri="{FF2B5EF4-FFF2-40B4-BE49-F238E27FC236}">
                  <a16:creationId xmlns:a16="http://schemas.microsoft.com/office/drawing/2014/main" id="{668FE8E3-6A18-4FBD-7E03-DCDD45A52D4C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55">
              <a:extLst>
                <a:ext uri="{FF2B5EF4-FFF2-40B4-BE49-F238E27FC236}">
                  <a16:creationId xmlns:a16="http://schemas.microsoft.com/office/drawing/2014/main" id="{4B1A82F6-EFED-D48A-C051-8A94309C14B4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56">
              <a:extLst>
                <a:ext uri="{FF2B5EF4-FFF2-40B4-BE49-F238E27FC236}">
                  <a16:creationId xmlns:a16="http://schemas.microsoft.com/office/drawing/2014/main" id="{C51FC895-5772-ECFC-7FF7-233832E85424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57">
              <a:extLst>
                <a:ext uri="{FF2B5EF4-FFF2-40B4-BE49-F238E27FC236}">
                  <a16:creationId xmlns:a16="http://schemas.microsoft.com/office/drawing/2014/main" id="{4D769B85-0B3A-4DB6-191C-D53051B0C70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58">
              <a:extLst>
                <a:ext uri="{FF2B5EF4-FFF2-40B4-BE49-F238E27FC236}">
                  <a16:creationId xmlns:a16="http://schemas.microsoft.com/office/drawing/2014/main" id="{55FFEF11-1C02-044E-3FA1-7926BC66F8CE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59">
              <a:extLst>
                <a:ext uri="{FF2B5EF4-FFF2-40B4-BE49-F238E27FC236}">
                  <a16:creationId xmlns:a16="http://schemas.microsoft.com/office/drawing/2014/main" id="{0CEDCE5B-CCE5-DAFE-F21F-AE6EAE2549E1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60">
              <a:extLst>
                <a:ext uri="{FF2B5EF4-FFF2-40B4-BE49-F238E27FC236}">
                  <a16:creationId xmlns:a16="http://schemas.microsoft.com/office/drawing/2014/main" id="{7863D6CB-2840-BD15-D555-9DC494F3B428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61">
              <a:extLst>
                <a:ext uri="{FF2B5EF4-FFF2-40B4-BE49-F238E27FC236}">
                  <a16:creationId xmlns:a16="http://schemas.microsoft.com/office/drawing/2014/main" id="{B8B0F5E6-4502-0946-32A6-DB865984678B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62">
              <a:extLst>
                <a:ext uri="{FF2B5EF4-FFF2-40B4-BE49-F238E27FC236}">
                  <a16:creationId xmlns:a16="http://schemas.microsoft.com/office/drawing/2014/main" id="{FC96B9F2-4C04-6D5F-5A4C-837F13680468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64">
              <a:extLst>
                <a:ext uri="{FF2B5EF4-FFF2-40B4-BE49-F238E27FC236}">
                  <a16:creationId xmlns:a16="http://schemas.microsoft.com/office/drawing/2014/main" id="{DFF28FB6-42B6-5E90-892F-F5CA424B3E83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65">
              <a:extLst>
                <a:ext uri="{FF2B5EF4-FFF2-40B4-BE49-F238E27FC236}">
                  <a16:creationId xmlns:a16="http://schemas.microsoft.com/office/drawing/2014/main" id="{4D09F6FF-5DA8-1DEC-5398-AE47F198AB04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66">
              <a:extLst>
                <a:ext uri="{FF2B5EF4-FFF2-40B4-BE49-F238E27FC236}">
                  <a16:creationId xmlns:a16="http://schemas.microsoft.com/office/drawing/2014/main" id="{BA7110EA-31C8-E5F9-055B-3BD0E74EA46E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67">
              <a:extLst>
                <a:ext uri="{FF2B5EF4-FFF2-40B4-BE49-F238E27FC236}">
                  <a16:creationId xmlns:a16="http://schemas.microsoft.com/office/drawing/2014/main" id="{6C066148-F01C-82E1-44BE-A162E4983937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68">
              <a:extLst>
                <a:ext uri="{FF2B5EF4-FFF2-40B4-BE49-F238E27FC236}">
                  <a16:creationId xmlns:a16="http://schemas.microsoft.com/office/drawing/2014/main" id="{29BE0DC2-BDEC-0E73-AB77-4846E86213F6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69">
              <a:extLst>
                <a:ext uri="{FF2B5EF4-FFF2-40B4-BE49-F238E27FC236}">
                  <a16:creationId xmlns:a16="http://schemas.microsoft.com/office/drawing/2014/main" id="{023F0B7F-CC02-5DED-12B8-14E1298AE6E9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70">
              <a:extLst>
                <a:ext uri="{FF2B5EF4-FFF2-40B4-BE49-F238E27FC236}">
                  <a16:creationId xmlns:a16="http://schemas.microsoft.com/office/drawing/2014/main" id="{15CFD941-9F44-82F8-AB32-32DA4A6A6576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71">
              <a:extLst>
                <a:ext uri="{FF2B5EF4-FFF2-40B4-BE49-F238E27FC236}">
                  <a16:creationId xmlns:a16="http://schemas.microsoft.com/office/drawing/2014/main" id="{460D0A73-B53A-8C70-4D6B-92150E829889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72">
              <a:extLst>
                <a:ext uri="{FF2B5EF4-FFF2-40B4-BE49-F238E27FC236}">
                  <a16:creationId xmlns:a16="http://schemas.microsoft.com/office/drawing/2014/main" id="{FD486A74-65B3-DA3E-745E-26919754709E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73">
              <a:extLst>
                <a:ext uri="{FF2B5EF4-FFF2-40B4-BE49-F238E27FC236}">
                  <a16:creationId xmlns:a16="http://schemas.microsoft.com/office/drawing/2014/main" id="{41CC0104-C4E8-ED09-CD43-7029A8DBA9A2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74">
              <a:extLst>
                <a:ext uri="{FF2B5EF4-FFF2-40B4-BE49-F238E27FC236}">
                  <a16:creationId xmlns:a16="http://schemas.microsoft.com/office/drawing/2014/main" id="{FE9D0D18-F62F-1D8F-23AC-29A7CCB8F194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75">
              <a:extLst>
                <a:ext uri="{FF2B5EF4-FFF2-40B4-BE49-F238E27FC236}">
                  <a16:creationId xmlns:a16="http://schemas.microsoft.com/office/drawing/2014/main" id="{C5A55CBF-9CE1-AC38-6E3E-B76EAC62D263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76">
              <a:extLst>
                <a:ext uri="{FF2B5EF4-FFF2-40B4-BE49-F238E27FC236}">
                  <a16:creationId xmlns:a16="http://schemas.microsoft.com/office/drawing/2014/main" id="{1F21B66D-5BB4-E864-8BA2-91026EE19583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77">
              <a:extLst>
                <a:ext uri="{FF2B5EF4-FFF2-40B4-BE49-F238E27FC236}">
                  <a16:creationId xmlns:a16="http://schemas.microsoft.com/office/drawing/2014/main" id="{7F596882-D5C7-4FCC-4ABF-FAFE178432A7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78">
              <a:extLst>
                <a:ext uri="{FF2B5EF4-FFF2-40B4-BE49-F238E27FC236}">
                  <a16:creationId xmlns:a16="http://schemas.microsoft.com/office/drawing/2014/main" id="{0484723B-1D82-592C-1D11-3FFA70F5346D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79">
              <a:extLst>
                <a:ext uri="{FF2B5EF4-FFF2-40B4-BE49-F238E27FC236}">
                  <a16:creationId xmlns:a16="http://schemas.microsoft.com/office/drawing/2014/main" id="{FBD9D7C9-B6D7-A628-125D-BA67746A8C94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80">
              <a:extLst>
                <a:ext uri="{FF2B5EF4-FFF2-40B4-BE49-F238E27FC236}">
                  <a16:creationId xmlns:a16="http://schemas.microsoft.com/office/drawing/2014/main" id="{54D3FF45-2F85-D0AC-1FD8-D6F2B0311E94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81">
              <a:extLst>
                <a:ext uri="{FF2B5EF4-FFF2-40B4-BE49-F238E27FC236}">
                  <a16:creationId xmlns:a16="http://schemas.microsoft.com/office/drawing/2014/main" id="{7337C5F9-6C96-2203-B064-7ADEBB3D74C1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82">
              <a:extLst>
                <a:ext uri="{FF2B5EF4-FFF2-40B4-BE49-F238E27FC236}">
                  <a16:creationId xmlns:a16="http://schemas.microsoft.com/office/drawing/2014/main" id="{B635CB21-C8B9-ACD3-7257-A9F5CC9EE3A1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83">
              <a:extLst>
                <a:ext uri="{FF2B5EF4-FFF2-40B4-BE49-F238E27FC236}">
                  <a16:creationId xmlns:a16="http://schemas.microsoft.com/office/drawing/2014/main" id="{F7F1A9AD-2A69-9962-36F9-E377885A05FF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84">
              <a:extLst>
                <a:ext uri="{FF2B5EF4-FFF2-40B4-BE49-F238E27FC236}">
                  <a16:creationId xmlns:a16="http://schemas.microsoft.com/office/drawing/2014/main" id="{3B382D2E-8633-43F2-3762-2C947876A4CF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85">
              <a:extLst>
                <a:ext uri="{FF2B5EF4-FFF2-40B4-BE49-F238E27FC236}">
                  <a16:creationId xmlns:a16="http://schemas.microsoft.com/office/drawing/2014/main" id="{540EC79C-31A7-BA35-72D3-C26D323C12D8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86">
              <a:extLst>
                <a:ext uri="{FF2B5EF4-FFF2-40B4-BE49-F238E27FC236}">
                  <a16:creationId xmlns:a16="http://schemas.microsoft.com/office/drawing/2014/main" id="{1A2F837C-3430-E37F-889F-D6B92233F3DA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87">
              <a:extLst>
                <a:ext uri="{FF2B5EF4-FFF2-40B4-BE49-F238E27FC236}">
                  <a16:creationId xmlns:a16="http://schemas.microsoft.com/office/drawing/2014/main" id="{807D4B2E-45C3-6166-E850-6F667870388C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88">
              <a:extLst>
                <a:ext uri="{FF2B5EF4-FFF2-40B4-BE49-F238E27FC236}">
                  <a16:creationId xmlns:a16="http://schemas.microsoft.com/office/drawing/2014/main" id="{34A6B480-6825-01A4-8D1B-8774798346DC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89">
              <a:extLst>
                <a:ext uri="{FF2B5EF4-FFF2-40B4-BE49-F238E27FC236}">
                  <a16:creationId xmlns:a16="http://schemas.microsoft.com/office/drawing/2014/main" id="{A7C7E75C-A7A2-C369-01AB-FAD9E8810F4C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90">
              <a:extLst>
                <a:ext uri="{FF2B5EF4-FFF2-40B4-BE49-F238E27FC236}">
                  <a16:creationId xmlns:a16="http://schemas.microsoft.com/office/drawing/2014/main" id="{4AB7E8C5-7E72-6D90-77B0-BFE9411EB53E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91">
              <a:extLst>
                <a:ext uri="{FF2B5EF4-FFF2-40B4-BE49-F238E27FC236}">
                  <a16:creationId xmlns:a16="http://schemas.microsoft.com/office/drawing/2014/main" id="{0C5ACA40-9EE3-2A82-7B99-597E4CECBACC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92">
              <a:extLst>
                <a:ext uri="{FF2B5EF4-FFF2-40B4-BE49-F238E27FC236}">
                  <a16:creationId xmlns:a16="http://schemas.microsoft.com/office/drawing/2014/main" id="{C77D5DDB-44D1-E64F-C3B2-C99CECB4065D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93">
              <a:extLst>
                <a:ext uri="{FF2B5EF4-FFF2-40B4-BE49-F238E27FC236}">
                  <a16:creationId xmlns:a16="http://schemas.microsoft.com/office/drawing/2014/main" id="{AF0DFC28-1EE7-BCA7-A669-CAC82246F04F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94">
              <a:extLst>
                <a:ext uri="{FF2B5EF4-FFF2-40B4-BE49-F238E27FC236}">
                  <a16:creationId xmlns:a16="http://schemas.microsoft.com/office/drawing/2014/main" id="{4DD5591E-A248-9EE5-86ED-2B877C81C453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95">
              <a:extLst>
                <a:ext uri="{FF2B5EF4-FFF2-40B4-BE49-F238E27FC236}">
                  <a16:creationId xmlns:a16="http://schemas.microsoft.com/office/drawing/2014/main" id="{9282E021-DB09-3D83-FD76-0B800124C7A3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96">
              <a:extLst>
                <a:ext uri="{FF2B5EF4-FFF2-40B4-BE49-F238E27FC236}">
                  <a16:creationId xmlns:a16="http://schemas.microsoft.com/office/drawing/2014/main" id="{1836573A-E896-6962-E304-24439C304A05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97">
              <a:extLst>
                <a:ext uri="{FF2B5EF4-FFF2-40B4-BE49-F238E27FC236}">
                  <a16:creationId xmlns:a16="http://schemas.microsoft.com/office/drawing/2014/main" id="{1D38E6E9-9DE3-B8E4-5FA3-657835684DFB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98">
              <a:extLst>
                <a:ext uri="{FF2B5EF4-FFF2-40B4-BE49-F238E27FC236}">
                  <a16:creationId xmlns:a16="http://schemas.microsoft.com/office/drawing/2014/main" id="{EF0F5444-1414-51C2-E199-2F0AADE5326A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105">
              <a:extLst>
                <a:ext uri="{FF2B5EF4-FFF2-40B4-BE49-F238E27FC236}">
                  <a16:creationId xmlns:a16="http://schemas.microsoft.com/office/drawing/2014/main" id="{FC59556A-8D97-DB25-D86A-62608A79324C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106">
              <a:extLst>
                <a:ext uri="{FF2B5EF4-FFF2-40B4-BE49-F238E27FC236}">
                  <a16:creationId xmlns:a16="http://schemas.microsoft.com/office/drawing/2014/main" id="{536F2EB2-7E15-0CEB-D312-45AD76CFBDD4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107">
              <a:extLst>
                <a:ext uri="{FF2B5EF4-FFF2-40B4-BE49-F238E27FC236}">
                  <a16:creationId xmlns:a16="http://schemas.microsoft.com/office/drawing/2014/main" id="{62E3181C-57A6-AC74-A517-96D4EFA89AC0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108">
              <a:extLst>
                <a:ext uri="{FF2B5EF4-FFF2-40B4-BE49-F238E27FC236}">
                  <a16:creationId xmlns:a16="http://schemas.microsoft.com/office/drawing/2014/main" id="{DEBA4032-4256-E212-9B16-0CE4F9303E7D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109">
              <a:extLst>
                <a:ext uri="{FF2B5EF4-FFF2-40B4-BE49-F238E27FC236}">
                  <a16:creationId xmlns:a16="http://schemas.microsoft.com/office/drawing/2014/main" id="{D05F0269-1B83-0FEA-1148-35FA3C7DA960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110">
              <a:extLst>
                <a:ext uri="{FF2B5EF4-FFF2-40B4-BE49-F238E27FC236}">
                  <a16:creationId xmlns:a16="http://schemas.microsoft.com/office/drawing/2014/main" id="{5AC40028-C03E-94CC-72A4-A8A59E70ADC4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111">
              <a:extLst>
                <a:ext uri="{FF2B5EF4-FFF2-40B4-BE49-F238E27FC236}">
                  <a16:creationId xmlns:a16="http://schemas.microsoft.com/office/drawing/2014/main" id="{9024821B-C51A-1472-2B84-3C346B503FA1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112">
              <a:extLst>
                <a:ext uri="{FF2B5EF4-FFF2-40B4-BE49-F238E27FC236}">
                  <a16:creationId xmlns:a16="http://schemas.microsoft.com/office/drawing/2014/main" id="{B7CFDAD1-BC04-306E-5EF8-54C41760C9C5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113">
              <a:extLst>
                <a:ext uri="{FF2B5EF4-FFF2-40B4-BE49-F238E27FC236}">
                  <a16:creationId xmlns:a16="http://schemas.microsoft.com/office/drawing/2014/main" id="{B0BB360E-8BEA-2C0E-F232-F6CE69E4D78A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114">
              <a:extLst>
                <a:ext uri="{FF2B5EF4-FFF2-40B4-BE49-F238E27FC236}">
                  <a16:creationId xmlns:a16="http://schemas.microsoft.com/office/drawing/2014/main" id="{8094DDEB-6090-1B12-BDC6-C4A757F1D625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15">
              <a:extLst>
                <a:ext uri="{FF2B5EF4-FFF2-40B4-BE49-F238E27FC236}">
                  <a16:creationId xmlns:a16="http://schemas.microsoft.com/office/drawing/2014/main" id="{63A54783-F0A0-7995-5DA3-E9D2F24FB3EC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16">
              <a:extLst>
                <a:ext uri="{FF2B5EF4-FFF2-40B4-BE49-F238E27FC236}">
                  <a16:creationId xmlns:a16="http://schemas.microsoft.com/office/drawing/2014/main" id="{566BC590-FF92-7D7E-32AA-8CEC3967596A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25">
              <a:extLst>
                <a:ext uri="{FF2B5EF4-FFF2-40B4-BE49-F238E27FC236}">
                  <a16:creationId xmlns:a16="http://schemas.microsoft.com/office/drawing/2014/main" id="{4B6AE7C9-6450-A86F-2D6F-3EA71281024C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4" name="Freeform: Shape 130">
            <a:extLst>
              <a:ext uri="{FF2B5EF4-FFF2-40B4-BE49-F238E27FC236}">
                <a16:creationId xmlns:a16="http://schemas.microsoft.com/office/drawing/2014/main" id="{DAA2730C-629C-B080-3169-C9E8B86482AD}"/>
              </a:ext>
            </a:extLst>
          </p:cNvPr>
          <p:cNvSpPr>
            <a:spLocks/>
          </p:cNvSpPr>
          <p:nvPr/>
        </p:nvSpPr>
        <p:spPr>
          <a:xfrm>
            <a:off x="344791" y="1131936"/>
            <a:ext cx="7632940" cy="506431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2" name="Freeform: Shape 130">
            <a:extLst>
              <a:ext uri="{FF2B5EF4-FFF2-40B4-BE49-F238E27FC236}">
                <a16:creationId xmlns:a16="http://schemas.microsoft.com/office/drawing/2014/main" id="{8713D31C-487B-8015-6516-35C45D635C05}"/>
              </a:ext>
            </a:extLst>
          </p:cNvPr>
          <p:cNvSpPr>
            <a:spLocks/>
          </p:cNvSpPr>
          <p:nvPr/>
        </p:nvSpPr>
        <p:spPr>
          <a:xfrm>
            <a:off x="8110914" y="1700768"/>
            <a:ext cx="3740401" cy="166353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90000"/>
              <a:buFontTx/>
              <a:buNone/>
              <a:tabLst/>
              <a:defRPr/>
            </a:pPr>
            <a:r>
              <a:rPr kumimoji="0" lang="ru-RU" sz="1400" b="0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</p:txBody>
      </p:sp>
      <p:graphicFrame>
        <p:nvGraphicFramePr>
          <p:cNvPr id="100" name="Таблица 100">
            <a:extLst>
              <a:ext uri="{FF2B5EF4-FFF2-40B4-BE49-F238E27FC236}">
                <a16:creationId xmlns:a16="http://schemas.microsoft.com/office/drawing/2014/main" id="{036CD25A-0384-AC5C-BADA-810A74C75D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634664"/>
              </p:ext>
            </p:extLst>
          </p:nvPr>
        </p:nvGraphicFramePr>
        <p:xfrm>
          <a:off x="531223" y="5326273"/>
          <a:ext cx="6966856" cy="564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5850">
                  <a:extLst>
                    <a:ext uri="{9D8B030D-6E8A-4147-A177-3AD203B41FA5}">
                      <a16:colId xmlns:a16="http://schemas.microsoft.com/office/drawing/2014/main" val="141164324"/>
                    </a:ext>
                  </a:extLst>
                </a:gridCol>
                <a:gridCol w="755897">
                  <a:extLst>
                    <a:ext uri="{9D8B030D-6E8A-4147-A177-3AD203B41FA5}">
                      <a16:colId xmlns:a16="http://schemas.microsoft.com/office/drawing/2014/main" val="3253686832"/>
                    </a:ext>
                  </a:extLst>
                </a:gridCol>
                <a:gridCol w="583441">
                  <a:extLst>
                    <a:ext uri="{9D8B030D-6E8A-4147-A177-3AD203B41FA5}">
                      <a16:colId xmlns:a16="http://schemas.microsoft.com/office/drawing/2014/main" val="683676228"/>
                    </a:ext>
                  </a:extLst>
                </a:gridCol>
                <a:gridCol w="940526">
                  <a:extLst>
                    <a:ext uri="{9D8B030D-6E8A-4147-A177-3AD203B41FA5}">
                      <a16:colId xmlns:a16="http://schemas.microsoft.com/office/drawing/2014/main" val="96321191"/>
                    </a:ext>
                  </a:extLst>
                </a:gridCol>
                <a:gridCol w="714103">
                  <a:extLst>
                    <a:ext uri="{9D8B030D-6E8A-4147-A177-3AD203B41FA5}">
                      <a16:colId xmlns:a16="http://schemas.microsoft.com/office/drawing/2014/main" val="4093556776"/>
                    </a:ext>
                  </a:extLst>
                </a:gridCol>
                <a:gridCol w="975360">
                  <a:extLst>
                    <a:ext uri="{9D8B030D-6E8A-4147-A177-3AD203B41FA5}">
                      <a16:colId xmlns:a16="http://schemas.microsoft.com/office/drawing/2014/main" val="3263794052"/>
                    </a:ext>
                  </a:extLst>
                </a:gridCol>
                <a:gridCol w="600891">
                  <a:extLst>
                    <a:ext uri="{9D8B030D-6E8A-4147-A177-3AD203B41FA5}">
                      <a16:colId xmlns:a16="http://schemas.microsoft.com/office/drawing/2014/main" val="4047676099"/>
                    </a:ext>
                  </a:extLst>
                </a:gridCol>
                <a:gridCol w="1410788">
                  <a:extLst>
                    <a:ext uri="{9D8B030D-6E8A-4147-A177-3AD203B41FA5}">
                      <a16:colId xmlns:a16="http://schemas.microsoft.com/office/drawing/2014/main" val="1506970848"/>
                    </a:ext>
                  </a:extLst>
                </a:gridCol>
              </a:tblGrid>
              <a:tr h="304754">
                <a:tc>
                  <a:txBody>
                    <a:bodyPr/>
                    <a:lstStyle/>
                    <a:p>
                      <a:pPr algn="r"/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Полуфабрикаты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23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22%</a:t>
                      </a: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800" b="0" i="0" dirty="0"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72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C0000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-3%</a:t>
                      </a:r>
                      <a:endParaRPr lang="ru-RU" sz="800" b="0" i="0" dirty="0">
                        <a:solidFill>
                          <a:srgbClr val="C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65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10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291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055397"/>
                  </a:ext>
                </a:extLst>
              </a:tr>
              <a:tr h="260140">
                <a:tc>
                  <a:txBody>
                    <a:bodyPr/>
                    <a:lstStyle/>
                    <a:p>
                      <a:pPr algn="r"/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Сырьё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3 297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26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4 151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C0000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-5%</a:t>
                      </a:r>
                      <a:endParaRPr lang="ru-RU" sz="800" b="0" i="0" dirty="0">
                        <a:solidFill>
                          <a:srgbClr val="C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3 938</a:t>
                      </a:r>
                      <a:endParaRPr lang="ru-RU" sz="800" b="0" i="0" dirty="0">
                        <a:solidFill>
                          <a:srgbClr val="000000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en-US" sz="800" b="0" i="0" dirty="0">
                          <a:solidFill>
                            <a:srgbClr val="00B050"/>
                          </a:solidFill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+4%</a:t>
                      </a:r>
                      <a:endParaRPr lang="ru-RU" sz="800" b="0" i="0" dirty="0">
                        <a:solidFill>
                          <a:srgbClr val="3C3C3C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PN_DIN Regular" panose="020B0504020202020204" pitchFamily="34" charset="0"/>
                          <a:ea typeface="GPN_DIN Regular" panose="020B0504020202020204" pitchFamily="34" charset="0"/>
                          <a:cs typeface="Arial" panose="020B0604020202020204" pitchFamily="34" charset="0"/>
                        </a:rPr>
                        <a:t>4 103</a:t>
                      </a:r>
                      <a:endParaRPr kumimoji="0" lang="ru-RU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GPN_DIN Regular" panose="020B0504020202020204" pitchFamily="34" charset="0"/>
                        <a:ea typeface="GPN_DIN Regular" panose="020B05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8A8A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6817660"/>
                  </a:ext>
                </a:extLst>
              </a:tr>
            </a:tbl>
          </a:graphicData>
        </a:graphic>
      </p:graphicFrame>
      <p:graphicFrame>
        <p:nvGraphicFramePr>
          <p:cNvPr id="211" name="Chart 3">
            <a:extLst>
              <a:ext uri="{FF2B5EF4-FFF2-40B4-BE49-F238E27FC236}">
                <a16:creationId xmlns:a16="http://schemas.microsoft.com/office/drawing/2014/main" id="{9649D789-368B-AE77-E1B5-0FD410E511D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0704781"/>
              </p:ext>
            </p:extLst>
          </p:nvPr>
        </p:nvGraphicFramePr>
        <p:xfrm>
          <a:off x="686231" y="1417876"/>
          <a:ext cx="6895187" cy="3762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26" name="Прямоугольник 225">
            <a:extLst>
              <a:ext uri="{FF2B5EF4-FFF2-40B4-BE49-F238E27FC236}">
                <a16:creationId xmlns:a16="http://schemas.microsoft.com/office/drawing/2014/main" id="{A3C9143F-7EE4-9780-4332-ACE634038AC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920175" y="1440639"/>
            <a:ext cx="401620" cy="200819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0E56C3C-66C9-48E1-8CEB-5C93F19E83C7}" type="datetime'''''''''3'''''''''''''''''''' ''''''0''''''7''''''''3''''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07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9" name="Прямоугольник 228">
            <a:extLst>
              <a:ext uri="{FF2B5EF4-FFF2-40B4-BE49-F238E27FC236}">
                <a16:creationId xmlns:a16="http://schemas.microsoft.com/office/drawing/2014/main" id="{C6295FB7-1571-C423-B780-19B349A705B0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6575591" y="4332109"/>
            <a:ext cx="150419" cy="123825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5875" tIns="0" rIns="15875" bIns="0" rtlCol="0" anchor="ctr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341511EE-B768-6BF9-F208-0B1E1F79F7CD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492127" y="1465158"/>
            <a:ext cx="401620" cy="18256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A86EEA-4803-4DF0-AD2E-37CE3AABA44D}" type="datetime'''''''3'''''''''''''''''' 87''''''''''''''''''''''''''''9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879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9" name="Прямоугольник 238">
            <a:extLst>
              <a:ext uri="{FF2B5EF4-FFF2-40B4-BE49-F238E27FC236}">
                <a16:creationId xmlns:a16="http://schemas.microsoft.com/office/drawing/2014/main" id="{0E36D3FF-0BA0-CDC1-D820-07CB1827887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5021374" y="1465158"/>
            <a:ext cx="401620" cy="182563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2D2E11C-AA6C-42B3-ABAB-71C5A8979101}" type="datetime'''3'''' ''''''''''''674''''''''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674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3" name="Прямоугольник 242">
            <a:extLst>
              <a:ext uri="{FF2B5EF4-FFF2-40B4-BE49-F238E27FC236}">
                <a16:creationId xmlns:a16="http://schemas.microsoft.com/office/drawing/2014/main" id="{D5F45B07-0BAA-42C5-CED4-1E07B238B618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6542227" y="1476358"/>
            <a:ext cx="401620" cy="165100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rtlCol="0" anchor="b"/>
          <a:lstStyle/>
          <a:p>
            <a:pPr marL="0" marR="0" lvl="0" indent="0" algn="ctr" defTabSz="914400" rtl="0" eaLnBrk="1" fontAlgn="auto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A75C4FA-2938-46B5-9D56-32CF02C34E69}" type="datetime'''''''''''''3'''''''''''''''''' ''''''''8''''''1''3'''''">
              <a:rPr kumimoji="0" lang="ru-RU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 81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10D310CE-B43E-BE85-7D97-EDDC7B8213C0}"/>
              </a:ext>
            </a:extLst>
          </p:cNvPr>
          <p:cNvSpPr txBox="1"/>
          <p:nvPr/>
        </p:nvSpPr>
        <p:spPr>
          <a:xfrm>
            <a:off x="337045" y="280307"/>
            <a:ext cx="1068858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0" name="Freeform: Shape 130">
            <a:extLst>
              <a:ext uri="{FF2B5EF4-FFF2-40B4-BE49-F238E27FC236}">
                <a16:creationId xmlns:a16="http://schemas.microsoft.com/office/drawing/2014/main" id="{1893669C-8AF6-AF65-5ACB-5807FE06518A}"/>
              </a:ext>
            </a:extLst>
          </p:cNvPr>
          <p:cNvSpPr>
            <a:spLocks/>
          </p:cNvSpPr>
          <p:nvPr/>
        </p:nvSpPr>
        <p:spPr>
          <a:xfrm>
            <a:off x="8110915" y="4148320"/>
            <a:ext cx="3740400" cy="204793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90000"/>
              <a:buFontTx/>
              <a:buNone/>
              <a:tabLst/>
              <a:defRPr/>
            </a:pPr>
            <a:r>
              <a:rPr kumimoji="0" lang="ru-RU" sz="1400" b="0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  <a:p>
            <a:pPr marL="176213" marR="0" lvl="0" indent="-176213" algn="l" defTabSz="914400" rtl="0" eaLnBrk="1" fontAlgn="base" latinLnBrk="0" hangingPunct="1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омментарий</a:t>
            </a:r>
          </a:p>
        </p:txBody>
      </p:sp>
      <p:sp>
        <p:nvSpPr>
          <p:cNvPr id="167" name="Freeform: Shape 156">
            <a:extLst>
              <a:ext uri="{FF2B5EF4-FFF2-40B4-BE49-F238E27FC236}">
                <a16:creationId xmlns:a16="http://schemas.microsoft.com/office/drawing/2014/main" id="{27AD5CF2-E2EF-D61B-751A-7C0068FD2907}"/>
              </a:ext>
            </a:extLst>
          </p:cNvPr>
          <p:cNvSpPr>
            <a:spLocks/>
          </p:cNvSpPr>
          <p:nvPr/>
        </p:nvSpPr>
        <p:spPr>
          <a:xfrm>
            <a:off x="8110918" y="3508005"/>
            <a:ext cx="3742707" cy="63368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2-2023</a:t>
            </a:r>
          </a:p>
        </p:txBody>
      </p:sp>
      <p:sp>
        <p:nvSpPr>
          <p:cNvPr id="165" name="Freeform: Shape 156">
            <a:extLst>
              <a:ext uri="{FF2B5EF4-FFF2-40B4-BE49-F238E27FC236}">
                <a16:creationId xmlns:a16="http://schemas.microsoft.com/office/drawing/2014/main" id="{5327B30D-33CA-6A92-BA7D-6B18ABD1383A}"/>
              </a:ext>
            </a:extLst>
          </p:cNvPr>
          <p:cNvSpPr>
            <a:spLocks/>
          </p:cNvSpPr>
          <p:nvPr/>
        </p:nvSpPr>
        <p:spPr>
          <a:xfrm>
            <a:off x="8110918" y="1128391"/>
            <a:ext cx="3742708" cy="64137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2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A03F438-1B0B-A943-BA4C-F5F4A0C2C52C}"/>
              </a:ext>
            </a:extLst>
          </p:cNvPr>
          <p:cNvSpPr txBox="1"/>
          <p:nvPr/>
        </p:nvSpPr>
        <p:spPr>
          <a:xfrm>
            <a:off x="2559324" y="1407047"/>
            <a:ext cx="659180" cy="2937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6909F70E-CE19-47FA-9157-BFF9B9F5BD02}" type="datetime'''''''''''+2''''''''''''''''''''''''''6''%'''''''''''''''''">
              <a:rPr lang="sr-Latn-RS" altLang="en-US" sz="1200" kern="0" smtClean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+26%</a:t>
            </a:fld>
            <a:endParaRPr lang="sr-Latn-RS" sz="1100" kern="0" dirty="0">
              <a:solidFill>
                <a:srgbClr val="47A04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A3BF41E5-9DE5-9E47-8CD1-6452C1DD9FD1}"/>
              </a:ext>
            </a:extLst>
          </p:cNvPr>
          <p:cNvSpPr txBox="1"/>
          <p:nvPr/>
        </p:nvSpPr>
        <p:spPr>
          <a:xfrm>
            <a:off x="4211193" y="1409578"/>
            <a:ext cx="532356" cy="293721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590A5866-5D67-4B71-8038-EA5EC05273E5}" type="datetime'''''''''''-''''5''''''''''''%'''''''''''''''''''''''">
              <a:rPr lang="sr-Latn-RS" altLang="en-US" sz="1200" kern="0">
                <a:solidFill>
                  <a:srgbClr val="CD222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-5%</a:t>
            </a:fld>
            <a:endParaRPr lang="sr-Latn-RS" sz="1100" kern="0" dirty="0">
              <a:solidFill>
                <a:srgbClr val="CD222C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807263F1-6D1F-E047-8FD8-53172387E4EA}"/>
              </a:ext>
            </a:extLst>
          </p:cNvPr>
          <p:cNvSpPr txBox="1"/>
          <p:nvPr/>
        </p:nvSpPr>
        <p:spPr>
          <a:xfrm>
            <a:off x="5649774" y="1430213"/>
            <a:ext cx="659180" cy="278332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54000" rIns="0" bIns="54000" anchor="ctr">
            <a:sp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kern="0" dirty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4</a:t>
            </a:r>
            <a:r>
              <a:rPr lang="en-US" sz="1100" kern="0" dirty="0">
                <a:solidFill>
                  <a:srgbClr val="47A04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%</a:t>
            </a:r>
            <a:endParaRPr lang="sr-Latn-RS" sz="1100" kern="0" dirty="0">
              <a:solidFill>
                <a:srgbClr val="47A04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Slide Number Placeholder 100">
            <a:extLst>
              <a:ext uri="{FF2B5EF4-FFF2-40B4-BE49-F238E27FC236}">
                <a16:creationId xmlns:a16="http://schemas.microsoft.com/office/drawing/2014/main" id="{58FAB38C-A15F-60BD-7DFF-2185E1D84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80922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E50C1E03-5D17-0E76-9A53-D3C52D691075}"/>
              </a:ext>
            </a:extLst>
          </p:cNvPr>
          <p:cNvSpPr/>
          <p:nvPr/>
        </p:nvSpPr>
        <p:spPr>
          <a:xfrm>
            <a:off x="336249" y="1132030"/>
            <a:ext cx="7631414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id="{DBD0C3FC-2510-E87B-A72C-EE9C9935458A}"/>
              </a:ext>
            </a:extLst>
          </p:cNvPr>
          <p:cNvSpPr/>
          <p:nvPr/>
        </p:nvSpPr>
        <p:spPr>
          <a:xfrm>
            <a:off x="336249" y="1783194"/>
            <a:ext cx="7631414" cy="157448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CFB7C7E3-C645-F62C-DD12-38EF81316B27}"/>
              </a:ext>
            </a:extLst>
          </p:cNvPr>
          <p:cNvSpPr/>
          <p:nvPr/>
        </p:nvSpPr>
        <p:spPr>
          <a:xfrm>
            <a:off x="336249" y="3496089"/>
            <a:ext cx="7631414" cy="653636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65" name="Прямоугольник 164">
            <a:extLst>
              <a:ext uri="{FF2B5EF4-FFF2-40B4-BE49-F238E27FC236}">
                <a16:creationId xmlns:a16="http://schemas.microsoft.com/office/drawing/2014/main" id="{5349003D-D504-CA20-6074-93933A3967A4}"/>
              </a:ext>
            </a:extLst>
          </p:cNvPr>
          <p:cNvSpPr/>
          <p:nvPr/>
        </p:nvSpPr>
        <p:spPr>
          <a:xfrm>
            <a:off x="336249" y="4147253"/>
            <a:ext cx="7631414" cy="20528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72000">
              <a:spcBef>
                <a:spcPts val="600"/>
              </a:spcBef>
              <a:buClr>
                <a:schemeClr val="tx2"/>
              </a:buClr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Объект 3">
            <a:extLst>
              <a:ext uri="{FF2B5EF4-FFF2-40B4-BE49-F238E27FC236}">
                <a16:creationId xmlns:a16="http://schemas.microsoft.com/office/drawing/2014/main" id="{37763AE5-2CFE-AAE8-C34E-0872C51BEFFE}"/>
              </a:ext>
            </a:extLst>
          </p:cNvPr>
          <p:cNvSpPr txBox="1">
            <a:spLocks/>
          </p:cNvSpPr>
          <p:nvPr/>
        </p:nvSpPr>
        <p:spPr>
          <a:xfrm>
            <a:off x="480863" y="2315349"/>
            <a:ext cx="2687639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187" name="Объект 3">
            <a:extLst>
              <a:ext uri="{FF2B5EF4-FFF2-40B4-BE49-F238E27FC236}">
                <a16:creationId xmlns:a16="http://schemas.microsoft.com/office/drawing/2014/main" id="{05BABB81-2CB6-ABE5-EB05-85345EB87C04}"/>
              </a:ext>
            </a:extLst>
          </p:cNvPr>
          <p:cNvSpPr txBox="1">
            <a:spLocks/>
          </p:cNvSpPr>
          <p:nvPr/>
        </p:nvSpPr>
        <p:spPr>
          <a:xfrm>
            <a:off x="3012708" y="2315349"/>
            <a:ext cx="2738675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188" name="Объект 3">
            <a:extLst>
              <a:ext uri="{FF2B5EF4-FFF2-40B4-BE49-F238E27FC236}">
                <a16:creationId xmlns:a16="http://schemas.microsoft.com/office/drawing/2014/main" id="{73D6F5B2-7AE9-0ACF-685F-C7041EE80561}"/>
              </a:ext>
            </a:extLst>
          </p:cNvPr>
          <p:cNvSpPr txBox="1">
            <a:spLocks/>
          </p:cNvSpPr>
          <p:nvPr/>
        </p:nvSpPr>
        <p:spPr>
          <a:xfrm>
            <a:off x="5530377" y="2315349"/>
            <a:ext cx="2618162" cy="102907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800" b="1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66700" marR="0" indent="-2667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9263" indent="-169863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0" dirty="0">
                <a:latin typeface="Verdana" panose="020B0604030504040204" pitchFamily="34" charset="0"/>
                <a:ea typeface="Verdana" panose="020B0604030504040204" pitchFamily="34" charset="0"/>
              </a:rPr>
              <a:t>Проект 1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  <a:p>
            <a:pPr marL="176400" indent="-17640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100" b="0" cap="none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B57117E-76BA-8422-FEDB-45C4414B722B}"/>
              </a:ext>
            </a:extLst>
          </p:cNvPr>
          <p:cNvSpPr/>
          <p:nvPr/>
        </p:nvSpPr>
        <p:spPr>
          <a:xfrm>
            <a:off x="336249" y="5549525"/>
            <a:ext cx="763141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ЗИС ТЕЗИС ТЕЗИС ТЕЗИС ТЕЗИС ТЕЗИС ТЕЗИС ТЕЗИС ТЕЗИС ТЕЗИС ТЕЗИС ТЕЗИС ТЕЗИС ТЕЗИС ТЕЗИС ТЕЗИС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9C54122-899F-329B-E726-9FF7F2E01197}"/>
              </a:ext>
            </a:extLst>
          </p:cNvPr>
          <p:cNvSpPr/>
          <p:nvPr/>
        </p:nvSpPr>
        <p:spPr>
          <a:xfrm>
            <a:off x="8104508" y="3496089"/>
            <a:ext cx="3752530" cy="653636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730232E-6506-FFE5-3541-9232421F4B49}"/>
              </a:ext>
            </a:extLst>
          </p:cNvPr>
          <p:cNvSpPr/>
          <p:nvPr/>
        </p:nvSpPr>
        <p:spPr>
          <a:xfrm>
            <a:off x="8104507" y="4147253"/>
            <a:ext cx="3743377" cy="205282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8" name="Chart 60">
            <a:extLst>
              <a:ext uri="{FF2B5EF4-FFF2-40B4-BE49-F238E27FC236}">
                <a16:creationId xmlns:a16="http://schemas.microsoft.com/office/drawing/2014/main" id="{2E258A8C-02E7-4225-6F46-A3DCA65D4C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4473711"/>
              </p:ext>
            </p:extLst>
          </p:nvPr>
        </p:nvGraphicFramePr>
        <p:xfrm>
          <a:off x="8073272" y="4350246"/>
          <a:ext cx="3535363" cy="1574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6147C59-F540-8A13-FBE0-D6BF858ABEA2}"/>
              </a:ext>
            </a:extLst>
          </p:cNvPr>
          <p:cNvSpPr txBox="1"/>
          <p:nvPr/>
        </p:nvSpPr>
        <p:spPr>
          <a:xfrm>
            <a:off x="10356588" y="4898321"/>
            <a:ext cx="540655" cy="129709"/>
          </a:xfrm>
          <a:prstGeom prst="rect">
            <a:avLst/>
          </a:prstGeom>
          <a:noFill/>
        </p:spPr>
        <p:txBody>
          <a:bodyPr wrap="none" lIns="0" tIns="0" rIns="0" bIns="36000" rtlCol="0" anchor="ctr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- </a:t>
            </a:r>
            <a:r>
              <a:rPr lang="en-US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1200" cap="all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393560-DF1B-3E77-D20B-54448C9F60D9}"/>
              </a:ext>
            </a:extLst>
          </p:cNvPr>
          <p:cNvSpPr txBox="1"/>
          <p:nvPr/>
        </p:nvSpPr>
        <p:spPr>
          <a:xfrm>
            <a:off x="337045" y="280307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ПИСАНИЕ ПРОЕКТА, ВАРИАНТ 3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D87A901-8B30-56CB-A20A-33F9CFBD0D1F}"/>
              </a:ext>
            </a:extLst>
          </p:cNvPr>
          <p:cNvSpPr/>
          <p:nvPr/>
        </p:nvSpPr>
        <p:spPr>
          <a:xfrm>
            <a:off x="8104507" y="1119502"/>
            <a:ext cx="3752531" cy="223817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937CE87A-8D20-E181-E4CE-2C51C43AD822}"/>
              </a:ext>
            </a:extLst>
          </p:cNvPr>
          <p:cNvGrpSpPr/>
          <p:nvPr/>
        </p:nvGrpSpPr>
        <p:grpSpPr>
          <a:xfrm>
            <a:off x="8261528" y="1283165"/>
            <a:ext cx="1853595" cy="1849060"/>
            <a:chOff x="8248649" y="1220699"/>
            <a:chExt cx="1853595" cy="184906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6E78E90-9CDD-6F7D-64B9-E1F99A630AE1}"/>
                </a:ext>
              </a:extLst>
            </p:cNvPr>
            <p:cNvSpPr txBox="1"/>
            <p:nvPr/>
          </p:nvSpPr>
          <p:spPr>
            <a:xfrm>
              <a:off x="8248649" y="1220699"/>
              <a:ext cx="1853595" cy="8902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 </a:t>
              </a:r>
              <a:r>
                <a:rPr lang="en-US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XX </a:t>
              </a: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лн</a:t>
              </a:r>
              <a:b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араметр и описание</a:t>
              </a:r>
            </a:p>
            <a:p>
              <a:pPr algn="l">
                <a:spcBef>
                  <a:spcPts val="600"/>
                </a:spcBef>
              </a:pPr>
              <a:endPara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010DF81-1485-522C-6A00-2BCE0590A3D5}"/>
                </a:ext>
              </a:extLst>
            </p:cNvPr>
            <p:cNvSpPr txBox="1"/>
            <p:nvPr/>
          </p:nvSpPr>
          <p:spPr>
            <a:xfrm>
              <a:off x="8248649" y="2179529"/>
              <a:ext cx="1853595" cy="89023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>
                <a:spcBef>
                  <a:spcPts val="600"/>
                </a:spcBef>
              </a:pP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 </a:t>
              </a:r>
              <a:r>
                <a:rPr lang="en-US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en-GB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%</a:t>
              </a:r>
              <a:br>
                <a:rPr lang="ru-RU" sz="3000" cap="all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2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параметр и описание</a:t>
              </a:r>
            </a:p>
            <a:p>
              <a:pPr algn="l">
                <a:spcBef>
                  <a:spcPts val="600"/>
                </a:spcBef>
              </a:pPr>
              <a:endPara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64F716D-9A85-C44A-B5D6-362B8214D59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0863" y="1915202"/>
            <a:ext cx="183226" cy="303467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297E60D-2EBC-5145-BD76-0E68055A0A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13967" y="1915202"/>
            <a:ext cx="183226" cy="303467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31B397FB-E1A9-2346-858F-C6B2345A557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17121" y="1915202"/>
            <a:ext cx="183226" cy="30346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15E491C-F339-1069-556B-66993ECAF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22968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2C2A207-9FD0-1264-BEA8-A82064226060}"/>
              </a:ext>
            </a:extLst>
          </p:cNvPr>
          <p:cNvSpPr/>
          <p:nvPr/>
        </p:nvSpPr>
        <p:spPr>
          <a:xfrm>
            <a:off x="4223558" y="1127504"/>
            <a:ext cx="7623495" cy="223017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903D97FC-EE4D-491F-AE9B-7EC243C0D2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6120401"/>
              </p:ext>
            </p:extLst>
          </p:nvPr>
        </p:nvGraphicFramePr>
        <p:xfrm>
          <a:off x="4377566" y="1151254"/>
          <a:ext cx="7179309" cy="2205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2" name="TextBox 151">
            <a:extLst>
              <a:ext uri="{FF2B5EF4-FFF2-40B4-BE49-F238E27FC236}">
                <a16:creationId xmlns:a16="http://schemas.microsoft.com/office/drawing/2014/main" id="{885643D0-440C-142A-9CF5-5DD9E100E82F}"/>
              </a:ext>
            </a:extLst>
          </p:cNvPr>
          <p:cNvSpPr txBox="1"/>
          <p:nvPr/>
        </p:nvSpPr>
        <p:spPr>
          <a:xfrm>
            <a:off x="337045" y="280307"/>
            <a:ext cx="711637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РЕЗУЛЬТАТЫ ПО НАПРАВЛЕНИЮ</a:t>
            </a: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DE73F815-C8CB-4A3A-D64A-9E07373A2B3B}"/>
              </a:ext>
            </a:extLst>
          </p:cNvPr>
          <p:cNvSpPr/>
          <p:nvPr/>
        </p:nvSpPr>
        <p:spPr>
          <a:xfrm>
            <a:off x="345095" y="1127504"/>
            <a:ext cx="3743377" cy="223017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3EEA7386-1C13-33A8-E412-DAB9243608DE}"/>
              </a:ext>
            </a:extLst>
          </p:cNvPr>
          <p:cNvSpPr txBox="1"/>
          <p:nvPr/>
        </p:nvSpPr>
        <p:spPr>
          <a:xfrm>
            <a:off x="519081" y="1283508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3FB404D1-8D97-5DF8-F99C-9A70D5DCB875}"/>
              </a:ext>
            </a:extLst>
          </p:cNvPr>
          <p:cNvSpPr txBox="1"/>
          <p:nvPr/>
        </p:nvSpPr>
        <p:spPr>
          <a:xfrm>
            <a:off x="519081" y="2311440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endParaRPr lang="ru-RU" sz="3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параметр</a:t>
            </a:r>
          </a:p>
        </p:txBody>
      </p: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4BED3A1C-7D6F-18FE-D72F-94868E83D24A}"/>
              </a:ext>
            </a:extLst>
          </p:cNvPr>
          <p:cNvSpPr/>
          <p:nvPr/>
        </p:nvSpPr>
        <p:spPr>
          <a:xfrm>
            <a:off x="342484" y="3501157"/>
            <a:ext cx="3736800" cy="648568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C49D39EF-2943-DF51-9B8D-0C877A792AA0}"/>
              </a:ext>
            </a:extLst>
          </p:cNvPr>
          <p:cNvSpPr/>
          <p:nvPr/>
        </p:nvSpPr>
        <p:spPr>
          <a:xfrm>
            <a:off x="4233934" y="3501156"/>
            <a:ext cx="3736800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CF82CBB1-BD3D-035C-8307-7C7D8F2E2B4D}"/>
              </a:ext>
            </a:extLst>
          </p:cNvPr>
          <p:cNvSpPr/>
          <p:nvPr/>
        </p:nvSpPr>
        <p:spPr>
          <a:xfrm>
            <a:off x="8123618" y="3501156"/>
            <a:ext cx="3736800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ЗУЛЬТАТЫ</a:t>
            </a: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CD21190D-10DA-9AF5-05EE-E619AB2A2FC7}"/>
              </a:ext>
            </a:extLst>
          </p:cNvPr>
          <p:cNvSpPr/>
          <p:nvPr/>
        </p:nvSpPr>
        <p:spPr>
          <a:xfrm>
            <a:off x="8123618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П-10 КОМПАНИЙ ПО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EF7C3C-6EAF-4D51-39AD-F9C9880CED60}"/>
              </a:ext>
            </a:extLst>
          </p:cNvPr>
          <p:cNvSpPr txBox="1"/>
          <p:nvPr/>
        </p:nvSpPr>
        <p:spPr>
          <a:xfrm>
            <a:off x="4604805" y="1531917"/>
            <a:ext cx="405944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ББ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523CB1AA-235D-3477-FF59-7AB4D6378A8B}"/>
              </a:ext>
            </a:extLst>
          </p:cNvPr>
          <p:cNvSpPr txBox="1"/>
          <p:nvPr/>
        </p:nvSpPr>
        <p:spPr>
          <a:xfrm>
            <a:off x="5064054" y="2008167"/>
            <a:ext cx="418245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НО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50332465-34C5-1DEC-9140-134906451A04}"/>
              </a:ext>
            </a:extLst>
          </p:cNvPr>
          <p:cNvSpPr txBox="1"/>
          <p:nvPr/>
        </p:nvSpPr>
        <p:spPr>
          <a:xfrm>
            <a:off x="5531506" y="2103417"/>
            <a:ext cx="418244" cy="142504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ЮЯ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F3A24EE-63CF-4C1D-A470-96F5E22DAF91}"/>
              </a:ext>
            </a:extLst>
          </p:cNvPr>
          <p:cNvSpPr/>
          <p:nvPr/>
        </p:nvSpPr>
        <p:spPr>
          <a:xfrm>
            <a:off x="342484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№1 В РОССИИ ПО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A2A0DFE-CD64-132D-7247-99E5F708308B}"/>
              </a:ext>
            </a:extLst>
          </p:cNvPr>
          <p:cNvSpPr/>
          <p:nvPr/>
        </p:nvSpPr>
        <p:spPr>
          <a:xfrm>
            <a:off x="4233934" y="4142677"/>
            <a:ext cx="3736800" cy="20535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 (</a:t>
            </a:r>
            <a:r>
              <a:rPr lang="en-US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ЕЛ.) К ПАРАМЕТРУ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793712-6502-660E-50B9-8FBF97924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64285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85F506-8427-AEDC-9EF7-C5E6C0761D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5</a:t>
            </a:fld>
            <a:endParaRPr lang="ru-RU" dirty="0"/>
          </a:p>
        </p:txBody>
      </p:sp>
      <p:sp>
        <p:nvSpPr>
          <p:cNvPr id="3" name="Прямоугольник 4">
            <a:extLst>
              <a:ext uri="{FF2B5EF4-FFF2-40B4-BE49-F238E27FC236}">
                <a16:creationId xmlns:a16="http://schemas.microsoft.com/office/drawing/2014/main" id="{3AD8A6E6-B6DC-4507-61C4-899129D0FD07}"/>
              </a:ext>
            </a:extLst>
          </p:cNvPr>
          <p:cNvSpPr/>
          <p:nvPr/>
        </p:nvSpPr>
        <p:spPr>
          <a:xfrm>
            <a:off x="8104856" y="1776429"/>
            <a:ext cx="3752182" cy="39495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4" name="circl3">
            <a:extLst>
              <a:ext uri="{FF2B5EF4-FFF2-40B4-BE49-F238E27FC236}">
                <a16:creationId xmlns:a16="http://schemas.microsoft.com/office/drawing/2014/main" id="{F7A7F79A-AA3B-629F-40C5-8F32B42F70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762289"/>
              </p:ext>
            </p:extLst>
          </p:nvPr>
        </p:nvGraphicFramePr>
        <p:xfrm>
          <a:off x="8155184" y="1776429"/>
          <a:ext cx="3671471" cy="3990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Прямоугольник 143">
            <a:extLst>
              <a:ext uri="{FF2B5EF4-FFF2-40B4-BE49-F238E27FC236}">
                <a16:creationId xmlns:a16="http://schemas.microsoft.com/office/drawing/2014/main" id="{8402F693-0148-915F-4B48-EFEFE30705F5}"/>
              </a:ext>
            </a:extLst>
          </p:cNvPr>
          <p:cNvSpPr/>
          <p:nvPr/>
        </p:nvSpPr>
        <p:spPr>
          <a:xfrm>
            <a:off x="342484" y="1132029"/>
            <a:ext cx="2772000" cy="14350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6" name="Прямоугольник 144">
            <a:extLst>
              <a:ext uri="{FF2B5EF4-FFF2-40B4-BE49-F238E27FC236}">
                <a16:creationId xmlns:a16="http://schemas.microsoft.com/office/drawing/2014/main" id="{514D41CB-B220-1794-114B-41C406C5E5E0}"/>
              </a:ext>
            </a:extLst>
          </p:cNvPr>
          <p:cNvSpPr/>
          <p:nvPr/>
        </p:nvSpPr>
        <p:spPr>
          <a:xfrm>
            <a:off x="342484" y="2702411"/>
            <a:ext cx="2772000" cy="143500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7" name="Прямоугольник 145">
            <a:extLst>
              <a:ext uri="{FF2B5EF4-FFF2-40B4-BE49-F238E27FC236}">
                <a16:creationId xmlns:a16="http://schemas.microsoft.com/office/drawing/2014/main" id="{2E811AE5-424A-9ED2-001B-148E814A467F}"/>
              </a:ext>
            </a:extLst>
          </p:cNvPr>
          <p:cNvSpPr/>
          <p:nvPr/>
        </p:nvSpPr>
        <p:spPr>
          <a:xfrm>
            <a:off x="342484" y="4292672"/>
            <a:ext cx="2772000" cy="144137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ОРИТЕТ</a:t>
            </a:r>
          </a:p>
        </p:txBody>
      </p:sp>
      <p:sp>
        <p:nvSpPr>
          <p:cNvPr id="8" name="Прямоугольник 146">
            <a:extLst>
              <a:ext uri="{FF2B5EF4-FFF2-40B4-BE49-F238E27FC236}">
                <a16:creationId xmlns:a16="http://schemas.microsoft.com/office/drawing/2014/main" id="{FE77B11B-D0A8-6946-AA1E-D80B3C07B742}"/>
              </a:ext>
            </a:extLst>
          </p:cNvPr>
          <p:cNvSpPr/>
          <p:nvPr/>
        </p:nvSpPr>
        <p:spPr>
          <a:xfrm>
            <a:off x="3114484" y="1132029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49">
            <a:extLst>
              <a:ext uri="{FF2B5EF4-FFF2-40B4-BE49-F238E27FC236}">
                <a16:creationId xmlns:a16="http://schemas.microsoft.com/office/drawing/2014/main" id="{8A13167D-D39D-48CA-9C22-33F2C3760A28}"/>
              </a:ext>
            </a:extLst>
          </p:cNvPr>
          <p:cNvSpPr/>
          <p:nvPr/>
        </p:nvSpPr>
        <p:spPr>
          <a:xfrm>
            <a:off x="3114484" y="2702411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50">
            <a:extLst>
              <a:ext uri="{FF2B5EF4-FFF2-40B4-BE49-F238E27FC236}">
                <a16:creationId xmlns:a16="http://schemas.microsoft.com/office/drawing/2014/main" id="{2C68189E-85E1-7E4B-482D-2EF2651343DE}"/>
              </a:ext>
            </a:extLst>
          </p:cNvPr>
          <p:cNvSpPr/>
          <p:nvPr/>
        </p:nvSpPr>
        <p:spPr>
          <a:xfrm>
            <a:off x="3114484" y="4292672"/>
            <a:ext cx="4852862" cy="143500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ТЕКСТ ТЕКСТ ТЕКСТ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 описание описание описание описание описание описание описание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описание</a:t>
            </a: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описание описание описание описание описание описание описание описание описание описание описание</a:t>
            </a:r>
            <a:endParaRPr lang="ru-RU" sz="12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51">
            <a:extLst>
              <a:ext uri="{FF2B5EF4-FFF2-40B4-BE49-F238E27FC236}">
                <a16:creationId xmlns:a16="http://schemas.microsoft.com/office/drawing/2014/main" id="{C185E3F7-84C9-9A5B-D710-3C0F1FF15ED9}"/>
              </a:ext>
            </a:extLst>
          </p:cNvPr>
          <p:cNvSpPr/>
          <p:nvPr/>
        </p:nvSpPr>
        <p:spPr>
          <a:xfrm>
            <a:off x="8105940" y="1132029"/>
            <a:ext cx="3751098" cy="644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 РУБ ИНВЕСТИЦИЙ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FEAD37D-A26B-F226-2DF4-9F1FAF77B03E}"/>
              </a:ext>
            </a:extLst>
          </p:cNvPr>
          <p:cNvSpPr txBox="1"/>
          <p:nvPr/>
        </p:nvSpPr>
        <p:spPr>
          <a:xfrm>
            <a:off x="337045" y="285883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757862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1731D19-C4A1-BFEA-69B2-07B5E5BC0F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C6097D-4968-4019-EAE0-4080451047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53692B-7701-7EDB-A379-1B8E6D890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ЛЮЧЕВЫЕ ПОКАЗАТЕЛИ</a:t>
            </a:r>
          </a:p>
          <a:p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2C5FFD-4AF5-382F-A533-272D65495F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99256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D037D3E-CE25-5143-B109-6FADE234A13C}"/>
              </a:ext>
            </a:extLst>
          </p:cNvPr>
          <p:cNvSpPr txBox="1"/>
          <p:nvPr/>
        </p:nvSpPr>
        <p:spPr>
          <a:xfrm>
            <a:off x="337045" y="285883"/>
            <a:ext cx="7630616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Ключевые показатели взаимодействия со СМИ в </a:t>
            </a:r>
            <a:r>
              <a:rPr lang="en-US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XXXX</a:t>
            </a: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 году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AE755049-49F6-5D40-9134-71F38861CB5F}"/>
              </a:ext>
            </a:extLst>
          </p:cNvPr>
          <p:cNvSpPr/>
          <p:nvPr/>
        </p:nvSpPr>
        <p:spPr>
          <a:xfrm>
            <a:off x="337046" y="1125538"/>
            <a:ext cx="3742830" cy="3804378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 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4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раза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9D685C4-B3C2-914A-8C74-64D1E489297C}"/>
              </a:ext>
            </a:extLst>
          </p:cNvPr>
          <p:cNvSpPr/>
          <p:nvPr/>
        </p:nvSpPr>
        <p:spPr>
          <a:xfrm>
            <a:off x="337045" y="5084763"/>
            <a:ext cx="3742830" cy="111601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68E91DA-1684-5243-92B0-708C9FA5700B}"/>
              </a:ext>
            </a:extLst>
          </p:cNvPr>
          <p:cNvSpPr/>
          <p:nvPr/>
        </p:nvSpPr>
        <p:spPr>
          <a:xfrm>
            <a:off x="4223634" y="1775786"/>
            <a:ext cx="3744029" cy="158177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FF3D263-AE06-3A43-8DEE-6E1A6BC26F9E}"/>
              </a:ext>
            </a:extLst>
          </p:cNvPr>
          <p:cNvSpPr/>
          <p:nvPr/>
        </p:nvSpPr>
        <p:spPr>
          <a:xfrm>
            <a:off x="4223634" y="112553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1883D90-5FCB-D348-879D-D0486DE469E8}"/>
              </a:ext>
            </a:extLst>
          </p:cNvPr>
          <p:cNvSpPr/>
          <p:nvPr/>
        </p:nvSpPr>
        <p:spPr>
          <a:xfrm>
            <a:off x="8110925" y="1775786"/>
            <a:ext cx="3744029" cy="1581778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A24A8A-0E7B-DB46-94DA-A99486799FED}"/>
              </a:ext>
            </a:extLst>
          </p:cNvPr>
          <p:cNvSpPr/>
          <p:nvPr/>
        </p:nvSpPr>
        <p:spPr>
          <a:xfrm>
            <a:off x="8110925" y="1125538"/>
            <a:ext cx="3744029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1AB0FCC-79EF-2942-BAF0-6ED3D057992E}"/>
              </a:ext>
            </a:extLst>
          </p:cNvPr>
          <p:cNvSpPr/>
          <p:nvPr/>
        </p:nvSpPr>
        <p:spPr>
          <a:xfrm>
            <a:off x="4224338" y="4150686"/>
            <a:ext cx="7630616" cy="205009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144000" rtlCol="0" anchor="t"/>
          <a:lstStyle/>
          <a:p>
            <a:pPr>
              <a:spcBef>
                <a:spcPts val="600"/>
              </a:spcBef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37649CB-440B-8A4B-86A8-55831B7B4C7B}"/>
              </a:ext>
            </a:extLst>
          </p:cNvPr>
          <p:cNvSpPr/>
          <p:nvPr/>
        </p:nvSpPr>
        <p:spPr>
          <a:xfrm>
            <a:off x="4224338" y="3500438"/>
            <a:ext cx="7630616" cy="65024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144000" rtlCol="0" anchor="ctr"/>
          <a:lstStyle/>
          <a:p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4" name="Диаграмма 7">
            <a:extLst>
              <a:ext uri="{FF2B5EF4-FFF2-40B4-BE49-F238E27FC236}">
                <a16:creationId xmlns:a16="http://schemas.microsoft.com/office/drawing/2014/main" id="{6E9DC74C-010B-6D44-998F-A928AA76A1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8598517"/>
              </p:ext>
            </p:extLst>
          </p:nvPr>
        </p:nvGraphicFramePr>
        <p:xfrm>
          <a:off x="4384466" y="1697038"/>
          <a:ext cx="3423103" cy="1694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Диаграмма 7">
            <a:extLst>
              <a:ext uri="{FF2B5EF4-FFF2-40B4-BE49-F238E27FC236}">
                <a16:creationId xmlns:a16="http://schemas.microsoft.com/office/drawing/2014/main" id="{E061654D-4C84-A84C-A49A-8EF9FE8B2E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00912734"/>
              </p:ext>
            </p:extLst>
          </p:nvPr>
        </p:nvGraphicFramePr>
        <p:xfrm>
          <a:off x="8273178" y="1699585"/>
          <a:ext cx="3423103" cy="1691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43">
            <a:extLst>
              <a:ext uri="{FF2B5EF4-FFF2-40B4-BE49-F238E27FC236}">
                <a16:creationId xmlns:a16="http://schemas.microsoft.com/office/drawing/2014/main" id="{D08E4BC6-7479-6349-8078-4317130E9F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2855895"/>
              </p:ext>
            </p:extLst>
          </p:nvPr>
        </p:nvGraphicFramePr>
        <p:xfrm>
          <a:off x="4384465" y="4149724"/>
          <a:ext cx="7311815" cy="1989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8C56D3-3E45-5296-B469-C1D175BDE2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15444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D97DAAF-C55B-E244-8FFE-A9F776B35FF0}"/>
              </a:ext>
            </a:extLst>
          </p:cNvPr>
          <p:cNvSpPr txBox="1">
            <a:spLocks/>
          </p:cNvSpPr>
          <p:nvPr/>
        </p:nvSpPr>
        <p:spPr>
          <a:xfrm>
            <a:off x="336422" y="311805"/>
            <a:ext cx="3703949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8BE4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B11D940-BBA0-6245-93F9-6908B69ECDEF}"/>
              </a:ext>
            </a:extLst>
          </p:cNvPr>
          <p:cNvSpPr txBox="1"/>
          <p:nvPr/>
        </p:nvSpPr>
        <p:spPr>
          <a:xfrm>
            <a:off x="337044" y="708212"/>
            <a:ext cx="764800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BE85B88-287C-B041-BB16-3C8FE4796631}"/>
              </a:ext>
            </a:extLst>
          </p:cNvPr>
          <p:cNvSpPr/>
          <p:nvPr/>
        </p:nvSpPr>
        <p:spPr>
          <a:xfrm>
            <a:off x="334963" y="1438372"/>
            <a:ext cx="11522075" cy="143986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eaLnBrk="0" fontAlgn="base" hangingPunct="0">
              <a:spcBef>
                <a:spcPts val="600"/>
              </a:spcBef>
              <a:buClr>
                <a:schemeClr val="accent1"/>
              </a:buClr>
              <a:buSzPct val="9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3997FEB-0568-CA47-ACE7-1C256D78F2EA}"/>
              </a:ext>
            </a:extLst>
          </p:cNvPr>
          <p:cNvSpPr txBox="1"/>
          <p:nvPr/>
        </p:nvSpPr>
        <p:spPr>
          <a:xfrm>
            <a:off x="245255" y="6244813"/>
            <a:ext cx="801587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5" name="Таблица 3">
            <a:extLst>
              <a:ext uri="{FF2B5EF4-FFF2-40B4-BE49-F238E27FC236}">
                <a16:creationId xmlns:a16="http://schemas.microsoft.com/office/drawing/2014/main" id="{DFC53B2C-F610-8943-8852-37E85EAED2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545193"/>
              </p:ext>
            </p:extLst>
          </p:nvPr>
        </p:nvGraphicFramePr>
        <p:xfrm>
          <a:off x="334963" y="2708277"/>
          <a:ext cx="11522076" cy="31059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60856">
                  <a:extLst>
                    <a:ext uri="{9D8B030D-6E8A-4147-A177-3AD203B41FA5}">
                      <a16:colId xmlns:a16="http://schemas.microsoft.com/office/drawing/2014/main" val="832154020"/>
                    </a:ext>
                  </a:extLst>
                </a:gridCol>
                <a:gridCol w="4666412">
                  <a:extLst>
                    <a:ext uri="{9D8B030D-6E8A-4147-A177-3AD203B41FA5}">
                      <a16:colId xmlns:a16="http://schemas.microsoft.com/office/drawing/2014/main" val="4009145054"/>
                    </a:ext>
                  </a:extLst>
                </a:gridCol>
                <a:gridCol w="1248702">
                  <a:extLst>
                    <a:ext uri="{9D8B030D-6E8A-4147-A177-3AD203B41FA5}">
                      <a16:colId xmlns:a16="http://schemas.microsoft.com/office/drawing/2014/main" val="649011339"/>
                    </a:ext>
                  </a:extLst>
                </a:gridCol>
                <a:gridCol w="1253784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1243620">
                  <a:extLst>
                    <a:ext uri="{9D8B030D-6E8A-4147-A177-3AD203B41FA5}">
                      <a16:colId xmlns:a16="http://schemas.microsoft.com/office/drawing/2014/main" val="2341043200"/>
                    </a:ext>
                  </a:extLst>
                </a:gridCol>
                <a:gridCol w="1248702">
                  <a:extLst>
                    <a:ext uri="{9D8B030D-6E8A-4147-A177-3AD203B41FA5}">
                      <a16:colId xmlns:a16="http://schemas.microsoft.com/office/drawing/2014/main" val="3243597802"/>
                    </a:ext>
                  </a:extLst>
                </a:gridCol>
              </a:tblGrid>
              <a:tr h="6579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СЕГО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marL="0" indent="0" eaLnBrk="0" fontAlgn="base" hangingPunct="0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" pitchFamily="2" charset="2"/>
                        <a:buNone/>
                        <a:defRPr/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344175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7515992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defRPr/>
                      </a:pPr>
                      <a:r>
                        <a:rPr lang="en-US" sz="1200" b="0" i="0" kern="1200" dirty="0">
                          <a:solidFill>
                            <a:srgbClr val="0097D8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%</a:t>
                      </a:r>
                      <a:endParaRPr lang="ru-RU" sz="1200" b="0" i="0" kern="1200" dirty="0">
                        <a:solidFill>
                          <a:srgbClr val="0097D8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5496137"/>
                  </a:ext>
                </a:extLst>
              </a:tr>
            </a:tbl>
          </a:graphicData>
        </a:graphic>
      </p:graphicFrame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7313B9B6-F45E-6C4E-89A9-A1C78B558A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4772766"/>
              </p:ext>
            </p:extLst>
          </p:nvPr>
        </p:nvGraphicFramePr>
        <p:xfrm>
          <a:off x="2301073" y="3371849"/>
          <a:ext cx="4396289" cy="2975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CCCB9E-FF12-32E0-7404-3416553F6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021366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FCCCB9E-FF12-32E0-7404-3416553F67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3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DF13F9-4BAE-FB70-9DAC-9CD57CE9DB3F}"/>
              </a:ext>
            </a:extLst>
          </p:cNvPr>
          <p:cNvSpPr txBox="1"/>
          <p:nvPr/>
        </p:nvSpPr>
        <p:spPr>
          <a:xfrm>
            <a:off x="337044" y="297035"/>
            <a:ext cx="8603755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B32615AB-0BB9-C4D2-1BDD-640F2CEEABBF}"/>
              </a:ext>
            </a:extLst>
          </p:cNvPr>
          <p:cNvSpPr/>
          <p:nvPr/>
        </p:nvSpPr>
        <p:spPr>
          <a:xfrm>
            <a:off x="8114208" y="1125538"/>
            <a:ext cx="3742830" cy="4608512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Стрелка вверх 19">
            <a:extLst>
              <a:ext uri="{FF2B5EF4-FFF2-40B4-BE49-F238E27FC236}">
                <a16:creationId xmlns:a16="http://schemas.microsoft.com/office/drawing/2014/main" id="{946F78CC-8E63-E61B-A7E4-1D9D38C45D59}"/>
              </a:ext>
            </a:extLst>
          </p:cNvPr>
          <p:cNvSpPr/>
          <p:nvPr/>
        </p:nvSpPr>
        <p:spPr>
          <a:xfrm>
            <a:off x="6339260" y="4618384"/>
            <a:ext cx="238711" cy="1115666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Стрелка вверх 20">
            <a:extLst>
              <a:ext uri="{FF2B5EF4-FFF2-40B4-BE49-F238E27FC236}">
                <a16:creationId xmlns:a16="http://schemas.microsoft.com/office/drawing/2014/main" id="{FE4D9C09-EAFF-B4F0-57D1-0C59B86BD92D}"/>
              </a:ext>
            </a:extLst>
          </p:cNvPr>
          <p:cNvSpPr/>
          <p:nvPr/>
        </p:nvSpPr>
        <p:spPr>
          <a:xfrm>
            <a:off x="7132595" y="1466286"/>
            <a:ext cx="238711" cy="4267763"/>
          </a:xfrm>
          <a:prstGeom prst="up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AD2E85-9D77-0703-EAF2-1F236BA2F16A}"/>
              </a:ext>
            </a:extLst>
          </p:cNvPr>
          <p:cNvSpPr txBox="1"/>
          <p:nvPr/>
        </p:nvSpPr>
        <p:spPr>
          <a:xfrm>
            <a:off x="6063931" y="4292600"/>
            <a:ext cx="100896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од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A354BA-B6A3-6355-2982-3A339A29D4C2}"/>
              </a:ext>
            </a:extLst>
          </p:cNvPr>
          <p:cNvSpPr txBox="1"/>
          <p:nvPr/>
        </p:nvSpPr>
        <p:spPr>
          <a:xfrm>
            <a:off x="6849933" y="1123951"/>
            <a:ext cx="10089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год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02C1C62B-89FB-056A-846D-71DC3DD3AFA1}"/>
              </a:ext>
            </a:extLst>
          </p:cNvPr>
          <p:cNvSpPr/>
          <p:nvPr/>
        </p:nvSpPr>
        <p:spPr>
          <a:xfrm>
            <a:off x="-2533165" y="1172670"/>
            <a:ext cx="8207176" cy="8207176"/>
          </a:xfrm>
          <a:prstGeom prst="ellipse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0" name="Овал 5">
            <a:extLst>
              <a:ext uri="{FF2B5EF4-FFF2-40B4-BE49-F238E27FC236}">
                <a16:creationId xmlns:a16="http://schemas.microsoft.com/office/drawing/2014/main" id="{87BB6BDC-E2AD-6007-5266-C5C6BF6CF709}"/>
              </a:ext>
            </a:extLst>
          </p:cNvPr>
          <p:cNvSpPr/>
          <p:nvPr/>
        </p:nvSpPr>
        <p:spPr>
          <a:xfrm>
            <a:off x="-312520" y="4292600"/>
            <a:ext cx="4114057" cy="4114057"/>
          </a:xfrm>
          <a:prstGeom prst="ellipse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320324E-52EA-F28D-E86C-A3C19F1A3E83}"/>
              </a:ext>
            </a:extLst>
          </p:cNvPr>
          <p:cNvSpPr txBox="1"/>
          <p:nvPr/>
        </p:nvSpPr>
        <p:spPr>
          <a:xfrm>
            <a:off x="1874475" y="2592899"/>
            <a:ext cx="234561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XXXXX </a:t>
            </a:r>
            <a:r>
              <a:rPr lang="ru-RU" sz="14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ТЕКСТ</a:t>
            </a:r>
          </a:p>
          <a:p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EC0ED6-46E4-2AA1-4FF9-722719D33B8E}"/>
              </a:ext>
            </a:extLst>
          </p:cNvPr>
          <p:cNvSpPr txBox="1"/>
          <p:nvPr/>
        </p:nvSpPr>
        <p:spPr>
          <a:xfrm>
            <a:off x="992823" y="5084763"/>
            <a:ext cx="2013901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&lt;XXX </a:t>
            </a: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08611C3-A80A-152E-4B42-4FA56FAB4F9F}"/>
              </a:ext>
            </a:extLst>
          </p:cNvPr>
          <p:cNvSpPr txBox="1"/>
          <p:nvPr/>
        </p:nvSpPr>
        <p:spPr>
          <a:xfrm>
            <a:off x="245255" y="6376699"/>
            <a:ext cx="3114633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0881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FD18DA2-FCD5-1DBA-8ADB-DBAC52BD74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Прямоугольник 155">
            <a:extLst>
              <a:ext uri="{FF2B5EF4-FFF2-40B4-BE49-F238E27FC236}">
                <a16:creationId xmlns:a16="http://schemas.microsoft.com/office/drawing/2014/main" id="{45058A83-D88E-491B-35FB-79E7A75DCC98}"/>
              </a:ext>
            </a:extLst>
          </p:cNvPr>
          <p:cNvSpPr/>
          <p:nvPr/>
        </p:nvSpPr>
        <p:spPr>
          <a:xfrm>
            <a:off x="339378" y="1126359"/>
            <a:ext cx="5691350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" name="Прямоугольник 159">
            <a:extLst>
              <a:ext uri="{FF2B5EF4-FFF2-40B4-BE49-F238E27FC236}">
                <a16:creationId xmlns:a16="http://schemas.microsoft.com/office/drawing/2014/main" id="{099C7D64-E0C4-C748-27CB-30DD6D857B73}"/>
              </a:ext>
            </a:extLst>
          </p:cNvPr>
          <p:cNvSpPr/>
          <p:nvPr/>
        </p:nvSpPr>
        <p:spPr>
          <a:xfrm>
            <a:off x="332973" y="3500323"/>
            <a:ext cx="5691351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60">
            <a:extLst>
              <a:ext uri="{FF2B5EF4-FFF2-40B4-BE49-F238E27FC236}">
                <a16:creationId xmlns:a16="http://schemas.microsoft.com/office/drawing/2014/main" id="{839EF58F-31A6-6211-4DC8-316E0E97A1B3}"/>
              </a:ext>
            </a:extLst>
          </p:cNvPr>
          <p:cNvSpPr/>
          <p:nvPr/>
        </p:nvSpPr>
        <p:spPr>
          <a:xfrm>
            <a:off x="6168785" y="1126359"/>
            <a:ext cx="5684841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" name="Прямоугольник 161">
            <a:extLst>
              <a:ext uri="{FF2B5EF4-FFF2-40B4-BE49-F238E27FC236}">
                <a16:creationId xmlns:a16="http://schemas.microsoft.com/office/drawing/2014/main" id="{ADB8161C-D04E-12E5-D3F4-08D91434145D}"/>
              </a:ext>
            </a:extLst>
          </p:cNvPr>
          <p:cNvSpPr/>
          <p:nvPr/>
        </p:nvSpPr>
        <p:spPr>
          <a:xfrm>
            <a:off x="6162700" y="3500325"/>
            <a:ext cx="5670894" cy="64799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1067"/>
              </a:spcBef>
            </a:pPr>
            <a:r>
              <a:rPr lang="ru-RU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</a:t>
            </a:r>
            <a:r>
              <a:rPr lang="en-GB" sz="1400" b="1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. </a:t>
            </a: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Прямоугольник 162">
            <a:extLst>
              <a:ext uri="{FF2B5EF4-FFF2-40B4-BE49-F238E27FC236}">
                <a16:creationId xmlns:a16="http://schemas.microsoft.com/office/drawing/2014/main" id="{59F4EC54-B054-1EC4-96B1-CCAB7523CB64}"/>
              </a:ext>
            </a:extLst>
          </p:cNvPr>
          <p:cNvSpPr/>
          <p:nvPr/>
        </p:nvSpPr>
        <p:spPr>
          <a:xfrm>
            <a:off x="332676" y="1774356"/>
            <a:ext cx="5685224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8" name="Прямоугольник 163">
            <a:extLst>
              <a:ext uri="{FF2B5EF4-FFF2-40B4-BE49-F238E27FC236}">
                <a16:creationId xmlns:a16="http://schemas.microsoft.com/office/drawing/2014/main" id="{AE2E628D-DD21-C3AA-E86A-89DB657AEB0D}"/>
              </a:ext>
            </a:extLst>
          </p:cNvPr>
          <p:cNvSpPr/>
          <p:nvPr/>
        </p:nvSpPr>
        <p:spPr>
          <a:xfrm>
            <a:off x="332974" y="4148320"/>
            <a:ext cx="5691352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9" name="Прямоугольник 164">
            <a:extLst>
              <a:ext uri="{FF2B5EF4-FFF2-40B4-BE49-F238E27FC236}">
                <a16:creationId xmlns:a16="http://schemas.microsoft.com/office/drawing/2014/main" id="{D1F9F4F6-664E-9093-3F1A-71DEE2C734E2}"/>
              </a:ext>
            </a:extLst>
          </p:cNvPr>
          <p:cNvSpPr/>
          <p:nvPr/>
        </p:nvSpPr>
        <p:spPr>
          <a:xfrm>
            <a:off x="6161976" y="1774356"/>
            <a:ext cx="5691650" cy="15810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65">
            <a:extLst>
              <a:ext uri="{FF2B5EF4-FFF2-40B4-BE49-F238E27FC236}">
                <a16:creationId xmlns:a16="http://schemas.microsoft.com/office/drawing/2014/main" id="{D2F01072-01F0-5F8F-563F-4E48D2A91C6D}"/>
              </a:ext>
            </a:extLst>
          </p:cNvPr>
          <p:cNvSpPr/>
          <p:nvPr/>
        </p:nvSpPr>
        <p:spPr>
          <a:xfrm>
            <a:off x="6162084" y="4148321"/>
            <a:ext cx="5684614" cy="158107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7892DF-F59C-930B-EFA2-DD8BA94C7A72}"/>
              </a:ext>
            </a:extLst>
          </p:cNvPr>
          <p:cNvSpPr txBox="1"/>
          <p:nvPr/>
        </p:nvSpPr>
        <p:spPr>
          <a:xfrm>
            <a:off x="337044" y="463773"/>
            <a:ext cx="945554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12" name="Рисунок 2">
            <a:extLst>
              <a:ext uri="{FF2B5EF4-FFF2-40B4-BE49-F238E27FC236}">
                <a16:creationId xmlns:a16="http://schemas.microsoft.com/office/drawing/2014/main" id="{CFCD582F-4E03-4B62-2FA0-A6A7AF25150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9675" y="1312048"/>
            <a:ext cx="273600" cy="273600"/>
          </a:xfrm>
          <a:prstGeom prst="rect">
            <a:avLst/>
          </a:prstGeom>
        </p:spPr>
      </p:pic>
      <p:pic>
        <p:nvPicPr>
          <p:cNvPr id="13" name="Рисунок 5">
            <a:extLst>
              <a:ext uri="{FF2B5EF4-FFF2-40B4-BE49-F238E27FC236}">
                <a16:creationId xmlns:a16="http://schemas.microsoft.com/office/drawing/2014/main" id="{2FF6CF5A-2879-2B04-7345-5509B77F64C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93513" y="3666519"/>
            <a:ext cx="201871" cy="288000"/>
          </a:xfrm>
          <a:prstGeom prst="rect">
            <a:avLst/>
          </a:prstGeom>
        </p:spPr>
      </p:pic>
      <p:pic>
        <p:nvPicPr>
          <p:cNvPr id="14" name="Рисунок 16">
            <a:extLst>
              <a:ext uri="{FF2B5EF4-FFF2-40B4-BE49-F238E27FC236}">
                <a16:creationId xmlns:a16="http://schemas.microsoft.com/office/drawing/2014/main" id="{49F67784-8C79-E4DE-1585-E1FD2DD4D23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4400" y="3675939"/>
            <a:ext cx="190234" cy="272945"/>
          </a:xfrm>
          <a:prstGeom prst="rect">
            <a:avLst/>
          </a:prstGeom>
        </p:spPr>
      </p:pic>
      <p:pic>
        <p:nvPicPr>
          <p:cNvPr id="15" name="Рисунок 32">
            <a:extLst>
              <a:ext uri="{FF2B5EF4-FFF2-40B4-BE49-F238E27FC236}">
                <a16:creationId xmlns:a16="http://schemas.microsoft.com/office/drawing/2014/main" id="{990FEE28-C21D-B42B-D6A3-771CED392FFE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clrChange>
              <a:clrFrom>
                <a:srgbClr val="004996"/>
              </a:clrFrom>
              <a:clrTo>
                <a:srgbClr val="00499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99411" y="1336562"/>
            <a:ext cx="232573" cy="23040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9411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C2A69E-5476-4A75-1CC3-F3E8C1D955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9C87C4-955A-59B6-A949-B3F0541C38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PT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3061F4-9EC2-703C-0263-E11E4C6EDE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АРТЫ</a:t>
            </a:r>
            <a:endParaRPr lang="en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373A77-E768-B454-359E-1A70D484DE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3162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0226A5B-0F2D-7C45-A9CF-6883AB14DD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contrast="-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676" t="24650" r="31915" b="55247"/>
          <a:stretch/>
        </p:blipFill>
        <p:spPr>
          <a:xfrm>
            <a:off x="5254449" y="1125537"/>
            <a:ext cx="6599633" cy="3024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7035"/>
            <a:ext cx="10981832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0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86" name="Freeform: Shape 130">
            <a:extLst>
              <a:ext uri="{FF2B5EF4-FFF2-40B4-BE49-F238E27FC236}">
                <a16:creationId xmlns:a16="http://schemas.microsoft.com/office/drawing/2014/main" id="{65CD2ECE-2791-504F-9EA5-5BE1CCB9FEF6}"/>
              </a:ext>
            </a:extLst>
          </p:cNvPr>
          <p:cNvSpPr>
            <a:spLocks/>
          </p:cNvSpPr>
          <p:nvPr/>
        </p:nvSpPr>
        <p:spPr>
          <a:xfrm>
            <a:off x="334962" y="4941888"/>
            <a:ext cx="5689601" cy="125436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7" name="Freeform: Shape 156">
            <a:extLst>
              <a:ext uri="{FF2B5EF4-FFF2-40B4-BE49-F238E27FC236}">
                <a16:creationId xmlns:a16="http://schemas.microsoft.com/office/drawing/2014/main" id="{430A1AF9-FA26-2E4A-9949-CD3765AB74D0}"/>
              </a:ext>
            </a:extLst>
          </p:cNvPr>
          <p:cNvSpPr>
            <a:spLocks/>
          </p:cNvSpPr>
          <p:nvPr/>
        </p:nvSpPr>
        <p:spPr>
          <a:xfrm>
            <a:off x="337507" y="4293888"/>
            <a:ext cx="5687055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0" name="Freeform: Shape 130">
            <a:extLst>
              <a:ext uri="{FF2B5EF4-FFF2-40B4-BE49-F238E27FC236}">
                <a16:creationId xmlns:a16="http://schemas.microsoft.com/office/drawing/2014/main" id="{D3564E2F-6F06-B347-AB1D-CF00CEAF9940}"/>
              </a:ext>
            </a:extLst>
          </p:cNvPr>
          <p:cNvSpPr>
            <a:spLocks/>
          </p:cNvSpPr>
          <p:nvPr/>
        </p:nvSpPr>
        <p:spPr>
          <a:xfrm>
            <a:off x="6164891" y="4941888"/>
            <a:ext cx="5689601" cy="125436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lvl="0" indent="-17145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91" name="Freeform: Shape 156">
            <a:extLst>
              <a:ext uri="{FF2B5EF4-FFF2-40B4-BE49-F238E27FC236}">
                <a16:creationId xmlns:a16="http://schemas.microsoft.com/office/drawing/2014/main" id="{C98A7A7F-981F-9448-AC2F-C7446C8F1AF4}"/>
              </a:ext>
            </a:extLst>
          </p:cNvPr>
          <p:cNvSpPr>
            <a:spLocks/>
          </p:cNvSpPr>
          <p:nvPr/>
        </p:nvSpPr>
        <p:spPr>
          <a:xfrm>
            <a:off x="6167436" y="4293888"/>
            <a:ext cx="5689601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7E2D9AAE-207A-304C-8CB0-A988FE1AEF5C}"/>
              </a:ext>
            </a:extLst>
          </p:cNvPr>
          <p:cNvSpPr/>
          <p:nvPr/>
        </p:nvSpPr>
        <p:spPr>
          <a:xfrm>
            <a:off x="332417" y="1125538"/>
            <a:ext cx="3743377" cy="302418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2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8255DCB0-0ECD-8C4D-BB0B-CC7D85596EB4}"/>
              </a:ext>
            </a:extLst>
          </p:cNvPr>
          <p:cNvSpPr/>
          <p:nvPr/>
        </p:nvSpPr>
        <p:spPr>
          <a:xfrm>
            <a:off x="8196298" y="1235207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79" name="Овал 1378">
            <a:extLst>
              <a:ext uri="{FF2B5EF4-FFF2-40B4-BE49-F238E27FC236}">
                <a16:creationId xmlns:a16="http://schemas.microsoft.com/office/drawing/2014/main" id="{15B8A11B-9640-FD40-A913-B079D7440977}"/>
              </a:ext>
            </a:extLst>
          </p:cNvPr>
          <p:cNvSpPr/>
          <p:nvPr/>
        </p:nvSpPr>
        <p:spPr>
          <a:xfrm>
            <a:off x="8006442" y="1959926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0" name="Овал 1379">
            <a:extLst>
              <a:ext uri="{FF2B5EF4-FFF2-40B4-BE49-F238E27FC236}">
                <a16:creationId xmlns:a16="http://schemas.microsoft.com/office/drawing/2014/main" id="{A6F1A271-035F-EC41-9B76-DC96DC190103}"/>
              </a:ext>
            </a:extLst>
          </p:cNvPr>
          <p:cNvSpPr/>
          <p:nvPr/>
        </p:nvSpPr>
        <p:spPr>
          <a:xfrm>
            <a:off x="7567418" y="2915347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1" name="Овал 1380">
            <a:extLst>
              <a:ext uri="{FF2B5EF4-FFF2-40B4-BE49-F238E27FC236}">
                <a16:creationId xmlns:a16="http://schemas.microsoft.com/office/drawing/2014/main" id="{D9B6B5A7-B096-1A4B-B0F4-079B6C11250B}"/>
              </a:ext>
            </a:extLst>
          </p:cNvPr>
          <p:cNvSpPr/>
          <p:nvPr/>
        </p:nvSpPr>
        <p:spPr>
          <a:xfrm>
            <a:off x="6948597" y="3152672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2" name="Овал 1381">
            <a:extLst>
              <a:ext uri="{FF2B5EF4-FFF2-40B4-BE49-F238E27FC236}">
                <a16:creationId xmlns:a16="http://schemas.microsoft.com/office/drawing/2014/main" id="{9E52A8FC-FE5E-1241-A86F-C820660D3875}"/>
              </a:ext>
            </a:extLst>
          </p:cNvPr>
          <p:cNvSpPr/>
          <p:nvPr/>
        </p:nvSpPr>
        <p:spPr>
          <a:xfrm>
            <a:off x="8655558" y="1809910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3" name="Овал 1382">
            <a:extLst>
              <a:ext uri="{FF2B5EF4-FFF2-40B4-BE49-F238E27FC236}">
                <a16:creationId xmlns:a16="http://schemas.microsoft.com/office/drawing/2014/main" id="{FE71F490-BA2F-904A-A1AD-3BF538456075}"/>
              </a:ext>
            </a:extLst>
          </p:cNvPr>
          <p:cNvSpPr/>
          <p:nvPr/>
        </p:nvSpPr>
        <p:spPr>
          <a:xfrm>
            <a:off x="11514617" y="2688160"/>
            <a:ext cx="101132" cy="101132"/>
          </a:xfrm>
          <a:prstGeom prst="ellipse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4" name="Овал 1383">
            <a:extLst>
              <a:ext uri="{FF2B5EF4-FFF2-40B4-BE49-F238E27FC236}">
                <a16:creationId xmlns:a16="http://schemas.microsoft.com/office/drawing/2014/main" id="{4ABCA2C5-F2BD-C544-B9A7-D32669DC3817}"/>
              </a:ext>
            </a:extLst>
          </p:cNvPr>
          <p:cNvSpPr/>
          <p:nvPr/>
        </p:nvSpPr>
        <p:spPr>
          <a:xfrm>
            <a:off x="11097390" y="1453334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5" name="Овал 1384">
            <a:extLst>
              <a:ext uri="{FF2B5EF4-FFF2-40B4-BE49-F238E27FC236}">
                <a16:creationId xmlns:a16="http://schemas.microsoft.com/office/drawing/2014/main" id="{A9768605-EAF2-C34E-9B75-A3697380EE37}"/>
              </a:ext>
            </a:extLst>
          </p:cNvPr>
          <p:cNvSpPr/>
          <p:nvPr/>
        </p:nvSpPr>
        <p:spPr>
          <a:xfrm>
            <a:off x="9381818" y="1892218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6" name="Овал 1385">
            <a:extLst>
              <a:ext uri="{FF2B5EF4-FFF2-40B4-BE49-F238E27FC236}">
                <a16:creationId xmlns:a16="http://schemas.microsoft.com/office/drawing/2014/main" id="{01A161E7-C823-CE47-BC5A-BAFB9A24FC63}"/>
              </a:ext>
            </a:extLst>
          </p:cNvPr>
          <p:cNvSpPr/>
          <p:nvPr/>
        </p:nvSpPr>
        <p:spPr>
          <a:xfrm>
            <a:off x="8721751" y="1649455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7" name="Овал 1386">
            <a:extLst>
              <a:ext uri="{FF2B5EF4-FFF2-40B4-BE49-F238E27FC236}">
                <a16:creationId xmlns:a16="http://schemas.microsoft.com/office/drawing/2014/main" id="{491C4BDB-5085-6147-B873-E40D32FFC672}"/>
              </a:ext>
            </a:extLst>
          </p:cNvPr>
          <p:cNvSpPr/>
          <p:nvPr/>
        </p:nvSpPr>
        <p:spPr>
          <a:xfrm>
            <a:off x="8653196" y="1315566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8" name="Овал 1387">
            <a:extLst>
              <a:ext uri="{FF2B5EF4-FFF2-40B4-BE49-F238E27FC236}">
                <a16:creationId xmlns:a16="http://schemas.microsoft.com/office/drawing/2014/main" id="{84DBDFBB-C3C6-C040-9D78-21959F8B1259}"/>
              </a:ext>
            </a:extLst>
          </p:cNvPr>
          <p:cNvSpPr/>
          <p:nvPr/>
        </p:nvSpPr>
        <p:spPr>
          <a:xfrm>
            <a:off x="7451236" y="2835581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89" name="Овал 1388">
            <a:extLst>
              <a:ext uri="{FF2B5EF4-FFF2-40B4-BE49-F238E27FC236}">
                <a16:creationId xmlns:a16="http://schemas.microsoft.com/office/drawing/2014/main" id="{460D0EE3-E843-DE4F-BD25-E305A733BB78}"/>
              </a:ext>
            </a:extLst>
          </p:cNvPr>
          <p:cNvSpPr/>
          <p:nvPr/>
        </p:nvSpPr>
        <p:spPr>
          <a:xfrm>
            <a:off x="7248680" y="3239653"/>
            <a:ext cx="101132" cy="101132"/>
          </a:xfrm>
          <a:prstGeom prst="ellipse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90" name="Прямоугольник 1389">
            <a:extLst>
              <a:ext uri="{FF2B5EF4-FFF2-40B4-BE49-F238E27FC236}">
                <a16:creationId xmlns:a16="http://schemas.microsoft.com/office/drawing/2014/main" id="{06DDC1D3-5EE1-1140-9658-62581D067276}"/>
              </a:ext>
            </a:extLst>
          </p:cNvPr>
          <p:cNvSpPr/>
          <p:nvPr/>
        </p:nvSpPr>
        <p:spPr>
          <a:xfrm>
            <a:off x="10961463" y="2635526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Алматы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1" name="Прямоугольник 1390">
            <a:extLst>
              <a:ext uri="{FF2B5EF4-FFF2-40B4-BE49-F238E27FC236}">
                <a16:creationId xmlns:a16="http://schemas.microsoft.com/office/drawing/2014/main" id="{CA8B12A6-E217-CB4C-8A0D-621A38BFADF7}"/>
              </a:ext>
            </a:extLst>
          </p:cNvPr>
          <p:cNvSpPr/>
          <p:nvPr/>
        </p:nvSpPr>
        <p:spPr>
          <a:xfrm>
            <a:off x="8791350" y="1758325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Москва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2" name="Прямоугольник 1391">
            <a:extLst>
              <a:ext uri="{FF2B5EF4-FFF2-40B4-BE49-F238E27FC236}">
                <a16:creationId xmlns:a16="http://schemas.microsoft.com/office/drawing/2014/main" id="{59F7C065-B8EE-ED41-A564-12683391233B}"/>
              </a:ext>
            </a:extLst>
          </p:cNvPr>
          <p:cNvSpPr/>
          <p:nvPr/>
        </p:nvSpPr>
        <p:spPr>
          <a:xfrm>
            <a:off x="8857316" y="1606932"/>
            <a:ext cx="1227293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Фрязино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3" name="Прямоугольник 1392">
            <a:extLst>
              <a:ext uri="{FF2B5EF4-FFF2-40B4-BE49-F238E27FC236}">
                <a16:creationId xmlns:a16="http://schemas.microsoft.com/office/drawing/2014/main" id="{02482F66-28BC-EA4A-B08F-0AD4AD5B7422}"/>
              </a:ext>
            </a:extLst>
          </p:cNvPr>
          <p:cNvSpPr/>
          <p:nvPr/>
        </p:nvSpPr>
        <p:spPr>
          <a:xfrm>
            <a:off x="9512169" y="1845428"/>
            <a:ext cx="1686353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Нижний Новгород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5" name="Прямоугольник 1394">
            <a:extLst>
              <a:ext uri="{FF2B5EF4-FFF2-40B4-BE49-F238E27FC236}">
                <a16:creationId xmlns:a16="http://schemas.microsoft.com/office/drawing/2014/main" id="{70A0BA67-CB3E-664D-81C9-9D76B78A60F8}"/>
              </a:ext>
            </a:extLst>
          </p:cNvPr>
          <p:cNvSpPr/>
          <p:nvPr/>
        </p:nvSpPr>
        <p:spPr>
          <a:xfrm>
            <a:off x="10183942" y="1412990"/>
            <a:ext cx="918280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Омск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7" name="Прямоугольник 1396">
            <a:extLst>
              <a:ext uri="{FF2B5EF4-FFF2-40B4-BE49-F238E27FC236}">
                <a16:creationId xmlns:a16="http://schemas.microsoft.com/office/drawing/2014/main" id="{1436FF4F-35D5-B343-8810-DBB88530366F}"/>
              </a:ext>
            </a:extLst>
          </p:cNvPr>
          <p:cNvSpPr/>
          <p:nvPr/>
        </p:nvSpPr>
        <p:spPr>
          <a:xfrm>
            <a:off x="8790778" y="1260136"/>
            <a:ext cx="1379985" cy="185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accent5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Ярославль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8" name="Прямоугольник 1397">
            <a:extLst>
              <a:ext uri="{FF2B5EF4-FFF2-40B4-BE49-F238E27FC236}">
                <a16:creationId xmlns:a16="http://schemas.microsoft.com/office/drawing/2014/main" id="{A396F04A-BA98-5B47-815C-A75C7F4BC2BD}"/>
              </a:ext>
            </a:extLst>
          </p:cNvPr>
          <p:cNvSpPr/>
          <p:nvPr/>
        </p:nvSpPr>
        <p:spPr>
          <a:xfrm>
            <a:off x="7010396" y="1174052"/>
            <a:ext cx="1199241" cy="4103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Санкт-Петербург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399" name="Прямоугольник 1398">
            <a:extLst>
              <a:ext uri="{FF2B5EF4-FFF2-40B4-BE49-F238E27FC236}">
                <a16:creationId xmlns:a16="http://schemas.microsoft.com/office/drawing/2014/main" id="{3A1CFE2A-2A4B-CA41-B554-201E74BE0E6C}"/>
              </a:ext>
            </a:extLst>
          </p:cNvPr>
          <p:cNvSpPr/>
          <p:nvPr/>
        </p:nvSpPr>
        <p:spPr>
          <a:xfrm>
            <a:off x="7524643" y="1903571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Минск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400" name="Прямоугольник 1399">
            <a:extLst>
              <a:ext uri="{FF2B5EF4-FFF2-40B4-BE49-F238E27FC236}">
                <a16:creationId xmlns:a16="http://schemas.microsoft.com/office/drawing/2014/main" id="{4DB52739-1C46-F649-95A8-C730083605C1}"/>
              </a:ext>
            </a:extLst>
          </p:cNvPr>
          <p:cNvSpPr/>
          <p:nvPr/>
        </p:nvSpPr>
        <p:spPr>
          <a:xfrm>
            <a:off x="7696436" y="2865885"/>
            <a:ext cx="80548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0045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Белград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1402" name="Прямоугольник 1401">
            <a:extLst>
              <a:ext uri="{FF2B5EF4-FFF2-40B4-BE49-F238E27FC236}">
                <a16:creationId xmlns:a16="http://schemas.microsoft.com/office/drawing/2014/main" id="{7CF8DF9E-FA33-2746-968A-FED606946ED9}"/>
              </a:ext>
            </a:extLst>
          </p:cNvPr>
          <p:cNvSpPr/>
          <p:nvPr/>
        </p:nvSpPr>
        <p:spPr>
          <a:xfrm>
            <a:off x="6635365" y="3095395"/>
            <a:ext cx="453563" cy="2051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Рим</a:t>
            </a:r>
            <a:endParaRPr kumimoji="0" lang="ru-RU" sz="2000" u="none" strike="noStrike" kern="1200" cap="none" spc="0" normalizeH="0" baseline="0" noProof="0" dirty="0">
              <a:ln>
                <a:noFill/>
              </a:ln>
              <a:solidFill>
                <a:srgbClr val="00459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0255553-C389-0747-9554-10A254AC7886}"/>
              </a:ext>
            </a:extLst>
          </p:cNvPr>
          <p:cNvSpPr/>
          <p:nvPr/>
        </p:nvSpPr>
        <p:spPr>
          <a:xfrm>
            <a:off x="9010436" y="3403220"/>
            <a:ext cx="2864769" cy="746505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F4136AB-07D2-8049-B947-40C13066518E}"/>
              </a:ext>
            </a:extLst>
          </p:cNvPr>
          <p:cNvGrpSpPr/>
          <p:nvPr/>
        </p:nvGrpSpPr>
        <p:grpSpPr>
          <a:xfrm>
            <a:off x="9141548" y="3525799"/>
            <a:ext cx="485855" cy="585017"/>
            <a:chOff x="9182644" y="3611496"/>
            <a:chExt cx="485855" cy="585017"/>
          </a:xfrm>
        </p:grpSpPr>
        <p:pic>
          <p:nvPicPr>
            <p:cNvPr id="4075" name="Рисунок 4074">
              <a:extLst>
                <a:ext uri="{FF2B5EF4-FFF2-40B4-BE49-F238E27FC236}">
                  <a16:creationId xmlns:a16="http://schemas.microsoft.com/office/drawing/2014/main" id="{9A44B848-3B80-9141-B788-3B22757C92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229243" y="3611496"/>
              <a:ext cx="392656" cy="392656"/>
            </a:xfrm>
            <a:prstGeom prst="rect">
              <a:avLst/>
            </a:prstGeom>
          </p:spPr>
        </p:pic>
        <p:sp>
          <p:nvSpPr>
            <p:cNvPr id="209" name="Прямоугольник 54">
              <a:extLst>
                <a:ext uri="{FF2B5EF4-FFF2-40B4-BE49-F238E27FC236}">
                  <a16:creationId xmlns:a16="http://schemas.microsoft.com/office/drawing/2014/main" id="{B8041F33-C562-5C43-B6E4-2575A666A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82644" y="4073402"/>
              <a:ext cx="48585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  <a:endPara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6E850C6-3A25-6943-8E9C-58FA8FBE0CA1}"/>
              </a:ext>
            </a:extLst>
          </p:cNvPr>
          <p:cNvGrpSpPr/>
          <p:nvPr/>
        </p:nvGrpSpPr>
        <p:grpSpPr>
          <a:xfrm>
            <a:off x="9813670" y="3525799"/>
            <a:ext cx="580035" cy="585017"/>
            <a:chOff x="9819293" y="3611496"/>
            <a:chExt cx="580035" cy="585017"/>
          </a:xfrm>
        </p:grpSpPr>
        <p:pic>
          <p:nvPicPr>
            <p:cNvPr id="4076" name="Рисунок 4075">
              <a:extLst>
                <a:ext uri="{FF2B5EF4-FFF2-40B4-BE49-F238E27FC236}">
                  <a16:creationId xmlns:a16="http://schemas.microsoft.com/office/drawing/2014/main" id="{ECEE8D0A-15DD-CA4E-BAA6-FEF91788E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12982" y="3611496"/>
              <a:ext cx="392656" cy="392656"/>
            </a:xfrm>
            <a:prstGeom prst="rect">
              <a:avLst/>
            </a:prstGeom>
          </p:spPr>
        </p:pic>
        <p:sp>
          <p:nvSpPr>
            <p:cNvPr id="210" name="Прямоугольник 55">
              <a:extLst>
                <a:ext uri="{FF2B5EF4-FFF2-40B4-BE49-F238E27FC236}">
                  <a16:creationId xmlns:a16="http://schemas.microsoft.com/office/drawing/2014/main" id="{E5CF6317-7C96-0D4D-B20D-EC7F73A2EB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19293" y="4073402"/>
              <a:ext cx="58003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5F6344AC-0F02-4D49-ABCC-733D0249B935}"/>
              </a:ext>
            </a:extLst>
          </p:cNvPr>
          <p:cNvGrpSpPr/>
          <p:nvPr/>
        </p:nvGrpSpPr>
        <p:grpSpPr>
          <a:xfrm>
            <a:off x="10579972" y="3525799"/>
            <a:ext cx="485855" cy="585017"/>
            <a:chOff x="10636365" y="3611496"/>
            <a:chExt cx="485855" cy="585017"/>
          </a:xfrm>
        </p:grpSpPr>
        <p:pic>
          <p:nvPicPr>
            <p:cNvPr id="4077" name="Рисунок 4076">
              <a:extLst>
                <a:ext uri="{FF2B5EF4-FFF2-40B4-BE49-F238E27FC236}">
                  <a16:creationId xmlns:a16="http://schemas.microsoft.com/office/drawing/2014/main" id="{4D6C4C61-C94E-E943-9D61-9AA184D5AD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682964" y="3611496"/>
              <a:ext cx="392656" cy="392656"/>
            </a:xfrm>
            <a:prstGeom prst="rect">
              <a:avLst/>
            </a:prstGeom>
          </p:spPr>
        </p:pic>
        <p:sp>
          <p:nvSpPr>
            <p:cNvPr id="211" name="Прямоугольник 56">
              <a:extLst>
                <a:ext uri="{FF2B5EF4-FFF2-40B4-BE49-F238E27FC236}">
                  <a16:creationId xmlns:a16="http://schemas.microsoft.com/office/drawing/2014/main" id="{FED72C9D-C0DE-414E-B175-D1E1258D8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36365" y="4073402"/>
              <a:ext cx="48585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40EA5A54-AF4A-1A46-A28A-9DD66793B5C1}"/>
              </a:ext>
            </a:extLst>
          </p:cNvPr>
          <p:cNvGrpSpPr/>
          <p:nvPr/>
        </p:nvGrpSpPr>
        <p:grpSpPr>
          <a:xfrm>
            <a:off x="11252095" y="3525799"/>
            <a:ext cx="580035" cy="585017"/>
            <a:chOff x="11293191" y="3611496"/>
            <a:chExt cx="580035" cy="585017"/>
          </a:xfrm>
        </p:grpSpPr>
        <p:pic>
          <p:nvPicPr>
            <p:cNvPr id="4078" name="Рисунок 4077">
              <a:extLst>
                <a:ext uri="{FF2B5EF4-FFF2-40B4-BE49-F238E27FC236}">
                  <a16:creationId xmlns:a16="http://schemas.microsoft.com/office/drawing/2014/main" id="{1B9494FE-FAFF-5A43-9A00-42F972488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386880" y="3611496"/>
              <a:ext cx="392656" cy="392656"/>
            </a:xfrm>
            <a:prstGeom prst="rect">
              <a:avLst/>
            </a:prstGeom>
          </p:spPr>
        </p:pic>
        <p:sp>
          <p:nvSpPr>
            <p:cNvPr id="212" name="Прямоугольник 57">
              <a:extLst>
                <a:ext uri="{FF2B5EF4-FFF2-40B4-BE49-F238E27FC236}">
                  <a16:creationId xmlns:a16="http://schemas.microsoft.com/office/drawing/2014/main" id="{26E15706-307B-5C48-BD4C-11EA6AD626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93191" y="4073402"/>
              <a:ext cx="580035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ts val="1200"/>
                </a:spcBef>
                <a:buClr>
                  <a:schemeClr val="accent1"/>
                </a:buClr>
                <a:buSzPct val="90000"/>
                <a:buFont typeface="Wingdings" panose="05000000000000000000" pitchFamily="2" charset="2"/>
                <a:defRPr b="1">
                  <a:solidFill>
                    <a:schemeClr val="tx1"/>
                  </a:solidFill>
                  <a:latin typeface="HeliosCond" panose="020B0500000000000000" pitchFamily="34" charset="-52"/>
                </a:defRPr>
              </a:lvl1pPr>
              <a:lvl2pPr marL="742950" indent="-285750">
                <a:spcBef>
                  <a:spcPts val="600"/>
                </a:spcBef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2pPr>
              <a:lvl3pPr marL="1143000" indent="-228600">
                <a:spcBef>
                  <a:spcPts val="300"/>
                </a:spcBef>
                <a:buClr>
                  <a:srgbClr val="0070BA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HeliosCond" panose="020B0500000000000000" pitchFamily="34" charset="-52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>
                  <a:solidFill>
                    <a:schemeClr val="tx1"/>
                  </a:solidFill>
                  <a:latin typeface="HeliosCond" panose="020B0500000000000000" pitchFamily="34" charset="-52"/>
                </a:defRPr>
              </a:lvl9pPr>
            </a:lstStyle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defRPr/>
              </a:pPr>
              <a:r>
                <a:rPr lang="ru-RU" altLang="ru-RU" sz="800" b="0" dirty="0">
                  <a:solidFill>
                    <a:srgbClr val="706F6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Arial" pitchFamily="34" charset="0"/>
                </a:rPr>
                <a:t>Текст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A570E95-CF04-AF61-209A-563C6FF681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237399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Freeform 10">
            <a:extLst>
              <a:ext uri="{FF2B5EF4-FFF2-40B4-BE49-F238E27FC236}">
                <a16:creationId xmlns:a16="http://schemas.microsoft.com/office/drawing/2014/main" id="{406C2AE9-8BB0-5346-A151-9BFFB501D367}"/>
              </a:ext>
            </a:extLst>
          </p:cNvPr>
          <p:cNvSpPr>
            <a:spLocks/>
          </p:cNvSpPr>
          <p:nvPr/>
        </p:nvSpPr>
        <p:spPr bwMode="auto">
          <a:xfrm>
            <a:off x="1630546" y="3619142"/>
            <a:ext cx="866082" cy="483542"/>
          </a:xfrm>
          <a:custGeom>
            <a:avLst/>
            <a:gdLst>
              <a:gd name="T0" fmla="*/ 489 w 598"/>
              <a:gd name="T1" fmla="*/ 183 h 338"/>
              <a:gd name="T2" fmla="*/ 533 w 598"/>
              <a:gd name="T3" fmla="*/ 173 h 338"/>
              <a:gd name="T4" fmla="*/ 569 w 598"/>
              <a:gd name="T5" fmla="*/ 160 h 338"/>
              <a:gd name="T6" fmla="*/ 592 w 598"/>
              <a:gd name="T7" fmla="*/ 138 h 338"/>
              <a:gd name="T8" fmla="*/ 585 w 598"/>
              <a:gd name="T9" fmla="*/ 131 h 338"/>
              <a:gd name="T10" fmla="*/ 583 w 598"/>
              <a:gd name="T11" fmla="*/ 118 h 338"/>
              <a:gd name="T12" fmla="*/ 598 w 598"/>
              <a:gd name="T13" fmla="*/ 105 h 338"/>
              <a:gd name="T14" fmla="*/ 582 w 598"/>
              <a:gd name="T15" fmla="*/ 100 h 338"/>
              <a:gd name="T16" fmla="*/ 560 w 598"/>
              <a:gd name="T17" fmla="*/ 109 h 338"/>
              <a:gd name="T18" fmla="*/ 536 w 598"/>
              <a:gd name="T19" fmla="*/ 116 h 338"/>
              <a:gd name="T20" fmla="*/ 525 w 598"/>
              <a:gd name="T21" fmla="*/ 125 h 338"/>
              <a:gd name="T22" fmla="*/ 491 w 598"/>
              <a:gd name="T23" fmla="*/ 127 h 338"/>
              <a:gd name="T24" fmla="*/ 358 w 598"/>
              <a:gd name="T25" fmla="*/ 33 h 338"/>
              <a:gd name="T26" fmla="*/ 320 w 598"/>
              <a:gd name="T27" fmla="*/ 5 h 338"/>
              <a:gd name="T28" fmla="*/ 246 w 598"/>
              <a:gd name="T29" fmla="*/ 0 h 338"/>
              <a:gd name="T30" fmla="*/ 200 w 598"/>
              <a:gd name="T31" fmla="*/ 73 h 338"/>
              <a:gd name="T32" fmla="*/ 164 w 598"/>
              <a:gd name="T33" fmla="*/ 58 h 338"/>
              <a:gd name="T34" fmla="*/ 148 w 598"/>
              <a:gd name="T35" fmla="*/ 38 h 338"/>
              <a:gd name="T36" fmla="*/ 115 w 598"/>
              <a:gd name="T37" fmla="*/ 24 h 338"/>
              <a:gd name="T38" fmla="*/ 122 w 598"/>
              <a:gd name="T39" fmla="*/ 53 h 338"/>
              <a:gd name="T40" fmla="*/ 109 w 598"/>
              <a:gd name="T41" fmla="*/ 80 h 338"/>
              <a:gd name="T42" fmla="*/ 93 w 598"/>
              <a:gd name="T43" fmla="*/ 96 h 338"/>
              <a:gd name="T44" fmla="*/ 77 w 598"/>
              <a:gd name="T45" fmla="*/ 118 h 338"/>
              <a:gd name="T46" fmla="*/ 75 w 598"/>
              <a:gd name="T47" fmla="*/ 125 h 338"/>
              <a:gd name="T48" fmla="*/ 93 w 598"/>
              <a:gd name="T49" fmla="*/ 138 h 338"/>
              <a:gd name="T50" fmla="*/ 135 w 598"/>
              <a:gd name="T51" fmla="*/ 142 h 338"/>
              <a:gd name="T52" fmla="*/ 49 w 598"/>
              <a:gd name="T53" fmla="*/ 189 h 338"/>
              <a:gd name="T54" fmla="*/ 29 w 598"/>
              <a:gd name="T55" fmla="*/ 207 h 338"/>
              <a:gd name="T56" fmla="*/ 26 w 598"/>
              <a:gd name="T57" fmla="*/ 220 h 338"/>
              <a:gd name="T58" fmla="*/ 8 w 598"/>
              <a:gd name="T59" fmla="*/ 253 h 338"/>
              <a:gd name="T60" fmla="*/ 8 w 598"/>
              <a:gd name="T61" fmla="*/ 269 h 338"/>
              <a:gd name="T62" fmla="*/ 4 w 598"/>
              <a:gd name="T63" fmla="*/ 285 h 338"/>
              <a:gd name="T64" fmla="*/ 22 w 598"/>
              <a:gd name="T65" fmla="*/ 269 h 338"/>
              <a:gd name="T66" fmla="*/ 33 w 598"/>
              <a:gd name="T67" fmla="*/ 263 h 338"/>
              <a:gd name="T68" fmla="*/ 59 w 598"/>
              <a:gd name="T69" fmla="*/ 272 h 338"/>
              <a:gd name="T70" fmla="*/ 69 w 598"/>
              <a:gd name="T71" fmla="*/ 280 h 338"/>
              <a:gd name="T72" fmla="*/ 95 w 598"/>
              <a:gd name="T73" fmla="*/ 285 h 338"/>
              <a:gd name="T74" fmla="*/ 115 w 598"/>
              <a:gd name="T75" fmla="*/ 263 h 338"/>
              <a:gd name="T76" fmla="*/ 137 w 598"/>
              <a:gd name="T77" fmla="*/ 262 h 338"/>
              <a:gd name="T78" fmla="*/ 171 w 598"/>
              <a:gd name="T79" fmla="*/ 307 h 338"/>
              <a:gd name="T80" fmla="*/ 207 w 598"/>
              <a:gd name="T81" fmla="*/ 311 h 338"/>
              <a:gd name="T82" fmla="*/ 235 w 598"/>
              <a:gd name="T83" fmla="*/ 311 h 338"/>
              <a:gd name="T84" fmla="*/ 269 w 598"/>
              <a:gd name="T85" fmla="*/ 338 h 338"/>
              <a:gd name="T86" fmla="*/ 298 w 598"/>
              <a:gd name="T87" fmla="*/ 327 h 338"/>
              <a:gd name="T88" fmla="*/ 309 w 598"/>
              <a:gd name="T89" fmla="*/ 311 h 338"/>
              <a:gd name="T90" fmla="*/ 315 w 598"/>
              <a:gd name="T91" fmla="*/ 303 h 338"/>
              <a:gd name="T92" fmla="*/ 324 w 598"/>
              <a:gd name="T93" fmla="*/ 283 h 338"/>
              <a:gd name="T94" fmla="*/ 342 w 598"/>
              <a:gd name="T95" fmla="*/ 256 h 338"/>
              <a:gd name="T96" fmla="*/ 367 w 598"/>
              <a:gd name="T97" fmla="*/ 240 h 338"/>
              <a:gd name="T98" fmla="*/ 373 w 598"/>
              <a:gd name="T99" fmla="*/ 218 h 338"/>
              <a:gd name="T100" fmla="*/ 405 w 598"/>
              <a:gd name="T101" fmla="*/ 200 h 338"/>
              <a:gd name="T102" fmla="*/ 411 w 598"/>
              <a:gd name="T103" fmla="*/ 211 h 338"/>
              <a:gd name="T104" fmla="*/ 458 w 598"/>
              <a:gd name="T105" fmla="*/ 191 h 338"/>
              <a:gd name="T106" fmla="*/ 474 w 598"/>
              <a:gd name="T107" fmla="*/ 193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98" h="338">
                <a:moveTo>
                  <a:pt x="474" y="193"/>
                </a:moveTo>
                <a:lnTo>
                  <a:pt x="474" y="193"/>
                </a:lnTo>
                <a:lnTo>
                  <a:pt x="476" y="191"/>
                </a:lnTo>
                <a:lnTo>
                  <a:pt x="478" y="189"/>
                </a:lnTo>
                <a:lnTo>
                  <a:pt x="484" y="187"/>
                </a:lnTo>
                <a:lnTo>
                  <a:pt x="489" y="183"/>
                </a:lnTo>
                <a:lnTo>
                  <a:pt x="489" y="183"/>
                </a:lnTo>
                <a:lnTo>
                  <a:pt x="505" y="176"/>
                </a:lnTo>
                <a:lnTo>
                  <a:pt x="513" y="173"/>
                </a:lnTo>
                <a:lnTo>
                  <a:pt x="518" y="171"/>
                </a:lnTo>
                <a:lnTo>
                  <a:pt x="518" y="171"/>
                </a:lnTo>
                <a:lnTo>
                  <a:pt x="533" y="173"/>
                </a:lnTo>
                <a:lnTo>
                  <a:pt x="533" y="173"/>
                </a:lnTo>
                <a:lnTo>
                  <a:pt x="543" y="171"/>
                </a:lnTo>
                <a:lnTo>
                  <a:pt x="553" y="169"/>
                </a:lnTo>
                <a:lnTo>
                  <a:pt x="553" y="169"/>
                </a:lnTo>
                <a:lnTo>
                  <a:pt x="563" y="163"/>
                </a:lnTo>
                <a:lnTo>
                  <a:pt x="569" y="160"/>
                </a:lnTo>
                <a:lnTo>
                  <a:pt x="574" y="158"/>
                </a:lnTo>
                <a:lnTo>
                  <a:pt x="574" y="158"/>
                </a:lnTo>
                <a:lnTo>
                  <a:pt x="576" y="158"/>
                </a:lnTo>
                <a:lnTo>
                  <a:pt x="580" y="153"/>
                </a:lnTo>
                <a:lnTo>
                  <a:pt x="583" y="147"/>
                </a:lnTo>
                <a:lnTo>
                  <a:pt x="592" y="138"/>
                </a:lnTo>
                <a:lnTo>
                  <a:pt x="592" y="138"/>
                </a:lnTo>
                <a:lnTo>
                  <a:pt x="594" y="134"/>
                </a:lnTo>
                <a:lnTo>
                  <a:pt x="592" y="134"/>
                </a:lnTo>
                <a:lnTo>
                  <a:pt x="589" y="131"/>
                </a:lnTo>
                <a:lnTo>
                  <a:pt x="585" y="131"/>
                </a:lnTo>
                <a:lnTo>
                  <a:pt x="585" y="131"/>
                </a:lnTo>
                <a:lnTo>
                  <a:pt x="583" y="131"/>
                </a:lnTo>
                <a:lnTo>
                  <a:pt x="582" y="129"/>
                </a:lnTo>
                <a:lnTo>
                  <a:pt x="582" y="127"/>
                </a:lnTo>
                <a:lnTo>
                  <a:pt x="582" y="122"/>
                </a:lnTo>
                <a:lnTo>
                  <a:pt x="582" y="122"/>
                </a:lnTo>
                <a:lnTo>
                  <a:pt x="583" y="118"/>
                </a:lnTo>
                <a:lnTo>
                  <a:pt x="589" y="116"/>
                </a:lnTo>
                <a:lnTo>
                  <a:pt x="591" y="111"/>
                </a:lnTo>
                <a:lnTo>
                  <a:pt x="594" y="109"/>
                </a:lnTo>
                <a:lnTo>
                  <a:pt x="594" y="109"/>
                </a:lnTo>
                <a:lnTo>
                  <a:pt x="596" y="109"/>
                </a:lnTo>
                <a:lnTo>
                  <a:pt x="598" y="105"/>
                </a:lnTo>
                <a:lnTo>
                  <a:pt x="598" y="104"/>
                </a:lnTo>
                <a:lnTo>
                  <a:pt x="598" y="104"/>
                </a:lnTo>
                <a:lnTo>
                  <a:pt x="591" y="102"/>
                </a:lnTo>
                <a:lnTo>
                  <a:pt x="583" y="100"/>
                </a:lnTo>
                <a:lnTo>
                  <a:pt x="583" y="100"/>
                </a:lnTo>
                <a:lnTo>
                  <a:pt x="582" y="100"/>
                </a:lnTo>
                <a:lnTo>
                  <a:pt x="576" y="102"/>
                </a:lnTo>
                <a:lnTo>
                  <a:pt x="571" y="105"/>
                </a:lnTo>
                <a:lnTo>
                  <a:pt x="571" y="105"/>
                </a:lnTo>
                <a:lnTo>
                  <a:pt x="563" y="107"/>
                </a:lnTo>
                <a:lnTo>
                  <a:pt x="562" y="107"/>
                </a:lnTo>
                <a:lnTo>
                  <a:pt x="560" y="109"/>
                </a:lnTo>
                <a:lnTo>
                  <a:pt x="556" y="109"/>
                </a:lnTo>
                <a:lnTo>
                  <a:pt x="556" y="109"/>
                </a:lnTo>
                <a:lnTo>
                  <a:pt x="556" y="114"/>
                </a:lnTo>
                <a:lnTo>
                  <a:pt x="554" y="114"/>
                </a:lnTo>
                <a:lnTo>
                  <a:pt x="549" y="114"/>
                </a:lnTo>
                <a:lnTo>
                  <a:pt x="536" y="116"/>
                </a:lnTo>
                <a:lnTo>
                  <a:pt x="536" y="116"/>
                </a:lnTo>
                <a:lnTo>
                  <a:pt x="533" y="118"/>
                </a:lnTo>
                <a:lnTo>
                  <a:pt x="531" y="120"/>
                </a:lnTo>
                <a:lnTo>
                  <a:pt x="525" y="125"/>
                </a:lnTo>
                <a:lnTo>
                  <a:pt x="525" y="125"/>
                </a:lnTo>
                <a:lnTo>
                  <a:pt x="525" y="125"/>
                </a:lnTo>
                <a:lnTo>
                  <a:pt x="520" y="127"/>
                </a:lnTo>
                <a:lnTo>
                  <a:pt x="513" y="127"/>
                </a:lnTo>
                <a:lnTo>
                  <a:pt x="505" y="125"/>
                </a:lnTo>
                <a:lnTo>
                  <a:pt x="498" y="125"/>
                </a:lnTo>
                <a:lnTo>
                  <a:pt x="498" y="125"/>
                </a:lnTo>
                <a:lnTo>
                  <a:pt x="491" y="127"/>
                </a:lnTo>
                <a:lnTo>
                  <a:pt x="491" y="127"/>
                </a:lnTo>
                <a:lnTo>
                  <a:pt x="467" y="114"/>
                </a:lnTo>
                <a:lnTo>
                  <a:pt x="429" y="87"/>
                </a:lnTo>
                <a:lnTo>
                  <a:pt x="369" y="44"/>
                </a:lnTo>
                <a:lnTo>
                  <a:pt x="369" y="44"/>
                </a:lnTo>
                <a:lnTo>
                  <a:pt x="358" y="33"/>
                </a:lnTo>
                <a:lnTo>
                  <a:pt x="345" y="20"/>
                </a:lnTo>
                <a:lnTo>
                  <a:pt x="333" y="9"/>
                </a:lnTo>
                <a:lnTo>
                  <a:pt x="333" y="9"/>
                </a:lnTo>
                <a:lnTo>
                  <a:pt x="327" y="9"/>
                </a:lnTo>
                <a:lnTo>
                  <a:pt x="324" y="5"/>
                </a:lnTo>
                <a:lnTo>
                  <a:pt x="320" y="5"/>
                </a:lnTo>
                <a:lnTo>
                  <a:pt x="320" y="5"/>
                </a:lnTo>
                <a:lnTo>
                  <a:pt x="320" y="5"/>
                </a:lnTo>
                <a:lnTo>
                  <a:pt x="320" y="5"/>
                </a:lnTo>
                <a:lnTo>
                  <a:pt x="315" y="5"/>
                </a:lnTo>
                <a:lnTo>
                  <a:pt x="311" y="11"/>
                </a:lnTo>
                <a:lnTo>
                  <a:pt x="246" y="0"/>
                </a:lnTo>
                <a:lnTo>
                  <a:pt x="217" y="34"/>
                </a:lnTo>
                <a:lnTo>
                  <a:pt x="226" y="44"/>
                </a:lnTo>
                <a:lnTo>
                  <a:pt x="220" y="64"/>
                </a:lnTo>
                <a:lnTo>
                  <a:pt x="224" y="73"/>
                </a:lnTo>
                <a:lnTo>
                  <a:pt x="213" y="84"/>
                </a:lnTo>
                <a:lnTo>
                  <a:pt x="200" y="73"/>
                </a:lnTo>
                <a:lnTo>
                  <a:pt x="193" y="74"/>
                </a:lnTo>
                <a:lnTo>
                  <a:pt x="184" y="64"/>
                </a:lnTo>
                <a:lnTo>
                  <a:pt x="178" y="67"/>
                </a:lnTo>
                <a:lnTo>
                  <a:pt x="173" y="62"/>
                </a:lnTo>
                <a:lnTo>
                  <a:pt x="166" y="65"/>
                </a:lnTo>
                <a:lnTo>
                  <a:pt x="164" y="58"/>
                </a:lnTo>
                <a:lnTo>
                  <a:pt x="164" y="58"/>
                </a:lnTo>
                <a:lnTo>
                  <a:pt x="164" y="56"/>
                </a:lnTo>
                <a:lnTo>
                  <a:pt x="164" y="53"/>
                </a:lnTo>
                <a:lnTo>
                  <a:pt x="164" y="47"/>
                </a:lnTo>
                <a:lnTo>
                  <a:pt x="164" y="47"/>
                </a:lnTo>
                <a:lnTo>
                  <a:pt x="148" y="38"/>
                </a:lnTo>
                <a:lnTo>
                  <a:pt x="138" y="27"/>
                </a:lnTo>
                <a:lnTo>
                  <a:pt x="118" y="16"/>
                </a:lnTo>
                <a:lnTo>
                  <a:pt x="118" y="16"/>
                </a:lnTo>
                <a:lnTo>
                  <a:pt x="117" y="20"/>
                </a:lnTo>
                <a:lnTo>
                  <a:pt x="115" y="22"/>
                </a:lnTo>
                <a:lnTo>
                  <a:pt x="115" y="24"/>
                </a:lnTo>
                <a:lnTo>
                  <a:pt x="115" y="24"/>
                </a:lnTo>
                <a:lnTo>
                  <a:pt x="115" y="33"/>
                </a:lnTo>
                <a:lnTo>
                  <a:pt x="118" y="40"/>
                </a:lnTo>
                <a:lnTo>
                  <a:pt x="120" y="45"/>
                </a:lnTo>
                <a:lnTo>
                  <a:pt x="122" y="53"/>
                </a:lnTo>
                <a:lnTo>
                  <a:pt x="122" y="53"/>
                </a:lnTo>
                <a:lnTo>
                  <a:pt x="122" y="56"/>
                </a:lnTo>
                <a:lnTo>
                  <a:pt x="120" y="62"/>
                </a:lnTo>
                <a:lnTo>
                  <a:pt x="118" y="69"/>
                </a:lnTo>
                <a:lnTo>
                  <a:pt x="118" y="69"/>
                </a:lnTo>
                <a:lnTo>
                  <a:pt x="109" y="80"/>
                </a:lnTo>
                <a:lnTo>
                  <a:pt x="109" y="80"/>
                </a:lnTo>
                <a:lnTo>
                  <a:pt x="113" y="94"/>
                </a:lnTo>
                <a:lnTo>
                  <a:pt x="113" y="94"/>
                </a:lnTo>
                <a:lnTo>
                  <a:pt x="113" y="94"/>
                </a:lnTo>
                <a:lnTo>
                  <a:pt x="111" y="94"/>
                </a:lnTo>
                <a:lnTo>
                  <a:pt x="102" y="94"/>
                </a:lnTo>
                <a:lnTo>
                  <a:pt x="93" y="96"/>
                </a:lnTo>
                <a:lnTo>
                  <a:pt x="88" y="105"/>
                </a:lnTo>
                <a:lnTo>
                  <a:pt x="88" y="105"/>
                </a:lnTo>
                <a:lnTo>
                  <a:pt x="80" y="111"/>
                </a:lnTo>
                <a:lnTo>
                  <a:pt x="77" y="116"/>
                </a:lnTo>
                <a:lnTo>
                  <a:pt x="77" y="116"/>
                </a:lnTo>
                <a:lnTo>
                  <a:pt x="77" y="118"/>
                </a:lnTo>
                <a:lnTo>
                  <a:pt x="77" y="120"/>
                </a:lnTo>
                <a:lnTo>
                  <a:pt x="79" y="122"/>
                </a:lnTo>
                <a:lnTo>
                  <a:pt x="79" y="122"/>
                </a:lnTo>
                <a:lnTo>
                  <a:pt x="73" y="124"/>
                </a:lnTo>
                <a:lnTo>
                  <a:pt x="73" y="124"/>
                </a:lnTo>
                <a:lnTo>
                  <a:pt x="75" y="125"/>
                </a:lnTo>
                <a:lnTo>
                  <a:pt x="77" y="129"/>
                </a:lnTo>
                <a:lnTo>
                  <a:pt x="82" y="127"/>
                </a:lnTo>
                <a:lnTo>
                  <a:pt x="82" y="127"/>
                </a:lnTo>
                <a:lnTo>
                  <a:pt x="89" y="131"/>
                </a:lnTo>
                <a:lnTo>
                  <a:pt x="93" y="138"/>
                </a:lnTo>
                <a:lnTo>
                  <a:pt x="93" y="138"/>
                </a:lnTo>
                <a:lnTo>
                  <a:pt x="98" y="134"/>
                </a:lnTo>
                <a:lnTo>
                  <a:pt x="97" y="129"/>
                </a:lnTo>
                <a:lnTo>
                  <a:pt x="111" y="122"/>
                </a:lnTo>
                <a:lnTo>
                  <a:pt x="115" y="127"/>
                </a:lnTo>
                <a:lnTo>
                  <a:pt x="120" y="124"/>
                </a:lnTo>
                <a:lnTo>
                  <a:pt x="135" y="142"/>
                </a:lnTo>
                <a:lnTo>
                  <a:pt x="111" y="160"/>
                </a:lnTo>
                <a:lnTo>
                  <a:pt x="104" y="160"/>
                </a:lnTo>
                <a:lnTo>
                  <a:pt x="84" y="173"/>
                </a:lnTo>
                <a:lnTo>
                  <a:pt x="89" y="185"/>
                </a:lnTo>
                <a:lnTo>
                  <a:pt x="71" y="198"/>
                </a:lnTo>
                <a:lnTo>
                  <a:pt x="49" y="189"/>
                </a:lnTo>
                <a:lnTo>
                  <a:pt x="40" y="191"/>
                </a:lnTo>
                <a:lnTo>
                  <a:pt x="40" y="196"/>
                </a:lnTo>
                <a:lnTo>
                  <a:pt x="40" y="196"/>
                </a:lnTo>
                <a:lnTo>
                  <a:pt x="37" y="200"/>
                </a:lnTo>
                <a:lnTo>
                  <a:pt x="33" y="205"/>
                </a:lnTo>
                <a:lnTo>
                  <a:pt x="29" y="207"/>
                </a:lnTo>
                <a:lnTo>
                  <a:pt x="29" y="207"/>
                </a:lnTo>
                <a:lnTo>
                  <a:pt x="28" y="211"/>
                </a:lnTo>
                <a:lnTo>
                  <a:pt x="28" y="213"/>
                </a:lnTo>
                <a:lnTo>
                  <a:pt x="28" y="220"/>
                </a:lnTo>
                <a:lnTo>
                  <a:pt x="28" y="220"/>
                </a:lnTo>
                <a:lnTo>
                  <a:pt x="26" y="220"/>
                </a:lnTo>
                <a:lnTo>
                  <a:pt x="22" y="222"/>
                </a:lnTo>
                <a:lnTo>
                  <a:pt x="19" y="222"/>
                </a:lnTo>
                <a:lnTo>
                  <a:pt x="19" y="222"/>
                </a:lnTo>
                <a:lnTo>
                  <a:pt x="9" y="231"/>
                </a:lnTo>
                <a:lnTo>
                  <a:pt x="0" y="238"/>
                </a:lnTo>
                <a:lnTo>
                  <a:pt x="8" y="253"/>
                </a:lnTo>
                <a:lnTo>
                  <a:pt x="4" y="256"/>
                </a:lnTo>
                <a:lnTo>
                  <a:pt x="4" y="256"/>
                </a:lnTo>
                <a:lnTo>
                  <a:pt x="8" y="263"/>
                </a:lnTo>
                <a:lnTo>
                  <a:pt x="8" y="263"/>
                </a:lnTo>
                <a:lnTo>
                  <a:pt x="8" y="265"/>
                </a:lnTo>
                <a:lnTo>
                  <a:pt x="8" y="269"/>
                </a:lnTo>
                <a:lnTo>
                  <a:pt x="6" y="272"/>
                </a:lnTo>
                <a:lnTo>
                  <a:pt x="4" y="276"/>
                </a:lnTo>
                <a:lnTo>
                  <a:pt x="4" y="276"/>
                </a:lnTo>
                <a:lnTo>
                  <a:pt x="4" y="280"/>
                </a:lnTo>
                <a:lnTo>
                  <a:pt x="4" y="282"/>
                </a:lnTo>
                <a:lnTo>
                  <a:pt x="4" y="285"/>
                </a:lnTo>
                <a:lnTo>
                  <a:pt x="6" y="285"/>
                </a:lnTo>
                <a:lnTo>
                  <a:pt x="6" y="285"/>
                </a:lnTo>
                <a:lnTo>
                  <a:pt x="11" y="280"/>
                </a:lnTo>
                <a:lnTo>
                  <a:pt x="19" y="271"/>
                </a:lnTo>
                <a:lnTo>
                  <a:pt x="19" y="271"/>
                </a:lnTo>
                <a:lnTo>
                  <a:pt x="22" y="269"/>
                </a:lnTo>
                <a:lnTo>
                  <a:pt x="28" y="269"/>
                </a:lnTo>
                <a:lnTo>
                  <a:pt x="28" y="269"/>
                </a:lnTo>
                <a:lnTo>
                  <a:pt x="29" y="269"/>
                </a:lnTo>
                <a:lnTo>
                  <a:pt x="31" y="267"/>
                </a:lnTo>
                <a:lnTo>
                  <a:pt x="33" y="263"/>
                </a:lnTo>
                <a:lnTo>
                  <a:pt x="33" y="263"/>
                </a:lnTo>
                <a:lnTo>
                  <a:pt x="33" y="263"/>
                </a:lnTo>
                <a:lnTo>
                  <a:pt x="33" y="265"/>
                </a:lnTo>
                <a:lnTo>
                  <a:pt x="35" y="267"/>
                </a:lnTo>
                <a:lnTo>
                  <a:pt x="48" y="272"/>
                </a:lnTo>
                <a:lnTo>
                  <a:pt x="48" y="272"/>
                </a:lnTo>
                <a:lnTo>
                  <a:pt x="59" y="272"/>
                </a:lnTo>
                <a:lnTo>
                  <a:pt x="59" y="272"/>
                </a:lnTo>
                <a:lnTo>
                  <a:pt x="64" y="272"/>
                </a:lnTo>
                <a:lnTo>
                  <a:pt x="64" y="272"/>
                </a:lnTo>
                <a:lnTo>
                  <a:pt x="68" y="274"/>
                </a:lnTo>
                <a:lnTo>
                  <a:pt x="68" y="274"/>
                </a:lnTo>
                <a:lnTo>
                  <a:pt x="69" y="280"/>
                </a:lnTo>
                <a:lnTo>
                  <a:pt x="69" y="282"/>
                </a:lnTo>
                <a:lnTo>
                  <a:pt x="68" y="285"/>
                </a:lnTo>
                <a:lnTo>
                  <a:pt x="91" y="282"/>
                </a:lnTo>
                <a:lnTo>
                  <a:pt x="93" y="282"/>
                </a:lnTo>
                <a:lnTo>
                  <a:pt x="95" y="287"/>
                </a:lnTo>
                <a:lnTo>
                  <a:pt x="95" y="285"/>
                </a:lnTo>
                <a:lnTo>
                  <a:pt x="102" y="282"/>
                </a:lnTo>
                <a:lnTo>
                  <a:pt x="98" y="274"/>
                </a:lnTo>
                <a:lnTo>
                  <a:pt x="98" y="271"/>
                </a:lnTo>
                <a:lnTo>
                  <a:pt x="97" y="263"/>
                </a:lnTo>
                <a:lnTo>
                  <a:pt x="106" y="254"/>
                </a:lnTo>
                <a:lnTo>
                  <a:pt x="115" y="263"/>
                </a:lnTo>
                <a:lnTo>
                  <a:pt x="120" y="262"/>
                </a:lnTo>
                <a:lnTo>
                  <a:pt x="129" y="265"/>
                </a:lnTo>
                <a:lnTo>
                  <a:pt x="129" y="265"/>
                </a:lnTo>
                <a:lnTo>
                  <a:pt x="131" y="263"/>
                </a:lnTo>
                <a:lnTo>
                  <a:pt x="137" y="262"/>
                </a:lnTo>
                <a:lnTo>
                  <a:pt x="137" y="262"/>
                </a:lnTo>
                <a:lnTo>
                  <a:pt x="140" y="267"/>
                </a:lnTo>
                <a:lnTo>
                  <a:pt x="144" y="272"/>
                </a:lnTo>
                <a:lnTo>
                  <a:pt x="138" y="280"/>
                </a:lnTo>
                <a:lnTo>
                  <a:pt x="144" y="287"/>
                </a:lnTo>
                <a:lnTo>
                  <a:pt x="153" y="285"/>
                </a:lnTo>
                <a:lnTo>
                  <a:pt x="171" y="307"/>
                </a:lnTo>
                <a:lnTo>
                  <a:pt x="177" y="302"/>
                </a:lnTo>
                <a:lnTo>
                  <a:pt x="178" y="303"/>
                </a:lnTo>
                <a:lnTo>
                  <a:pt x="184" y="298"/>
                </a:lnTo>
                <a:lnTo>
                  <a:pt x="193" y="309"/>
                </a:lnTo>
                <a:lnTo>
                  <a:pt x="200" y="303"/>
                </a:lnTo>
                <a:lnTo>
                  <a:pt x="207" y="311"/>
                </a:lnTo>
                <a:lnTo>
                  <a:pt x="217" y="305"/>
                </a:lnTo>
                <a:lnTo>
                  <a:pt x="220" y="309"/>
                </a:lnTo>
                <a:lnTo>
                  <a:pt x="224" y="305"/>
                </a:lnTo>
                <a:lnTo>
                  <a:pt x="224" y="305"/>
                </a:lnTo>
                <a:lnTo>
                  <a:pt x="227" y="307"/>
                </a:lnTo>
                <a:lnTo>
                  <a:pt x="235" y="311"/>
                </a:lnTo>
                <a:lnTo>
                  <a:pt x="235" y="311"/>
                </a:lnTo>
                <a:lnTo>
                  <a:pt x="240" y="316"/>
                </a:lnTo>
                <a:lnTo>
                  <a:pt x="249" y="325"/>
                </a:lnTo>
                <a:lnTo>
                  <a:pt x="266" y="336"/>
                </a:lnTo>
                <a:lnTo>
                  <a:pt x="266" y="336"/>
                </a:lnTo>
                <a:lnTo>
                  <a:pt x="269" y="338"/>
                </a:lnTo>
                <a:lnTo>
                  <a:pt x="276" y="338"/>
                </a:lnTo>
                <a:lnTo>
                  <a:pt x="282" y="336"/>
                </a:lnTo>
                <a:lnTo>
                  <a:pt x="282" y="336"/>
                </a:lnTo>
                <a:lnTo>
                  <a:pt x="298" y="329"/>
                </a:lnTo>
                <a:lnTo>
                  <a:pt x="298" y="329"/>
                </a:lnTo>
                <a:lnTo>
                  <a:pt x="298" y="327"/>
                </a:lnTo>
                <a:lnTo>
                  <a:pt x="298" y="327"/>
                </a:lnTo>
                <a:lnTo>
                  <a:pt x="300" y="327"/>
                </a:lnTo>
                <a:lnTo>
                  <a:pt x="302" y="323"/>
                </a:lnTo>
                <a:lnTo>
                  <a:pt x="306" y="316"/>
                </a:lnTo>
                <a:lnTo>
                  <a:pt x="306" y="316"/>
                </a:lnTo>
                <a:lnTo>
                  <a:pt x="309" y="311"/>
                </a:lnTo>
                <a:lnTo>
                  <a:pt x="313" y="309"/>
                </a:lnTo>
                <a:lnTo>
                  <a:pt x="313" y="309"/>
                </a:lnTo>
                <a:lnTo>
                  <a:pt x="313" y="309"/>
                </a:lnTo>
                <a:lnTo>
                  <a:pt x="315" y="309"/>
                </a:lnTo>
                <a:lnTo>
                  <a:pt x="315" y="307"/>
                </a:lnTo>
                <a:lnTo>
                  <a:pt x="315" y="303"/>
                </a:lnTo>
                <a:lnTo>
                  <a:pt x="315" y="302"/>
                </a:lnTo>
                <a:lnTo>
                  <a:pt x="315" y="302"/>
                </a:lnTo>
                <a:lnTo>
                  <a:pt x="324" y="289"/>
                </a:lnTo>
                <a:lnTo>
                  <a:pt x="324" y="289"/>
                </a:lnTo>
                <a:lnTo>
                  <a:pt x="324" y="285"/>
                </a:lnTo>
                <a:lnTo>
                  <a:pt x="324" y="283"/>
                </a:lnTo>
                <a:lnTo>
                  <a:pt x="324" y="276"/>
                </a:lnTo>
                <a:lnTo>
                  <a:pt x="324" y="276"/>
                </a:lnTo>
                <a:lnTo>
                  <a:pt x="326" y="272"/>
                </a:lnTo>
                <a:lnTo>
                  <a:pt x="331" y="269"/>
                </a:lnTo>
                <a:lnTo>
                  <a:pt x="342" y="256"/>
                </a:lnTo>
                <a:lnTo>
                  <a:pt x="342" y="256"/>
                </a:lnTo>
                <a:lnTo>
                  <a:pt x="353" y="249"/>
                </a:lnTo>
                <a:lnTo>
                  <a:pt x="358" y="245"/>
                </a:lnTo>
                <a:lnTo>
                  <a:pt x="362" y="243"/>
                </a:lnTo>
                <a:lnTo>
                  <a:pt x="362" y="243"/>
                </a:lnTo>
                <a:lnTo>
                  <a:pt x="364" y="242"/>
                </a:lnTo>
                <a:lnTo>
                  <a:pt x="367" y="240"/>
                </a:lnTo>
                <a:lnTo>
                  <a:pt x="369" y="238"/>
                </a:lnTo>
                <a:lnTo>
                  <a:pt x="369" y="234"/>
                </a:lnTo>
                <a:lnTo>
                  <a:pt x="369" y="234"/>
                </a:lnTo>
                <a:lnTo>
                  <a:pt x="369" y="225"/>
                </a:lnTo>
                <a:lnTo>
                  <a:pt x="373" y="218"/>
                </a:lnTo>
                <a:lnTo>
                  <a:pt x="373" y="218"/>
                </a:lnTo>
                <a:lnTo>
                  <a:pt x="382" y="211"/>
                </a:lnTo>
                <a:lnTo>
                  <a:pt x="387" y="203"/>
                </a:lnTo>
                <a:lnTo>
                  <a:pt x="387" y="203"/>
                </a:lnTo>
                <a:lnTo>
                  <a:pt x="391" y="203"/>
                </a:lnTo>
                <a:lnTo>
                  <a:pt x="396" y="202"/>
                </a:lnTo>
                <a:lnTo>
                  <a:pt x="405" y="200"/>
                </a:lnTo>
                <a:lnTo>
                  <a:pt x="405" y="200"/>
                </a:lnTo>
                <a:lnTo>
                  <a:pt x="407" y="202"/>
                </a:lnTo>
                <a:lnTo>
                  <a:pt x="409" y="205"/>
                </a:lnTo>
                <a:lnTo>
                  <a:pt x="409" y="209"/>
                </a:lnTo>
                <a:lnTo>
                  <a:pt x="409" y="209"/>
                </a:lnTo>
                <a:lnTo>
                  <a:pt x="411" y="211"/>
                </a:lnTo>
                <a:lnTo>
                  <a:pt x="422" y="207"/>
                </a:lnTo>
                <a:lnTo>
                  <a:pt x="422" y="207"/>
                </a:lnTo>
                <a:lnTo>
                  <a:pt x="451" y="193"/>
                </a:lnTo>
                <a:lnTo>
                  <a:pt x="451" y="193"/>
                </a:lnTo>
                <a:lnTo>
                  <a:pt x="454" y="191"/>
                </a:lnTo>
                <a:lnTo>
                  <a:pt x="458" y="191"/>
                </a:lnTo>
                <a:lnTo>
                  <a:pt x="458" y="191"/>
                </a:lnTo>
                <a:lnTo>
                  <a:pt x="464" y="191"/>
                </a:lnTo>
                <a:lnTo>
                  <a:pt x="467" y="191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lnTo>
                  <a:pt x="474" y="193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7" name="Freeform 77">
            <a:extLst>
              <a:ext uri="{FF2B5EF4-FFF2-40B4-BE49-F238E27FC236}">
                <a16:creationId xmlns:a16="http://schemas.microsoft.com/office/drawing/2014/main" id="{C0AB318A-DEF7-DE4E-8578-E4269CAB9609}"/>
              </a:ext>
            </a:extLst>
          </p:cNvPr>
          <p:cNvSpPr>
            <a:spLocks/>
          </p:cNvSpPr>
          <p:nvPr/>
        </p:nvSpPr>
        <p:spPr bwMode="auto">
          <a:xfrm>
            <a:off x="2851461" y="3304411"/>
            <a:ext cx="941394" cy="1959918"/>
          </a:xfrm>
          <a:custGeom>
            <a:avLst/>
            <a:gdLst>
              <a:gd name="T0" fmla="*/ 78 w 650"/>
              <a:gd name="T1" fmla="*/ 273 h 1370"/>
              <a:gd name="T2" fmla="*/ 73 w 650"/>
              <a:gd name="T3" fmla="*/ 325 h 1370"/>
              <a:gd name="T4" fmla="*/ 33 w 650"/>
              <a:gd name="T5" fmla="*/ 385 h 1370"/>
              <a:gd name="T6" fmla="*/ 78 w 650"/>
              <a:gd name="T7" fmla="*/ 411 h 1370"/>
              <a:gd name="T8" fmla="*/ 71 w 650"/>
              <a:gd name="T9" fmla="*/ 460 h 1370"/>
              <a:gd name="T10" fmla="*/ 53 w 650"/>
              <a:gd name="T11" fmla="*/ 556 h 1370"/>
              <a:gd name="T12" fmla="*/ 69 w 650"/>
              <a:gd name="T13" fmla="*/ 602 h 1370"/>
              <a:gd name="T14" fmla="*/ 89 w 650"/>
              <a:gd name="T15" fmla="*/ 656 h 1370"/>
              <a:gd name="T16" fmla="*/ 71 w 650"/>
              <a:gd name="T17" fmla="*/ 705 h 1370"/>
              <a:gd name="T18" fmla="*/ 46 w 650"/>
              <a:gd name="T19" fmla="*/ 767 h 1370"/>
              <a:gd name="T20" fmla="*/ 49 w 650"/>
              <a:gd name="T21" fmla="*/ 825 h 1370"/>
              <a:gd name="T22" fmla="*/ 0 w 650"/>
              <a:gd name="T23" fmla="*/ 909 h 1370"/>
              <a:gd name="T24" fmla="*/ 104 w 650"/>
              <a:gd name="T25" fmla="*/ 972 h 1370"/>
              <a:gd name="T26" fmla="*/ 95 w 650"/>
              <a:gd name="T27" fmla="*/ 1056 h 1370"/>
              <a:gd name="T28" fmla="*/ 84 w 650"/>
              <a:gd name="T29" fmla="*/ 1116 h 1370"/>
              <a:gd name="T30" fmla="*/ 80 w 650"/>
              <a:gd name="T31" fmla="*/ 1185 h 1370"/>
              <a:gd name="T32" fmla="*/ 136 w 650"/>
              <a:gd name="T33" fmla="*/ 1234 h 1370"/>
              <a:gd name="T34" fmla="*/ 147 w 650"/>
              <a:gd name="T35" fmla="*/ 1281 h 1370"/>
              <a:gd name="T36" fmla="*/ 131 w 650"/>
              <a:gd name="T37" fmla="*/ 1314 h 1370"/>
              <a:gd name="T38" fmla="*/ 107 w 650"/>
              <a:gd name="T39" fmla="*/ 1361 h 1370"/>
              <a:gd name="T40" fmla="*/ 178 w 650"/>
              <a:gd name="T41" fmla="*/ 1366 h 1370"/>
              <a:gd name="T42" fmla="*/ 218 w 650"/>
              <a:gd name="T43" fmla="*/ 1321 h 1370"/>
              <a:gd name="T44" fmla="*/ 262 w 650"/>
              <a:gd name="T45" fmla="*/ 1294 h 1370"/>
              <a:gd name="T46" fmla="*/ 302 w 650"/>
              <a:gd name="T47" fmla="*/ 1288 h 1370"/>
              <a:gd name="T48" fmla="*/ 282 w 650"/>
              <a:gd name="T49" fmla="*/ 1245 h 1370"/>
              <a:gd name="T50" fmla="*/ 312 w 650"/>
              <a:gd name="T51" fmla="*/ 1197 h 1370"/>
              <a:gd name="T52" fmla="*/ 342 w 650"/>
              <a:gd name="T53" fmla="*/ 1134 h 1370"/>
              <a:gd name="T54" fmla="*/ 385 w 650"/>
              <a:gd name="T55" fmla="*/ 1072 h 1370"/>
              <a:gd name="T56" fmla="*/ 418 w 650"/>
              <a:gd name="T57" fmla="*/ 1065 h 1370"/>
              <a:gd name="T58" fmla="*/ 441 w 650"/>
              <a:gd name="T59" fmla="*/ 1059 h 1370"/>
              <a:gd name="T60" fmla="*/ 470 w 650"/>
              <a:gd name="T61" fmla="*/ 1028 h 1370"/>
              <a:gd name="T62" fmla="*/ 500 w 650"/>
              <a:gd name="T63" fmla="*/ 985 h 1370"/>
              <a:gd name="T64" fmla="*/ 558 w 650"/>
              <a:gd name="T65" fmla="*/ 972 h 1370"/>
              <a:gd name="T66" fmla="*/ 572 w 650"/>
              <a:gd name="T67" fmla="*/ 854 h 1370"/>
              <a:gd name="T68" fmla="*/ 594 w 650"/>
              <a:gd name="T69" fmla="*/ 738 h 1370"/>
              <a:gd name="T70" fmla="*/ 623 w 650"/>
              <a:gd name="T71" fmla="*/ 709 h 1370"/>
              <a:gd name="T72" fmla="*/ 559 w 650"/>
              <a:gd name="T73" fmla="*/ 694 h 1370"/>
              <a:gd name="T74" fmla="*/ 572 w 650"/>
              <a:gd name="T75" fmla="*/ 640 h 1370"/>
              <a:gd name="T76" fmla="*/ 552 w 650"/>
              <a:gd name="T77" fmla="*/ 578 h 1370"/>
              <a:gd name="T78" fmla="*/ 545 w 650"/>
              <a:gd name="T79" fmla="*/ 445 h 1370"/>
              <a:gd name="T80" fmla="*/ 590 w 650"/>
              <a:gd name="T81" fmla="*/ 411 h 1370"/>
              <a:gd name="T82" fmla="*/ 610 w 650"/>
              <a:gd name="T83" fmla="*/ 382 h 1370"/>
              <a:gd name="T84" fmla="*/ 636 w 650"/>
              <a:gd name="T85" fmla="*/ 309 h 1370"/>
              <a:gd name="T86" fmla="*/ 607 w 650"/>
              <a:gd name="T87" fmla="*/ 256 h 1370"/>
              <a:gd name="T88" fmla="*/ 603 w 650"/>
              <a:gd name="T89" fmla="*/ 189 h 1370"/>
              <a:gd name="T90" fmla="*/ 599 w 650"/>
              <a:gd name="T91" fmla="*/ 198 h 1370"/>
              <a:gd name="T92" fmla="*/ 538 w 650"/>
              <a:gd name="T93" fmla="*/ 236 h 1370"/>
              <a:gd name="T94" fmla="*/ 543 w 650"/>
              <a:gd name="T95" fmla="*/ 220 h 1370"/>
              <a:gd name="T96" fmla="*/ 599 w 650"/>
              <a:gd name="T97" fmla="*/ 149 h 1370"/>
              <a:gd name="T98" fmla="*/ 614 w 650"/>
              <a:gd name="T99" fmla="*/ 64 h 1370"/>
              <a:gd name="T100" fmla="*/ 532 w 650"/>
              <a:gd name="T101" fmla="*/ 53 h 1370"/>
              <a:gd name="T102" fmla="*/ 518 w 650"/>
              <a:gd name="T103" fmla="*/ 29 h 1370"/>
              <a:gd name="T104" fmla="*/ 480 w 650"/>
              <a:gd name="T105" fmla="*/ 0 h 1370"/>
              <a:gd name="T106" fmla="*/ 445 w 650"/>
              <a:gd name="T107" fmla="*/ 53 h 1370"/>
              <a:gd name="T108" fmla="*/ 418 w 650"/>
              <a:gd name="T109" fmla="*/ 73 h 1370"/>
              <a:gd name="T110" fmla="*/ 334 w 650"/>
              <a:gd name="T111" fmla="*/ 86 h 1370"/>
              <a:gd name="T112" fmla="*/ 254 w 650"/>
              <a:gd name="T113" fmla="*/ 109 h 1370"/>
              <a:gd name="T114" fmla="*/ 214 w 650"/>
              <a:gd name="T115" fmla="*/ 178 h 1370"/>
              <a:gd name="T116" fmla="*/ 115 w 650"/>
              <a:gd name="T117" fmla="*/ 180 h 1370"/>
              <a:gd name="T118" fmla="*/ 115 w 650"/>
              <a:gd name="T119" fmla="*/ 256 h 1370"/>
              <a:gd name="T120" fmla="*/ 107 w 650"/>
              <a:gd name="T121" fmla="*/ 278 h 1370"/>
              <a:gd name="T122" fmla="*/ 62 w 650"/>
              <a:gd name="T123" fmla="*/ 231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50" h="1370">
                <a:moveTo>
                  <a:pt x="64" y="244"/>
                </a:moveTo>
                <a:lnTo>
                  <a:pt x="64" y="244"/>
                </a:lnTo>
                <a:lnTo>
                  <a:pt x="75" y="254"/>
                </a:lnTo>
                <a:lnTo>
                  <a:pt x="80" y="260"/>
                </a:lnTo>
                <a:lnTo>
                  <a:pt x="82" y="264"/>
                </a:lnTo>
                <a:lnTo>
                  <a:pt x="82" y="265"/>
                </a:lnTo>
                <a:lnTo>
                  <a:pt x="82" y="265"/>
                </a:lnTo>
                <a:lnTo>
                  <a:pt x="82" y="267"/>
                </a:lnTo>
                <a:lnTo>
                  <a:pt x="80" y="267"/>
                </a:lnTo>
                <a:lnTo>
                  <a:pt x="78" y="267"/>
                </a:lnTo>
                <a:lnTo>
                  <a:pt x="78" y="273"/>
                </a:lnTo>
                <a:lnTo>
                  <a:pt x="78" y="273"/>
                </a:lnTo>
                <a:lnTo>
                  <a:pt x="78" y="273"/>
                </a:lnTo>
                <a:lnTo>
                  <a:pt x="78" y="274"/>
                </a:lnTo>
                <a:lnTo>
                  <a:pt x="73" y="276"/>
                </a:lnTo>
                <a:lnTo>
                  <a:pt x="64" y="276"/>
                </a:lnTo>
                <a:lnTo>
                  <a:pt x="64" y="276"/>
                </a:lnTo>
                <a:lnTo>
                  <a:pt x="62" y="278"/>
                </a:lnTo>
                <a:lnTo>
                  <a:pt x="58" y="280"/>
                </a:lnTo>
                <a:lnTo>
                  <a:pt x="55" y="284"/>
                </a:lnTo>
                <a:lnTo>
                  <a:pt x="55" y="284"/>
                </a:lnTo>
                <a:lnTo>
                  <a:pt x="67" y="304"/>
                </a:lnTo>
                <a:lnTo>
                  <a:pt x="67" y="304"/>
                </a:lnTo>
                <a:lnTo>
                  <a:pt x="69" y="309"/>
                </a:lnTo>
                <a:lnTo>
                  <a:pt x="71" y="316"/>
                </a:lnTo>
                <a:lnTo>
                  <a:pt x="73" y="325"/>
                </a:lnTo>
                <a:lnTo>
                  <a:pt x="73" y="325"/>
                </a:lnTo>
                <a:lnTo>
                  <a:pt x="69" y="336"/>
                </a:lnTo>
                <a:lnTo>
                  <a:pt x="69" y="340"/>
                </a:lnTo>
                <a:lnTo>
                  <a:pt x="67" y="340"/>
                </a:lnTo>
                <a:lnTo>
                  <a:pt x="65" y="340"/>
                </a:lnTo>
                <a:lnTo>
                  <a:pt x="65" y="340"/>
                </a:lnTo>
                <a:lnTo>
                  <a:pt x="65" y="338"/>
                </a:lnTo>
                <a:lnTo>
                  <a:pt x="62" y="338"/>
                </a:lnTo>
                <a:lnTo>
                  <a:pt x="60" y="340"/>
                </a:lnTo>
                <a:lnTo>
                  <a:pt x="53" y="342"/>
                </a:lnTo>
                <a:lnTo>
                  <a:pt x="53" y="342"/>
                </a:lnTo>
                <a:lnTo>
                  <a:pt x="26" y="362"/>
                </a:lnTo>
                <a:lnTo>
                  <a:pt x="33" y="385"/>
                </a:lnTo>
                <a:lnTo>
                  <a:pt x="33" y="385"/>
                </a:lnTo>
                <a:lnTo>
                  <a:pt x="33" y="387"/>
                </a:lnTo>
                <a:lnTo>
                  <a:pt x="38" y="391"/>
                </a:lnTo>
                <a:lnTo>
                  <a:pt x="42" y="393"/>
                </a:lnTo>
                <a:lnTo>
                  <a:pt x="42" y="393"/>
                </a:lnTo>
                <a:lnTo>
                  <a:pt x="53" y="400"/>
                </a:lnTo>
                <a:lnTo>
                  <a:pt x="58" y="403"/>
                </a:lnTo>
                <a:lnTo>
                  <a:pt x="65" y="403"/>
                </a:lnTo>
                <a:lnTo>
                  <a:pt x="65" y="403"/>
                </a:lnTo>
                <a:lnTo>
                  <a:pt x="69" y="403"/>
                </a:lnTo>
                <a:lnTo>
                  <a:pt x="73" y="407"/>
                </a:lnTo>
                <a:lnTo>
                  <a:pt x="73" y="409"/>
                </a:lnTo>
                <a:lnTo>
                  <a:pt x="78" y="411"/>
                </a:lnTo>
                <a:lnTo>
                  <a:pt x="78" y="411"/>
                </a:lnTo>
                <a:lnTo>
                  <a:pt x="78" y="413"/>
                </a:lnTo>
                <a:lnTo>
                  <a:pt x="80" y="418"/>
                </a:lnTo>
                <a:lnTo>
                  <a:pt x="80" y="425"/>
                </a:lnTo>
                <a:lnTo>
                  <a:pt x="80" y="438"/>
                </a:lnTo>
                <a:lnTo>
                  <a:pt x="80" y="438"/>
                </a:lnTo>
                <a:lnTo>
                  <a:pt x="80" y="442"/>
                </a:lnTo>
                <a:lnTo>
                  <a:pt x="78" y="443"/>
                </a:lnTo>
                <a:lnTo>
                  <a:pt x="75" y="447"/>
                </a:lnTo>
                <a:lnTo>
                  <a:pt x="73" y="453"/>
                </a:lnTo>
                <a:lnTo>
                  <a:pt x="73" y="453"/>
                </a:lnTo>
                <a:lnTo>
                  <a:pt x="73" y="458"/>
                </a:lnTo>
                <a:lnTo>
                  <a:pt x="71" y="460"/>
                </a:lnTo>
                <a:lnTo>
                  <a:pt x="67" y="465"/>
                </a:lnTo>
                <a:lnTo>
                  <a:pt x="62" y="474"/>
                </a:lnTo>
                <a:lnTo>
                  <a:pt x="49" y="473"/>
                </a:lnTo>
                <a:lnTo>
                  <a:pt x="53" y="502"/>
                </a:lnTo>
                <a:lnTo>
                  <a:pt x="46" y="511"/>
                </a:lnTo>
                <a:lnTo>
                  <a:pt x="46" y="511"/>
                </a:lnTo>
                <a:lnTo>
                  <a:pt x="49" y="514"/>
                </a:lnTo>
                <a:lnTo>
                  <a:pt x="51" y="522"/>
                </a:lnTo>
                <a:lnTo>
                  <a:pt x="55" y="527"/>
                </a:lnTo>
                <a:lnTo>
                  <a:pt x="55" y="527"/>
                </a:lnTo>
                <a:lnTo>
                  <a:pt x="60" y="542"/>
                </a:lnTo>
                <a:lnTo>
                  <a:pt x="62" y="547"/>
                </a:lnTo>
                <a:lnTo>
                  <a:pt x="53" y="556"/>
                </a:lnTo>
                <a:lnTo>
                  <a:pt x="62" y="571"/>
                </a:lnTo>
                <a:lnTo>
                  <a:pt x="62" y="571"/>
                </a:lnTo>
                <a:lnTo>
                  <a:pt x="60" y="572"/>
                </a:lnTo>
                <a:lnTo>
                  <a:pt x="60" y="574"/>
                </a:lnTo>
                <a:lnTo>
                  <a:pt x="58" y="576"/>
                </a:lnTo>
                <a:lnTo>
                  <a:pt x="58" y="576"/>
                </a:lnTo>
                <a:lnTo>
                  <a:pt x="55" y="580"/>
                </a:lnTo>
                <a:lnTo>
                  <a:pt x="53" y="587"/>
                </a:lnTo>
                <a:lnTo>
                  <a:pt x="53" y="594"/>
                </a:lnTo>
                <a:lnTo>
                  <a:pt x="53" y="594"/>
                </a:lnTo>
                <a:lnTo>
                  <a:pt x="62" y="596"/>
                </a:lnTo>
                <a:lnTo>
                  <a:pt x="65" y="598"/>
                </a:lnTo>
                <a:lnTo>
                  <a:pt x="69" y="602"/>
                </a:lnTo>
                <a:lnTo>
                  <a:pt x="69" y="602"/>
                </a:lnTo>
                <a:lnTo>
                  <a:pt x="69" y="609"/>
                </a:lnTo>
                <a:lnTo>
                  <a:pt x="71" y="616"/>
                </a:lnTo>
                <a:lnTo>
                  <a:pt x="69" y="622"/>
                </a:lnTo>
                <a:lnTo>
                  <a:pt x="69" y="629"/>
                </a:lnTo>
                <a:lnTo>
                  <a:pt x="69" y="629"/>
                </a:lnTo>
                <a:lnTo>
                  <a:pt x="62" y="643"/>
                </a:lnTo>
                <a:lnTo>
                  <a:pt x="62" y="643"/>
                </a:lnTo>
                <a:lnTo>
                  <a:pt x="73" y="649"/>
                </a:lnTo>
                <a:lnTo>
                  <a:pt x="82" y="652"/>
                </a:lnTo>
                <a:lnTo>
                  <a:pt x="87" y="654"/>
                </a:lnTo>
                <a:lnTo>
                  <a:pt x="87" y="654"/>
                </a:lnTo>
                <a:lnTo>
                  <a:pt x="89" y="656"/>
                </a:lnTo>
                <a:lnTo>
                  <a:pt x="91" y="658"/>
                </a:lnTo>
                <a:lnTo>
                  <a:pt x="93" y="669"/>
                </a:lnTo>
                <a:lnTo>
                  <a:pt x="93" y="669"/>
                </a:lnTo>
                <a:lnTo>
                  <a:pt x="91" y="672"/>
                </a:lnTo>
                <a:lnTo>
                  <a:pt x="89" y="678"/>
                </a:lnTo>
                <a:lnTo>
                  <a:pt x="85" y="691"/>
                </a:lnTo>
                <a:lnTo>
                  <a:pt x="85" y="691"/>
                </a:lnTo>
                <a:lnTo>
                  <a:pt x="84" y="694"/>
                </a:lnTo>
                <a:lnTo>
                  <a:pt x="84" y="696"/>
                </a:lnTo>
                <a:lnTo>
                  <a:pt x="80" y="696"/>
                </a:lnTo>
                <a:lnTo>
                  <a:pt x="78" y="700"/>
                </a:lnTo>
                <a:lnTo>
                  <a:pt x="78" y="700"/>
                </a:lnTo>
                <a:lnTo>
                  <a:pt x="71" y="705"/>
                </a:lnTo>
                <a:lnTo>
                  <a:pt x="65" y="712"/>
                </a:lnTo>
                <a:lnTo>
                  <a:pt x="62" y="720"/>
                </a:lnTo>
                <a:lnTo>
                  <a:pt x="62" y="720"/>
                </a:lnTo>
                <a:lnTo>
                  <a:pt x="65" y="727"/>
                </a:lnTo>
                <a:lnTo>
                  <a:pt x="65" y="727"/>
                </a:lnTo>
                <a:lnTo>
                  <a:pt x="67" y="732"/>
                </a:lnTo>
                <a:lnTo>
                  <a:pt x="67" y="738"/>
                </a:lnTo>
                <a:lnTo>
                  <a:pt x="67" y="741"/>
                </a:lnTo>
                <a:lnTo>
                  <a:pt x="65" y="745"/>
                </a:lnTo>
                <a:lnTo>
                  <a:pt x="65" y="745"/>
                </a:lnTo>
                <a:lnTo>
                  <a:pt x="58" y="758"/>
                </a:lnTo>
                <a:lnTo>
                  <a:pt x="46" y="767"/>
                </a:lnTo>
                <a:lnTo>
                  <a:pt x="46" y="767"/>
                </a:lnTo>
                <a:lnTo>
                  <a:pt x="38" y="774"/>
                </a:lnTo>
                <a:lnTo>
                  <a:pt x="36" y="778"/>
                </a:lnTo>
                <a:lnTo>
                  <a:pt x="31" y="783"/>
                </a:lnTo>
                <a:lnTo>
                  <a:pt x="31" y="783"/>
                </a:lnTo>
                <a:lnTo>
                  <a:pt x="29" y="787"/>
                </a:lnTo>
                <a:lnTo>
                  <a:pt x="29" y="787"/>
                </a:lnTo>
                <a:lnTo>
                  <a:pt x="27" y="794"/>
                </a:lnTo>
                <a:lnTo>
                  <a:pt x="26" y="800"/>
                </a:lnTo>
                <a:lnTo>
                  <a:pt x="27" y="807"/>
                </a:lnTo>
                <a:lnTo>
                  <a:pt x="27" y="807"/>
                </a:lnTo>
                <a:lnTo>
                  <a:pt x="29" y="812"/>
                </a:lnTo>
                <a:lnTo>
                  <a:pt x="38" y="816"/>
                </a:lnTo>
                <a:lnTo>
                  <a:pt x="49" y="825"/>
                </a:lnTo>
                <a:lnTo>
                  <a:pt x="49" y="825"/>
                </a:lnTo>
                <a:lnTo>
                  <a:pt x="55" y="829"/>
                </a:lnTo>
                <a:lnTo>
                  <a:pt x="58" y="830"/>
                </a:lnTo>
                <a:lnTo>
                  <a:pt x="58" y="830"/>
                </a:lnTo>
                <a:lnTo>
                  <a:pt x="58" y="834"/>
                </a:lnTo>
                <a:lnTo>
                  <a:pt x="53" y="836"/>
                </a:lnTo>
                <a:lnTo>
                  <a:pt x="47" y="838"/>
                </a:lnTo>
                <a:lnTo>
                  <a:pt x="47" y="843"/>
                </a:lnTo>
                <a:lnTo>
                  <a:pt x="0" y="856"/>
                </a:lnTo>
                <a:lnTo>
                  <a:pt x="7" y="856"/>
                </a:lnTo>
                <a:lnTo>
                  <a:pt x="11" y="889"/>
                </a:lnTo>
                <a:lnTo>
                  <a:pt x="0" y="909"/>
                </a:lnTo>
                <a:lnTo>
                  <a:pt x="0" y="909"/>
                </a:lnTo>
                <a:lnTo>
                  <a:pt x="9" y="909"/>
                </a:lnTo>
                <a:lnTo>
                  <a:pt x="18" y="912"/>
                </a:lnTo>
                <a:lnTo>
                  <a:pt x="26" y="912"/>
                </a:lnTo>
                <a:lnTo>
                  <a:pt x="26" y="912"/>
                </a:lnTo>
                <a:lnTo>
                  <a:pt x="36" y="912"/>
                </a:lnTo>
                <a:lnTo>
                  <a:pt x="49" y="918"/>
                </a:lnTo>
                <a:lnTo>
                  <a:pt x="65" y="921"/>
                </a:lnTo>
                <a:lnTo>
                  <a:pt x="69" y="930"/>
                </a:lnTo>
                <a:lnTo>
                  <a:pt x="78" y="939"/>
                </a:lnTo>
                <a:lnTo>
                  <a:pt x="80" y="956"/>
                </a:lnTo>
                <a:lnTo>
                  <a:pt x="102" y="959"/>
                </a:lnTo>
                <a:lnTo>
                  <a:pt x="104" y="972"/>
                </a:lnTo>
                <a:lnTo>
                  <a:pt x="104" y="972"/>
                </a:lnTo>
                <a:lnTo>
                  <a:pt x="87" y="983"/>
                </a:lnTo>
                <a:lnTo>
                  <a:pt x="78" y="992"/>
                </a:lnTo>
                <a:lnTo>
                  <a:pt x="75" y="996"/>
                </a:lnTo>
                <a:lnTo>
                  <a:pt x="75" y="998"/>
                </a:lnTo>
                <a:lnTo>
                  <a:pt x="75" y="998"/>
                </a:lnTo>
                <a:lnTo>
                  <a:pt x="78" y="1005"/>
                </a:lnTo>
                <a:lnTo>
                  <a:pt x="78" y="1010"/>
                </a:lnTo>
                <a:lnTo>
                  <a:pt x="75" y="1018"/>
                </a:lnTo>
                <a:lnTo>
                  <a:pt x="95" y="1028"/>
                </a:lnTo>
                <a:lnTo>
                  <a:pt x="109" y="1032"/>
                </a:lnTo>
                <a:lnTo>
                  <a:pt x="107" y="1052"/>
                </a:lnTo>
                <a:lnTo>
                  <a:pt x="102" y="1052"/>
                </a:lnTo>
                <a:lnTo>
                  <a:pt x="95" y="1056"/>
                </a:lnTo>
                <a:lnTo>
                  <a:pt x="89" y="1063"/>
                </a:lnTo>
                <a:lnTo>
                  <a:pt x="82" y="1074"/>
                </a:lnTo>
                <a:lnTo>
                  <a:pt x="84" y="1083"/>
                </a:lnTo>
                <a:lnTo>
                  <a:pt x="80" y="1088"/>
                </a:lnTo>
                <a:lnTo>
                  <a:pt x="80" y="1090"/>
                </a:lnTo>
                <a:lnTo>
                  <a:pt x="80" y="1096"/>
                </a:lnTo>
                <a:lnTo>
                  <a:pt x="73" y="1099"/>
                </a:lnTo>
                <a:lnTo>
                  <a:pt x="73" y="1099"/>
                </a:lnTo>
                <a:lnTo>
                  <a:pt x="78" y="1107"/>
                </a:lnTo>
                <a:lnTo>
                  <a:pt x="80" y="1112"/>
                </a:lnTo>
                <a:lnTo>
                  <a:pt x="82" y="1114"/>
                </a:lnTo>
                <a:lnTo>
                  <a:pt x="82" y="1114"/>
                </a:lnTo>
                <a:lnTo>
                  <a:pt x="84" y="1116"/>
                </a:lnTo>
                <a:lnTo>
                  <a:pt x="85" y="1118"/>
                </a:lnTo>
                <a:lnTo>
                  <a:pt x="87" y="1125"/>
                </a:lnTo>
                <a:lnTo>
                  <a:pt x="89" y="1127"/>
                </a:lnTo>
                <a:lnTo>
                  <a:pt x="89" y="1127"/>
                </a:lnTo>
                <a:lnTo>
                  <a:pt x="93" y="1148"/>
                </a:lnTo>
                <a:lnTo>
                  <a:pt x="93" y="1148"/>
                </a:lnTo>
                <a:lnTo>
                  <a:pt x="84" y="1154"/>
                </a:lnTo>
                <a:lnTo>
                  <a:pt x="73" y="1157"/>
                </a:lnTo>
                <a:lnTo>
                  <a:pt x="69" y="1161"/>
                </a:lnTo>
                <a:lnTo>
                  <a:pt x="69" y="1161"/>
                </a:lnTo>
                <a:lnTo>
                  <a:pt x="67" y="1163"/>
                </a:lnTo>
                <a:lnTo>
                  <a:pt x="78" y="1176"/>
                </a:lnTo>
                <a:lnTo>
                  <a:pt x="80" y="1185"/>
                </a:lnTo>
                <a:lnTo>
                  <a:pt x="91" y="1188"/>
                </a:lnTo>
                <a:lnTo>
                  <a:pt x="105" y="1188"/>
                </a:lnTo>
                <a:lnTo>
                  <a:pt x="120" y="1194"/>
                </a:lnTo>
                <a:lnTo>
                  <a:pt x="129" y="1203"/>
                </a:lnTo>
                <a:lnTo>
                  <a:pt x="129" y="1203"/>
                </a:lnTo>
                <a:lnTo>
                  <a:pt x="127" y="1210"/>
                </a:lnTo>
                <a:lnTo>
                  <a:pt x="127" y="1216"/>
                </a:lnTo>
                <a:lnTo>
                  <a:pt x="127" y="1217"/>
                </a:lnTo>
                <a:lnTo>
                  <a:pt x="127" y="1217"/>
                </a:lnTo>
                <a:lnTo>
                  <a:pt x="127" y="1217"/>
                </a:lnTo>
                <a:lnTo>
                  <a:pt x="133" y="1223"/>
                </a:lnTo>
                <a:lnTo>
                  <a:pt x="135" y="1227"/>
                </a:lnTo>
                <a:lnTo>
                  <a:pt x="136" y="1234"/>
                </a:lnTo>
                <a:lnTo>
                  <a:pt x="136" y="1234"/>
                </a:lnTo>
                <a:lnTo>
                  <a:pt x="136" y="1239"/>
                </a:lnTo>
                <a:lnTo>
                  <a:pt x="140" y="1245"/>
                </a:lnTo>
                <a:lnTo>
                  <a:pt x="140" y="1245"/>
                </a:lnTo>
                <a:lnTo>
                  <a:pt x="142" y="1247"/>
                </a:lnTo>
                <a:lnTo>
                  <a:pt x="140" y="1252"/>
                </a:lnTo>
                <a:lnTo>
                  <a:pt x="140" y="1256"/>
                </a:lnTo>
                <a:lnTo>
                  <a:pt x="140" y="1259"/>
                </a:lnTo>
                <a:lnTo>
                  <a:pt x="140" y="1259"/>
                </a:lnTo>
                <a:lnTo>
                  <a:pt x="144" y="1272"/>
                </a:lnTo>
                <a:lnTo>
                  <a:pt x="145" y="1277"/>
                </a:lnTo>
                <a:lnTo>
                  <a:pt x="147" y="1281"/>
                </a:lnTo>
                <a:lnTo>
                  <a:pt x="147" y="1281"/>
                </a:lnTo>
                <a:lnTo>
                  <a:pt x="149" y="1285"/>
                </a:lnTo>
                <a:lnTo>
                  <a:pt x="151" y="1287"/>
                </a:lnTo>
                <a:lnTo>
                  <a:pt x="151" y="1288"/>
                </a:lnTo>
                <a:lnTo>
                  <a:pt x="149" y="1294"/>
                </a:lnTo>
                <a:lnTo>
                  <a:pt x="149" y="1294"/>
                </a:lnTo>
                <a:lnTo>
                  <a:pt x="145" y="1296"/>
                </a:lnTo>
                <a:lnTo>
                  <a:pt x="142" y="1297"/>
                </a:lnTo>
                <a:lnTo>
                  <a:pt x="140" y="1297"/>
                </a:lnTo>
                <a:lnTo>
                  <a:pt x="135" y="1301"/>
                </a:lnTo>
                <a:lnTo>
                  <a:pt x="135" y="1301"/>
                </a:lnTo>
                <a:lnTo>
                  <a:pt x="133" y="1308"/>
                </a:lnTo>
                <a:lnTo>
                  <a:pt x="131" y="1314"/>
                </a:lnTo>
                <a:lnTo>
                  <a:pt x="131" y="1314"/>
                </a:lnTo>
                <a:lnTo>
                  <a:pt x="122" y="1319"/>
                </a:lnTo>
                <a:lnTo>
                  <a:pt x="115" y="1325"/>
                </a:lnTo>
                <a:lnTo>
                  <a:pt x="109" y="1328"/>
                </a:lnTo>
                <a:lnTo>
                  <a:pt x="109" y="1328"/>
                </a:lnTo>
                <a:lnTo>
                  <a:pt x="104" y="1336"/>
                </a:lnTo>
                <a:lnTo>
                  <a:pt x="100" y="1339"/>
                </a:lnTo>
                <a:lnTo>
                  <a:pt x="102" y="1343"/>
                </a:lnTo>
                <a:lnTo>
                  <a:pt x="102" y="1343"/>
                </a:lnTo>
                <a:lnTo>
                  <a:pt x="104" y="1350"/>
                </a:lnTo>
                <a:lnTo>
                  <a:pt x="104" y="1359"/>
                </a:lnTo>
                <a:lnTo>
                  <a:pt x="105" y="1359"/>
                </a:lnTo>
                <a:lnTo>
                  <a:pt x="107" y="1361"/>
                </a:lnTo>
                <a:lnTo>
                  <a:pt x="107" y="1361"/>
                </a:lnTo>
                <a:lnTo>
                  <a:pt x="122" y="1361"/>
                </a:lnTo>
                <a:lnTo>
                  <a:pt x="122" y="1361"/>
                </a:lnTo>
                <a:lnTo>
                  <a:pt x="131" y="1363"/>
                </a:lnTo>
                <a:lnTo>
                  <a:pt x="133" y="1363"/>
                </a:lnTo>
                <a:lnTo>
                  <a:pt x="136" y="1363"/>
                </a:lnTo>
                <a:lnTo>
                  <a:pt x="136" y="1363"/>
                </a:lnTo>
                <a:lnTo>
                  <a:pt x="147" y="1368"/>
                </a:lnTo>
                <a:lnTo>
                  <a:pt x="151" y="1370"/>
                </a:lnTo>
                <a:lnTo>
                  <a:pt x="156" y="1370"/>
                </a:lnTo>
                <a:lnTo>
                  <a:pt x="156" y="1370"/>
                </a:lnTo>
                <a:lnTo>
                  <a:pt x="171" y="1368"/>
                </a:lnTo>
                <a:lnTo>
                  <a:pt x="176" y="1366"/>
                </a:lnTo>
                <a:lnTo>
                  <a:pt x="178" y="1366"/>
                </a:lnTo>
                <a:lnTo>
                  <a:pt x="182" y="1365"/>
                </a:lnTo>
                <a:lnTo>
                  <a:pt x="182" y="1365"/>
                </a:lnTo>
                <a:lnTo>
                  <a:pt x="185" y="1361"/>
                </a:lnTo>
                <a:lnTo>
                  <a:pt x="193" y="1357"/>
                </a:lnTo>
                <a:lnTo>
                  <a:pt x="198" y="1352"/>
                </a:lnTo>
                <a:lnTo>
                  <a:pt x="204" y="1346"/>
                </a:lnTo>
                <a:lnTo>
                  <a:pt x="204" y="1346"/>
                </a:lnTo>
                <a:lnTo>
                  <a:pt x="207" y="1341"/>
                </a:lnTo>
                <a:lnTo>
                  <a:pt x="211" y="1330"/>
                </a:lnTo>
                <a:lnTo>
                  <a:pt x="214" y="1325"/>
                </a:lnTo>
                <a:lnTo>
                  <a:pt x="216" y="1321"/>
                </a:lnTo>
                <a:lnTo>
                  <a:pt x="218" y="1321"/>
                </a:lnTo>
                <a:lnTo>
                  <a:pt x="218" y="1321"/>
                </a:lnTo>
                <a:lnTo>
                  <a:pt x="227" y="1319"/>
                </a:lnTo>
                <a:lnTo>
                  <a:pt x="229" y="1317"/>
                </a:lnTo>
                <a:lnTo>
                  <a:pt x="233" y="1317"/>
                </a:lnTo>
                <a:lnTo>
                  <a:pt x="233" y="1314"/>
                </a:lnTo>
                <a:lnTo>
                  <a:pt x="233" y="1314"/>
                </a:lnTo>
                <a:lnTo>
                  <a:pt x="236" y="1301"/>
                </a:lnTo>
                <a:lnTo>
                  <a:pt x="236" y="1297"/>
                </a:lnTo>
                <a:lnTo>
                  <a:pt x="238" y="1297"/>
                </a:lnTo>
                <a:lnTo>
                  <a:pt x="240" y="1296"/>
                </a:lnTo>
                <a:lnTo>
                  <a:pt x="240" y="1296"/>
                </a:lnTo>
                <a:lnTo>
                  <a:pt x="251" y="1294"/>
                </a:lnTo>
                <a:lnTo>
                  <a:pt x="262" y="1294"/>
                </a:lnTo>
                <a:lnTo>
                  <a:pt x="262" y="1294"/>
                </a:lnTo>
                <a:lnTo>
                  <a:pt x="267" y="1294"/>
                </a:lnTo>
                <a:lnTo>
                  <a:pt x="271" y="1294"/>
                </a:lnTo>
                <a:lnTo>
                  <a:pt x="274" y="1292"/>
                </a:lnTo>
                <a:lnTo>
                  <a:pt x="278" y="1292"/>
                </a:lnTo>
                <a:lnTo>
                  <a:pt x="278" y="1292"/>
                </a:lnTo>
                <a:lnTo>
                  <a:pt x="282" y="1288"/>
                </a:lnTo>
                <a:lnTo>
                  <a:pt x="287" y="1288"/>
                </a:lnTo>
                <a:lnTo>
                  <a:pt x="291" y="1288"/>
                </a:lnTo>
                <a:lnTo>
                  <a:pt x="294" y="1288"/>
                </a:lnTo>
                <a:lnTo>
                  <a:pt x="294" y="1288"/>
                </a:lnTo>
                <a:lnTo>
                  <a:pt x="298" y="1288"/>
                </a:lnTo>
                <a:lnTo>
                  <a:pt x="298" y="1288"/>
                </a:lnTo>
                <a:lnTo>
                  <a:pt x="302" y="1288"/>
                </a:lnTo>
                <a:lnTo>
                  <a:pt x="302" y="1285"/>
                </a:lnTo>
                <a:lnTo>
                  <a:pt x="303" y="1283"/>
                </a:lnTo>
                <a:lnTo>
                  <a:pt x="303" y="1283"/>
                </a:lnTo>
                <a:lnTo>
                  <a:pt x="300" y="1279"/>
                </a:lnTo>
                <a:lnTo>
                  <a:pt x="296" y="1277"/>
                </a:lnTo>
                <a:lnTo>
                  <a:pt x="296" y="1277"/>
                </a:lnTo>
                <a:lnTo>
                  <a:pt x="293" y="1274"/>
                </a:lnTo>
                <a:lnTo>
                  <a:pt x="289" y="1272"/>
                </a:lnTo>
                <a:lnTo>
                  <a:pt x="287" y="1265"/>
                </a:lnTo>
                <a:lnTo>
                  <a:pt x="283" y="1261"/>
                </a:lnTo>
                <a:lnTo>
                  <a:pt x="282" y="1252"/>
                </a:lnTo>
                <a:lnTo>
                  <a:pt x="282" y="1245"/>
                </a:lnTo>
                <a:lnTo>
                  <a:pt x="282" y="1245"/>
                </a:lnTo>
                <a:lnTo>
                  <a:pt x="282" y="1243"/>
                </a:lnTo>
                <a:lnTo>
                  <a:pt x="283" y="1241"/>
                </a:lnTo>
                <a:lnTo>
                  <a:pt x="289" y="1239"/>
                </a:lnTo>
                <a:lnTo>
                  <a:pt x="294" y="1236"/>
                </a:lnTo>
                <a:lnTo>
                  <a:pt x="298" y="1234"/>
                </a:lnTo>
                <a:lnTo>
                  <a:pt x="298" y="1234"/>
                </a:lnTo>
                <a:lnTo>
                  <a:pt x="302" y="1227"/>
                </a:lnTo>
                <a:lnTo>
                  <a:pt x="307" y="1223"/>
                </a:lnTo>
                <a:lnTo>
                  <a:pt x="309" y="1216"/>
                </a:lnTo>
                <a:lnTo>
                  <a:pt x="309" y="1208"/>
                </a:lnTo>
                <a:lnTo>
                  <a:pt x="309" y="1208"/>
                </a:lnTo>
                <a:lnTo>
                  <a:pt x="311" y="1201"/>
                </a:lnTo>
                <a:lnTo>
                  <a:pt x="312" y="1197"/>
                </a:lnTo>
                <a:lnTo>
                  <a:pt x="316" y="1190"/>
                </a:lnTo>
                <a:lnTo>
                  <a:pt x="316" y="1179"/>
                </a:lnTo>
                <a:lnTo>
                  <a:pt x="316" y="1179"/>
                </a:lnTo>
                <a:lnTo>
                  <a:pt x="318" y="1174"/>
                </a:lnTo>
                <a:lnTo>
                  <a:pt x="318" y="1172"/>
                </a:lnTo>
                <a:lnTo>
                  <a:pt x="322" y="1170"/>
                </a:lnTo>
                <a:lnTo>
                  <a:pt x="323" y="1167"/>
                </a:lnTo>
                <a:lnTo>
                  <a:pt x="325" y="1163"/>
                </a:lnTo>
                <a:lnTo>
                  <a:pt x="329" y="1159"/>
                </a:lnTo>
                <a:lnTo>
                  <a:pt x="329" y="1159"/>
                </a:lnTo>
                <a:lnTo>
                  <a:pt x="332" y="1150"/>
                </a:lnTo>
                <a:lnTo>
                  <a:pt x="336" y="1141"/>
                </a:lnTo>
                <a:lnTo>
                  <a:pt x="342" y="1134"/>
                </a:lnTo>
                <a:lnTo>
                  <a:pt x="345" y="1125"/>
                </a:lnTo>
                <a:lnTo>
                  <a:pt x="345" y="1125"/>
                </a:lnTo>
                <a:lnTo>
                  <a:pt x="349" y="1119"/>
                </a:lnTo>
                <a:lnTo>
                  <a:pt x="345" y="1116"/>
                </a:lnTo>
                <a:lnTo>
                  <a:pt x="343" y="1112"/>
                </a:lnTo>
                <a:lnTo>
                  <a:pt x="342" y="1110"/>
                </a:lnTo>
                <a:lnTo>
                  <a:pt x="336" y="1107"/>
                </a:lnTo>
                <a:lnTo>
                  <a:pt x="332" y="1105"/>
                </a:lnTo>
                <a:lnTo>
                  <a:pt x="356" y="1065"/>
                </a:lnTo>
                <a:lnTo>
                  <a:pt x="356" y="1065"/>
                </a:lnTo>
                <a:lnTo>
                  <a:pt x="367" y="1068"/>
                </a:lnTo>
                <a:lnTo>
                  <a:pt x="378" y="1070"/>
                </a:lnTo>
                <a:lnTo>
                  <a:pt x="385" y="1072"/>
                </a:lnTo>
                <a:lnTo>
                  <a:pt x="385" y="1072"/>
                </a:lnTo>
                <a:lnTo>
                  <a:pt x="387" y="1070"/>
                </a:lnTo>
                <a:lnTo>
                  <a:pt x="392" y="1068"/>
                </a:lnTo>
                <a:lnTo>
                  <a:pt x="398" y="1059"/>
                </a:lnTo>
                <a:lnTo>
                  <a:pt x="405" y="1052"/>
                </a:lnTo>
                <a:lnTo>
                  <a:pt x="409" y="1052"/>
                </a:lnTo>
                <a:lnTo>
                  <a:pt x="414" y="1052"/>
                </a:lnTo>
                <a:lnTo>
                  <a:pt x="414" y="1052"/>
                </a:lnTo>
                <a:lnTo>
                  <a:pt x="416" y="1052"/>
                </a:lnTo>
                <a:lnTo>
                  <a:pt x="418" y="1052"/>
                </a:lnTo>
                <a:lnTo>
                  <a:pt x="418" y="1056"/>
                </a:lnTo>
                <a:lnTo>
                  <a:pt x="418" y="1059"/>
                </a:lnTo>
                <a:lnTo>
                  <a:pt x="418" y="1065"/>
                </a:lnTo>
                <a:lnTo>
                  <a:pt x="418" y="1067"/>
                </a:lnTo>
                <a:lnTo>
                  <a:pt x="418" y="1067"/>
                </a:lnTo>
                <a:lnTo>
                  <a:pt x="427" y="1076"/>
                </a:lnTo>
                <a:lnTo>
                  <a:pt x="434" y="1079"/>
                </a:lnTo>
                <a:lnTo>
                  <a:pt x="440" y="1085"/>
                </a:lnTo>
                <a:lnTo>
                  <a:pt x="440" y="1085"/>
                </a:lnTo>
                <a:lnTo>
                  <a:pt x="441" y="1085"/>
                </a:lnTo>
                <a:lnTo>
                  <a:pt x="441" y="1085"/>
                </a:lnTo>
                <a:lnTo>
                  <a:pt x="441" y="1079"/>
                </a:lnTo>
                <a:lnTo>
                  <a:pt x="440" y="1068"/>
                </a:lnTo>
                <a:lnTo>
                  <a:pt x="440" y="1068"/>
                </a:lnTo>
                <a:lnTo>
                  <a:pt x="440" y="1063"/>
                </a:lnTo>
                <a:lnTo>
                  <a:pt x="441" y="1059"/>
                </a:lnTo>
                <a:lnTo>
                  <a:pt x="445" y="1056"/>
                </a:lnTo>
                <a:lnTo>
                  <a:pt x="447" y="1052"/>
                </a:lnTo>
                <a:lnTo>
                  <a:pt x="447" y="1052"/>
                </a:lnTo>
                <a:lnTo>
                  <a:pt x="449" y="1052"/>
                </a:lnTo>
                <a:lnTo>
                  <a:pt x="452" y="1048"/>
                </a:lnTo>
                <a:lnTo>
                  <a:pt x="456" y="1045"/>
                </a:lnTo>
                <a:lnTo>
                  <a:pt x="456" y="1045"/>
                </a:lnTo>
                <a:lnTo>
                  <a:pt x="460" y="1039"/>
                </a:lnTo>
                <a:lnTo>
                  <a:pt x="463" y="1036"/>
                </a:lnTo>
                <a:lnTo>
                  <a:pt x="465" y="1032"/>
                </a:lnTo>
                <a:lnTo>
                  <a:pt x="467" y="1028"/>
                </a:lnTo>
                <a:lnTo>
                  <a:pt x="467" y="1028"/>
                </a:lnTo>
                <a:lnTo>
                  <a:pt x="470" y="1028"/>
                </a:lnTo>
                <a:lnTo>
                  <a:pt x="476" y="1025"/>
                </a:lnTo>
                <a:lnTo>
                  <a:pt x="478" y="1021"/>
                </a:lnTo>
                <a:lnTo>
                  <a:pt x="483" y="1016"/>
                </a:lnTo>
                <a:lnTo>
                  <a:pt x="483" y="1016"/>
                </a:lnTo>
                <a:lnTo>
                  <a:pt x="485" y="1014"/>
                </a:lnTo>
                <a:lnTo>
                  <a:pt x="487" y="1012"/>
                </a:lnTo>
                <a:lnTo>
                  <a:pt x="487" y="1007"/>
                </a:lnTo>
                <a:lnTo>
                  <a:pt x="485" y="1003"/>
                </a:lnTo>
                <a:lnTo>
                  <a:pt x="485" y="998"/>
                </a:lnTo>
                <a:lnTo>
                  <a:pt x="485" y="998"/>
                </a:lnTo>
                <a:lnTo>
                  <a:pt x="487" y="994"/>
                </a:lnTo>
                <a:lnTo>
                  <a:pt x="490" y="990"/>
                </a:lnTo>
                <a:lnTo>
                  <a:pt x="500" y="985"/>
                </a:lnTo>
                <a:lnTo>
                  <a:pt x="518" y="1005"/>
                </a:lnTo>
                <a:lnTo>
                  <a:pt x="518" y="1005"/>
                </a:lnTo>
                <a:lnTo>
                  <a:pt x="527" y="1010"/>
                </a:lnTo>
                <a:lnTo>
                  <a:pt x="536" y="1014"/>
                </a:lnTo>
                <a:lnTo>
                  <a:pt x="540" y="1018"/>
                </a:lnTo>
                <a:lnTo>
                  <a:pt x="540" y="1018"/>
                </a:lnTo>
                <a:lnTo>
                  <a:pt x="541" y="1021"/>
                </a:lnTo>
                <a:lnTo>
                  <a:pt x="543" y="1021"/>
                </a:lnTo>
                <a:lnTo>
                  <a:pt x="549" y="1018"/>
                </a:lnTo>
                <a:lnTo>
                  <a:pt x="554" y="1012"/>
                </a:lnTo>
                <a:lnTo>
                  <a:pt x="563" y="996"/>
                </a:lnTo>
                <a:lnTo>
                  <a:pt x="569" y="983"/>
                </a:lnTo>
                <a:lnTo>
                  <a:pt x="558" y="972"/>
                </a:lnTo>
                <a:lnTo>
                  <a:pt x="554" y="956"/>
                </a:lnTo>
                <a:lnTo>
                  <a:pt x="569" y="950"/>
                </a:lnTo>
                <a:lnTo>
                  <a:pt x="569" y="930"/>
                </a:lnTo>
                <a:lnTo>
                  <a:pt x="569" y="930"/>
                </a:lnTo>
                <a:lnTo>
                  <a:pt x="559" y="930"/>
                </a:lnTo>
                <a:lnTo>
                  <a:pt x="552" y="929"/>
                </a:lnTo>
                <a:lnTo>
                  <a:pt x="549" y="927"/>
                </a:lnTo>
                <a:lnTo>
                  <a:pt x="549" y="927"/>
                </a:lnTo>
                <a:lnTo>
                  <a:pt x="545" y="921"/>
                </a:lnTo>
                <a:lnTo>
                  <a:pt x="541" y="910"/>
                </a:lnTo>
                <a:lnTo>
                  <a:pt x="538" y="898"/>
                </a:lnTo>
                <a:lnTo>
                  <a:pt x="549" y="872"/>
                </a:lnTo>
                <a:lnTo>
                  <a:pt x="572" y="854"/>
                </a:lnTo>
                <a:lnTo>
                  <a:pt x="572" y="847"/>
                </a:lnTo>
                <a:lnTo>
                  <a:pt x="583" y="836"/>
                </a:lnTo>
                <a:lnTo>
                  <a:pt x="583" y="820"/>
                </a:lnTo>
                <a:lnTo>
                  <a:pt x="583" y="820"/>
                </a:lnTo>
                <a:lnTo>
                  <a:pt x="590" y="803"/>
                </a:lnTo>
                <a:lnTo>
                  <a:pt x="590" y="803"/>
                </a:lnTo>
                <a:lnTo>
                  <a:pt x="587" y="800"/>
                </a:lnTo>
                <a:lnTo>
                  <a:pt x="583" y="794"/>
                </a:lnTo>
                <a:lnTo>
                  <a:pt x="574" y="781"/>
                </a:lnTo>
                <a:lnTo>
                  <a:pt x="581" y="774"/>
                </a:lnTo>
                <a:lnTo>
                  <a:pt x="581" y="754"/>
                </a:lnTo>
                <a:lnTo>
                  <a:pt x="583" y="734"/>
                </a:lnTo>
                <a:lnTo>
                  <a:pt x="594" y="738"/>
                </a:lnTo>
                <a:lnTo>
                  <a:pt x="594" y="738"/>
                </a:lnTo>
                <a:lnTo>
                  <a:pt x="603" y="731"/>
                </a:lnTo>
                <a:lnTo>
                  <a:pt x="609" y="725"/>
                </a:lnTo>
                <a:lnTo>
                  <a:pt x="614" y="721"/>
                </a:lnTo>
                <a:lnTo>
                  <a:pt x="619" y="721"/>
                </a:lnTo>
                <a:lnTo>
                  <a:pt x="619" y="721"/>
                </a:lnTo>
                <a:lnTo>
                  <a:pt x="621" y="720"/>
                </a:lnTo>
                <a:lnTo>
                  <a:pt x="623" y="718"/>
                </a:lnTo>
                <a:lnTo>
                  <a:pt x="623" y="714"/>
                </a:lnTo>
                <a:lnTo>
                  <a:pt x="623" y="711"/>
                </a:lnTo>
                <a:lnTo>
                  <a:pt x="623" y="711"/>
                </a:lnTo>
                <a:lnTo>
                  <a:pt x="623" y="709"/>
                </a:lnTo>
                <a:lnTo>
                  <a:pt x="623" y="709"/>
                </a:lnTo>
                <a:lnTo>
                  <a:pt x="610" y="709"/>
                </a:lnTo>
                <a:lnTo>
                  <a:pt x="601" y="709"/>
                </a:lnTo>
                <a:lnTo>
                  <a:pt x="590" y="709"/>
                </a:lnTo>
                <a:lnTo>
                  <a:pt x="590" y="709"/>
                </a:lnTo>
                <a:lnTo>
                  <a:pt x="585" y="705"/>
                </a:lnTo>
                <a:lnTo>
                  <a:pt x="579" y="705"/>
                </a:lnTo>
                <a:lnTo>
                  <a:pt x="572" y="705"/>
                </a:lnTo>
                <a:lnTo>
                  <a:pt x="569" y="703"/>
                </a:lnTo>
                <a:lnTo>
                  <a:pt x="569" y="703"/>
                </a:lnTo>
                <a:lnTo>
                  <a:pt x="563" y="703"/>
                </a:lnTo>
                <a:lnTo>
                  <a:pt x="559" y="700"/>
                </a:lnTo>
                <a:lnTo>
                  <a:pt x="559" y="698"/>
                </a:lnTo>
                <a:lnTo>
                  <a:pt x="559" y="694"/>
                </a:lnTo>
                <a:lnTo>
                  <a:pt x="559" y="694"/>
                </a:lnTo>
                <a:lnTo>
                  <a:pt x="561" y="680"/>
                </a:lnTo>
                <a:lnTo>
                  <a:pt x="561" y="674"/>
                </a:lnTo>
                <a:lnTo>
                  <a:pt x="565" y="669"/>
                </a:lnTo>
                <a:lnTo>
                  <a:pt x="565" y="669"/>
                </a:lnTo>
                <a:lnTo>
                  <a:pt x="569" y="660"/>
                </a:lnTo>
                <a:lnTo>
                  <a:pt x="574" y="656"/>
                </a:lnTo>
                <a:lnTo>
                  <a:pt x="579" y="651"/>
                </a:lnTo>
                <a:lnTo>
                  <a:pt x="579" y="649"/>
                </a:lnTo>
                <a:lnTo>
                  <a:pt x="579" y="649"/>
                </a:lnTo>
                <a:lnTo>
                  <a:pt x="579" y="649"/>
                </a:lnTo>
                <a:lnTo>
                  <a:pt x="574" y="643"/>
                </a:lnTo>
                <a:lnTo>
                  <a:pt x="572" y="640"/>
                </a:lnTo>
                <a:lnTo>
                  <a:pt x="569" y="636"/>
                </a:lnTo>
                <a:lnTo>
                  <a:pt x="569" y="631"/>
                </a:lnTo>
                <a:lnTo>
                  <a:pt x="569" y="631"/>
                </a:lnTo>
                <a:lnTo>
                  <a:pt x="567" y="620"/>
                </a:lnTo>
                <a:lnTo>
                  <a:pt x="567" y="616"/>
                </a:lnTo>
                <a:lnTo>
                  <a:pt x="565" y="614"/>
                </a:lnTo>
                <a:lnTo>
                  <a:pt x="565" y="614"/>
                </a:lnTo>
                <a:lnTo>
                  <a:pt x="563" y="612"/>
                </a:lnTo>
                <a:lnTo>
                  <a:pt x="561" y="611"/>
                </a:lnTo>
                <a:lnTo>
                  <a:pt x="559" y="605"/>
                </a:lnTo>
                <a:lnTo>
                  <a:pt x="559" y="587"/>
                </a:lnTo>
                <a:lnTo>
                  <a:pt x="559" y="587"/>
                </a:lnTo>
                <a:lnTo>
                  <a:pt x="552" y="578"/>
                </a:lnTo>
                <a:lnTo>
                  <a:pt x="547" y="574"/>
                </a:lnTo>
                <a:lnTo>
                  <a:pt x="545" y="571"/>
                </a:lnTo>
                <a:lnTo>
                  <a:pt x="547" y="569"/>
                </a:lnTo>
                <a:lnTo>
                  <a:pt x="547" y="569"/>
                </a:lnTo>
                <a:lnTo>
                  <a:pt x="567" y="545"/>
                </a:lnTo>
                <a:lnTo>
                  <a:pt x="567" y="545"/>
                </a:lnTo>
                <a:lnTo>
                  <a:pt x="565" y="507"/>
                </a:lnTo>
                <a:lnTo>
                  <a:pt x="561" y="463"/>
                </a:lnTo>
                <a:lnTo>
                  <a:pt x="561" y="463"/>
                </a:lnTo>
                <a:lnTo>
                  <a:pt x="559" y="460"/>
                </a:lnTo>
                <a:lnTo>
                  <a:pt x="558" y="458"/>
                </a:lnTo>
                <a:lnTo>
                  <a:pt x="549" y="449"/>
                </a:lnTo>
                <a:lnTo>
                  <a:pt x="545" y="445"/>
                </a:lnTo>
                <a:lnTo>
                  <a:pt x="541" y="443"/>
                </a:lnTo>
                <a:lnTo>
                  <a:pt x="541" y="440"/>
                </a:lnTo>
                <a:lnTo>
                  <a:pt x="543" y="434"/>
                </a:lnTo>
                <a:lnTo>
                  <a:pt x="543" y="434"/>
                </a:lnTo>
                <a:lnTo>
                  <a:pt x="552" y="431"/>
                </a:lnTo>
                <a:lnTo>
                  <a:pt x="565" y="425"/>
                </a:lnTo>
                <a:lnTo>
                  <a:pt x="579" y="420"/>
                </a:lnTo>
                <a:lnTo>
                  <a:pt x="579" y="420"/>
                </a:lnTo>
                <a:lnTo>
                  <a:pt x="581" y="418"/>
                </a:lnTo>
                <a:lnTo>
                  <a:pt x="583" y="413"/>
                </a:lnTo>
                <a:lnTo>
                  <a:pt x="587" y="411"/>
                </a:lnTo>
                <a:lnTo>
                  <a:pt x="587" y="409"/>
                </a:lnTo>
                <a:lnTo>
                  <a:pt x="590" y="411"/>
                </a:lnTo>
                <a:lnTo>
                  <a:pt x="590" y="411"/>
                </a:lnTo>
                <a:lnTo>
                  <a:pt x="596" y="411"/>
                </a:lnTo>
                <a:lnTo>
                  <a:pt x="601" y="411"/>
                </a:lnTo>
                <a:lnTo>
                  <a:pt x="603" y="411"/>
                </a:lnTo>
                <a:lnTo>
                  <a:pt x="605" y="407"/>
                </a:lnTo>
                <a:lnTo>
                  <a:pt x="605" y="407"/>
                </a:lnTo>
                <a:lnTo>
                  <a:pt x="605" y="402"/>
                </a:lnTo>
                <a:lnTo>
                  <a:pt x="603" y="398"/>
                </a:lnTo>
                <a:lnTo>
                  <a:pt x="601" y="391"/>
                </a:lnTo>
                <a:lnTo>
                  <a:pt x="601" y="391"/>
                </a:lnTo>
                <a:lnTo>
                  <a:pt x="603" y="389"/>
                </a:lnTo>
                <a:lnTo>
                  <a:pt x="603" y="389"/>
                </a:lnTo>
                <a:lnTo>
                  <a:pt x="610" y="382"/>
                </a:lnTo>
                <a:lnTo>
                  <a:pt x="614" y="378"/>
                </a:lnTo>
                <a:lnTo>
                  <a:pt x="610" y="367"/>
                </a:lnTo>
                <a:lnTo>
                  <a:pt x="610" y="367"/>
                </a:lnTo>
                <a:lnTo>
                  <a:pt x="630" y="354"/>
                </a:lnTo>
                <a:lnTo>
                  <a:pt x="630" y="354"/>
                </a:lnTo>
                <a:lnTo>
                  <a:pt x="638" y="345"/>
                </a:lnTo>
                <a:lnTo>
                  <a:pt x="645" y="340"/>
                </a:lnTo>
                <a:lnTo>
                  <a:pt x="650" y="331"/>
                </a:lnTo>
                <a:lnTo>
                  <a:pt x="650" y="331"/>
                </a:lnTo>
                <a:lnTo>
                  <a:pt x="645" y="322"/>
                </a:lnTo>
                <a:lnTo>
                  <a:pt x="638" y="316"/>
                </a:lnTo>
                <a:lnTo>
                  <a:pt x="636" y="309"/>
                </a:lnTo>
                <a:lnTo>
                  <a:pt x="636" y="309"/>
                </a:lnTo>
                <a:lnTo>
                  <a:pt x="634" y="296"/>
                </a:lnTo>
                <a:lnTo>
                  <a:pt x="632" y="287"/>
                </a:lnTo>
                <a:lnTo>
                  <a:pt x="630" y="284"/>
                </a:lnTo>
                <a:lnTo>
                  <a:pt x="630" y="280"/>
                </a:lnTo>
                <a:lnTo>
                  <a:pt x="630" y="280"/>
                </a:lnTo>
                <a:lnTo>
                  <a:pt x="627" y="278"/>
                </a:lnTo>
                <a:lnTo>
                  <a:pt x="623" y="276"/>
                </a:lnTo>
                <a:lnTo>
                  <a:pt x="614" y="273"/>
                </a:lnTo>
                <a:lnTo>
                  <a:pt x="612" y="267"/>
                </a:lnTo>
                <a:lnTo>
                  <a:pt x="610" y="267"/>
                </a:lnTo>
                <a:lnTo>
                  <a:pt x="607" y="264"/>
                </a:lnTo>
                <a:lnTo>
                  <a:pt x="607" y="256"/>
                </a:lnTo>
                <a:lnTo>
                  <a:pt x="607" y="256"/>
                </a:lnTo>
                <a:lnTo>
                  <a:pt x="607" y="251"/>
                </a:lnTo>
                <a:lnTo>
                  <a:pt x="605" y="244"/>
                </a:lnTo>
                <a:lnTo>
                  <a:pt x="599" y="238"/>
                </a:lnTo>
                <a:lnTo>
                  <a:pt x="596" y="234"/>
                </a:lnTo>
                <a:lnTo>
                  <a:pt x="594" y="233"/>
                </a:lnTo>
                <a:lnTo>
                  <a:pt x="594" y="229"/>
                </a:lnTo>
                <a:lnTo>
                  <a:pt x="596" y="224"/>
                </a:lnTo>
                <a:lnTo>
                  <a:pt x="596" y="224"/>
                </a:lnTo>
                <a:lnTo>
                  <a:pt x="601" y="218"/>
                </a:lnTo>
                <a:lnTo>
                  <a:pt x="603" y="211"/>
                </a:lnTo>
                <a:lnTo>
                  <a:pt x="607" y="193"/>
                </a:lnTo>
                <a:lnTo>
                  <a:pt x="607" y="193"/>
                </a:lnTo>
                <a:lnTo>
                  <a:pt x="603" y="189"/>
                </a:lnTo>
                <a:lnTo>
                  <a:pt x="594" y="187"/>
                </a:lnTo>
                <a:lnTo>
                  <a:pt x="590" y="184"/>
                </a:lnTo>
                <a:lnTo>
                  <a:pt x="587" y="187"/>
                </a:lnTo>
                <a:lnTo>
                  <a:pt x="585" y="189"/>
                </a:lnTo>
                <a:lnTo>
                  <a:pt x="585" y="189"/>
                </a:lnTo>
                <a:lnTo>
                  <a:pt x="578" y="198"/>
                </a:lnTo>
                <a:lnTo>
                  <a:pt x="574" y="202"/>
                </a:lnTo>
                <a:lnTo>
                  <a:pt x="578" y="202"/>
                </a:lnTo>
                <a:lnTo>
                  <a:pt x="579" y="202"/>
                </a:lnTo>
                <a:lnTo>
                  <a:pt x="579" y="202"/>
                </a:lnTo>
                <a:lnTo>
                  <a:pt x="583" y="202"/>
                </a:lnTo>
                <a:lnTo>
                  <a:pt x="590" y="198"/>
                </a:lnTo>
                <a:lnTo>
                  <a:pt x="599" y="198"/>
                </a:lnTo>
                <a:lnTo>
                  <a:pt x="599" y="198"/>
                </a:lnTo>
                <a:lnTo>
                  <a:pt x="601" y="198"/>
                </a:lnTo>
                <a:lnTo>
                  <a:pt x="601" y="198"/>
                </a:lnTo>
                <a:lnTo>
                  <a:pt x="599" y="202"/>
                </a:lnTo>
                <a:lnTo>
                  <a:pt x="596" y="202"/>
                </a:lnTo>
                <a:lnTo>
                  <a:pt x="590" y="209"/>
                </a:lnTo>
                <a:lnTo>
                  <a:pt x="578" y="218"/>
                </a:lnTo>
                <a:lnTo>
                  <a:pt x="578" y="218"/>
                </a:lnTo>
                <a:lnTo>
                  <a:pt x="561" y="225"/>
                </a:lnTo>
                <a:lnTo>
                  <a:pt x="552" y="233"/>
                </a:lnTo>
                <a:lnTo>
                  <a:pt x="543" y="236"/>
                </a:lnTo>
                <a:lnTo>
                  <a:pt x="543" y="236"/>
                </a:lnTo>
                <a:lnTo>
                  <a:pt x="538" y="236"/>
                </a:lnTo>
                <a:lnTo>
                  <a:pt x="530" y="240"/>
                </a:lnTo>
                <a:lnTo>
                  <a:pt x="527" y="244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5" y="247"/>
                </a:lnTo>
                <a:lnTo>
                  <a:pt x="529" y="240"/>
                </a:lnTo>
                <a:lnTo>
                  <a:pt x="530" y="234"/>
                </a:lnTo>
                <a:lnTo>
                  <a:pt x="536" y="231"/>
                </a:lnTo>
                <a:lnTo>
                  <a:pt x="536" y="231"/>
                </a:lnTo>
                <a:lnTo>
                  <a:pt x="543" y="220"/>
                </a:lnTo>
                <a:lnTo>
                  <a:pt x="552" y="211"/>
                </a:lnTo>
                <a:lnTo>
                  <a:pt x="552" y="211"/>
                </a:lnTo>
                <a:lnTo>
                  <a:pt x="559" y="204"/>
                </a:lnTo>
                <a:lnTo>
                  <a:pt x="563" y="198"/>
                </a:lnTo>
                <a:lnTo>
                  <a:pt x="569" y="193"/>
                </a:lnTo>
                <a:lnTo>
                  <a:pt x="572" y="187"/>
                </a:lnTo>
                <a:lnTo>
                  <a:pt x="572" y="187"/>
                </a:lnTo>
                <a:lnTo>
                  <a:pt x="579" y="178"/>
                </a:lnTo>
                <a:lnTo>
                  <a:pt x="585" y="167"/>
                </a:lnTo>
                <a:lnTo>
                  <a:pt x="592" y="155"/>
                </a:lnTo>
                <a:lnTo>
                  <a:pt x="596" y="151"/>
                </a:lnTo>
                <a:lnTo>
                  <a:pt x="599" y="149"/>
                </a:lnTo>
                <a:lnTo>
                  <a:pt x="599" y="149"/>
                </a:lnTo>
                <a:lnTo>
                  <a:pt x="607" y="145"/>
                </a:lnTo>
                <a:lnTo>
                  <a:pt x="610" y="140"/>
                </a:lnTo>
                <a:lnTo>
                  <a:pt x="614" y="135"/>
                </a:lnTo>
                <a:lnTo>
                  <a:pt x="619" y="129"/>
                </a:lnTo>
                <a:lnTo>
                  <a:pt x="619" y="129"/>
                </a:lnTo>
                <a:lnTo>
                  <a:pt x="625" y="116"/>
                </a:lnTo>
                <a:lnTo>
                  <a:pt x="627" y="109"/>
                </a:lnTo>
                <a:lnTo>
                  <a:pt x="629" y="105"/>
                </a:lnTo>
                <a:lnTo>
                  <a:pt x="627" y="100"/>
                </a:lnTo>
                <a:lnTo>
                  <a:pt x="627" y="100"/>
                </a:lnTo>
                <a:lnTo>
                  <a:pt x="623" y="80"/>
                </a:lnTo>
                <a:lnTo>
                  <a:pt x="614" y="64"/>
                </a:lnTo>
                <a:lnTo>
                  <a:pt x="614" y="64"/>
                </a:lnTo>
                <a:lnTo>
                  <a:pt x="609" y="53"/>
                </a:lnTo>
                <a:lnTo>
                  <a:pt x="605" y="47"/>
                </a:lnTo>
                <a:lnTo>
                  <a:pt x="596" y="44"/>
                </a:lnTo>
                <a:lnTo>
                  <a:pt x="590" y="38"/>
                </a:lnTo>
                <a:lnTo>
                  <a:pt x="590" y="38"/>
                </a:lnTo>
                <a:lnTo>
                  <a:pt x="583" y="38"/>
                </a:lnTo>
                <a:lnTo>
                  <a:pt x="569" y="44"/>
                </a:lnTo>
                <a:lnTo>
                  <a:pt x="554" y="44"/>
                </a:lnTo>
                <a:lnTo>
                  <a:pt x="545" y="46"/>
                </a:lnTo>
                <a:lnTo>
                  <a:pt x="545" y="46"/>
                </a:lnTo>
                <a:lnTo>
                  <a:pt x="541" y="47"/>
                </a:lnTo>
                <a:lnTo>
                  <a:pt x="538" y="47"/>
                </a:lnTo>
                <a:lnTo>
                  <a:pt x="532" y="53"/>
                </a:lnTo>
                <a:lnTo>
                  <a:pt x="527" y="56"/>
                </a:lnTo>
                <a:lnTo>
                  <a:pt x="525" y="58"/>
                </a:lnTo>
                <a:lnTo>
                  <a:pt x="521" y="58"/>
                </a:lnTo>
                <a:lnTo>
                  <a:pt x="521" y="58"/>
                </a:lnTo>
                <a:lnTo>
                  <a:pt x="520" y="58"/>
                </a:lnTo>
                <a:lnTo>
                  <a:pt x="520" y="55"/>
                </a:lnTo>
                <a:lnTo>
                  <a:pt x="521" y="49"/>
                </a:lnTo>
                <a:lnTo>
                  <a:pt x="525" y="44"/>
                </a:lnTo>
                <a:lnTo>
                  <a:pt x="525" y="36"/>
                </a:lnTo>
                <a:lnTo>
                  <a:pt x="525" y="36"/>
                </a:lnTo>
                <a:lnTo>
                  <a:pt x="525" y="33"/>
                </a:lnTo>
                <a:lnTo>
                  <a:pt x="521" y="31"/>
                </a:lnTo>
                <a:lnTo>
                  <a:pt x="518" y="29"/>
                </a:lnTo>
                <a:lnTo>
                  <a:pt x="512" y="29"/>
                </a:lnTo>
                <a:lnTo>
                  <a:pt x="512" y="29"/>
                </a:lnTo>
                <a:lnTo>
                  <a:pt x="510" y="29"/>
                </a:lnTo>
                <a:lnTo>
                  <a:pt x="509" y="27"/>
                </a:lnTo>
                <a:lnTo>
                  <a:pt x="509" y="24"/>
                </a:lnTo>
                <a:lnTo>
                  <a:pt x="509" y="18"/>
                </a:lnTo>
                <a:lnTo>
                  <a:pt x="507" y="11"/>
                </a:lnTo>
                <a:lnTo>
                  <a:pt x="507" y="11"/>
                </a:lnTo>
                <a:lnTo>
                  <a:pt x="505" y="7"/>
                </a:lnTo>
                <a:lnTo>
                  <a:pt x="501" y="6"/>
                </a:lnTo>
                <a:lnTo>
                  <a:pt x="494" y="2"/>
                </a:lnTo>
                <a:lnTo>
                  <a:pt x="485" y="0"/>
                </a:lnTo>
                <a:lnTo>
                  <a:pt x="480" y="0"/>
                </a:lnTo>
                <a:lnTo>
                  <a:pt x="480" y="0"/>
                </a:lnTo>
                <a:lnTo>
                  <a:pt x="474" y="0"/>
                </a:lnTo>
                <a:lnTo>
                  <a:pt x="467" y="4"/>
                </a:lnTo>
                <a:lnTo>
                  <a:pt x="456" y="18"/>
                </a:lnTo>
                <a:lnTo>
                  <a:pt x="456" y="18"/>
                </a:lnTo>
                <a:lnTo>
                  <a:pt x="449" y="27"/>
                </a:lnTo>
                <a:lnTo>
                  <a:pt x="441" y="31"/>
                </a:lnTo>
                <a:lnTo>
                  <a:pt x="440" y="35"/>
                </a:lnTo>
                <a:lnTo>
                  <a:pt x="440" y="38"/>
                </a:lnTo>
                <a:lnTo>
                  <a:pt x="440" y="44"/>
                </a:lnTo>
                <a:lnTo>
                  <a:pt x="441" y="47"/>
                </a:lnTo>
                <a:lnTo>
                  <a:pt x="441" y="47"/>
                </a:lnTo>
                <a:lnTo>
                  <a:pt x="445" y="53"/>
                </a:lnTo>
                <a:lnTo>
                  <a:pt x="445" y="55"/>
                </a:lnTo>
                <a:lnTo>
                  <a:pt x="445" y="58"/>
                </a:lnTo>
                <a:lnTo>
                  <a:pt x="443" y="58"/>
                </a:lnTo>
                <a:lnTo>
                  <a:pt x="440" y="64"/>
                </a:lnTo>
                <a:lnTo>
                  <a:pt x="434" y="64"/>
                </a:lnTo>
                <a:lnTo>
                  <a:pt x="434" y="64"/>
                </a:lnTo>
                <a:lnTo>
                  <a:pt x="421" y="64"/>
                </a:lnTo>
                <a:lnTo>
                  <a:pt x="418" y="64"/>
                </a:lnTo>
                <a:lnTo>
                  <a:pt x="414" y="64"/>
                </a:lnTo>
                <a:lnTo>
                  <a:pt x="414" y="64"/>
                </a:lnTo>
                <a:lnTo>
                  <a:pt x="416" y="67"/>
                </a:lnTo>
                <a:lnTo>
                  <a:pt x="418" y="71"/>
                </a:lnTo>
                <a:lnTo>
                  <a:pt x="418" y="73"/>
                </a:lnTo>
                <a:lnTo>
                  <a:pt x="418" y="75"/>
                </a:lnTo>
                <a:lnTo>
                  <a:pt x="416" y="76"/>
                </a:lnTo>
                <a:lnTo>
                  <a:pt x="412" y="76"/>
                </a:lnTo>
                <a:lnTo>
                  <a:pt x="412" y="76"/>
                </a:lnTo>
                <a:lnTo>
                  <a:pt x="407" y="78"/>
                </a:lnTo>
                <a:lnTo>
                  <a:pt x="401" y="78"/>
                </a:lnTo>
                <a:lnTo>
                  <a:pt x="394" y="76"/>
                </a:lnTo>
                <a:lnTo>
                  <a:pt x="385" y="73"/>
                </a:lnTo>
                <a:lnTo>
                  <a:pt x="382" y="73"/>
                </a:lnTo>
                <a:lnTo>
                  <a:pt x="378" y="73"/>
                </a:lnTo>
                <a:lnTo>
                  <a:pt x="378" y="73"/>
                </a:lnTo>
                <a:lnTo>
                  <a:pt x="349" y="80"/>
                </a:lnTo>
                <a:lnTo>
                  <a:pt x="334" y="86"/>
                </a:lnTo>
                <a:lnTo>
                  <a:pt x="323" y="89"/>
                </a:lnTo>
                <a:lnTo>
                  <a:pt x="323" y="89"/>
                </a:lnTo>
                <a:lnTo>
                  <a:pt x="320" y="96"/>
                </a:lnTo>
                <a:lnTo>
                  <a:pt x="316" y="98"/>
                </a:lnTo>
                <a:lnTo>
                  <a:pt x="311" y="100"/>
                </a:lnTo>
                <a:lnTo>
                  <a:pt x="311" y="100"/>
                </a:lnTo>
                <a:lnTo>
                  <a:pt x="302" y="100"/>
                </a:lnTo>
                <a:lnTo>
                  <a:pt x="294" y="100"/>
                </a:lnTo>
                <a:lnTo>
                  <a:pt x="283" y="100"/>
                </a:lnTo>
                <a:lnTo>
                  <a:pt x="278" y="100"/>
                </a:lnTo>
                <a:lnTo>
                  <a:pt x="271" y="104"/>
                </a:lnTo>
                <a:lnTo>
                  <a:pt x="271" y="104"/>
                </a:lnTo>
                <a:lnTo>
                  <a:pt x="254" y="109"/>
                </a:lnTo>
                <a:lnTo>
                  <a:pt x="242" y="116"/>
                </a:lnTo>
                <a:lnTo>
                  <a:pt x="229" y="125"/>
                </a:lnTo>
                <a:lnTo>
                  <a:pt x="218" y="133"/>
                </a:lnTo>
                <a:lnTo>
                  <a:pt x="218" y="133"/>
                </a:lnTo>
                <a:lnTo>
                  <a:pt x="209" y="140"/>
                </a:lnTo>
                <a:lnTo>
                  <a:pt x="207" y="145"/>
                </a:lnTo>
                <a:lnTo>
                  <a:pt x="209" y="149"/>
                </a:lnTo>
                <a:lnTo>
                  <a:pt x="209" y="149"/>
                </a:lnTo>
                <a:lnTo>
                  <a:pt x="213" y="162"/>
                </a:lnTo>
                <a:lnTo>
                  <a:pt x="214" y="175"/>
                </a:lnTo>
                <a:lnTo>
                  <a:pt x="214" y="175"/>
                </a:lnTo>
                <a:lnTo>
                  <a:pt x="214" y="176"/>
                </a:lnTo>
                <a:lnTo>
                  <a:pt x="214" y="178"/>
                </a:lnTo>
                <a:lnTo>
                  <a:pt x="209" y="182"/>
                </a:lnTo>
                <a:lnTo>
                  <a:pt x="200" y="187"/>
                </a:lnTo>
                <a:lnTo>
                  <a:pt x="196" y="187"/>
                </a:lnTo>
                <a:lnTo>
                  <a:pt x="193" y="187"/>
                </a:lnTo>
                <a:lnTo>
                  <a:pt x="193" y="187"/>
                </a:lnTo>
                <a:lnTo>
                  <a:pt x="164" y="180"/>
                </a:lnTo>
                <a:lnTo>
                  <a:pt x="144" y="178"/>
                </a:lnTo>
                <a:lnTo>
                  <a:pt x="131" y="176"/>
                </a:lnTo>
                <a:lnTo>
                  <a:pt x="131" y="176"/>
                </a:lnTo>
                <a:lnTo>
                  <a:pt x="125" y="176"/>
                </a:lnTo>
                <a:lnTo>
                  <a:pt x="122" y="175"/>
                </a:lnTo>
                <a:lnTo>
                  <a:pt x="120" y="176"/>
                </a:lnTo>
                <a:lnTo>
                  <a:pt x="115" y="180"/>
                </a:lnTo>
                <a:lnTo>
                  <a:pt x="115" y="180"/>
                </a:lnTo>
                <a:lnTo>
                  <a:pt x="111" y="184"/>
                </a:lnTo>
                <a:lnTo>
                  <a:pt x="109" y="191"/>
                </a:lnTo>
                <a:lnTo>
                  <a:pt x="107" y="205"/>
                </a:lnTo>
                <a:lnTo>
                  <a:pt x="107" y="205"/>
                </a:lnTo>
                <a:lnTo>
                  <a:pt x="104" y="216"/>
                </a:lnTo>
                <a:lnTo>
                  <a:pt x="102" y="222"/>
                </a:lnTo>
                <a:lnTo>
                  <a:pt x="100" y="231"/>
                </a:lnTo>
                <a:lnTo>
                  <a:pt x="100" y="233"/>
                </a:lnTo>
                <a:lnTo>
                  <a:pt x="104" y="234"/>
                </a:lnTo>
                <a:lnTo>
                  <a:pt x="104" y="234"/>
                </a:lnTo>
                <a:lnTo>
                  <a:pt x="111" y="247"/>
                </a:lnTo>
                <a:lnTo>
                  <a:pt x="115" y="256"/>
                </a:lnTo>
                <a:lnTo>
                  <a:pt x="120" y="260"/>
                </a:lnTo>
                <a:lnTo>
                  <a:pt x="120" y="260"/>
                </a:lnTo>
                <a:lnTo>
                  <a:pt x="120" y="264"/>
                </a:lnTo>
                <a:lnTo>
                  <a:pt x="124" y="267"/>
                </a:lnTo>
                <a:lnTo>
                  <a:pt x="125" y="273"/>
                </a:lnTo>
                <a:lnTo>
                  <a:pt x="125" y="276"/>
                </a:lnTo>
                <a:lnTo>
                  <a:pt x="125" y="276"/>
                </a:lnTo>
                <a:lnTo>
                  <a:pt x="124" y="278"/>
                </a:lnTo>
                <a:lnTo>
                  <a:pt x="116" y="280"/>
                </a:lnTo>
                <a:lnTo>
                  <a:pt x="115" y="282"/>
                </a:lnTo>
                <a:lnTo>
                  <a:pt x="111" y="282"/>
                </a:lnTo>
                <a:lnTo>
                  <a:pt x="109" y="280"/>
                </a:lnTo>
                <a:lnTo>
                  <a:pt x="107" y="278"/>
                </a:lnTo>
                <a:lnTo>
                  <a:pt x="107" y="278"/>
                </a:lnTo>
                <a:lnTo>
                  <a:pt x="104" y="273"/>
                </a:lnTo>
                <a:lnTo>
                  <a:pt x="96" y="264"/>
                </a:lnTo>
                <a:lnTo>
                  <a:pt x="91" y="247"/>
                </a:lnTo>
                <a:lnTo>
                  <a:pt x="91" y="247"/>
                </a:lnTo>
                <a:lnTo>
                  <a:pt x="87" y="244"/>
                </a:lnTo>
                <a:lnTo>
                  <a:pt x="82" y="236"/>
                </a:lnTo>
                <a:lnTo>
                  <a:pt x="73" y="231"/>
                </a:lnTo>
                <a:lnTo>
                  <a:pt x="69" y="225"/>
                </a:lnTo>
                <a:lnTo>
                  <a:pt x="64" y="224"/>
                </a:lnTo>
                <a:lnTo>
                  <a:pt x="64" y="224"/>
                </a:lnTo>
                <a:lnTo>
                  <a:pt x="62" y="231"/>
                </a:lnTo>
                <a:lnTo>
                  <a:pt x="62" y="231"/>
                </a:lnTo>
                <a:lnTo>
                  <a:pt x="62" y="236"/>
                </a:lnTo>
                <a:lnTo>
                  <a:pt x="62" y="240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lnTo>
                  <a:pt x="64" y="244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0" name="Freeform 80">
            <a:extLst>
              <a:ext uri="{FF2B5EF4-FFF2-40B4-BE49-F238E27FC236}">
                <a16:creationId xmlns:a16="http://schemas.microsoft.com/office/drawing/2014/main" id="{36311115-5F84-9B46-83DB-C263866D44CE}"/>
              </a:ext>
            </a:extLst>
          </p:cNvPr>
          <p:cNvSpPr>
            <a:spLocks/>
          </p:cNvSpPr>
          <p:nvPr/>
        </p:nvSpPr>
        <p:spPr bwMode="auto">
          <a:xfrm>
            <a:off x="2257659" y="3476082"/>
            <a:ext cx="727046" cy="954209"/>
          </a:xfrm>
          <a:custGeom>
            <a:avLst/>
            <a:gdLst>
              <a:gd name="T0" fmla="*/ 168 w 502"/>
              <a:gd name="T1" fmla="*/ 189 h 667"/>
              <a:gd name="T2" fmla="*/ 160 w 502"/>
              <a:gd name="T3" fmla="*/ 209 h 667"/>
              <a:gd name="T4" fmla="*/ 158 w 502"/>
              <a:gd name="T5" fmla="*/ 234 h 667"/>
              <a:gd name="T6" fmla="*/ 119 w 502"/>
              <a:gd name="T7" fmla="*/ 269 h 667"/>
              <a:gd name="T8" fmla="*/ 42 w 502"/>
              <a:gd name="T9" fmla="*/ 291 h 667"/>
              <a:gd name="T10" fmla="*/ 22 w 502"/>
              <a:gd name="T11" fmla="*/ 311 h 667"/>
              <a:gd name="T12" fmla="*/ 13 w 502"/>
              <a:gd name="T13" fmla="*/ 369 h 667"/>
              <a:gd name="T14" fmla="*/ 84 w 502"/>
              <a:gd name="T15" fmla="*/ 398 h 667"/>
              <a:gd name="T16" fmla="*/ 142 w 502"/>
              <a:gd name="T17" fmla="*/ 438 h 667"/>
              <a:gd name="T18" fmla="*/ 169 w 502"/>
              <a:gd name="T19" fmla="*/ 514 h 667"/>
              <a:gd name="T20" fmla="*/ 217 w 502"/>
              <a:gd name="T21" fmla="*/ 543 h 667"/>
              <a:gd name="T22" fmla="*/ 291 w 502"/>
              <a:gd name="T23" fmla="*/ 605 h 667"/>
              <a:gd name="T24" fmla="*/ 367 w 502"/>
              <a:gd name="T25" fmla="*/ 601 h 667"/>
              <a:gd name="T26" fmla="*/ 413 w 502"/>
              <a:gd name="T27" fmla="*/ 643 h 667"/>
              <a:gd name="T28" fmla="*/ 455 w 502"/>
              <a:gd name="T29" fmla="*/ 647 h 667"/>
              <a:gd name="T30" fmla="*/ 474 w 502"/>
              <a:gd name="T31" fmla="*/ 592 h 667"/>
              <a:gd name="T32" fmla="*/ 502 w 502"/>
              <a:gd name="T33" fmla="*/ 549 h 667"/>
              <a:gd name="T34" fmla="*/ 480 w 502"/>
              <a:gd name="T35" fmla="*/ 496 h 667"/>
              <a:gd name="T36" fmla="*/ 469 w 502"/>
              <a:gd name="T37" fmla="*/ 454 h 667"/>
              <a:gd name="T38" fmla="*/ 462 w 502"/>
              <a:gd name="T39" fmla="*/ 382 h 667"/>
              <a:gd name="T40" fmla="*/ 489 w 502"/>
              <a:gd name="T41" fmla="*/ 318 h 667"/>
              <a:gd name="T42" fmla="*/ 467 w 502"/>
              <a:gd name="T43" fmla="*/ 283 h 667"/>
              <a:gd name="T44" fmla="*/ 471 w 502"/>
              <a:gd name="T45" fmla="*/ 218 h 667"/>
              <a:gd name="T46" fmla="*/ 476 w 502"/>
              <a:gd name="T47" fmla="*/ 184 h 667"/>
              <a:gd name="T48" fmla="*/ 487 w 502"/>
              <a:gd name="T49" fmla="*/ 147 h 667"/>
              <a:gd name="T50" fmla="*/ 471 w 502"/>
              <a:gd name="T51" fmla="*/ 111 h 667"/>
              <a:gd name="T52" fmla="*/ 460 w 502"/>
              <a:gd name="T53" fmla="*/ 91 h 667"/>
              <a:gd name="T54" fmla="*/ 456 w 502"/>
              <a:gd name="T55" fmla="*/ 131 h 667"/>
              <a:gd name="T56" fmla="*/ 425 w 502"/>
              <a:gd name="T57" fmla="*/ 116 h 667"/>
              <a:gd name="T58" fmla="*/ 447 w 502"/>
              <a:gd name="T59" fmla="*/ 165 h 667"/>
              <a:gd name="T60" fmla="*/ 407 w 502"/>
              <a:gd name="T61" fmla="*/ 136 h 667"/>
              <a:gd name="T62" fmla="*/ 425 w 502"/>
              <a:gd name="T63" fmla="*/ 60 h 667"/>
              <a:gd name="T64" fmla="*/ 415 w 502"/>
              <a:gd name="T65" fmla="*/ 95 h 667"/>
              <a:gd name="T66" fmla="*/ 369 w 502"/>
              <a:gd name="T67" fmla="*/ 124 h 667"/>
              <a:gd name="T68" fmla="*/ 371 w 502"/>
              <a:gd name="T69" fmla="*/ 169 h 667"/>
              <a:gd name="T70" fmla="*/ 331 w 502"/>
              <a:gd name="T71" fmla="*/ 229 h 667"/>
              <a:gd name="T72" fmla="*/ 362 w 502"/>
              <a:gd name="T73" fmla="*/ 253 h 667"/>
              <a:gd name="T74" fmla="*/ 391 w 502"/>
              <a:gd name="T75" fmla="*/ 314 h 667"/>
              <a:gd name="T76" fmla="*/ 373 w 502"/>
              <a:gd name="T77" fmla="*/ 338 h 667"/>
              <a:gd name="T78" fmla="*/ 366 w 502"/>
              <a:gd name="T79" fmla="*/ 338 h 667"/>
              <a:gd name="T80" fmla="*/ 375 w 502"/>
              <a:gd name="T81" fmla="*/ 280 h 667"/>
              <a:gd name="T82" fmla="*/ 329 w 502"/>
              <a:gd name="T83" fmla="*/ 276 h 667"/>
              <a:gd name="T84" fmla="*/ 320 w 502"/>
              <a:gd name="T85" fmla="*/ 314 h 667"/>
              <a:gd name="T86" fmla="*/ 275 w 502"/>
              <a:gd name="T87" fmla="*/ 353 h 667"/>
              <a:gd name="T88" fmla="*/ 229 w 502"/>
              <a:gd name="T89" fmla="*/ 367 h 667"/>
              <a:gd name="T90" fmla="*/ 188 w 502"/>
              <a:gd name="T91" fmla="*/ 322 h 667"/>
              <a:gd name="T92" fmla="*/ 231 w 502"/>
              <a:gd name="T93" fmla="*/ 340 h 667"/>
              <a:gd name="T94" fmla="*/ 289 w 502"/>
              <a:gd name="T95" fmla="*/ 291 h 667"/>
              <a:gd name="T96" fmla="*/ 307 w 502"/>
              <a:gd name="T97" fmla="*/ 249 h 667"/>
              <a:gd name="T98" fmla="*/ 351 w 502"/>
              <a:gd name="T99" fmla="*/ 144 h 667"/>
              <a:gd name="T100" fmla="*/ 373 w 502"/>
              <a:gd name="T101" fmla="*/ 91 h 667"/>
              <a:gd name="T102" fmla="*/ 358 w 502"/>
              <a:gd name="T103" fmla="*/ 31 h 667"/>
              <a:gd name="T104" fmla="*/ 380 w 502"/>
              <a:gd name="T105" fmla="*/ 5 h 667"/>
              <a:gd name="T106" fmla="*/ 347 w 502"/>
              <a:gd name="T107" fmla="*/ 22 h 667"/>
              <a:gd name="T108" fmla="*/ 269 w 502"/>
              <a:gd name="T109" fmla="*/ 84 h 667"/>
              <a:gd name="T110" fmla="*/ 247 w 502"/>
              <a:gd name="T111" fmla="*/ 122 h 667"/>
              <a:gd name="T112" fmla="*/ 229 w 502"/>
              <a:gd name="T113" fmla="*/ 178 h 667"/>
              <a:gd name="T114" fmla="*/ 209 w 502"/>
              <a:gd name="T115" fmla="*/ 243 h 667"/>
              <a:gd name="T116" fmla="*/ 162 w 502"/>
              <a:gd name="T117" fmla="*/ 16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2" h="667">
                <a:moveTo>
                  <a:pt x="162" y="167"/>
                </a:moveTo>
                <a:lnTo>
                  <a:pt x="162" y="167"/>
                </a:lnTo>
                <a:lnTo>
                  <a:pt x="160" y="169"/>
                </a:lnTo>
                <a:lnTo>
                  <a:pt x="160" y="173"/>
                </a:lnTo>
                <a:lnTo>
                  <a:pt x="160" y="173"/>
                </a:lnTo>
                <a:lnTo>
                  <a:pt x="160" y="173"/>
                </a:lnTo>
                <a:lnTo>
                  <a:pt x="162" y="176"/>
                </a:lnTo>
                <a:lnTo>
                  <a:pt x="166" y="180"/>
                </a:lnTo>
                <a:lnTo>
                  <a:pt x="166" y="180"/>
                </a:lnTo>
                <a:lnTo>
                  <a:pt x="168" y="182"/>
                </a:lnTo>
                <a:lnTo>
                  <a:pt x="168" y="184"/>
                </a:lnTo>
                <a:lnTo>
                  <a:pt x="168" y="189"/>
                </a:lnTo>
                <a:lnTo>
                  <a:pt x="168" y="189"/>
                </a:lnTo>
                <a:lnTo>
                  <a:pt x="169" y="198"/>
                </a:lnTo>
                <a:lnTo>
                  <a:pt x="168" y="200"/>
                </a:lnTo>
                <a:lnTo>
                  <a:pt x="168" y="204"/>
                </a:lnTo>
                <a:lnTo>
                  <a:pt x="168" y="204"/>
                </a:lnTo>
                <a:lnTo>
                  <a:pt x="166" y="204"/>
                </a:lnTo>
                <a:lnTo>
                  <a:pt x="164" y="204"/>
                </a:lnTo>
                <a:lnTo>
                  <a:pt x="164" y="204"/>
                </a:lnTo>
                <a:lnTo>
                  <a:pt x="164" y="205"/>
                </a:lnTo>
                <a:lnTo>
                  <a:pt x="162" y="209"/>
                </a:lnTo>
                <a:lnTo>
                  <a:pt x="160" y="209"/>
                </a:lnTo>
                <a:lnTo>
                  <a:pt x="160" y="209"/>
                </a:lnTo>
                <a:lnTo>
                  <a:pt x="157" y="211"/>
                </a:lnTo>
                <a:lnTo>
                  <a:pt x="155" y="216"/>
                </a:lnTo>
                <a:lnTo>
                  <a:pt x="149" y="218"/>
                </a:lnTo>
                <a:lnTo>
                  <a:pt x="148" y="222"/>
                </a:lnTo>
                <a:lnTo>
                  <a:pt x="148" y="222"/>
                </a:lnTo>
                <a:lnTo>
                  <a:pt x="148" y="227"/>
                </a:lnTo>
                <a:lnTo>
                  <a:pt x="148" y="229"/>
                </a:lnTo>
                <a:lnTo>
                  <a:pt x="149" y="231"/>
                </a:lnTo>
                <a:lnTo>
                  <a:pt x="151" y="231"/>
                </a:lnTo>
                <a:lnTo>
                  <a:pt x="151" y="231"/>
                </a:lnTo>
                <a:lnTo>
                  <a:pt x="155" y="231"/>
                </a:lnTo>
                <a:lnTo>
                  <a:pt x="158" y="234"/>
                </a:lnTo>
                <a:lnTo>
                  <a:pt x="160" y="234"/>
                </a:lnTo>
                <a:lnTo>
                  <a:pt x="158" y="238"/>
                </a:lnTo>
                <a:lnTo>
                  <a:pt x="158" y="238"/>
                </a:lnTo>
                <a:lnTo>
                  <a:pt x="149" y="247"/>
                </a:lnTo>
                <a:lnTo>
                  <a:pt x="146" y="253"/>
                </a:lnTo>
                <a:lnTo>
                  <a:pt x="142" y="258"/>
                </a:lnTo>
                <a:lnTo>
                  <a:pt x="140" y="258"/>
                </a:lnTo>
                <a:lnTo>
                  <a:pt x="140" y="258"/>
                </a:lnTo>
                <a:lnTo>
                  <a:pt x="135" y="260"/>
                </a:lnTo>
                <a:lnTo>
                  <a:pt x="129" y="263"/>
                </a:lnTo>
                <a:lnTo>
                  <a:pt x="119" y="269"/>
                </a:lnTo>
                <a:lnTo>
                  <a:pt x="119" y="269"/>
                </a:lnTo>
                <a:lnTo>
                  <a:pt x="109" y="271"/>
                </a:lnTo>
                <a:lnTo>
                  <a:pt x="99" y="273"/>
                </a:lnTo>
                <a:lnTo>
                  <a:pt x="99" y="273"/>
                </a:lnTo>
                <a:lnTo>
                  <a:pt x="84" y="271"/>
                </a:lnTo>
                <a:lnTo>
                  <a:pt x="84" y="271"/>
                </a:lnTo>
                <a:lnTo>
                  <a:pt x="79" y="273"/>
                </a:lnTo>
                <a:lnTo>
                  <a:pt x="71" y="276"/>
                </a:lnTo>
                <a:lnTo>
                  <a:pt x="55" y="283"/>
                </a:lnTo>
                <a:lnTo>
                  <a:pt x="55" y="283"/>
                </a:lnTo>
                <a:lnTo>
                  <a:pt x="50" y="287"/>
                </a:lnTo>
                <a:lnTo>
                  <a:pt x="44" y="289"/>
                </a:lnTo>
                <a:lnTo>
                  <a:pt x="42" y="291"/>
                </a:lnTo>
                <a:lnTo>
                  <a:pt x="40" y="293"/>
                </a:lnTo>
                <a:lnTo>
                  <a:pt x="40" y="293"/>
                </a:lnTo>
                <a:lnTo>
                  <a:pt x="33" y="291"/>
                </a:lnTo>
                <a:lnTo>
                  <a:pt x="30" y="291"/>
                </a:lnTo>
                <a:lnTo>
                  <a:pt x="24" y="291"/>
                </a:lnTo>
                <a:lnTo>
                  <a:pt x="24" y="291"/>
                </a:lnTo>
                <a:lnTo>
                  <a:pt x="26" y="302"/>
                </a:lnTo>
                <a:lnTo>
                  <a:pt x="26" y="302"/>
                </a:lnTo>
                <a:lnTo>
                  <a:pt x="24" y="303"/>
                </a:lnTo>
                <a:lnTo>
                  <a:pt x="24" y="307"/>
                </a:lnTo>
                <a:lnTo>
                  <a:pt x="22" y="311"/>
                </a:lnTo>
                <a:lnTo>
                  <a:pt x="22" y="311"/>
                </a:lnTo>
                <a:lnTo>
                  <a:pt x="24" y="314"/>
                </a:lnTo>
                <a:lnTo>
                  <a:pt x="30" y="320"/>
                </a:lnTo>
                <a:lnTo>
                  <a:pt x="24" y="325"/>
                </a:lnTo>
                <a:lnTo>
                  <a:pt x="13" y="334"/>
                </a:lnTo>
                <a:lnTo>
                  <a:pt x="13" y="340"/>
                </a:lnTo>
                <a:lnTo>
                  <a:pt x="10" y="345"/>
                </a:lnTo>
                <a:lnTo>
                  <a:pt x="4" y="345"/>
                </a:lnTo>
                <a:lnTo>
                  <a:pt x="0" y="349"/>
                </a:lnTo>
                <a:lnTo>
                  <a:pt x="4" y="356"/>
                </a:lnTo>
                <a:lnTo>
                  <a:pt x="15" y="360"/>
                </a:lnTo>
                <a:lnTo>
                  <a:pt x="17" y="367"/>
                </a:lnTo>
                <a:lnTo>
                  <a:pt x="13" y="369"/>
                </a:lnTo>
                <a:lnTo>
                  <a:pt x="19" y="376"/>
                </a:lnTo>
                <a:lnTo>
                  <a:pt x="24" y="376"/>
                </a:lnTo>
                <a:lnTo>
                  <a:pt x="33" y="382"/>
                </a:lnTo>
                <a:lnTo>
                  <a:pt x="39" y="382"/>
                </a:lnTo>
                <a:lnTo>
                  <a:pt x="40" y="383"/>
                </a:lnTo>
                <a:lnTo>
                  <a:pt x="44" y="383"/>
                </a:lnTo>
                <a:lnTo>
                  <a:pt x="53" y="385"/>
                </a:lnTo>
                <a:lnTo>
                  <a:pt x="59" y="385"/>
                </a:lnTo>
                <a:lnTo>
                  <a:pt x="66" y="389"/>
                </a:lnTo>
                <a:lnTo>
                  <a:pt x="73" y="391"/>
                </a:lnTo>
                <a:lnTo>
                  <a:pt x="75" y="396"/>
                </a:lnTo>
                <a:lnTo>
                  <a:pt x="84" y="398"/>
                </a:lnTo>
                <a:lnTo>
                  <a:pt x="88" y="405"/>
                </a:lnTo>
                <a:lnTo>
                  <a:pt x="82" y="409"/>
                </a:lnTo>
                <a:lnTo>
                  <a:pt x="79" y="416"/>
                </a:lnTo>
                <a:lnTo>
                  <a:pt x="86" y="427"/>
                </a:lnTo>
                <a:lnTo>
                  <a:pt x="95" y="432"/>
                </a:lnTo>
                <a:lnTo>
                  <a:pt x="115" y="429"/>
                </a:lnTo>
                <a:lnTo>
                  <a:pt x="122" y="436"/>
                </a:lnTo>
                <a:lnTo>
                  <a:pt x="126" y="432"/>
                </a:lnTo>
                <a:lnTo>
                  <a:pt x="126" y="429"/>
                </a:lnTo>
                <a:lnTo>
                  <a:pt x="135" y="431"/>
                </a:lnTo>
                <a:lnTo>
                  <a:pt x="137" y="432"/>
                </a:lnTo>
                <a:lnTo>
                  <a:pt x="142" y="438"/>
                </a:lnTo>
                <a:lnTo>
                  <a:pt x="146" y="443"/>
                </a:lnTo>
                <a:lnTo>
                  <a:pt x="151" y="445"/>
                </a:lnTo>
                <a:lnTo>
                  <a:pt x="157" y="452"/>
                </a:lnTo>
                <a:lnTo>
                  <a:pt x="160" y="458"/>
                </a:lnTo>
                <a:lnTo>
                  <a:pt x="151" y="463"/>
                </a:lnTo>
                <a:lnTo>
                  <a:pt x="151" y="471"/>
                </a:lnTo>
                <a:lnTo>
                  <a:pt x="151" y="482"/>
                </a:lnTo>
                <a:lnTo>
                  <a:pt x="162" y="487"/>
                </a:lnTo>
                <a:lnTo>
                  <a:pt x="162" y="492"/>
                </a:lnTo>
                <a:lnTo>
                  <a:pt x="157" y="516"/>
                </a:lnTo>
                <a:lnTo>
                  <a:pt x="160" y="514"/>
                </a:lnTo>
                <a:lnTo>
                  <a:pt x="169" y="514"/>
                </a:lnTo>
                <a:lnTo>
                  <a:pt x="182" y="520"/>
                </a:lnTo>
                <a:lnTo>
                  <a:pt x="188" y="516"/>
                </a:lnTo>
                <a:lnTo>
                  <a:pt x="191" y="516"/>
                </a:lnTo>
                <a:lnTo>
                  <a:pt x="191" y="516"/>
                </a:lnTo>
                <a:lnTo>
                  <a:pt x="193" y="531"/>
                </a:lnTo>
                <a:lnTo>
                  <a:pt x="193" y="531"/>
                </a:lnTo>
                <a:lnTo>
                  <a:pt x="197" y="532"/>
                </a:lnTo>
                <a:lnTo>
                  <a:pt x="200" y="534"/>
                </a:lnTo>
                <a:lnTo>
                  <a:pt x="208" y="536"/>
                </a:lnTo>
                <a:lnTo>
                  <a:pt x="208" y="536"/>
                </a:lnTo>
                <a:lnTo>
                  <a:pt x="211" y="540"/>
                </a:lnTo>
                <a:lnTo>
                  <a:pt x="217" y="543"/>
                </a:lnTo>
                <a:lnTo>
                  <a:pt x="218" y="551"/>
                </a:lnTo>
                <a:lnTo>
                  <a:pt x="218" y="551"/>
                </a:lnTo>
                <a:lnTo>
                  <a:pt x="229" y="554"/>
                </a:lnTo>
                <a:lnTo>
                  <a:pt x="229" y="554"/>
                </a:lnTo>
                <a:lnTo>
                  <a:pt x="244" y="556"/>
                </a:lnTo>
                <a:lnTo>
                  <a:pt x="255" y="563"/>
                </a:lnTo>
                <a:lnTo>
                  <a:pt x="255" y="571"/>
                </a:lnTo>
                <a:lnTo>
                  <a:pt x="266" y="569"/>
                </a:lnTo>
                <a:lnTo>
                  <a:pt x="273" y="574"/>
                </a:lnTo>
                <a:lnTo>
                  <a:pt x="273" y="583"/>
                </a:lnTo>
                <a:lnTo>
                  <a:pt x="287" y="605"/>
                </a:lnTo>
                <a:lnTo>
                  <a:pt x="291" y="605"/>
                </a:lnTo>
                <a:lnTo>
                  <a:pt x="309" y="605"/>
                </a:lnTo>
                <a:lnTo>
                  <a:pt x="315" y="612"/>
                </a:lnTo>
                <a:lnTo>
                  <a:pt x="331" y="616"/>
                </a:lnTo>
                <a:lnTo>
                  <a:pt x="335" y="607"/>
                </a:lnTo>
                <a:lnTo>
                  <a:pt x="342" y="603"/>
                </a:lnTo>
                <a:lnTo>
                  <a:pt x="355" y="600"/>
                </a:lnTo>
                <a:lnTo>
                  <a:pt x="356" y="596"/>
                </a:lnTo>
                <a:lnTo>
                  <a:pt x="356" y="596"/>
                </a:lnTo>
                <a:lnTo>
                  <a:pt x="366" y="594"/>
                </a:lnTo>
                <a:lnTo>
                  <a:pt x="366" y="594"/>
                </a:lnTo>
                <a:lnTo>
                  <a:pt x="367" y="598"/>
                </a:lnTo>
                <a:lnTo>
                  <a:pt x="367" y="601"/>
                </a:lnTo>
                <a:lnTo>
                  <a:pt x="371" y="611"/>
                </a:lnTo>
                <a:lnTo>
                  <a:pt x="369" y="614"/>
                </a:lnTo>
                <a:lnTo>
                  <a:pt x="376" y="620"/>
                </a:lnTo>
                <a:lnTo>
                  <a:pt x="378" y="621"/>
                </a:lnTo>
                <a:lnTo>
                  <a:pt x="389" y="621"/>
                </a:lnTo>
                <a:lnTo>
                  <a:pt x="393" y="621"/>
                </a:lnTo>
                <a:lnTo>
                  <a:pt x="396" y="621"/>
                </a:lnTo>
                <a:lnTo>
                  <a:pt x="404" y="625"/>
                </a:lnTo>
                <a:lnTo>
                  <a:pt x="404" y="632"/>
                </a:lnTo>
                <a:lnTo>
                  <a:pt x="409" y="638"/>
                </a:lnTo>
                <a:lnTo>
                  <a:pt x="407" y="641"/>
                </a:lnTo>
                <a:lnTo>
                  <a:pt x="413" y="643"/>
                </a:lnTo>
                <a:lnTo>
                  <a:pt x="416" y="643"/>
                </a:lnTo>
                <a:lnTo>
                  <a:pt x="427" y="641"/>
                </a:lnTo>
                <a:lnTo>
                  <a:pt x="431" y="654"/>
                </a:lnTo>
                <a:lnTo>
                  <a:pt x="435" y="658"/>
                </a:lnTo>
                <a:lnTo>
                  <a:pt x="435" y="661"/>
                </a:lnTo>
                <a:lnTo>
                  <a:pt x="438" y="667"/>
                </a:lnTo>
                <a:lnTo>
                  <a:pt x="438" y="667"/>
                </a:lnTo>
                <a:lnTo>
                  <a:pt x="440" y="663"/>
                </a:lnTo>
                <a:lnTo>
                  <a:pt x="440" y="663"/>
                </a:lnTo>
                <a:lnTo>
                  <a:pt x="445" y="658"/>
                </a:lnTo>
                <a:lnTo>
                  <a:pt x="447" y="654"/>
                </a:lnTo>
                <a:lnTo>
                  <a:pt x="455" y="647"/>
                </a:lnTo>
                <a:lnTo>
                  <a:pt x="455" y="647"/>
                </a:lnTo>
                <a:lnTo>
                  <a:pt x="467" y="638"/>
                </a:lnTo>
                <a:lnTo>
                  <a:pt x="474" y="625"/>
                </a:lnTo>
                <a:lnTo>
                  <a:pt x="474" y="625"/>
                </a:lnTo>
                <a:lnTo>
                  <a:pt x="476" y="621"/>
                </a:lnTo>
                <a:lnTo>
                  <a:pt x="476" y="618"/>
                </a:lnTo>
                <a:lnTo>
                  <a:pt x="476" y="612"/>
                </a:lnTo>
                <a:lnTo>
                  <a:pt x="474" y="607"/>
                </a:lnTo>
                <a:lnTo>
                  <a:pt x="474" y="607"/>
                </a:lnTo>
                <a:lnTo>
                  <a:pt x="471" y="600"/>
                </a:lnTo>
                <a:lnTo>
                  <a:pt x="471" y="600"/>
                </a:lnTo>
                <a:lnTo>
                  <a:pt x="474" y="592"/>
                </a:lnTo>
                <a:lnTo>
                  <a:pt x="480" y="585"/>
                </a:lnTo>
                <a:lnTo>
                  <a:pt x="487" y="580"/>
                </a:lnTo>
                <a:lnTo>
                  <a:pt x="487" y="580"/>
                </a:lnTo>
                <a:lnTo>
                  <a:pt x="489" y="576"/>
                </a:lnTo>
                <a:lnTo>
                  <a:pt x="493" y="576"/>
                </a:lnTo>
                <a:lnTo>
                  <a:pt x="493" y="574"/>
                </a:lnTo>
                <a:lnTo>
                  <a:pt x="494" y="571"/>
                </a:lnTo>
                <a:lnTo>
                  <a:pt x="494" y="571"/>
                </a:lnTo>
                <a:lnTo>
                  <a:pt x="498" y="558"/>
                </a:lnTo>
                <a:lnTo>
                  <a:pt x="500" y="552"/>
                </a:lnTo>
                <a:lnTo>
                  <a:pt x="502" y="549"/>
                </a:lnTo>
                <a:lnTo>
                  <a:pt x="502" y="549"/>
                </a:lnTo>
                <a:lnTo>
                  <a:pt x="500" y="538"/>
                </a:lnTo>
                <a:lnTo>
                  <a:pt x="498" y="536"/>
                </a:lnTo>
                <a:lnTo>
                  <a:pt x="496" y="534"/>
                </a:lnTo>
                <a:lnTo>
                  <a:pt x="496" y="534"/>
                </a:lnTo>
                <a:lnTo>
                  <a:pt x="491" y="532"/>
                </a:lnTo>
                <a:lnTo>
                  <a:pt x="482" y="529"/>
                </a:lnTo>
                <a:lnTo>
                  <a:pt x="471" y="523"/>
                </a:lnTo>
                <a:lnTo>
                  <a:pt x="471" y="523"/>
                </a:lnTo>
                <a:lnTo>
                  <a:pt x="478" y="509"/>
                </a:lnTo>
                <a:lnTo>
                  <a:pt x="478" y="509"/>
                </a:lnTo>
                <a:lnTo>
                  <a:pt x="478" y="502"/>
                </a:lnTo>
                <a:lnTo>
                  <a:pt x="480" y="496"/>
                </a:lnTo>
                <a:lnTo>
                  <a:pt x="478" y="489"/>
                </a:lnTo>
                <a:lnTo>
                  <a:pt x="478" y="482"/>
                </a:lnTo>
                <a:lnTo>
                  <a:pt x="478" y="482"/>
                </a:lnTo>
                <a:lnTo>
                  <a:pt x="474" y="478"/>
                </a:lnTo>
                <a:lnTo>
                  <a:pt x="471" y="476"/>
                </a:lnTo>
                <a:lnTo>
                  <a:pt x="462" y="474"/>
                </a:lnTo>
                <a:lnTo>
                  <a:pt x="462" y="474"/>
                </a:lnTo>
                <a:lnTo>
                  <a:pt x="462" y="467"/>
                </a:lnTo>
                <a:lnTo>
                  <a:pt x="464" y="460"/>
                </a:lnTo>
                <a:lnTo>
                  <a:pt x="467" y="456"/>
                </a:lnTo>
                <a:lnTo>
                  <a:pt x="467" y="456"/>
                </a:lnTo>
                <a:lnTo>
                  <a:pt x="469" y="454"/>
                </a:lnTo>
                <a:lnTo>
                  <a:pt x="469" y="452"/>
                </a:lnTo>
                <a:lnTo>
                  <a:pt x="471" y="451"/>
                </a:lnTo>
                <a:lnTo>
                  <a:pt x="462" y="436"/>
                </a:lnTo>
                <a:lnTo>
                  <a:pt x="471" y="427"/>
                </a:lnTo>
                <a:lnTo>
                  <a:pt x="471" y="427"/>
                </a:lnTo>
                <a:lnTo>
                  <a:pt x="469" y="422"/>
                </a:lnTo>
                <a:lnTo>
                  <a:pt x="464" y="407"/>
                </a:lnTo>
                <a:lnTo>
                  <a:pt x="464" y="407"/>
                </a:lnTo>
                <a:lnTo>
                  <a:pt x="460" y="402"/>
                </a:lnTo>
                <a:lnTo>
                  <a:pt x="458" y="394"/>
                </a:lnTo>
                <a:lnTo>
                  <a:pt x="455" y="391"/>
                </a:lnTo>
                <a:lnTo>
                  <a:pt x="462" y="382"/>
                </a:lnTo>
                <a:lnTo>
                  <a:pt x="458" y="353"/>
                </a:lnTo>
                <a:lnTo>
                  <a:pt x="471" y="354"/>
                </a:lnTo>
                <a:lnTo>
                  <a:pt x="471" y="354"/>
                </a:lnTo>
                <a:lnTo>
                  <a:pt x="476" y="345"/>
                </a:lnTo>
                <a:lnTo>
                  <a:pt x="480" y="340"/>
                </a:lnTo>
                <a:lnTo>
                  <a:pt x="482" y="338"/>
                </a:lnTo>
                <a:lnTo>
                  <a:pt x="482" y="333"/>
                </a:lnTo>
                <a:lnTo>
                  <a:pt x="482" y="333"/>
                </a:lnTo>
                <a:lnTo>
                  <a:pt x="484" y="327"/>
                </a:lnTo>
                <a:lnTo>
                  <a:pt x="487" y="323"/>
                </a:lnTo>
                <a:lnTo>
                  <a:pt x="489" y="322"/>
                </a:lnTo>
                <a:lnTo>
                  <a:pt x="489" y="318"/>
                </a:lnTo>
                <a:lnTo>
                  <a:pt x="489" y="318"/>
                </a:lnTo>
                <a:lnTo>
                  <a:pt x="489" y="305"/>
                </a:lnTo>
                <a:lnTo>
                  <a:pt x="489" y="298"/>
                </a:lnTo>
                <a:lnTo>
                  <a:pt x="487" y="293"/>
                </a:lnTo>
                <a:lnTo>
                  <a:pt x="487" y="291"/>
                </a:lnTo>
                <a:lnTo>
                  <a:pt x="487" y="291"/>
                </a:lnTo>
                <a:lnTo>
                  <a:pt x="482" y="289"/>
                </a:lnTo>
                <a:lnTo>
                  <a:pt x="482" y="287"/>
                </a:lnTo>
                <a:lnTo>
                  <a:pt x="478" y="283"/>
                </a:lnTo>
                <a:lnTo>
                  <a:pt x="474" y="283"/>
                </a:lnTo>
                <a:lnTo>
                  <a:pt x="474" y="283"/>
                </a:lnTo>
                <a:lnTo>
                  <a:pt x="467" y="283"/>
                </a:lnTo>
                <a:lnTo>
                  <a:pt x="462" y="280"/>
                </a:lnTo>
                <a:lnTo>
                  <a:pt x="451" y="273"/>
                </a:lnTo>
                <a:lnTo>
                  <a:pt x="451" y="273"/>
                </a:lnTo>
                <a:lnTo>
                  <a:pt x="447" y="271"/>
                </a:lnTo>
                <a:lnTo>
                  <a:pt x="442" y="267"/>
                </a:lnTo>
                <a:lnTo>
                  <a:pt x="442" y="265"/>
                </a:lnTo>
                <a:lnTo>
                  <a:pt x="435" y="242"/>
                </a:lnTo>
                <a:lnTo>
                  <a:pt x="435" y="242"/>
                </a:lnTo>
                <a:lnTo>
                  <a:pt x="462" y="222"/>
                </a:lnTo>
                <a:lnTo>
                  <a:pt x="462" y="222"/>
                </a:lnTo>
                <a:lnTo>
                  <a:pt x="469" y="220"/>
                </a:lnTo>
                <a:lnTo>
                  <a:pt x="471" y="218"/>
                </a:lnTo>
                <a:lnTo>
                  <a:pt x="474" y="218"/>
                </a:lnTo>
                <a:lnTo>
                  <a:pt x="474" y="220"/>
                </a:lnTo>
                <a:lnTo>
                  <a:pt x="474" y="220"/>
                </a:lnTo>
                <a:lnTo>
                  <a:pt x="476" y="220"/>
                </a:lnTo>
                <a:lnTo>
                  <a:pt x="478" y="220"/>
                </a:lnTo>
                <a:lnTo>
                  <a:pt x="478" y="216"/>
                </a:lnTo>
                <a:lnTo>
                  <a:pt x="482" y="205"/>
                </a:lnTo>
                <a:lnTo>
                  <a:pt x="482" y="205"/>
                </a:lnTo>
                <a:lnTo>
                  <a:pt x="480" y="196"/>
                </a:lnTo>
                <a:lnTo>
                  <a:pt x="478" y="189"/>
                </a:lnTo>
                <a:lnTo>
                  <a:pt x="476" y="184"/>
                </a:lnTo>
                <a:lnTo>
                  <a:pt x="476" y="184"/>
                </a:lnTo>
                <a:lnTo>
                  <a:pt x="464" y="164"/>
                </a:lnTo>
                <a:lnTo>
                  <a:pt x="464" y="164"/>
                </a:lnTo>
                <a:lnTo>
                  <a:pt x="467" y="160"/>
                </a:lnTo>
                <a:lnTo>
                  <a:pt x="471" y="158"/>
                </a:lnTo>
                <a:lnTo>
                  <a:pt x="473" y="156"/>
                </a:lnTo>
                <a:lnTo>
                  <a:pt x="473" y="156"/>
                </a:lnTo>
                <a:lnTo>
                  <a:pt x="482" y="156"/>
                </a:lnTo>
                <a:lnTo>
                  <a:pt x="487" y="154"/>
                </a:lnTo>
                <a:lnTo>
                  <a:pt x="487" y="153"/>
                </a:lnTo>
                <a:lnTo>
                  <a:pt x="487" y="153"/>
                </a:lnTo>
                <a:lnTo>
                  <a:pt x="487" y="153"/>
                </a:lnTo>
                <a:lnTo>
                  <a:pt x="487" y="147"/>
                </a:lnTo>
                <a:lnTo>
                  <a:pt x="489" y="147"/>
                </a:lnTo>
                <a:lnTo>
                  <a:pt x="491" y="147"/>
                </a:lnTo>
                <a:lnTo>
                  <a:pt x="491" y="145"/>
                </a:lnTo>
                <a:lnTo>
                  <a:pt x="491" y="145"/>
                </a:lnTo>
                <a:lnTo>
                  <a:pt x="491" y="144"/>
                </a:lnTo>
                <a:lnTo>
                  <a:pt x="489" y="140"/>
                </a:lnTo>
                <a:lnTo>
                  <a:pt x="484" y="134"/>
                </a:lnTo>
                <a:lnTo>
                  <a:pt x="473" y="124"/>
                </a:lnTo>
                <a:lnTo>
                  <a:pt x="473" y="124"/>
                </a:lnTo>
                <a:lnTo>
                  <a:pt x="471" y="120"/>
                </a:lnTo>
                <a:lnTo>
                  <a:pt x="471" y="116"/>
                </a:lnTo>
                <a:lnTo>
                  <a:pt x="471" y="111"/>
                </a:lnTo>
                <a:lnTo>
                  <a:pt x="471" y="111"/>
                </a:lnTo>
                <a:lnTo>
                  <a:pt x="473" y="104"/>
                </a:lnTo>
                <a:lnTo>
                  <a:pt x="473" y="104"/>
                </a:lnTo>
                <a:lnTo>
                  <a:pt x="473" y="104"/>
                </a:lnTo>
                <a:lnTo>
                  <a:pt x="473" y="104"/>
                </a:lnTo>
                <a:lnTo>
                  <a:pt x="471" y="102"/>
                </a:lnTo>
                <a:lnTo>
                  <a:pt x="471" y="102"/>
                </a:lnTo>
                <a:lnTo>
                  <a:pt x="469" y="98"/>
                </a:lnTo>
                <a:lnTo>
                  <a:pt x="467" y="95"/>
                </a:lnTo>
                <a:lnTo>
                  <a:pt x="467" y="93"/>
                </a:lnTo>
                <a:lnTo>
                  <a:pt x="467" y="93"/>
                </a:lnTo>
                <a:lnTo>
                  <a:pt x="460" y="91"/>
                </a:lnTo>
                <a:lnTo>
                  <a:pt x="455" y="93"/>
                </a:lnTo>
                <a:lnTo>
                  <a:pt x="451" y="95"/>
                </a:lnTo>
                <a:lnTo>
                  <a:pt x="447" y="98"/>
                </a:lnTo>
                <a:lnTo>
                  <a:pt x="447" y="98"/>
                </a:lnTo>
                <a:lnTo>
                  <a:pt x="447" y="100"/>
                </a:lnTo>
                <a:lnTo>
                  <a:pt x="449" y="104"/>
                </a:lnTo>
                <a:lnTo>
                  <a:pt x="455" y="116"/>
                </a:lnTo>
                <a:lnTo>
                  <a:pt x="458" y="124"/>
                </a:lnTo>
                <a:lnTo>
                  <a:pt x="458" y="127"/>
                </a:lnTo>
                <a:lnTo>
                  <a:pt x="458" y="131"/>
                </a:lnTo>
                <a:lnTo>
                  <a:pt x="456" y="131"/>
                </a:lnTo>
                <a:lnTo>
                  <a:pt x="456" y="131"/>
                </a:lnTo>
                <a:lnTo>
                  <a:pt x="455" y="127"/>
                </a:lnTo>
                <a:lnTo>
                  <a:pt x="451" y="127"/>
                </a:lnTo>
                <a:lnTo>
                  <a:pt x="449" y="124"/>
                </a:lnTo>
                <a:lnTo>
                  <a:pt x="447" y="118"/>
                </a:lnTo>
                <a:lnTo>
                  <a:pt x="442" y="116"/>
                </a:lnTo>
                <a:lnTo>
                  <a:pt x="440" y="116"/>
                </a:lnTo>
                <a:lnTo>
                  <a:pt x="440" y="116"/>
                </a:lnTo>
                <a:lnTo>
                  <a:pt x="435" y="113"/>
                </a:lnTo>
                <a:lnTo>
                  <a:pt x="429" y="113"/>
                </a:lnTo>
                <a:lnTo>
                  <a:pt x="427" y="113"/>
                </a:lnTo>
                <a:lnTo>
                  <a:pt x="425" y="116"/>
                </a:lnTo>
                <a:lnTo>
                  <a:pt x="425" y="116"/>
                </a:lnTo>
                <a:lnTo>
                  <a:pt x="422" y="122"/>
                </a:lnTo>
                <a:lnTo>
                  <a:pt x="422" y="127"/>
                </a:lnTo>
                <a:lnTo>
                  <a:pt x="422" y="136"/>
                </a:lnTo>
                <a:lnTo>
                  <a:pt x="422" y="140"/>
                </a:lnTo>
                <a:lnTo>
                  <a:pt x="425" y="142"/>
                </a:lnTo>
                <a:lnTo>
                  <a:pt x="425" y="142"/>
                </a:lnTo>
                <a:lnTo>
                  <a:pt x="438" y="153"/>
                </a:lnTo>
                <a:lnTo>
                  <a:pt x="445" y="160"/>
                </a:lnTo>
                <a:lnTo>
                  <a:pt x="447" y="162"/>
                </a:lnTo>
                <a:lnTo>
                  <a:pt x="447" y="164"/>
                </a:lnTo>
                <a:lnTo>
                  <a:pt x="447" y="164"/>
                </a:lnTo>
                <a:lnTo>
                  <a:pt x="447" y="165"/>
                </a:lnTo>
                <a:lnTo>
                  <a:pt x="445" y="165"/>
                </a:lnTo>
                <a:lnTo>
                  <a:pt x="440" y="165"/>
                </a:lnTo>
                <a:lnTo>
                  <a:pt x="435" y="164"/>
                </a:lnTo>
                <a:lnTo>
                  <a:pt x="429" y="160"/>
                </a:lnTo>
                <a:lnTo>
                  <a:pt x="429" y="160"/>
                </a:lnTo>
                <a:lnTo>
                  <a:pt x="422" y="156"/>
                </a:lnTo>
                <a:lnTo>
                  <a:pt x="415" y="153"/>
                </a:lnTo>
                <a:lnTo>
                  <a:pt x="411" y="147"/>
                </a:lnTo>
                <a:lnTo>
                  <a:pt x="409" y="145"/>
                </a:lnTo>
                <a:lnTo>
                  <a:pt x="407" y="140"/>
                </a:lnTo>
                <a:lnTo>
                  <a:pt x="407" y="136"/>
                </a:lnTo>
                <a:lnTo>
                  <a:pt x="407" y="136"/>
                </a:lnTo>
                <a:lnTo>
                  <a:pt x="409" y="124"/>
                </a:lnTo>
                <a:lnTo>
                  <a:pt x="413" y="116"/>
                </a:lnTo>
                <a:lnTo>
                  <a:pt x="420" y="100"/>
                </a:lnTo>
                <a:lnTo>
                  <a:pt x="420" y="100"/>
                </a:lnTo>
                <a:lnTo>
                  <a:pt x="425" y="95"/>
                </a:lnTo>
                <a:lnTo>
                  <a:pt x="429" y="85"/>
                </a:lnTo>
                <a:lnTo>
                  <a:pt x="431" y="80"/>
                </a:lnTo>
                <a:lnTo>
                  <a:pt x="431" y="76"/>
                </a:lnTo>
                <a:lnTo>
                  <a:pt x="431" y="73"/>
                </a:lnTo>
                <a:lnTo>
                  <a:pt x="429" y="67"/>
                </a:lnTo>
                <a:lnTo>
                  <a:pt x="429" y="67"/>
                </a:lnTo>
                <a:lnTo>
                  <a:pt x="425" y="60"/>
                </a:lnTo>
                <a:lnTo>
                  <a:pt x="422" y="56"/>
                </a:lnTo>
                <a:lnTo>
                  <a:pt x="420" y="55"/>
                </a:lnTo>
                <a:lnTo>
                  <a:pt x="418" y="55"/>
                </a:lnTo>
                <a:lnTo>
                  <a:pt x="418" y="55"/>
                </a:lnTo>
                <a:lnTo>
                  <a:pt x="420" y="58"/>
                </a:lnTo>
                <a:lnTo>
                  <a:pt x="422" y="67"/>
                </a:lnTo>
                <a:lnTo>
                  <a:pt x="422" y="71"/>
                </a:lnTo>
                <a:lnTo>
                  <a:pt x="422" y="76"/>
                </a:lnTo>
                <a:lnTo>
                  <a:pt x="422" y="80"/>
                </a:lnTo>
                <a:lnTo>
                  <a:pt x="420" y="85"/>
                </a:lnTo>
                <a:lnTo>
                  <a:pt x="420" y="85"/>
                </a:lnTo>
                <a:lnTo>
                  <a:pt x="415" y="95"/>
                </a:lnTo>
                <a:lnTo>
                  <a:pt x="407" y="100"/>
                </a:lnTo>
                <a:lnTo>
                  <a:pt x="398" y="104"/>
                </a:lnTo>
                <a:lnTo>
                  <a:pt x="393" y="105"/>
                </a:lnTo>
                <a:lnTo>
                  <a:pt x="393" y="105"/>
                </a:lnTo>
                <a:lnTo>
                  <a:pt x="389" y="105"/>
                </a:lnTo>
                <a:lnTo>
                  <a:pt x="386" y="105"/>
                </a:lnTo>
                <a:lnTo>
                  <a:pt x="380" y="111"/>
                </a:lnTo>
                <a:lnTo>
                  <a:pt x="376" y="116"/>
                </a:lnTo>
                <a:lnTo>
                  <a:pt x="375" y="118"/>
                </a:lnTo>
                <a:lnTo>
                  <a:pt x="375" y="118"/>
                </a:lnTo>
                <a:lnTo>
                  <a:pt x="371" y="120"/>
                </a:lnTo>
                <a:lnTo>
                  <a:pt x="369" y="124"/>
                </a:lnTo>
                <a:lnTo>
                  <a:pt x="369" y="124"/>
                </a:lnTo>
                <a:lnTo>
                  <a:pt x="369" y="127"/>
                </a:lnTo>
                <a:lnTo>
                  <a:pt x="369" y="127"/>
                </a:lnTo>
                <a:lnTo>
                  <a:pt x="371" y="136"/>
                </a:lnTo>
                <a:lnTo>
                  <a:pt x="371" y="142"/>
                </a:lnTo>
                <a:lnTo>
                  <a:pt x="371" y="147"/>
                </a:lnTo>
                <a:lnTo>
                  <a:pt x="369" y="153"/>
                </a:lnTo>
                <a:lnTo>
                  <a:pt x="369" y="153"/>
                </a:lnTo>
                <a:lnTo>
                  <a:pt x="369" y="156"/>
                </a:lnTo>
                <a:lnTo>
                  <a:pt x="369" y="160"/>
                </a:lnTo>
                <a:lnTo>
                  <a:pt x="371" y="165"/>
                </a:lnTo>
                <a:lnTo>
                  <a:pt x="371" y="169"/>
                </a:lnTo>
                <a:lnTo>
                  <a:pt x="371" y="173"/>
                </a:lnTo>
                <a:lnTo>
                  <a:pt x="369" y="176"/>
                </a:lnTo>
                <a:lnTo>
                  <a:pt x="366" y="180"/>
                </a:lnTo>
                <a:lnTo>
                  <a:pt x="366" y="180"/>
                </a:lnTo>
                <a:lnTo>
                  <a:pt x="356" y="185"/>
                </a:lnTo>
                <a:lnTo>
                  <a:pt x="347" y="196"/>
                </a:lnTo>
                <a:lnTo>
                  <a:pt x="338" y="205"/>
                </a:lnTo>
                <a:lnTo>
                  <a:pt x="336" y="209"/>
                </a:lnTo>
                <a:lnTo>
                  <a:pt x="335" y="214"/>
                </a:lnTo>
                <a:lnTo>
                  <a:pt x="335" y="214"/>
                </a:lnTo>
                <a:lnTo>
                  <a:pt x="335" y="222"/>
                </a:lnTo>
                <a:lnTo>
                  <a:pt x="331" y="229"/>
                </a:lnTo>
                <a:lnTo>
                  <a:pt x="329" y="238"/>
                </a:lnTo>
                <a:lnTo>
                  <a:pt x="327" y="240"/>
                </a:lnTo>
                <a:lnTo>
                  <a:pt x="327" y="242"/>
                </a:lnTo>
                <a:lnTo>
                  <a:pt x="327" y="242"/>
                </a:lnTo>
                <a:lnTo>
                  <a:pt x="331" y="245"/>
                </a:lnTo>
                <a:lnTo>
                  <a:pt x="338" y="249"/>
                </a:lnTo>
                <a:lnTo>
                  <a:pt x="347" y="253"/>
                </a:lnTo>
                <a:lnTo>
                  <a:pt x="351" y="253"/>
                </a:lnTo>
                <a:lnTo>
                  <a:pt x="351" y="253"/>
                </a:lnTo>
                <a:lnTo>
                  <a:pt x="351" y="253"/>
                </a:lnTo>
                <a:lnTo>
                  <a:pt x="356" y="253"/>
                </a:lnTo>
                <a:lnTo>
                  <a:pt x="362" y="253"/>
                </a:lnTo>
                <a:lnTo>
                  <a:pt x="369" y="256"/>
                </a:lnTo>
                <a:lnTo>
                  <a:pt x="375" y="260"/>
                </a:lnTo>
                <a:lnTo>
                  <a:pt x="375" y="260"/>
                </a:lnTo>
                <a:lnTo>
                  <a:pt x="380" y="265"/>
                </a:lnTo>
                <a:lnTo>
                  <a:pt x="387" y="271"/>
                </a:lnTo>
                <a:lnTo>
                  <a:pt x="389" y="276"/>
                </a:lnTo>
                <a:lnTo>
                  <a:pt x="391" y="280"/>
                </a:lnTo>
                <a:lnTo>
                  <a:pt x="393" y="285"/>
                </a:lnTo>
                <a:lnTo>
                  <a:pt x="393" y="289"/>
                </a:lnTo>
                <a:lnTo>
                  <a:pt x="393" y="289"/>
                </a:lnTo>
                <a:lnTo>
                  <a:pt x="393" y="311"/>
                </a:lnTo>
                <a:lnTo>
                  <a:pt x="391" y="314"/>
                </a:lnTo>
                <a:lnTo>
                  <a:pt x="389" y="320"/>
                </a:lnTo>
                <a:lnTo>
                  <a:pt x="389" y="320"/>
                </a:lnTo>
                <a:lnTo>
                  <a:pt x="389" y="320"/>
                </a:lnTo>
                <a:lnTo>
                  <a:pt x="386" y="320"/>
                </a:lnTo>
                <a:lnTo>
                  <a:pt x="384" y="318"/>
                </a:lnTo>
                <a:lnTo>
                  <a:pt x="380" y="314"/>
                </a:lnTo>
                <a:lnTo>
                  <a:pt x="378" y="320"/>
                </a:lnTo>
                <a:lnTo>
                  <a:pt x="378" y="320"/>
                </a:lnTo>
                <a:lnTo>
                  <a:pt x="376" y="322"/>
                </a:lnTo>
                <a:lnTo>
                  <a:pt x="375" y="327"/>
                </a:lnTo>
                <a:lnTo>
                  <a:pt x="373" y="333"/>
                </a:lnTo>
                <a:lnTo>
                  <a:pt x="373" y="338"/>
                </a:lnTo>
                <a:lnTo>
                  <a:pt x="373" y="338"/>
                </a:lnTo>
                <a:lnTo>
                  <a:pt x="376" y="343"/>
                </a:lnTo>
                <a:lnTo>
                  <a:pt x="384" y="349"/>
                </a:lnTo>
                <a:lnTo>
                  <a:pt x="393" y="356"/>
                </a:lnTo>
                <a:lnTo>
                  <a:pt x="393" y="356"/>
                </a:lnTo>
                <a:lnTo>
                  <a:pt x="386" y="354"/>
                </a:lnTo>
                <a:lnTo>
                  <a:pt x="378" y="353"/>
                </a:lnTo>
                <a:lnTo>
                  <a:pt x="373" y="349"/>
                </a:lnTo>
                <a:lnTo>
                  <a:pt x="373" y="349"/>
                </a:lnTo>
                <a:lnTo>
                  <a:pt x="369" y="343"/>
                </a:lnTo>
                <a:lnTo>
                  <a:pt x="366" y="340"/>
                </a:lnTo>
                <a:lnTo>
                  <a:pt x="366" y="338"/>
                </a:lnTo>
                <a:lnTo>
                  <a:pt x="367" y="329"/>
                </a:lnTo>
                <a:lnTo>
                  <a:pt x="367" y="329"/>
                </a:lnTo>
                <a:lnTo>
                  <a:pt x="371" y="323"/>
                </a:lnTo>
                <a:lnTo>
                  <a:pt x="375" y="314"/>
                </a:lnTo>
                <a:lnTo>
                  <a:pt x="376" y="311"/>
                </a:lnTo>
                <a:lnTo>
                  <a:pt x="378" y="303"/>
                </a:lnTo>
                <a:lnTo>
                  <a:pt x="378" y="303"/>
                </a:lnTo>
                <a:lnTo>
                  <a:pt x="376" y="296"/>
                </a:lnTo>
                <a:lnTo>
                  <a:pt x="375" y="289"/>
                </a:lnTo>
                <a:lnTo>
                  <a:pt x="375" y="285"/>
                </a:lnTo>
                <a:lnTo>
                  <a:pt x="375" y="280"/>
                </a:lnTo>
                <a:lnTo>
                  <a:pt x="375" y="280"/>
                </a:lnTo>
                <a:lnTo>
                  <a:pt x="376" y="273"/>
                </a:lnTo>
                <a:lnTo>
                  <a:pt x="375" y="271"/>
                </a:lnTo>
                <a:lnTo>
                  <a:pt x="373" y="269"/>
                </a:lnTo>
                <a:lnTo>
                  <a:pt x="373" y="269"/>
                </a:lnTo>
                <a:lnTo>
                  <a:pt x="367" y="267"/>
                </a:lnTo>
                <a:lnTo>
                  <a:pt x="358" y="267"/>
                </a:lnTo>
                <a:lnTo>
                  <a:pt x="344" y="267"/>
                </a:lnTo>
                <a:lnTo>
                  <a:pt x="344" y="267"/>
                </a:lnTo>
                <a:lnTo>
                  <a:pt x="338" y="267"/>
                </a:lnTo>
                <a:lnTo>
                  <a:pt x="335" y="267"/>
                </a:lnTo>
                <a:lnTo>
                  <a:pt x="331" y="269"/>
                </a:lnTo>
                <a:lnTo>
                  <a:pt x="329" y="276"/>
                </a:lnTo>
                <a:lnTo>
                  <a:pt x="329" y="276"/>
                </a:lnTo>
                <a:lnTo>
                  <a:pt x="327" y="280"/>
                </a:lnTo>
                <a:lnTo>
                  <a:pt x="324" y="283"/>
                </a:lnTo>
                <a:lnTo>
                  <a:pt x="324" y="287"/>
                </a:lnTo>
                <a:lnTo>
                  <a:pt x="324" y="289"/>
                </a:lnTo>
                <a:lnTo>
                  <a:pt x="324" y="289"/>
                </a:lnTo>
                <a:lnTo>
                  <a:pt x="324" y="293"/>
                </a:lnTo>
                <a:lnTo>
                  <a:pt x="326" y="300"/>
                </a:lnTo>
                <a:lnTo>
                  <a:pt x="324" y="307"/>
                </a:lnTo>
                <a:lnTo>
                  <a:pt x="324" y="313"/>
                </a:lnTo>
                <a:lnTo>
                  <a:pt x="324" y="313"/>
                </a:lnTo>
                <a:lnTo>
                  <a:pt x="320" y="314"/>
                </a:lnTo>
                <a:lnTo>
                  <a:pt x="316" y="318"/>
                </a:lnTo>
                <a:lnTo>
                  <a:pt x="309" y="323"/>
                </a:lnTo>
                <a:lnTo>
                  <a:pt x="304" y="327"/>
                </a:lnTo>
                <a:lnTo>
                  <a:pt x="295" y="331"/>
                </a:lnTo>
                <a:lnTo>
                  <a:pt x="295" y="331"/>
                </a:lnTo>
                <a:lnTo>
                  <a:pt x="291" y="333"/>
                </a:lnTo>
                <a:lnTo>
                  <a:pt x="291" y="334"/>
                </a:lnTo>
                <a:lnTo>
                  <a:pt x="287" y="343"/>
                </a:lnTo>
                <a:lnTo>
                  <a:pt x="282" y="349"/>
                </a:lnTo>
                <a:lnTo>
                  <a:pt x="280" y="353"/>
                </a:lnTo>
                <a:lnTo>
                  <a:pt x="275" y="353"/>
                </a:lnTo>
                <a:lnTo>
                  <a:pt x="275" y="353"/>
                </a:lnTo>
                <a:lnTo>
                  <a:pt x="273" y="353"/>
                </a:lnTo>
                <a:lnTo>
                  <a:pt x="273" y="353"/>
                </a:lnTo>
                <a:lnTo>
                  <a:pt x="255" y="356"/>
                </a:lnTo>
                <a:lnTo>
                  <a:pt x="249" y="356"/>
                </a:lnTo>
                <a:lnTo>
                  <a:pt x="246" y="362"/>
                </a:lnTo>
                <a:lnTo>
                  <a:pt x="246" y="362"/>
                </a:lnTo>
                <a:lnTo>
                  <a:pt x="242" y="363"/>
                </a:lnTo>
                <a:lnTo>
                  <a:pt x="238" y="367"/>
                </a:lnTo>
                <a:lnTo>
                  <a:pt x="237" y="369"/>
                </a:lnTo>
                <a:lnTo>
                  <a:pt x="231" y="369"/>
                </a:lnTo>
                <a:lnTo>
                  <a:pt x="229" y="367"/>
                </a:lnTo>
                <a:lnTo>
                  <a:pt x="229" y="367"/>
                </a:lnTo>
                <a:lnTo>
                  <a:pt x="222" y="362"/>
                </a:lnTo>
                <a:lnTo>
                  <a:pt x="213" y="354"/>
                </a:lnTo>
                <a:lnTo>
                  <a:pt x="213" y="354"/>
                </a:lnTo>
                <a:lnTo>
                  <a:pt x="208" y="349"/>
                </a:lnTo>
                <a:lnTo>
                  <a:pt x="198" y="345"/>
                </a:lnTo>
                <a:lnTo>
                  <a:pt x="189" y="340"/>
                </a:lnTo>
                <a:lnTo>
                  <a:pt x="188" y="338"/>
                </a:lnTo>
                <a:lnTo>
                  <a:pt x="186" y="334"/>
                </a:lnTo>
                <a:lnTo>
                  <a:pt x="186" y="334"/>
                </a:lnTo>
                <a:lnTo>
                  <a:pt x="186" y="323"/>
                </a:lnTo>
                <a:lnTo>
                  <a:pt x="186" y="322"/>
                </a:lnTo>
                <a:lnTo>
                  <a:pt x="188" y="322"/>
                </a:lnTo>
                <a:lnTo>
                  <a:pt x="191" y="323"/>
                </a:lnTo>
                <a:lnTo>
                  <a:pt x="191" y="323"/>
                </a:lnTo>
                <a:lnTo>
                  <a:pt x="197" y="327"/>
                </a:lnTo>
                <a:lnTo>
                  <a:pt x="198" y="331"/>
                </a:lnTo>
                <a:lnTo>
                  <a:pt x="202" y="338"/>
                </a:lnTo>
                <a:lnTo>
                  <a:pt x="204" y="340"/>
                </a:lnTo>
                <a:lnTo>
                  <a:pt x="206" y="343"/>
                </a:lnTo>
                <a:lnTo>
                  <a:pt x="208" y="343"/>
                </a:lnTo>
                <a:lnTo>
                  <a:pt x="211" y="343"/>
                </a:lnTo>
                <a:lnTo>
                  <a:pt x="211" y="343"/>
                </a:lnTo>
                <a:lnTo>
                  <a:pt x="222" y="343"/>
                </a:lnTo>
                <a:lnTo>
                  <a:pt x="231" y="340"/>
                </a:lnTo>
                <a:lnTo>
                  <a:pt x="240" y="338"/>
                </a:lnTo>
                <a:lnTo>
                  <a:pt x="244" y="334"/>
                </a:lnTo>
                <a:lnTo>
                  <a:pt x="246" y="334"/>
                </a:lnTo>
                <a:lnTo>
                  <a:pt x="246" y="334"/>
                </a:lnTo>
                <a:lnTo>
                  <a:pt x="253" y="327"/>
                </a:lnTo>
                <a:lnTo>
                  <a:pt x="266" y="320"/>
                </a:lnTo>
                <a:lnTo>
                  <a:pt x="278" y="313"/>
                </a:lnTo>
                <a:lnTo>
                  <a:pt x="286" y="305"/>
                </a:lnTo>
                <a:lnTo>
                  <a:pt x="286" y="305"/>
                </a:lnTo>
                <a:lnTo>
                  <a:pt x="287" y="303"/>
                </a:lnTo>
                <a:lnTo>
                  <a:pt x="287" y="300"/>
                </a:lnTo>
                <a:lnTo>
                  <a:pt x="289" y="291"/>
                </a:lnTo>
                <a:lnTo>
                  <a:pt x="291" y="287"/>
                </a:lnTo>
                <a:lnTo>
                  <a:pt x="295" y="283"/>
                </a:lnTo>
                <a:lnTo>
                  <a:pt x="297" y="280"/>
                </a:lnTo>
                <a:lnTo>
                  <a:pt x="297" y="280"/>
                </a:lnTo>
                <a:lnTo>
                  <a:pt x="304" y="278"/>
                </a:lnTo>
                <a:lnTo>
                  <a:pt x="309" y="276"/>
                </a:lnTo>
                <a:lnTo>
                  <a:pt x="311" y="273"/>
                </a:lnTo>
                <a:lnTo>
                  <a:pt x="311" y="271"/>
                </a:lnTo>
                <a:lnTo>
                  <a:pt x="311" y="269"/>
                </a:lnTo>
                <a:lnTo>
                  <a:pt x="311" y="269"/>
                </a:lnTo>
                <a:lnTo>
                  <a:pt x="311" y="262"/>
                </a:lnTo>
                <a:lnTo>
                  <a:pt x="307" y="249"/>
                </a:lnTo>
                <a:lnTo>
                  <a:pt x="306" y="245"/>
                </a:lnTo>
                <a:lnTo>
                  <a:pt x="306" y="238"/>
                </a:lnTo>
                <a:lnTo>
                  <a:pt x="307" y="231"/>
                </a:lnTo>
                <a:lnTo>
                  <a:pt x="309" y="225"/>
                </a:lnTo>
                <a:lnTo>
                  <a:pt x="309" y="225"/>
                </a:lnTo>
                <a:lnTo>
                  <a:pt x="327" y="196"/>
                </a:lnTo>
                <a:lnTo>
                  <a:pt x="333" y="182"/>
                </a:lnTo>
                <a:lnTo>
                  <a:pt x="338" y="173"/>
                </a:lnTo>
                <a:lnTo>
                  <a:pt x="338" y="173"/>
                </a:lnTo>
                <a:lnTo>
                  <a:pt x="344" y="162"/>
                </a:lnTo>
                <a:lnTo>
                  <a:pt x="349" y="153"/>
                </a:lnTo>
                <a:lnTo>
                  <a:pt x="351" y="144"/>
                </a:lnTo>
                <a:lnTo>
                  <a:pt x="351" y="140"/>
                </a:lnTo>
                <a:lnTo>
                  <a:pt x="351" y="136"/>
                </a:lnTo>
                <a:lnTo>
                  <a:pt x="351" y="136"/>
                </a:lnTo>
                <a:lnTo>
                  <a:pt x="351" y="131"/>
                </a:lnTo>
                <a:lnTo>
                  <a:pt x="347" y="124"/>
                </a:lnTo>
                <a:lnTo>
                  <a:pt x="346" y="120"/>
                </a:lnTo>
                <a:lnTo>
                  <a:pt x="346" y="116"/>
                </a:lnTo>
                <a:lnTo>
                  <a:pt x="347" y="113"/>
                </a:lnTo>
                <a:lnTo>
                  <a:pt x="351" y="111"/>
                </a:lnTo>
                <a:lnTo>
                  <a:pt x="351" y="111"/>
                </a:lnTo>
                <a:lnTo>
                  <a:pt x="366" y="96"/>
                </a:lnTo>
                <a:lnTo>
                  <a:pt x="373" y="91"/>
                </a:lnTo>
                <a:lnTo>
                  <a:pt x="376" y="82"/>
                </a:lnTo>
                <a:lnTo>
                  <a:pt x="376" y="82"/>
                </a:lnTo>
                <a:lnTo>
                  <a:pt x="380" y="76"/>
                </a:lnTo>
                <a:lnTo>
                  <a:pt x="386" y="71"/>
                </a:lnTo>
                <a:lnTo>
                  <a:pt x="389" y="60"/>
                </a:lnTo>
                <a:lnTo>
                  <a:pt x="389" y="55"/>
                </a:lnTo>
                <a:lnTo>
                  <a:pt x="389" y="55"/>
                </a:lnTo>
                <a:lnTo>
                  <a:pt x="387" y="53"/>
                </a:lnTo>
                <a:lnTo>
                  <a:pt x="386" y="49"/>
                </a:lnTo>
                <a:lnTo>
                  <a:pt x="376" y="42"/>
                </a:lnTo>
                <a:lnTo>
                  <a:pt x="369" y="35"/>
                </a:lnTo>
                <a:lnTo>
                  <a:pt x="358" y="31"/>
                </a:lnTo>
                <a:lnTo>
                  <a:pt x="358" y="31"/>
                </a:lnTo>
                <a:lnTo>
                  <a:pt x="356" y="29"/>
                </a:lnTo>
                <a:lnTo>
                  <a:pt x="355" y="29"/>
                </a:lnTo>
                <a:lnTo>
                  <a:pt x="362" y="29"/>
                </a:lnTo>
                <a:lnTo>
                  <a:pt x="376" y="27"/>
                </a:lnTo>
                <a:lnTo>
                  <a:pt x="376" y="27"/>
                </a:lnTo>
                <a:lnTo>
                  <a:pt x="380" y="25"/>
                </a:lnTo>
                <a:lnTo>
                  <a:pt x="386" y="20"/>
                </a:lnTo>
                <a:lnTo>
                  <a:pt x="386" y="16"/>
                </a:lnTo>
                <a:lnTo>
                  <a:pt x="386" y="9"/>
                </a:lnTo>
                <a:lnTo>
                  <a:pt x="386" y="9"/>
                </a:lnTo>
                <a:lnTo>
                  <a:pt x="380" y="5"/>
                </a:lnTo>
                <a:lnTo>
                  <a:pt x="376" y="0"/>
                </a:lnTo>
                <a:lnTo>
                  <a:pt x="373" y="0"/>
                </a:lnTo>
                <a:lnTo>
                  <a:pt x="369" y="5"/>
                </a:lnTo>
                <a:lnTo>
                  <a:pt x="369" y="5"/>
                </a:lnTo>
                <a:lnTo>
                  <a:pt x="364" y="9"/>
                </a:lnTo>
                <a:lnTo>
                  <a:pt x="358" y="15"/>
                </a:lnTo>
                <a:lnTo>
                  <a:pt x="355" y="20"/>
                </a:lnTo>
                <a:lnTo>
                  <a:pt x="355" y="20"/>
                </a:lnTo>
                <a:lnTo>
                  <a:pt x="351" y="20"/>
                </a:lnTo>
                <a:lnTo>
                  <a:pt x="349" y="20"/>
                </a:lnTo>
                <a:lnTo>
                  <a:pt x="347" y="22"/>
                </a:lnTo>
                <a:lnTo>
                  <a:pt x="347" y="22"/>
                </a:lnTo>
                <a:lnTo>
                  <a:pt x="331" y="36"/>
                </a:lnTo>
                <a:lnTo>
                  <a:pt x="315" y="58"/>
                </a:lnTo>
                <a:lnTo>
                  <a:pt x="315" y="58"/>
                </a:lnTo>
                <a:lnTo>
                  <a:pt x="307" y="67"/>
                </a:lnTo>
                <a:lnTo>
                  <a:pt x="300" y="75"/>
                </a:lnTo>
                <a:lnTo>
                  <a:pt x="295" y="76"/>
                </a:lnTo>
                <a:lnTo>
                  <a:pt x="291" y="78"/>
                </a:lnTo>
                <a:lnTo>
                  <a:pt x="286" y="80"/>
                </a:lnTo>
                <a:lnTo>
                  <a:pt x="282" y="82"/>
                </a:lnTo>
                <a:lnTo>
                  <a:pt x="282" y="82"/>
                </a:lnTo>
                <a:lnTo>
                  <a:pt x="275" y="82"/>
                </a:lnTo>
                <a:lnTo>
                  <a:pt x="269" y="84"/>
                </a:lnTo>
                <a:lnTo>
                  <a:pt x="262" y="91"/>
                </a:lnTo>
                <a:lnTo>
                  <a:pt x="255" y="95"/>
                </a:lnTo>
                <a:lnTo>
                  <a:pt x="251" y="100"/>
                </a:lnTo>
                <a:lnTo>
                  <a:pt x="251" y="100"/>
                </a:lnTo>
                <a:lnTo>
                  <a:pt x="249" y="100"/>
                </a:lnTo>
                <a:lnTo>
                  <a:pt x="249" y="102"/>
                </a:lnTo>
                <a:lnTo>
                  <a:pt x="251" y="105"/>
                </a:lnTo>
                <a:lnTo>
                  <a:pt x="253" y="109"/>
                </a:lnTo>
                <a:lnTo>
                  <a:pt x="251" y="113"/>
                </a:lnTo>
                <a:lnTo>
                  <a:pt x="249" y="116"/>
                </a:lnTo>
                <a:lnTo>
                  <a:pt x="247" y="122"/>
                </a:lnTo>
                <a:lnTo>
                  <a:pt x="247" y="122"/>
                </a:lnTo>
                <a:lnTo>
                  <a:pt x="244" y="127"/>
                </a:lnTo>
                <a:lnTo>
                  <a:pt x="240" y="134"/>
                </a:lnTo>
                <a:lnTo>
                  <a:pt x="231" y="144"/>
                </a:lnTo>
                <a:lnTo>
                  <a:pt x="226" y="147"/>
                </a:lnTo>
                <a:lnTo>
                  <a:pt x="222" y="153"/>
                </a:lnTo>
                <a:lnTo>
                  <a:pt x="222" y="156"/>
                </a:lnTo>
                <a:lnTo>
                  <a:pt x="222" y="156"/>
                </a:lnTo>
                <a:lnTo>
                  <a:pt x="224" y="160"/>
                </a:lnTo>
                <a:lnTo>
                  <a:pt x="226" y="165"/>
                </a:lnTo>
                <a:lnTo>
                  <a:pt x="229" y="173"/>
                </a:lnTo>
                <a:lnTo>
                  <a:pt x="229" y="176"/>
                </a:lnTo>
                <a:lnTo>
                  <a:pt x="229" y="178"/>
                </a:lnTo>
                <a:lnTo>
                  <a:pt x="229" y="178"/>
                </a:lnTo>
                <a:lnTo>
                  <a:pt x="229" y="187"/>
                </a:lnTo>
                <a:lnTo>
                  <a:pt x="229" y="196"/>
                </a:lnTo>
                <a:lnTo>
                  <a:pt x="229" y="196"/>
                </a:lnTo>
                <a:lnTo>
                  <a:pt x="231" y="202"/>
                </a:lnTo>
                <a:lnTo>
                  <a:pt x="233" y="209"/>
                </a:lnTo>
                <a:lnTo>
                  <a:pt x="237" y="218"/>
                </a:lnTo>
                <a:lnTo>
                  <a:pt x="237" y="220"/>
                </a:lnTo>
                <a:lnTo>
                  <a:pt x="231" y="222"/>
                </a:lnTo>
                <a:lnTo>
                  <a:pt x="231" y="222"/>
                </a:lnTo>
                <a:lnTo>
                  <a:pt x="218" y="240"/>
                </a:lnTo>
                <a:lnTo>
                  <a:pt x="209" y="243"/>
                </a:lnTo>
                <a:lnTo>
                  <a:pt x="208" y="243"/>
                </a:lnTo>
                <a:lnTo>
                  <a:pt x="208" y="242"/>
                </a:lnTo>
                <a:lnTo>
                  <a:pt x="208" y="242"/>
                </a:lnTo>
                <a:lnTo>
                  <a:pt x="208" y="234"/>
                </a:lnTo>
                <a:lnTo>
                  <a:pt x="206" y="222"/>
                </a:lnTo>
                <a:lnTo>
                  <a:pt x="204" y="209"/>
                </a:lnTo>
                <a:lnTo>
                  <a:pt x="200" y="196"/>
                </a:lnTo>
                <a:lnTo>
                  <a:pt x="200" y="196"/>
                </a:lnTo>
                <a:lnTo>
                  <a:pt x="184" y="160"/>
                </a:lnTo>
                <a:lnTo>
                  <a:pt x="177" y="164"/>
                </a:lnTo>
                <a:lnTo>
                  <a:pt x="177" y="164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lnTo>
                  <a:pt x="162" y="167"/>
                </a:lnTo>
                <a:close/>
              </a:path>
            </a:pathLst>
          </a:custGeom>
          <a:solidFill>
            <a:srgbClr val="28BE46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97D8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Freeform 101">
            <a:extLst>
              <a:ext uri="{FF2B5EF4-FFF2-40B4-BE49-F238E27FC236}">
                <a16:creationId xmlns:a16="http://schemas.microsoft.com/office/drawing/2014/main" id="{94B8D4FD-7F07-5C4E-BF5A-2F807BF92007}"/>
              </a:ext>
            </a:extLst>
          </p:cNvPr>
          <p:cNvSpPr>
            <a:spLocks/>
          </p:cNvSpPr>
          <p:nvPr/>
        </p:nvSpPr>
        <p:spPr bwMode="auto">
          <a:xfrm>
            <a:off x="2062138" y="3892387"/>
            <a:ext cx="873324" cy="678103"/>
          </a:xfrm>
          <a:custGeom>
            <a:avLst/>
            <a:gdLst>
              <a:gd name="T0" fmla="*/ 572 w 603"/>
              <a:gd name="T1" fmla="*/ 396 h 474"/>
              <a:gd name="T2" fmla="*/ 571 w 603"/>
              <a:gd name="T3" fmla="*/ 367 h 474"/>
              <a:gd name="T4" fmla="*/ 543 w 603"/>
              <a:gd name="T5" fmla="*/ 350 h 474"/>
              <a:gd name="T6" fmla="*/ 529 w 603"/>
              <a:gd name="T7" fmla="*/ 330 h 474"/>
              <a:gd name="T8" fmla="*/ 507 w 603"/>
              <a:gd name="T9" fmla="*/ 320 h 474"/>
              <a:gd name="T10" fmla="*/ 491 w 603"/>
              <a:gd name="T11" fmla="*/ 309 h 474"/>
              <a:gd name="T12" fmla="*/ 445 w 603"/>
              <a:gd name="T13" fmla="*/ 314 h 474"/>
              <a:gd name="T14" fmla="*/ 402 w 603"/>
              <a:gd name="T15" fmla="*/ 278 h 474"/>
              <a:gd name="T16" fmla="*/ 354 w 603"/>
              <a:gd name="T17" fmla="*/ 260 h 474"/>
              <a:gd name="T18" fmla="*/ 333 w 603"/>
              <a:gd name="T19" fmla="*/ 241 h 474"/>
              <a:gd name="T20" fmla="*/ 305 w 603"/>
              <a:gd name="T21" fmla="*/ 223 h 474"/>
              <a:gd name="T22" fmla="*/ 287 w 603"/>
              <a:gd name="T23" fmla="*/ 191 h 474"/>
              <a:gd name="T24" fmla="*/ 287 w 603"/>
              <a:gd name="T25" fmla="*/ 154 h 474"/>
              <a:gd name="T26" fmla="*/ 262 w 603"/>
              <a:gd name="T27" fmla="*/ 138 h 474"/>
              <a:gd name="T28" fmla="*/ 222 w 603"/>
              <a:gd name="T29" fmla="*/ 136 h 474"/>
              <a:gd name="T30" fmla="*/ 211 w 603"/>
              <a:gd name="T31" fmla="*/ 105 h 474"/>
              <a:gd name="T32" fmla="*/ 180 w 603"/>
              <a:gd name="T33" fmla="*/ 92 h 474"/>
              <a:gd name="T34" fmla="*/ 155 w 603"/>
              <a:gd name="T35" fmla="*/ 85 h 474"/>
              <a:gd name="T36" fmla="*/ 136 w 603"/>
              <a:gd name="T37" fmla="*/ 58 h 474"/>
              <a:gd name="T38" fmla="*/ 160 w 603"/>
              <a:gd name="T39" fmla="*/ 34 h 474"/>
              <a:gd name="T40" fmla="*/ 160 w 603"/>
              <a:gd name="T41" fmla="*/ 12 h 474"/>
              <a:gd name="T42" fmla="*/ 113 w 603"/>
              <a:gd name="T43" fmla="*/ 20 h 474"/>
              <a:gd name="T44" fmla="*/ 98 w 603"/>
              <a:gd name="T45" fmla="*/ 11 h 474"/>
              <a:gd name="T46" fmla="*/ 71 w 603"/>
              <a:gd name="T47" fmla="*/ 34 h 474"/>
              <a:gd name="T48" fmla="*/ 64 w 603"/>
              <a:gd name="T49" fmla="*/ 52 h 474"/>
              <a:gd name="T50" fmla="*/ 28 w 603"/>
              <a:gd name="T51" fmla="*/ 81 h 474"/>
              <a:gd name="T52" fmla="*/ 17 w 603"/>
              <a:gd name="T53" fmla="*/ 111 h 474"/>
              <a:gd name="T54" fmla="*/ 11 w 603"/>
              <a:gd name="T55" fmla="*/ 120 h 474"/>
              <a:gd name="T56" fmla="*/ 0 w 603"/>
              <a:gd name="T57" fmla="*/ 138 h 474"/>
              <a:gd name="T58" fmla="*/ 9 w 603"/>
              <a:gd name="T59" fmla="*/ 158 h 474"/>
              <a:gd name="T60" fmla="*/ 35 w 603"/>
              <a:gd name="T61" fmla="*/ 200 h 474"/>
              <a:gd name="T62" fmla="*/ 37 w 603"/>
              <a:gd name="T63" fmla="*/ 229 h 474"/>
              <a:gd name="T64" fmla="*/ 29 w 603"/>
              <a:gd name="T65" fmla="*/ 265 h 474"/>
              <a:gd name="T66" fmla="*/ 46 w 603"/>
              <a:gd name="T67" fmla="*/ 330 h 474"/>
              <a:gd name="T68" fmla="*/ 53 w 603"/>
              <a:gd name="T69" fmla="*/ 376 h 474"/>
              <a:gd name="T70" fmla="*/ 87 w 603"/>
              <a:gd name="T71" fmla="*/ 361 h 474"/>
              <a:gd name="T72" fmla="*/ 153 w 603"/>
              <a:gd name="T73" fmla="*/ 350 h 474"/>
              <a:gd name="T74" fmla="*/ 213 w 603"/>
              <a:gd name="T75" fmla="*/ 359 h 474"/>
              <a:gd name="T76" fmla="*/ 222 w 603"/>
              <a:gd name="T77" fmla="*/ 403 h 474"/>
              <a:gd name="T78" fmla="*/ 262 w 603"/>
              <a:gd name="T79" fmla="*/ 429 h 474"/>
              <a:gd name="T80" fmla="*/ 271 w 603"/>
              <a:gd name="T81" fmla="*/ 452 h 474"/>
              <a:gd name="T82" fmla="*/ 287 w 603"/>
              <a:gd name="T83" fmla="*/ 470 h 474"/>
              <a:gd name="T84" fmla="*/ 311 w 603"/>
              <a:gd name="T85" fmla="*/ 458 h 474"/>
              <a:gd name="T86" fmla="*/ 338 w 603"/>
              <a:gd name="T87" fmla="*/ 447 h 474"/>
              <a:gd name="T88" fmla="*/ 365 w 603"/>
              <a:gd name="T89" fmla="*/ 403 h 474"/>
              <a:gd name="T90" fmla="*/ 374 w 603"/>
              <a:gd name="T91" fmla="*/ 396 h 474"/>
              <a:gd name="T92" fmla="*/ 418 w 603"/>
              <a:gd name="T93" fmla="*/ 410 h 474"/>
              <a:gd name="T94" fmla="*/ 427 w 603"/>
              <a:gd name="T95" fmla="*/ 423 h 474"/>
              <a:gd name="T96" fmla="*/ 463 w 603"/>
              <a:gd name="T97" fmla="*/ 429 h 474"/>
              <a:gd name="T98" fmla="*/ 480 w 603"/>
              <a:gd name="T99" fmla="*/ 439 h 474"/>
              <a:gd name="T100" fmla="*/ 498 w 603"/>
              <a:gd name="T101" fmla="*/ 443 h 474"/>
              <a:gd name="T102" fmla="*/ 529 w 603"/>
              <a:gd name="T103" fmla="*/ 432 h 474"/>
              <a:gd name="T104" fmla="*/ 592 w 603"/>
              <a:gd name="T105" fmla="*/ 427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03" h="474">
                <a:moveTo>
                  <a:pt x="600" y="418"/>
                </a:moveTo>
                <a:lnTo>
                  <a:pt x="594" y="414"/>
                </a:lnTo>
                <a:lnTo>
                  <a:pt x="583" y="405"/>
                </a:lnTo>
                <a:lnTo>
                  <a:pt x="574" y="401"/>
                </a:lnTo>
                <a:lnTo>
                  <a:pt x="572" y="396"/>
                </a:lnTo>
                <a:lnTo>
                  <a:pt x="571" y="389"/>
                </a:lnTo>
                <a:lnTo>
                  <a:pt x="572" y="383"/>
                </a:lnTo>
                <a:lnTo>
                  <a:pt x="574" y="376"/>
                </a:lnTo>
                <a:lnTo>
                  <a:pt x="571" y="370"/>
                </a:lnTo>
                <a:lnTo>
                  <a:pt x="571" y="367"/>
                </a:lnTo>
                <a:lnTo>
                  <a:pt x="567" y="363"/>
                </a:lnTo>
                <a:lnTo>
                  <a:pt x="563" y="350"/>
                </a:lnTo>
                <a:lnTo>
                  <a:pt x="552" y="352"/>
                </a:lnTo>
                <a:lnTo>
                  <a:pt x="549" y="352"/>
                </a:lnTo>
                <a:lnTo>
                  <a:pt x="543" y="350"/>
                </a:lnTo>
                <a:lnTo>
                  <a:pt x="545" y="347"/>
                </a:lnTo>
                <a:lnTo>
                  <a:pt x="540" y="341"/>
                </a:lnTo>
                <a:lnTo>
                  <a:pt x="540" y="334"/>
                </a:lnTo>
                <a:lnTo>
                  <a:pt x="532" y="330"/>
                </a:lnTo>
                <a:lnTo>
                  <a:pt x="529" y="330"/>
                </a:lnTo>
                <a:lnTo>
                  <a:pt x="525" y="330"/>
                </a:lnTo>
                <a:lnTo>
                  <a:pt x="514" y="330"/>
                </a:lnTo>
                <a:lnTo>
                  <a:pt x="512" y="329"/>
                </a:lnTo>
                <a:lnTo>
                  <a:pt x="505" y="323"/>
                </a:lnTo>
                <a:lnTo>
                  <a:pt x="507" y="320"/>
                </a:lnTo>
                <a:lnTo>
                  <a:pt x="503" y="310"/>
                </a:lnTo>
                <a:lnTo>
                  <a:pt x="503" y="307"/>
                </a:lnTo>
                <a:lnTo>
                  <a:pt x="502" y="303"/>
                </a:lnTo>
                <a:lnTo>
                  <a:pt x="492" y="305"/>
                </a:lnTo>
                <a:lnTo>
                  <a:pt x="491" y="309"/>
                </a:lnTo>
                <a:lnTo>
                  <a:pt x="478" y="312"/>
                </a:lnTo>
                <a:lnTo>
                  <a:pt x="471" y="316"/>
                </a:lnTo>
                <a:lnTo>
                  <a:pt x="467" y="325"/>
                </a:lnTo>
                <a:lnTo>
                  <a:pt x="451" y="321"/>
                </a:lnTo>
                <a:lnTo>
                  <a:pt x="445" y="314"/>
                </a:lnTo>
                <a:lnTo>
                  <a:pt x="427" y="314"/>
                </a:lnTo>
                <a:lnTo>
                  <a:pt x="423" y="314"/>
                </a:lnTo>
                <a:lnTo>
                  <a:pt x="409" y="292"/>
                </a:lnTo>
                <a:lnTo>
                  <a:pt x="409" y="283"/>
                </a:lnTo>
                <a:lnTo>
                  <a:pt x="402" y="278"/>
                </a:lnTo>
                <a:lnTo>
                  <a:pt x="391" y="280"/>
                </a:lnTo>
                <a:lnTo>
                  <a:pt x="391" y="272"/>
                </a:lnTo>
                <a:lnTo>
                  <a:pt x="380" y="265"/>
                </a:lnTo>
                <a:lnTo>
                  <a:pt x="365" y="263"/>
                </a:lnTo>
                <a:lnTo>
                  <a:pt x="354" y="260"/>
                </a:lnTo>
                <a:lnTo>
                  <a:pt x="353" y="252"/>
                </a:lnTo>
                <a:lnTo>
                  <a:pt x="347" y="249"/>
                </a:lnTo>
                <a:lnTo>
                  <a:pt x="344" y="245"/>
                </a:lnTo>
                <a:lnTo>
                  <a:pt x="336" y="243"/>
                </a:lnTo>
                <a:lnTo>
                  <a:pt x="333" y="241"/>
                </a:lnTo>
                <a:lnTo>
                  <a:pt x="329" y="240"/>
                </a:lnTo>
                <a:lnTo>
                  <a:pt x="327" y="225"/>
                </a:lnTo>
                <a:lnTo>
                  <a:pt x="324" y="225"/>
                </a:lnTo>
                <a:lnTo>
                  <a:pt x="318" y="229"/>
                </a:lnTo>
                <a:lnTo>
                  <a:pt x="305" y="223"/>
                </a:lnTo>
                <a:lnTo>
                  <a:pt x="296" y="223"/>
                </a:lnTo>
                <a:lnTo>
                  <a:pt x="293" y="225"/>
                </a:lnTo>
                <a:lnTo>
                  <a:pt x="298" y="201"/>
                </a:lnTo>
                <a:lnTo>
                  <a:pt x="298" y="196"/>
                </a:lnTo>
                <a:lnTo>
                  <a:pt x="287" y="191"/>
                </a:lnTo>
                <a:lnTo>
                  <a:pt x="287" y="180"/>
                </a:lnTo>
                <a:lnTo>
                  <a:pt x="287" y="172"/>
                </a:lnTo>
                <a:lnTo>
                  <a:pt x="296" y="167"/>
                </a:lnTo>
                <a:lnTo>
                  <a:pt x="293" y="161"/>
                </a:lnTo>
                <a:lnTo>
                  <a:pt x="287" y="154"/>
                </a:lnTo>
                <a:lnTo>
                  <a:pt x="282" y="152"/>
                </a:lnTo>
                <a:lnTo>
                  <a:pt x="278" y="147"/>
                </a:lnTo>
                <a:lnTo>
                  <a:pt x="273" y="141"/>
                </a:lnTo>
                <a:lnTo>
                  <a:pt x="271" y="140"/>
                </a:lnTo>
                <a:lnTo>
                  <a:pt x="262" y="138"/>
                </a:lnTo>
                <a:lnTo>
                  <a:pt x="262" y="141"/>
                </a:lnTo>
                <a:lnTo>
                  <a:pt x="258" y="145"/>
                </a:lnTo>
                <a:lnTo>
                  <a:pt x="251" y="138"/>
                </a:lnTo>
                <a:lnTo>
                  <a:pt x="231" y="141"/>
                </a:lnTo>
                <a:lnTo>
                  <a:pt x="222" y="136"/>
                </a:lnTo>
                <a:lnTo>
                  <a:pt x="215" y="125"/>
                </a:lnTo>
                <a:lnTo>
                  <a:pt x="218" y="118"/>
                </a:lnTo>
                <a:lnTo>
                  <a:pt x="224" y="114"/>
                </a:lnTo>
                <a:lnTo>
                  <a:pt x="220" y="107"/>
                </a:lnTo>
                <a:lnTo>
                  <a:pt x="211" y="105"/>
                </a:lnTo>
                <a:lnTo>
                  <a:pt x="209" y="100"/>
                </a:lnTo>
                <a:lnTo>
                  <a:pt x="202" y="98"/>
                </a:lnTo>
                <a:lnTo>
                  <a:pt x="195" y="94"/>
                </a:lnTo>
                <a:lnTo>
                  <a:pt x="189" y="94"/>
                </a:lnTo>
                <a:lnTo>
                  <a:pt x="180" y="92"/>
                </a:lnTo>
                <a:lnTo>
                  <a:pt x="176" y="92"/>
                </a:lnTo>
                <a:lnTo>
                  <a:pt x="175" y="91"/>
                </a:lnTo>
                <a:lnTo>
                  <a:pt x="169" y="91"/>
                </a:lnTo>
                <a:lnTo>
                  <a:pt x="160" y="85"/>
                </a:lnTo>
                <a:lnTo>
                  <a:pt x="155" y="85"/>
                </a:lnTo>
                <a:lnTo>
                  <a:pt x="149" y="78"/>
                </a:lnTo>
                <a:lnTo>
                  <a:pt x="153" y="76"/>
                </a:lnTo>
                <a:lnTo>
                  <a:pt x="151" y="69"/>
                </a:lnTo>
                <a:lnTo>
                  <a:pt x="140" y="65"/>
                </a:lnTo>
                <a:lnTo>
                  <a:pt x="136" y="58"/>
                </a:lnTo>
                <a:lnTo>
                  <a:pt x="140" y="54"/>
                </a:lnTo>
                <a:lnTo>
                  <a:pt x="146" y="54"/>
                </a:lnTo>
                <a:lnTo>
                  <a:pt x="149" y="49"/>
                </a:lnTo>
                <a:lnTo>
                  <a:pt x="149" y="43"/>
                </a:lnTo>
                <a:lnTo>
                  <a:pt x="160" y="34"/>
                </a:lnTo>
                <a:lnTo>
                  <a:pt x="166" y="29"/>
                </a:lnTo>
                <a:lnTo>
                  <a:pt x="160" y="23"/>
                </a:lnTo>
                <a:lnTo>
                  <a:pt x="158" y="20"/>
                </a:lnTo>
                <a:lnTo>
                  <a:pt x="160" y="16"/>
                </a:lnTo>
                <a:lnTo>
                  <a:pt x="160" y="12"/>
                </a:lnTo>
                <a:lnTo>
                  <a:pt x="162" y="11"/>
                </a:lnTo>
                <a:lnTo>
                  <a:pt x="160" y="0"/>
                </a:lnTo>
                <a:lnTo>
                  <a:pt x="153" y="2"/>
                </a:lnTo>
                <a:lnTo>
                  <a:pt x="124" y="16"/>
                </a:lnTo>
                <a:lnTo>
                  <a:pt x="113" y="20"/>
                </a:lnTo>
                <a:lnTo>
                  <a:pt x="111" y="18"/>
                </a:lnTo>
                <a:lnTo>
                  <a:pt x="111" y="14"/>
                </a:lnTo>
                <a:lnTo>
                  <a:pt x="109" y="11"/>
                </a:lnTo>
                <a:lnTo>
                  <a:pt x="107" y="9"/>
                </a:lnTo>
                <a:lnTo>
                  <a:pt x="98" y="11"/>
                </a:lnTo>
                <a:lnTo>
                  <a:pt x="93" y="12"/>
                </a:lnTo>
                <a:lnTo>
                  <a:pt x="89" y="12"/>
                </a:lnTo>
                <a:lnTo>
                  <a:pt x="84" y="20"/>
                </a:lnTo>
                <a:lnTo>
                  <a:pt x="75" y="27"/>
                </a:lnTo>
                <a:lnTo>
                  <a:pt x="71" y="34"/>
                </a:lnTo>
                <a:lnTo>
                  <a:pt x="71" y="43"/>
                </a:lnTo>
                <a:lnTo>
                  <a:pt x="71" y="47"/>
                </a:lnTo>
                <a:lnTo>
                  <a:pt x="69" y="49"/>
                </a:lnTo>
                <a:lnTo>
                  <a:pt x="66" y="51"/>
                </a:lnTo>
                <a:lnTo>
                  <a:pt x="64" y="52"/>
                </a:lnTo>
                <a:lnTo>
                  <a:pt x="60" y="54"/>
                </a:lnTo>
                <a:lnTo>
                  <a:pt x="55" y="58"/>
                </a:lnTo>
                <a:lnTo>
                  <a:pt x="44" y="65"/>
                </a:lnTo>
                <a:lnTo>
                  <a:pt x="33" y="78"/>
                </a:lnTo>
                <a:lnTo>
                  <a:pt x="28" y="81"/>
                </a:lnTo>
                <a:lnTo>
                  <a:pt x="26" y="85"/>
                </a:lnTo>
                <a:lnTo>
                  <a:pt x="26" y="92"/>
                </a:lnTo>
                <a:lnTo>
                  <a:pt x="26" y="94"/>
                </a:lnTo>
                <a:lnTo>
                  <a:pt x="26" y="98"/>
                </a:lnTo>
                <a:lnTo>
                  <a:pt x="17" y="111"/>
                </a:lnTo>
                <a:lnTo>
                  <a:pt x="17" y="112"/>
                </a:lnTo>
                <a:lnTo>
                  <a:pt x="17" y="116"/>
                </a:lnTo>
                <a:lnTo>
                  <a:pt x="17" y="118"/>
                </a:lnTo>
                <a:lnTo>
                  <a:pt x="15" y="118"/>
                </a:lnTo>
                <a:lnTo>
                  <a:pt x="11" y="120"/>
                </a:lnTo>
                <a:lnTo>
                  <a:pt x="8" y="125"/>
                </a:lnTo>
                <a:lnTo>
                  <a:pt x="4" y="132"/>
                </a:lnTo>
                <a:lnTo>
                  <a:pt x="2" y="136"/>
                </a:lnTo>
                <a:lnTo>
                  <a:pt x="0" y="136"/>
                </a:lnTo>
                <a:lnTo>
                  <a:pt x="0" y="138"/>
                </a:lnTo>
                <a:lnTo>
                  <a:pt x="0" y="140"/>
                </a:lnTo>
                <a:lnTo>
                  <a:pt x="6" y="143"/>
                </a:lnTo>
                <a:lnTo>
                  <a:pt x="4" y="152"/>
                </a:lnTo>
                <a:lnTo>
                  <a:pt x="4" y="154"/>
                </a:lnTo>
                <a:lnTo>
                  <a:pt x="9" y="158"/>
                </a:lnTo>
                <a:lnTo>
                  <a:pt x="17" y="163"/>
                </a:lnTo>
                <a:lnTo>
                  <a:pt x="20" y="165"/>
                </a:lnTo>
                <a:lnTo>
                  <a:pt x="22" y="172"/>
                </a:lnTo>
                <a:lnTo>
                  <a:pt x="28" y="180"/>
                </a:lnTo>
                <a:lnTo>
                  <a:pt x="35" y="200"/>
                </a:lnTo>
                <a:lnTo>
                  <a:pt x="40" y="209"/>
                </a:lnTo>
                <a:lnTo>
                  <a:pt x="42" y="214"/>
                </a:lnTo>
                <a:lnTo>
                  <a:pt x="42" y="216"/>
                </a:lnTo>
                <a:lnTo>
                  <a:pt x="37" y="225"/>
                </a:lnTo>
                <a:lnTo>
                  <a:pt x="37" y="229"/>
                </a:lnTo>
                <a:lnTo>
                  <a:pt x="35" y="232"/>
                </a:lnTo>
                <a:lnTo>
                  <a:pt x="33" y="238"/>
                </a:lnTo>
                <a:lnTo>
                  <a:pt x="31" y="245"/>
                </a:lnTo>
                <a:lnTo>
                  <a:pt x="29" y="261"/>
                </a:lnTo>
                <a:lnTo>
                  <a:pt x="29" y="265"/>
                </a:lnTo>
                <a:lnTo>
                  <a:pt x="28" y="265"/>
                </a:lnTo>
                <a:lnTo>
                  <a:pt x="33" y="278"/>
                </a:lnTo>
                <a:lnTo>
                  <a:pt x="22" y="307"/>
                </a:lnTo>
                <a:lnTo>
                  <a:pt x="22" y="312"/>
                </a:lnTo>
                <a:lnTo>
                  <a:pt x="46" y="330"/>
                </a:lnTo>
                <a:lnTo>
                  <a:pt x="46" y="340"/>
                </a:lnTo>
                <a:lnTo>
                  <a:pt x="46" y="345"/>
                </a:lnTo>
                <a:lnTo>
                  <a:pt x="40" y="359"/>
                </a:lnTo>
                <a:lnTo>
                  <a:pt x="42" y="374"/>
                </a:lnTo>
                <a:lnTo>
                  <a:pt x="53" y="376"/>
                </a:lnTo>
                <a:lnTo>
                  <a:pt x="60" y="376"/>
                </a:lnTo>
                <a:lnTo>
                  <a:pt x="66" y="376"/>
                </a:lnTo>
                <a:lnTo>
                  <a:pt x="77" y="370"/>
                </a:lnTo>
                <a:lnTo>
                  <a:pt x="87" y="367"/>
                </a:lnTo>
                <a:lnTo>
                  <a:pt x="87" y="361"/>
                </a:lnTo>
                <a:lnTo>
                  <a:pt x="118" y="361"/>
                </a:lnTo>
                <a:lnTo>
                  <a:pt x="127" y="359"/>
                </a:lnTo>
                <a:lnTo>
                  <a:pt x="136" y="356"/>
                </a:lnTo>
                <a:lnTo>
                  <a:pt x="147" y="354"/>
                </a:lnTo>
                <a:lnTo>
                  <a:pt x="153" y="350"/>
                </a:lnTo>
                <a:lnTo>
                  <a:pt x="156" y="347"/>
                </a:lnTo>
                <a:lnTo>
                  <a:pt x="162" y="343"/>
                </a:lnTo>
                <a:lnTo>
                  <a:pt x="173" y="340"/>
                </a:lnTo>
                <a:lnTo>
                  <a:pt x="189" y="359"/>
                </a:lnTo>
                <a:lnTo>
                  <a:pt x="213" y="359"/>
                </a:lnTo>
                <a:lnTo>
                  <a:pt x="213" y="385"/>
                </a:lnTo>
                <a:lnTo>
                  <a:pt x="213" y="389"/>
                </a:lnTo>
                <a:lnTo>
                  <a:pt x="215" y="390"/>
                </a:lnTo>
                <a:lnTo>
                  <a:pt x="218" y="398"/>
                </a:lnTo>
                <a:lnTo>
                  <a:pt x="222" y="403"/>
                </a:lnTo>
                <a:lnTo>
                  <a:pt x="227" y="407"/>
                </a:lnTo>
                <a:lnTo>
                  <a:pt x="238" y="416"/>
                </a:lnTo>
                <a:lnTo>
                  <a:pt x="245" y="427"/>
                </a:lnTo>
                <a:lnTo>
                  <a:pt x="262" y="427"/>
                </a:lnTo>
                <a:lnTo>
                  <a:pt x="262" y="429"/>
                </a:lnTo>
                <a:lnTo>
                  <a:pt x="262" y="436"/>
                </a:lnTo>
                <a:lnTo>
                  <a:pt x="262" y="443"/>
                </a:lnTo>
                <a:lnTo>
                  <a:pt x="264" y="447"/>
                </a:lnTo>
                <a:lnTo>
                  <a:pt x="265" y="450"/>
                </a:lnTo>
                <a:lnTo>
                  <a:pt x="271" y="452"/>
                </a:lnTo>
                <a:lnTo>
                  <a:pt x="275" y="456"/>
                </a:lnTo>
                <a:lnTo>
                  <a:pt x="275" y="458"/>
                </a:lnTo>
                <a:lnTo>
                  <a:pt x="275" y="461"/>
                </a:lnTo>
                <a:lnTo>
                  <a:pt x="278" y="465"/>
                </a:lnTo>
                <a:lnTo>
                  <a:pt x="287" y="470"/>
                </a:lnTo>
                <a:lnTo>
                  <a:pt x="294" y="474"/>
                </a:lnTo>
                <a:lnTo>
                  <a:pt x="298" y="470"/>
                </a:lnTo>
                <a:lnTo>
                  <a:pt x="300" y="467"/>
                </a:lnTo>
                <a:lnTo>
                  <a:pt x="302" y="461"/>
                </a:lnTo>
                <a:lnTo>
                  <a:pt x="311" y="458"/>
                </a:lnTo>
                <a:lnTo>
                  <a:pt x="314" y="456"/>
                </a:lnTo>
                <a:lnTo>
                  <a:pt x="320" y="452"/>
                </a:lnTo>
                <a:lnTo>
                  <a:pt x="333" y="450"/>
                </a:lnTo>
                <a:lnTo>
                  <a:pt x="336" y="449"/>
                </a:lnTo>
                <a:lnTo>
                  <a:pt x="338" y="447"/>
                </a:lnTo>
                <a:lnTo>
                  <a:pt x="342" y="438"/>
                </a:lnTo>
                <a:lnTo>
                  <a:pt x="345" y="429"/>
                </a:lnTo>
                <a:lnTo>
                  <a:pt x="354" y="419"/>
                </a:lnTo>
                <a:lnTo>
                  <a:pt x="363" y="407"/>
                </a:lnTo>
                <a:lnTo>
                  <a:pt x="365" y="403"/>
                </a:lnTo>
                <a:lnTo>
                  <a:pt x="367" y="398"/>
                </a:lnTo>
                <a:lnTo>
                  <a:pt x="367" y="396"/>
                </a:lnTo>
                <a:lnTo>
                  <a:pt x="369" y="394"/>
                </a:lnTo>
                <a:lnTo>
                  <a:pt x="373" y="394"/>
                </a:lnTo>
                <a:lnTo>
                  <a:pt x="374" y="396"/>
                </a:lnTo>
                <a:lnTo>
                  <a:pt x="382" y="401"/>
                </a:lnTo>
                <a:lnTo>
                  <a:pt x="389" y="403"/>
                </a:lnTo>
                <a:lnTo>
                  <a:pt x="394" y="405"/>
                </a:lnTo>
                <a:lnTo>
                  <a:pt x="411" y="409"/>
                </a:lnTo>
                <a:lnTo>
                  <a:pt x="418" y="410"/>
                </a:lnTo>
                <a:lnTo>
                  <a:pt x="420" y="412"/>
                </a:lnTo>
                <a:lnTo>
                  <a:pt x="422" y="412"/>
                </a:lnTo>
                <a:lnTo>
                  <a:pt x="422" y="416"/>
                </a:lnTo>
                <a:lnTo>
                  <a:pt x="423" y="419"/>
                </a:lnTo>
                <a:lnTo>
                  <a:pt x="427" y="423"/>
                </a:lnTo>
                <a:lnTo>
                  <a:pt x="433" y="425"/>
                </a:lnTo>
                <a:lnTo>
                  <a:pt x="447" y="425"/>
                </a:lnTo>
                <a:lnTo>
                  <a:pt x="460" y="427"/>
                </a:lnTo>
                <a:lnTo>
                  <a:pt x="463" y="427"/>
                </a:lnTo>
                <a:lnTo>
                  <a:pt x="463" y="429"/>
                </a:lnTo>
                <a:lnTo>
                  <a:pt x="463" y="432"/>
                </a:lnTo>
                <a:lnTo>
                  <a:pt x="465" y="432"/>
                </a:lnTo>
                <a:lnTo>
                  <a:pt x="467" y="434"/>
                </a:lnTo>
                <a:lnTo>
                  <a:pt x="474" y="438"/>
                </a:lnTo>
                <a:lnTo>
                  <a:pt x="480" y="439"/>
                </a:lnTo>
                <a:lnTo>
                  <a:pt x="483" y="443"/>
                </a:lnTo>
                <a:lnTo>
                  <a:pt x="487" y="447"/>
                </a:lnTo>
                <a:lnTo>
                  <a:pt x="489" y="447"/>
                </a:lnTo>
                <a:lnTo>
                  <a:pt x="492" y="447"/>
                </a:lnTo>
                <a:lnTo>
                  <a:pt x="498" y="443"/>
                </a:lnTo>
                <a:lnTo>
                  <a:pt x="503" y="439"/>
                </a:lnTo>
                <a:lnTo>
                  <a:pt x="511" y="434"/>
                </a:lnTo>
                <a:lnTo>
                  <a:pt x="522" y="430"/>
                </a:lnTo>
                <a:lnTo>
                  <a:pt x="527" y="430"/>
                </a:lnTo>
                <a:lnTo>
                  <a:pt x="529" y="432"/>
                </a:lnTo>
                <a:lnTo>
                  <a:pt x="534" y="436"/>
                </a:lnTo>
                <a:lnTo>
                  <a:pt x="540" y="439"/>
                </a:lnTo>
                <a:lnTo>
                  <a:pt x="545" y="445"/>
                </a:lnTo>
                <a:lnTo>
                  <a:pt x="592" y="432"/>
                </a:lnTo>
                <a:lnTo>
                  <a:pt x="592" y="427"/>
                </a:lnTo>
                <a:lnTo>
                  <a:pt x="598" y="425"/>
                </a:lnTo>
                <a:lnTo>
                  <a:pt x="603" y="423"/>
                </a:lnTo>
                <a:lnTo>
                  <a:pt x="603" y="419"/>
                </a:lnTo>
                <a:lnTo>
                  <a:pt x="600" y="418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2" name="Freeform 103">
            <a:extLst>
              <a:ext uri="{FF2B5EF4-FFF2-40B4-BE49-F238E27FC236}">
                <a16:creationId xmlns:a16="http://schemas.microsoft.com/office/drawing/2014/main" id="{7C484804-EA3C-A642-883C-2ED7B9428123}"/>
              </a:ext>
            </a:extLst>
          </p:cNvPr>
          <p:cNvSpPr>
            <a:spLocks/>
          </p:cNvSpPr>
          <p:nvPr/>
        </p:nvSpPr>
        <p:spPr bwMode="auto">
          <a:xfrm>
            <a:off x="1881101" y="3358774"/>
            <a:ext cx="644493" cy="442055"/>
          </a:xfrm>
          <a:custGeom>
            <a:avLst/>
            <a:gdLst>
              <a:gd name="T0" fmla="*/ 438 w 445"/>
              <a:gd name="T1" fmla="*/ 246 h 309"/>
              <a:gd name="T2" fmla="*/ 429 w 445"/>
              <a:gd name="T3" fmla="*/ 215 h 309"/>
              <a:gd name="T4" fmla="*/ 401 w 445"/>
              <a:gd name="T5" fmla="*/ 186 h 309"/>
              <a:gd name="T6" fmla="*/ 389 w 445"/>
              <a:gd name="T7" fmla="*/ 173 h 309"/>
              <a:gd name="T8" fmla="*/ 376 w 445"/>
              <a:gd name="T9" fmla="*/ 178 h 309"/>
              <a:gd name="T10" fmla="*/ 369 w 445"/>
              <a:gd name="T11" fmla="*/ 187 h 309"/>
              <a:gd name="T12" fmla="*/ 363 w 445"/>
              <a:gd name="T13" fmla="*/ 213 h 309"/>
              <a:gd name="T14" fmla="*/ 340 w 445"/>
              <a:gd name="T15" fmla="*/ 218 h 309"/>
              <a:gd name="T16" fmla="*/ 327 w 445"/>
              <a:gd name="T17" fmla="*/ 227 h 309"/>
              <a:gd name="T18" fmla="*/ 318 w 445"/>
              <a:gd name="T19" fmla="*/ 216 h 309"/>
              <a:gd name="T20" fmla="*/ 327 w 445"/>
              <a:gd name="T21" fmla="*/ 206 h 309"/>
              <a:gd name="T22" fmla="*/ 334 w 445"/>
              <a:gd name="T23" fmla="*/ 196 h 309"/>
              <a:gd name="T24" fmla="*/ 311 w 445"/>
              <a:gd name="T25" fmla="*/ 187 h 309"/>
              <a:gd name="T26" fmla="*/ 285 w 445"/>
              <a:gd name="T27" fmla="*/ 184 h 309"/>
              <a:gd name="T28" fmla="*/ 263 w 445"/>
              <a:gd name="T29" fmla="*/ 173 h 309"/>
              <a:gd name="T30" fmla="*/ 241 w 445"/>
              <a:gd name="T31" fmla="*/ 173 h 309"/>
              <a:gd name="T32" fmla="*/ 220 w 445"/>
              <a:gd name="T33" fmla="*/ 158 h 309"/>
              <a:gd name="T34" fmla="*/ 223 w 445"/>
              <a:gd name="T35" fmla="*/ 155 h 309"/>
              <a:gd name="T36" fmla="*/ 236 w 445"/>
              <a:gd name="T37" fmla="*/ 157 h 309"/>
              <a:gd name="T38" fmla="*/ 249 w 445"/>
              <a:gd name="T39" fmla="*/ 138 h 309"/>
              <a:gd name="T40" fmla="*/ 236 w 445"/>
              <a:gd name="T41" fmla="*/ 129 h 309"/>
              <a:gd name="T42" fmla="*/ 138 w 445"/>
              <a:gd name="T43" fmla="*/ 115 h 309"/>
              <a:gd name="T44" fmla="*/ 114 w 445"/>
              <a:gd name="T45" fmla="*/ 109 h 309"/>
              <a:gd name="T46" fmla="*/ 98 w 445"/>
              <a:gd name="T47" fmla="*/ 124 h 309"/>
              <a:gd name="T48" fmla="*/ 83 w 445"/>
              <a:gd name="T49" fmla="*/ 129 h 309"/>
              <a:gd name="T50" fmla="*/ 65 w 445"/>
              <a:gd name="T51" fmla="*/ 117 h 309"/>
              <a:gd name="T52" fmla="*/ 62 w 445"/>
              <a:gd name="T53" fmla="*/ 95 h 309"/>
              <a:gd name="T54" fmla="*/ 65 w 445"/>
              <a:gd name="T55" fmla="*/ 71 h 309"/>
              <a:gd name="T56" fmla="*/ 85 w 445"/>
              <a:gd name="T57" fmla="*/ 67 h 309"/>
              <a:gd name="T58" fmla="*/ 105 w 445"/>
              <a:gd name="T59" fmla="*/ 82 h 309"/>
              <a:gd name="T60" fmla="*/ 118 w 445"/>
              <a:gd name="T61" fmla="*/ 62 h 309"/>
              <a:gd name="T62" fmla="*/ 114 w 445"/>
              <a:gd name="T63" fmla="*/ 38 h 309"/>
              <a:gd name="T64" fmla="*/ 100 w 445"/>
              <a:gd name="T65" fmla="*/ 17 h 309"/>
              <a:gd name="T66" fmla="*/ 93 w 445"/>
              <a:gd name="T67" fmla="*/ 9 h 309"/>
              <a:gd name="T68" fmla="*/ 89 w 445"/>
              <a:gd name="T69" fmla="*/ 35 h 309"/>
              <a:gd name="T70" fmla="*/ 44 w 445"/>
              <a:gd name="T71" fmla="*/ 60 h 309"/>
              <a:gd name="T72" fmla="*/ 34 w 445"/>
              <a:gd name="T73" fmla="*/ 84 h 309"/>
              <a:gd name="T74" fmla="*/ 7 w 445"/>
              <a:gd name="T75" fmla="*/ 98 h 309"/>
              <a:gd name="T76" fmla="*/ 0 w 445"/>
              <a:gd name="T77" fmla="*/ 115 h 309"/>
              <a:gd name="T78" fmla="*/ 42 w 445"/>
              <a:gd name="T79" fmla="*/ 180 h 309"/>
              <a:gd name="T80" fmla="*/ 138 w 445"/>
              <a:gd name="T81" fmla="*/ 193 h 309"/>
              <a:gd name="T82" fmla="*/ 151 w 445"/>
              <a:gd name="T83" fmla="*/ 187 h 309"/>
              <a:gd name="T84" fmla="*/ 185 w 445"/>
              <a:gd name="T85" fmla="*/ 215 h 309"/>
              <a:gd name="T86" fmla="*/ 318 w 445"/>
              <a:gd name="T87" fmla="*/ 309 h 309"/>
              <a:gd name="T88" fmla="*/ 347 w 445"/>
              <a:gd name="T89" fmla="*/ 309 h 309"/>
              <a:gd name="T90" fmla="*/ 360 w 445"/>
              <a:gd name="T91" fmla="*/ 300 h 309"/>
              <a:gd name="T92" fmla="*/ 383 w 445"/>
              <a:gd name="T93" fmla="*/ 296 h 309"/>
              <a:gd name="T94" fmla="*/ 390 w 445"/>
              <a:gd name="T95" fmla="*/ 289 h 309"/>
              <a:gd name="T96" fmla="*/ 410 w 445"/>
              <a:gd name="T97" fmla="*/ 282 h 309"/>
              <a:gd name="T98" fmla="*/ 429 w 445"/>
              <a:gd name="T99" fmla="*/ 286 h 309"/>
              <a:gd name="T100" fmla="*/ 429 w 445"/>
              <a:gd name="T101" fmla="*/ 266 h 309"/>
              <a:gd name="T102" fmla="*/ 421 w 445"/>
              <a:gd name="T103" fmla="*/ 255 h 309"/>
              <a:gd name="T104" fmla="*/ 421 w 445"/>
              <a:gd name="T105" fmla="*/ 255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45" h="309">
                <a:moveTo>
                  <a:pt x="421" y="255"/>
                </a:moveTo>
                <a:lnTo>
                  <a:pt x="421" y="251"/>
                </a:lnTo>
                <a:lnTo>
                  <a:pt x="423" y="249"/>
                </a:lnTo>
                <a:lnTo>
                  <a:pt x="438" y="246"/>
                </a:lnTo>
                <a:lnTo>
                  <a:pt x="445" y="242"/>
                </a:lnTo>
                <a:lnTo>
                  <a:pt x="438" y="227"/>
                </a:lnTo>
                <a:lnTo>
                  <a:pt x="432" y="222"/>
                </a:lnTo>
                <a:lnTo>
                  <a:pt x="429" y="215"/>
                </a:lnTo>
                <a:lnTo>
                  <a:pt x="418" y="204"/>
                </a:lnTo>
                <a:lnTo>
                  <a:pt x="407" y="195"/>
                </a:lnTo>
                <a:lnTo>
                  <a:pt x="403" y="191"/>
                </a:lnTo>
                <a:lnTo>
                  <a:pt x="401" y="186"/>
                </a:lnTo>
                <a:lnTo>
                  <a:pt x="398" y="180"/>
                </a:lnTo>
                <a:lnTo>
                  <a:pt x="396" y="175"/>
                </a:lnTo>
                <a:lnTo>
                  <a:pt x="390" y="173"/>
                </a:lnTo>
                <a:lnTo>
                  <a:pt x="389" y="173"/>
                </a:lnTo>
                <a:lnTo>
                  <a:pt x="387" y="175"/>
                </a:lnTo>
                <a:lnTo>
                  <a:pt x="385" y="177"/>
                </a:lnTo>
                <a:lnTo>
                  <a:pt x="383" y="178"/>
                </a:lnTo>
                <a:lnTo>
                  <a:pt x="376" y="178"/>
                </a:lnTo>
                <a:lnTo>
                  <a:pt x="376" y="178"/>
                </a:lnTo>
                <a:lnTo>
                  <a:pt x="370" y="180"/>
                </a:lnTo>
                <a:lnTo>
                  <a:pt x="370" y="182"/>
                </a:lnTo>
                <a:lnTo>
                  <a:pt x="369" y="187"/>
                </a:lnTo>
                <a:lnTo>
                  <a:pt x="367" y="198"/>
                </a:lnTo>
                <a:lnTo>
                  <a:pt x="367" y="206"/>
                </a:lnTo>
                <a:lnTo>
                  <a:pt x="365" y="209"/>
                </a:lnTo>
                <a:lnTo>
                  <a:pt x="363" y="213"/>
                </a:lnTo>
                <a:lnTo>
                  <a:pt x="358" y="215"/>
                </a:lnTo>
                <a:lnTo>
                  <a:pt x="352" y="218"/>
                </a:lnTo>
                <a:lnTo>
                  <a:pt x="343" y="218"/>
                </a:lnTo>
                <a:lnTo>
                  <a:pt x="340" y="218"/>
                </a:lnTo>
                <a:lnTo>
                  <a:pt x="338" y="218"/>
                </a:lnTo>
                <a:lnTo>
                  <a:pt x="336" y="220"/>
                </a:lnTo>
                <a:lnTo>
                  <a:pt x="334" y="224"/>
                </a:lnTo>
                <a:lnTo>
                  <a:pt x="327" y="227"/>
                </a:lnTo>
                <a:lnTo>
                  <a:pt x="325" y="227"/>
                </a:lnTo>
                <a:lnTo>
                  <a:pt x="323" y="226"/>
                </a:lnTo>
                <a:lnTo>
                  <a:pt x="320" y="222"/>
                </a:lnTo>
                <a:lnTo>
                  <a:pt x="318" y="216"/>
                </a:lnTo>
                <a:lnTo>
                  <a:pt x="318" y="213"/>
                </a:lnTo>
                <a:lnTo>
                  <a:pt x="320" y="209"/>
                </a:lnTo>
                <a:lnTo>
                  <a:pt x="321" y="207"/>
                </a:lnTo>
                <a:lnTo>
                  <a:pt x="327" y="206"/>
                </a:lnTo>
                <a:lnTo>
                  <a:pt x="332" y="204"/>
                </a:lnTo>
                <a:lnTo>
                  <a:pt x="334" y="200"/>
                </a:lnTo>
                <a:lnTo>
                  <a:pt x="334" y="198"/>
                </a:lnTo>
                <a:lnTo>
                  <a:pt x="334" y="196"/>
                </a:lnTo>
                <a:lnTo>
                  <a:pt x="329" y="195"/>
                </a:lnTo>
                <a:lnTo>
                  <a:pt x="325" y="193"/>
                </a:lnTo>
                <a:lnTo>
                  <a:pt x="318" y="191"/>
                </a:lnTo>
                <a:lnTo>
                  <a:pt x="311" y="187"/>
                </a:lnTo>
                <a:lnTo>
                  <a:pt x="296" y="187"/>
                </a:lnTo>
                <a:lnTo>
                  <a:pt x="291" y="187"/>
                </a:lnTo>
                <a:lnTo>
                  <a:pt x="287" y="187"/>
                </a:lnTo>
                <a:lnTo>
                  <a:pt x="285" y="184"/>
                </a:lnTo>
                <a:lnTo>
                  <a:pt x="283" y="180"/>
                </a:lnTo>
                <a:lnTo>
                  <a:pt x="278" y="177"/>
                </a:lnTo>
                <a:lnTo>
                  <a:pt x="271" y="175"/>
                </a:lnTo>
                <a:lnTo>
                  <a:pt x="263" y="173"/>
                </a:lnTo>
                <a:lnTo>
                  <a:pt x="256" y="173"/>
                </a:lnTo>
                <a:lnTo>
                  <a:pt x="251" y="173"/>
                </a:lnTo>
                <a:lnTo>
                  <a:pt x="243" y="175"/>
                </a:lnTo>
                <a:lnTo>
                  <a:pt x="241" y="173"/>
                </a:lnTo>
                <a:lnTo>
                  <a:pt x="240" y="173"/>
                </a:lnTo>
                <a:lnTo>
                  <a:pt x="234" y="166"/>
                </a:lnTo>
                <a:lnTo>
                  <a:pt x="229" y="160"/>
                </a:lnTo>
                <a:lnTo>
                  <a:pt x="220" y="158"/>
                </a:lnTo>
                <a:lnTo>
                  <a:pt x="220" y="157"/>
                </a:lnTo>
                <a:lnTo>
                  <a:pt x="220" y="155"/>
                </a:lnTo>
                <a:lnTo>
                  <a:pt x="223" y="155"/>
                </a:lnTo>
                <a:lnTo>
                  <a:pt x="223" y="155"/>
                </a:lnTo>
                <a:lnTo>
                  <a:pt x="231" y="157"/>
                </a:lnTo>
                <a:lnTo>
                  <a:pt x="232" y="158"/>
                </a:lnTo>
                <a:lnTo>
                  <a:pt x="234" y="157"/>
                </a:lnTo>
                <a:lnTo>
                  <a:pt x="236" y="157"/>
                </a:lnTo>
                <a:lnTo>
                  <a:pt x="238" y="153"/>
                </a:lnTo>
                <a:lnTo>
                  <a:pt x="240" y="149"/>
                </a:lnTo>
                <a:lnTo>
                  <a:pt x="249" y="140"/>
                </a:lnTo>
                <a:lnTo>
                  <a:pt x="249" y="138"/>
                </a:lnTo>
                <a:lnTo>
                  <a:pt x="251" y="137"/>
                </a:lnTo>
                <a:lnTo>
                  <a:pt x="249" y="135"/>
                </a:lnTo>
                <a:lnTo>
                  <a:pt x="243" y="131"/>
                </a:lnTo>
                <a:lnTo>
                  <a:pt x="236" y="129"/>
                </a:lnTo>
                <a:lnTo>
                  <a:pt x="223" y="129"/>
                </a:lnTo>
                <a:lnTo>
                  <a:pt x="211" y="124"/>
                </a:lnTo>
                <a:lnTo>
                  <a:pt x="191" y="120"/>
                </a:lnTo>
                <a:lnTo>
                  <a:pt x="138" y="115"/>
                </a:lnTo>
                <a:lnTo>
                  <a:pt x="133" y="115"/>
                </a:lnTo>
                <a:lnTo>
                  <a:pt x="125" y="111"/>
                </a:lnTo>
                <a:lnTo>
                  <a:pt x="116" y="109"/>
                </a:lnTo>
                <a:lnTo>
                  <a:pt x="114" y="109"/>
                </a:lnTo>
                <a:lnTo>
                  <a:pt x="113" y="111"/>
                </a:lnTo>
                <a:lnTo>
                  <a:pt x="109" y="113"/>
                </a:lnTo>
                <a:lnTo>
                  <a:pt x="107" y="117"/>
                </a:lnTo>
                <a:lnTo>
                  <a:pt x="98" y="124"/>
                </a:lnTo>
                <a:lnTo>
                  <a:pt x="94" y="129"/>
                </a:lnTo>
                <a:lnTo>
                  <a:pt x="91" y="131"/>
                </a:lnTo>
                <a:lnTo>
                  <a:pt x="89" y="131"/>
                </a:lnTo>
                <a:lnTo>
                  <a:pt x="83" y="129"/>
                </a:lnTo>
                <a:lnTo>
                  <a:pt x="74" y="122"/>
                </a:lnTo>
                <a:lnTo>
                  <a:pt x="71" y="120"/>
                </a:lnTo>
                <a:lnTo>
                  <a:pt x="67" y="120"/>
                </a:lnTo>
                <a:lnTo>
                  <a:pt x="65" y="117"/>
                </a:lnTo>
                <a:lnTo>
                  <a:pt x="62" y="111"/>
                </a:lnTo>
                <a:lnTo>
                  <a:pt x="62" y="107"/>
                </a:lnTo>
                <a:lnTo>
                  <a:pt x="62" y="102"/>
                </a:lnTo>
                <a:lnTo>
                  <a:pt x="62" y="95"/>
                </a:lnTo>
                <a:lnTo>
                  <a:pt x="64" y="87"/>
                </a:lnTo>
                <a:lnTo>
                  <a:pt x="64" y="78"/>
                </a:lnTo>
                <a:lnTo>
                  <a:pt x="65" y="73"/>
                </a:lnTo>
                <a:lnTo>
                  <a:pt x="65" y="71"/>
                </a:lnTo>
                <a:lnTo>
                  <a:pt x="67" y="69"/>
                </a:lnTo>
                <a:lnTo>
                  <a:pt x="73" y="67"/>
                </a:lnTo>
                <a:lnTo>
                  <a:pt x="78" y="67"/>
                </a:lnTo>
                <a:lnTo>
                  <a:pt x="85" y="67"/>
                </a:lnTo>
                <a:lnTo>
                  <a:pt x="93" y="73"/>
                </a:lnTo>
                <a:lnTo>
                  <a:pt x="98" y="78"/>
                </a:lnTo>
                <a:lnTo>
                  <a:pt x="105" y="82"/>
                </a:lnTo>
                <a:lnTo>
                  <a:pt x="105" y="82"/>
                </a:lnTo>
                <a:lnTo>
                  <a:pt x="109" y="80"/>
                </a:lnTo>
                <a:lnTo>
                  <a:pt x="113" y="77"/>
                </a:lnTo>
                <a:lnTo>
                  <a:pt x="114" y="71"/>
                </a:lnTo>
                <a:lnTo>
                  <a:pt x="118" y="62"/>
                </a:lnTo>
                <a:lnTo>
                  <a:pt x="120" y="55"/>
                </a:lnTo>
                <a:lnTo>
                  <a:pt x="118" y="48"/>
                </a:lnTo>
                <a:lnTo>
                  <a:pt x="116" y="40"/>
                </a:lnTo>
                <a:lnTo>
                  <a:pt x="114" y="38"/>
                </a:lnTo>
                <a:lnTo>
                  <a:pt x="109" y="29"/>
                </a:lnTo>
                <a:lnTo>
                  <a:pt x="103" y="22"/>
                </a:lnTo>
                <a:lnTo>
                  <a:pt x="100" y="18"/>
                </a:lnTo>
                <a:lnTo>
                  <a:pt x="100" y="17"/>
                </a:lnTo>
                <a:lnTo>
                  <a:pt x="96" y="6"/>
                </a:lnTo>
                <a:lnTo>
                  <a:pt x="96" y="0"/>
                </a:lnTo>
                <a:lnTo>
                  <a:pt x="94" y="0"/>
                </a:lnTo>
                <a:lnTo>
                  <a:pt x="93" y="9"/>
                </a:lnTo>
                <a:lnTo>
                  <a:pt x="93" y="17"/>
                </a:lnTo>
                <a:lnTo>
                  <a:pt x="91" y="28"/>
                </a:lnTo>
                <a:lnTo>
                  <a:pt x="91" y="31"/>
                </a:lnTo>
                <a:lnTo>
                  <a:pt x="89" y="35"/>
                </a:lnTo>
                <a:lnTo>
                  <a:pt x="76" y="40"/>
                </a:lnTo>
                <a:lnTo>
                  <a:pt x="62" y="49"/>
                </a:lnTo>
                <a:lnTo>
                  <a:pt x="47" y="57"/>
                </a:lnTo>
                <a:lnTo>
                  <a:pt x="44" y="60"/>
                </a:lnTo>
                <a:lnTo>
                  <a:pt x="42" y="62"/>
                </a:lnTo>
                <a:lnTo>
                  <a:pt x="40" y="75"/>
                </a:lnTo>
                <a:lnTo>
                  <a:pt x="40" y="80"/>
                </a:lnTo>
                <a:lnTo>
                  <a:pt x="34" y="84"/>
                </a:lnTo>
                <a:lnTo>
                  <a:pt x="31" y="87"/>
                </a:lnTo>
                <a:lnTo>
                  <a:pt x="27" y="91"/>
                </a:lnTo>
                <a:lnTo>
                  <a:pt x="20" y="95"/>
                </a:lnTo>
                <a:lnTo>
                  <a:pt x="7" y="98"/>
                </a:lnTo>
                <a:lnTo>
                  <a:pt x="4" y="102"/>
                </a:lnTo>
                <a:lnTo>
                  <a:pt x="2" y="107"/>
                </a:lnTo>
                <a:lnTo>
                  <a:pt x="0" y="107"/>
                </a:lnTo>
                <a:lnTo>
                  <a:pt x="0" y="115"/>
                </a:lnTo>
                <a:lnTo>
                  <a:pt x="2" y="129"/>
                </a:lnTo>
                <a:lnTo>
                  <a:pt x="9" y="151"/>
                </a:lnTo>
                <a:lnTo>
                  <a:pt x="22" y="171"/>
                </a:lnTo>
                <a:lnTo>
                  <a:pt x="42" y="180"/>
                </a:lnTo>
                <a:lnTo>
                  <a:pt x="56" y="180"/>
                </a:lnTo>
                <a:lnTo>
                  <a:pt x="71" y="184"/>
                </a:lnTo>
                <a:lnTo>
                  <a:pt x="73" y="182"/>
                </a:lnTo>
                <a:lnTo>
                  <a:pt x="138" y="193"/>
                </a:lnTo>
                <a:lnTo>
                  <a:pt x="142" y="187"/>
                </a:lnTo>
                <a:lnTo>
                  <a:pt x="147" y="187"/>
                </a:lnTo>
                <a:lnTo>
                  <a:pt x="147" y="187"/>
                </a:lnTo>
                <a:lnTo>
                  <a:pt x="151" y="187"/>
                </a:lnTo>
                <a:lnTo>
                  <a:pt x="154" y="191"/>
                </a:lnTo>
                <a:lnTo>
                  <a:pt x="160" y="191"/>
                </a:lnTo>
                <a:lnTo>
                  <a:pt x="172" y="202"/>
                </a:lnTo>
                <a:lnTo>
                  <a:pt x="185" y="215"/>
                </a:lnTo>
                <a:lnTo>
                  <a:pt x="196" y="226"/>
                </a:lnTo>
                <a:lnTo>
                  <a:pt x="256" y="269"/>
                </a:lnTo>
                <a:lnTo>
                  <a:pt x="294" y="296"/>
                </a:lnTo>
                <a:lnTo>
                  <a:pt x="318" y="309"/>
                </a:lnTo>
                <a:lnTo>
                  <a:pt x="325" y="307"/>
                </a:lnTo>
                <a:lnTo>
                  <a:pt x="332" y="307"/>
                </a:lnTo>
                <a:lnTo>
                  <a:pt x="340" y="309"/>
                </a:lnTo>
                <a:lnTo>
                  <a:pt x="347" y="309"/>
                </a:lnTo>
                <a:lnTo>
                  <a:pt x="352" y="307"/>
                </a:lnTo>
                <a:lnTo>
                  <a:pt x="352" y="307"/>
                </a:lnTo>
                <a:lnTo>
                  <a:pt x="358" y="302"/>
                </a:lnTo>
                <a:lnTo>
                  <a:pt x="360" y="300"/>
                </a:lnTo>
                <a:lnTo>
                  <a:pt x="363" y="298"/>
                </a:lnTo>
                <a:lnTo>
                  <a:pt x="376" y="296"/>
                </a:lnTo>
                <a:lnTo>
                  <a:pt x="381" y="296"/>
                </a:lnTo>
                <a:lnTo>
                  <a:pt x="383" y="296"/>
                </a:lnTo>
                <a:lnTo>
                  <a:pt x="383" y="291"/>
                </a:lnTo>
                <a:lnTo>
                  <a:pt x="387" y="291"/>
                </a:lnTo>
                <a:lnTo>
                  <a:pt x="389" y="289"/>
                </a:lnTo>
                <a:lnTo>
                  <a:pt x="390" y="289"/>
                </a:lnTo>
                <a:lnTo>
                  <a:pt x="398" y="287"/>
                </a:lnTo>
                <a:lnTo>
                  <a:pt x="403" y="284"/>
                </a:lnTo>
                <a:lnTo>
                  <a:pt x="409" y="282"/>
                </a:lnTo>
                <a:lnTo>
                  <a:pt x="410" y="282"/>
                </a:lnTo>
                <a:lnTo>
                  <a:pt x="418" y="284"/>
                </a:lnTo>
                <a:lnTo>
                  <a:pt x="425" y="286"/>
                </a:lnTo>
                <a:lnTo>
                  <a:pt x="427" y="286"/>
                </a:lnTo>
                <a:lnTo>
                  <a:pt x="429" y="286"/>
                </a:lnTo>
                <a:lnTo>
                  <a:pt x="429" y="282"/>
                </a:lnTo>
                <a:lnTo>
                  <a:pt x="430" y="280"/>
                </a:lnTo>
                <a:lnTo>
                  <a:pt x="429" y="271"/>
                </a:lnTo>
                <a:lnTo>
                  <a:pt x="429" y="266"/>
                </a:lnTo>
                <a:lnTo>
                  <a:pt x="429" y="264"/>
                </a:lnTo>
                <a:lnTo>
                  <a:pt x="427" y="262"/>
                </a:lnTo>
                <a:lnTo>
                  <a:pt x="423" y="258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lnTo>
                  <a:pt x="421" y="255"/>
                </a:lnTo>
                <a:close/>
              </a:path>
            </a:pathLst>
          </a:custGeom>
          <a:solidFill>
            <a:srgbClr val="7E7E7E"/>
          </a:solidFill>
          <a:ln w="3175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93" name="Группа 192">
            <a:extLst>
              <a:ext uri="{FF2B5EF4-FFF2-40B4-BE49-F238E27FC236}">
                <a16:creationId xmlns:a16="http://schemas.microsoft.com/office/drawing/2014/main" id="{7BA908AF-C36D-A74F-B938-598F57126220}"/>
              </a:ext>
            </a:extLst>
          </p:cNvPr>
          <p:cNvGrpSpPr/>
          <p:nvPr/>
        </p:nvGrpSpPr>
        <p:grpSpPr>
          <a:xfrm>
            <a:off x="263352" y="2581959"/>
            <a:ext cx="5820711" cy="3032867"/>
            <a:chOff x="263352" y="2581959"/>
            <a:chExt cx="5820711" cy="3032867"/>
          </a:xfrm>
          <a:solidFill>
            <a:srgbClr val="CCCCCC"/>
          </a:solidFill>
        </p:grpSpPr>
        <p:sp>
          <p:nvSpPr>
            <p:cNvPr id="194" name="Freeform 5">
              <a:extLst>
                <a:ext uri="{FF2B5EF4-FFF2-40B4-BE49-F238E27FC236}">
                  <a16:creationId xmlns:a16="http://schemas.microsoft.com/office/drawing/2014/main" id="{4C0A247D-096C-4246-92FB-26CCC3653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9881" y="4321566"/>
              <a:ext cx="986291" cy="1010002"/>
            </a:xfrm>
            <a:custGeom>
              <a:avLst/>
              <a:gdLst>
                <a:gd name="T0" fmla="*/ 643 w 681"/>
                <a:gd name="T1" fmla="*/ 198 h 706"/>
                <a:gd name="T2" fmla="*/ 612 w 681"/>
                <a:gd name="T3" fmla="*/ 207 h 706"/>
                <a:gd name="T4" fmla="*/ 563 w 681"/>
                <a:gd name="T5" fmla="*/ 167 h 706"/>
                <a:gd name="T6" fmla="*/ 534 w 681"/>
                <a:gd name="T7" fmla="*/ 201 h 706"/>
                <a:gd name="T8" fmla="*/ 514 w 681"/>
                <a:gd name="T9" fmla="*/ 243 h 706"/>
                <a:gd name="T10" fmla="*/ 490 w 681"/>
                <a:gd name="T11" fmla="*/ 243 h 706"/>
                <a:gd name="T12" fmla="*/ 443 w 681"/>
                <a:gd name="T13" fmla="*/ 258 h 706"/>
                <a:gd name="T14" fmla="*/ 426 w 681"/>
                <a:gd name="T15" fmla="*/ 272 h 706"/>
                <a:gd name="T16" fmla="*/ 403 w 681"/>
                <a:gd name="T17" fmla="*/ 230 h 706"/>
                <a:gd name="T18" fmla="*/ 416 w 681"/>
                <a:gd name="T19" fmla="*/ 158 h 706"/>
                <a:gd name="T20" fmla="*/ 386 w 681"/>
                <a:gd name="T21" fmla="*/ 119 h 706"/>
                <a:gd name="T22" fmla="*/ 388 w 681"/>
                <a:gd name="T23" fmla="*/ 94 h 706"/>
                <a:gd name="T24" fmla="*/ 381 w 681"/>
                <a:gd name="T25" fmla="*/ 74 h 706"/>
                <a:gd name="T26" fmla="*/ 368 w 681"/>
                <a:gd name="T27" fmla="*/ 43 h 706"/>
                <a:gd name="T28" fmla="*/ 341 w 681"/>
                <a:gd name="T29" fmla="*/ 30 h 706"/>
                <a:gd name="T30" fmla="*/ 341 w 681"/>
                <a:gd name="T31" fmla="*/ 3 h 706"/>
                <a:gd name="T32" fmla="*/ 301 w 681"/>
                <a:gd name="T33" fmla="*/ 23 h 706"/>
                <a:gd name="T34" fmla="*/ 301 w 681"/>
                <a:gd name="T35" fmla="*/ 125 h 706"/>
                <a:gd name="T36" fmla="*/ 270 w 681"/>
                <a:gd name="T37" fmla="*/ 218 h 706"/>
                <a:gd name="T38" fmla="*/ 272 w 681"/>
                <a:gd name="T39" fmla="*/ 301 h 706"/>
                <a:gd name="T40" fmla="*/ 218 w 681"/>
                <a:gd name="T41" fmla="*/ 274 h 706"/>
                <a:gd name="T42" fmla="*/ 201 w 681"/>
                <a:gd name="T43" fmla="*/ 305 h 706"/>
                <a:gd name="T44" fmla="*/ 174 w 681"/>
                <a:gd name="T45" fmla="*/ 334 h 706"/>
                <a:gd name="T46" fmla="*/ 159 w 681"/>
                <a:gd name="T47" fmla="*/ 368 h 706"/>
                <a:gd name="T48" fmla="*/ 136 w 681"/>
                <a:gd name="T49" fmla="*/ 348 h 706"/>
                <a:gd name="T50" fmla="*/ 110 w 681"/>
                <a:gd name="T51" fmla="*/ 357 h 706"/>
                <a:gd name="T52" fmla="*/ 60 w 681"/>
                <a:gd name="T53" fmla="*/ 399 h 706"/>
                <a:gd name="T54" fmla="*/ 47 w 681"/>
                <a:gd name="T55" fmla="*/ 448 h 706"/>
                <a:gd name="T56" fmla="*/ 30 w 681"/>
                <a:gd name="T57" fmla="*/ 486 h 706"/>
                <a:gd name="T58" fmla="*/ 7 w 681"/>
                <a:gd name="T59" fmla="*/ 528 h 706"/>
                <a:gd name="T60" fmla="*/ 11 w 681"/>
                <a:gd name="T61" fmla="*/ 563 h 706"/>
                <a:gd name="T62" fmla="*/ 32 w 681"/>
                <a:gd name="T63" fmla="*/ 572 h 706"/>
                <a:gd name="T64" fmla="*/ 67 w 681"/>
                <a:gd name="T65" fmla="*/ 597 h 706"/>
                <a:gd name="T66" fmla="*/ 90 w 681"/>
                <a:gd name="T67" fmla="*/ 605 h 706"/>
                <a:gd name="T68" fmla="*/ 118 w 681"/>
                <a:gd name="T69" fmla="*/ 605 h 706"/>
                <a:gd name="T70" fmla="*/ 136 w 681"/>
                <a:gd name="T71" fmla="*/ 594 h 706"/>
                <a:gd name="T72" fmla="*/ 185 w 681"/>
                <a:gd name="T73" fmla="*/ 648 h 706"/>
                <a:gd name="T74" fmla="*/ 214 w 681"/>
                <a:gd name="T75" fmla="*/ 652 h 706"/>
                <a:gd name="T76" fmla="*/ 243 w 681"/>
                <a:gd name="T77" fmla="*/ 685 h 706"/>
                <a:gd name="T78" fmla="*/ 267 w 681"/>
                <a:gd name="T79" fmla="*/ 706 h 706"/>
                <a:gd name="T80" fmla="*/ 283 w 681"/>
                <a:gd name="T81" fmla="*/ 692 h 706"/>
                <a:gd name="T82" fmla="*/ 396 w 681"/>
                <a:gd name="T83" fmla="*/ 595 h 706"/>
                <a:gd name="T84" fmla="*/ 406 w 681"/>
                <a:gd name="T85" fmla="*/ 477 h 706"/>
                <a:gd name="T86" fmla="*/ 410 w 681"/>
                <a:gd name="T87" fmla="*/ 427 h 706"/>
                <a:gd name="T88" fmla="*/ 414 w 681"/>
                <a:gd name="T89" fmla="*/ 397 h 706"/>
                <a:gd name="T90" fmla="*/ 435 w 681"/>
                <a:gd name="T91" fmla="*/ 381 h 706"/>
                <a:gd name="T92" fmla="*/ 472 w 681"/>
                <a:gd name="T93" fmla="*/ 387 h 706"/>
                <a:gd name="T94" fmla="*/ 506 w 681"/>
                <a:gd name="T95" fmla="*/ 368 h 706"/>
                <a:gd name="T96" fmla="*/ 526 w 681"/>
                <a:gd name="T97" fmla="*/ 383 h 706"/>
                <a:gd name="T98" fmla="*/ 559 w 681"/>
                <a:gd name="T99" fmla="*/ 385 h 706"/>
                <a:gd name="T100" fmla="*/ 575 w 681"/>
                <a:gd name="T101" fmla="*/ 374 h 706"/>
                <a:gd name="T102" fmla="*/ 610 w 681"/>
                <a:gd name="T103" fmla="*/ 337 h 706"/>
                <a:gd name="T104" fmla="*/ 624 w 681"/>
                <a:gd name="T105" fmla="*/ 354 h 706"/>
                <a:gd name="T106" fmla="*/ 657 w 681"/>
                <a:gd name="T107" fmla="*/ 341 h 706"/>
                <a:gd name="T108" fmla="*/ 657 w 681"/>
                <a:gd name="T109" fmla="*/ 317 h 706"/>
                <a:gd name="T110" fmla="*/ 635 w 681"/>
                <a:gd name="T111" fmla="*/ 296 h 706"/>
                <a:gd name="T112" fmla="*/ 641 w 681"/>
                <a:gd name="T113" fmla="*/ 276 h 706"/>
                <a:gd name="T114" fmla="*/ 655 w 681"/>
                <a:gd name="T115" fmla="*/ 259 h 706"/>
                <a:gd name="T116" fmla="*/ 677 w 681"/>
                <a:gd name="T117" fmla="*/ 245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1" h="706">
                  <a:moveTo>
                    <a:pt x="677" y="245"/>
                  </a:moveTo>
                  <a:lnTo>
                    <a:pt x="666" y="243"/>
                  </a:lnTo>
                  <a:lnTo>
                    <a:pt x="657" y="218"/>
                  </a:lnTo>
                  <a:lnTo>
                    <a:pt x="657" y="210"/>
                  </a:lnTo>
                  <a:lnTo>
                    <a:pt x="653" y="203"/>
                  </a:lnTo>
                  <a:lnTo>
                    <a:pt x="652" y="201"/>
                  </a:lnTo>
                  <a:lnTo>
                    <a:pt x="650" y="199"/>
                  </a:lnTo>
                  <a:lnTo>
                    <a:pt x="643" y="198"/>
                  </a:lnTo>
                  <a:lnTo>
                    <a:pt x="641" y="199"/>
                  </a:lnTo>
                  <a:lnTo>
                    <a:pt x="637" y="201"/>
                  </a:lnTo>
                  <a:lnTo>
                    <a:pt x="633" y="201"/>
                  </a:lnTo>
                  <a:lnTo>
                    <a:pt x="626" y="203"/>
                  </a:lnTo>
                  <a:lnTo>
                    <a:pt x="621" y="207"/>
                  </a:lnTo>
                  <a:lnTo>
                    <a:pt x="615" y="208"/>
                  </a:lnTo>
                  <a:lnTo>
                    <a:pt x="613" y="207"/>
                  </a:lnTo>
                  <a:lnTo>
                    <a:pt x="612" y="207"/>
                  </a:lnTo>
                  <a:lnTo>
                    <a:pt x="610" y="198"/>
                  </a:lnTo>
                  <a:lnTo>
                    <a:pt x="608" y="194"/>
                  </a:lnTo>
                  <a:lnTo>
                    <a:pt x="603" y="190"/>
                  </a:lnTo>
                  <a:lnTo>
                    <a:pt x="608" y="179"/>
                  </a:lnTo>
                  <a:lnTo>
                    <a:pt x="595" y="174"/>
                  </a:lnTo>
                  <a:lnTo>
                    <a:pt x="584" y="170"/>
                  </a:lnTo>
                  <a:lnTo>
                    <a:pt x="579" y="169"/>
                  </a:lnTo>
                  <a:lnTo>
                    <a:pt x="563" y="167"/>
                  </a:lnTo>
                  <a:lnTo>
                    <a:pt x="555" y="167"/>
                  </a:lnTo>
                  <a:lnTo>
                    <a:pt x="554" y="169"/>
                  </a:lnTo>
                  <a:lnTo>
                    <a:pt x="550" y="170"/>
                  </a:lnTo>
                  <a:lnTo>
                    <a:pt x="548" y="172"/>
                  </a:lnTo>
                  <a:lnTo>
                    <a:pt x="546" y="176"/>
                  </a:lnTo>
                  <a:lnTo>
                    <a:pt x="541" y="187"/>
                  </a:lnTo>
                  <a:lnTo>
                    <a:pt x="537" y="198"/>
                  </a:lnTo>
                  <a:lnTo>
                    <a:pt x="534" y="201"/>
                  </a:lnTo>
                  <a:lnTo>
                    <a:pt x="530" y="207"/>
                  </a:lnTo>
                  <a:lnTo>
                    <a:pt x="524" y="214"/>
                  </a:lnTo>
                  <a:lnTo>
                    <a:pt x="517" y="221"/>
                  </a:lnTo>
                  <a:lnTo>
                    <a:pt x="514" y="230"/>
                  </a:lnTo>
                  <a:lnTo>
                    <a:pt x="514" y="234"/>
                  </a:lnTo>
                  <a:lnTo>
                    <a:pt x="514" y="236"/>
                  </a:lnTo>
                  <a:lnTo>
                    <a:pt x="514" y="239"/>
                  </a:lnTo>
                  <a:lnTo>
                    <a:pt x="514" y="243"/>
                  </a:lnTo>
                  <a:lnTo>
                    <a:pt x="514" y="248"/>
                  </a:lnTo>
                  <a:lnTo>
                    <a:pt x="512" y="250"/>
                  </a:lnTo>
                  <a:lnTo>
                    <a:pt x="510" y="252"/>
                  </a:lnTo>
                  <a:lnTo>
                    <a:pt x="505" y="252"/>
                  </a:lnTo>
                  <a:lnTo>
                    <a:pt x="499" y="256"/>
                  </a:lnTo>
                  <a:lnTo>
                    <a:pt x="495" y="259"/>
                  </a:lnTo>
                  <a:lnTo>
                    <a:pt x="492" y="250"/>
                  </a:lnTo>
                  <a:lnTo>
                    <a:pt x="490" y="243"/>
                  </a:lnTo>
                  <a:lnTo>
                    <a:pt x="488" y="243"/>
                  </a:lnTo>
                  <a:lnTo>
                    <a:pt x="485" y="241"/>
                  </a:lnTo>
                  <a:lnTo>
                    <a:pt x="479" y="243"/>
                  </a:lnTo>
                  <a:lnTo>
                    <a:pt x="475" y="245"/>
                  </a:lnTo>
                  <a:lnTo>
                    <a:pt x="465" y="252"/>
                  </a:lnTo>
                  <a:lnTo>
                    <a:pt x="452" y="256"/>
                  </a:lnTo>
                  <a:lnTo>
                    <a:pt x="445" y="258"/>
                  </a:lnTo>
                  <a:lnTo>
                    <a:pt x="443" y="258"/>
                  </a:lnTo>
                  <a:lnTo>
                    <a:pt x="437" y="258"/>
                  </a:lnTo>
                  <a:lnTo>
                    <a:pt x="435" y="259"/>
                  </a:lnTo>
                  <a:lnTo>
                    <a:pt x="434" y="261"/>
                  </a:lnTo>
                  <a:lnTo>
                    <a:pt x="434" y="263"/>
                  </a:lnTo>
                  <a:lnTo>
                    <a:pt x="434" y="268"/>
                  </a:lnTo>
                  <a:lnTo>
                    <a:pt x="432" y="270"/>
                  </a:lnTo>
                  <a:lnTo>
                    <a:pt x="430" y="270"/>
                  </a:lnTo>
                  <a:lnTo>
                    <a:pt x="426" y="272"/>
                  </a:lnTo>
                  <a:lnTo>
                    <a:pt x="417" y="270"/>
                  </a:lnTo>
                  <a:lnTo>
                    <a:pt x="410" y="268"/>
                  </a:lnTo>
                  <a:lnTo>
                    <a:pt x="403" y="263"/>
                  </a:lnTo>
                  <a:lnTo>
                    <a:pt x="397" y="258"/>
                  </a:lnTo>
                  <a:lnTo>
                    <a:pt x="397" y="256"/>
                  </a:lnTo>
                  <a:lnTo>
                    <a:pt x="397" y="250"/>
                  </a:lnTo>
                  <a:lnTo>
                    <a:pt x="401" y="239"/>
                  </a:lnTo>
                  <a:lnTo>
                    <a:pt x="403" y="230"/>
                  </a:lnTo>
                  <a:lnTo>
                    <a:pt x="405" y="218"/>
                  </a:lnTo>
                  <a:lnTo>
                    <a:pt x="405" y="207"/>
                  </a:lnTo>
                  <a:lnTo>
                    <a:pt x="406" y="198"/>
                  </a:lnTo>
                  <a:lnTo>
                    <a:pt x="414" y="181"/>
                  </a:lnTo>
                  <a:lnTo>
                    <a:pt x="417" y="169"/>
                  </a:lnTo>
                  <a:lnTo>
                    <a:pt x="417" y="161"/>
                  </a:lnTo>
                  <a:lnTo>
                    <a:pt x="417" y="158"/>
                  </a:lnTo>
                  <a:lnTo>
                    <a:pt x="416" y="158"/>
                  </a:lnTo>
                  <a:lnTo>
                    <a:pt x="403" y="150"/>
                  </a:lnTo>
                  <a:lnTo>
                    <a:pt x="396" y="147"/>
                  </a:lnTo>
                  <a:lnTo>
                    <a:pt x="394" y="143"/>
                  </a:lnTo>
                  <a:lnTo>
                    <a:pt x="392" y="139"/>
                  </a:lnTo>
                  <a:lnTo>
                    <a:pt x="390" y="136"/>
                  </a:lnTo>
                  <a:lnTo>
                    <a:pt x="388" y="129"/>
                  </a:lnTo>
                  <a:lnTo>
                    <a:pt x="386" y="125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92" y="114"/>
                  </a:lnTo>
                  <a:lnTo>
                    <a:pt x="394" y="107"/>
                  </a:lnTo>
                  <a:lnTo>
                    <a:pt x="394" y="103"/>
                  </a:lnTo>
                  <a:lnTo>
                    <a:pt x="394" y="101"/>
                  </a:lnTo>
                  <a:lnTo>
                    <a:pt x="394" y="96"/>
                  </a:lnTo>
                  <a:lnTo>
                    <a:pt x="390" y="96"/>
                  </a:lnTo>
                  <a:lnTo>
                    <a:pt x="388" y="94"/>
                  </a:lnTo>
                  <a:lnTo>
                    <a:pt x="385" y="94"/>
                  </a:lnTo>
                  <a:lnTo>
                    <a:pt x="379" y="94"/>
                  </a:lnTo>
                  <a:lnTo>
                    <a:pt x="376" y="94"/>
                  </a:lnTo>
                  <a:lnTo>
                    <a:pt x="374" y="92"/>
                  </a:lnTo>
                  <a:lnTo>
                    <a:pt x="374" y="90"/>
                  </a:lnTo>
                  <a:lnTo>
                    <a:pt x="374" y="87"/>
                  </a:lnTo>
                  <a:lnTo>
                    <a:pt x="379" y="78"/>
                  </a:lnTo>
                  <a:lnTo>
                    <a:pt x="381" y="74"/>
                  </a:lnTo>
                  <a:lnTo>
                    <a:pt x="381" y="70"/>
                  </a:lnTo>
                  <a:lnTo>
                    <a:pt x="381" y="70"/>
                  </a:lnTo>
                  <a:lnTo>
                    <a:pt x="379" y="69"/>
                  </a:lnTo>
                  <a:lnTo>
                    <a:pt x="376" y="65"/>
                  </a:lnTo>
                  <a:lnTo>
                    <a:pt x="374" y="63"/>
                  </a:lnTo>
                  <a:lnTo>
                    <a:pt x="372" y="52"/>
                  </a:lnTo>
                  <a:lnTo>
                    <a:pt x="370" y="49"/>
                  </a:lnTo>
                  <a:lnTo>
                    <a:pt x="368" y="43"/>
                  </a:lnTo>
                  <a:lnTo>
                    <a:pt x="365" y="41"/>
                  </a:lnTo>
                  <a:lnTo>
                    <a:pt x="361" y="40"/>
                  </a:lnTo>
                  <a:lnTo>
                    <a:pt x="350" y="34"/>
                  </a:lnTo>
                  <a:lnTo>
                    <a:pt x="343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0"/>
                  </a:lnTo>
                  <a:lnTo>
                    <a:pt x="341" y="30"/>
                  </a:lnTo>
                  <a:lnTo>
                    <a:pt x="343" y="29"/>
                  </a:lnTo>
                  <a:lnTo>
                    <a:pt x="348" y="27"/>
                  </a:lnTo>
                  <a:lnTo>
                    <a:pt x="350" y="27"/>
                  </a:lnTo>
                  <a:lnTo>
                    <a:pt x="352" y="25"/>
                  </a:lnTo>
                  <a:lnTo>
                    <a:pt x="352" y="23"/>
                  </a:lnTo>
                  <a:lnTo>
                    <a:pt x="350" y="20"/>
                  </a:lnTo>
                  <a:lnTo>
                    <a:pt x="341" y="0"/>
                  </a:lnTo>
                  <a:lnTo>
                    <a:pt x="341" y="3"/>
                  </a:lnTo>
                  <a:lnTo>
                    <a:pt x="341" y="7"/>
                  </a:lnTo>
                  <a:lnTo>
                    <a:pt x="339" y="9"/>
                  </a:lnTo>
                  <a:lnTo>
                    <a:pt x="337" y="10"/>
                  </a:lnTo>
                  <a:lnTo>
                    <a:pt x="332" y="10"/>
                  </a:lnTo>
                  <a:lnTo>
                    <a:pt x="327" y="14"/>
                  </a:lnTo>
                  <a:lnTo>
                    <a:pt x="321" y="20"/>
                  </a:lnTo>
                  <a:lnTo>
                    <a:pt x="312" y="27"/>
                  </a:lnTo>
                  <a:lnTo>
                    <a:pt x="301" y="23"/>
                  </a:lnTo>
                  <a:lnTo>
                    <a:pt x="299" y="43"/>
                  </a:lnTo>
                  <a:lnTo>
                    <a:pt x="299" y="63"/>
                  </a:lnTo>
                  <a:lnTo>
                    <a:pt x="292" y="70"/>
                  </a:lnTo>
                  <a:lnTo>
                    <a:pt x="301" y="83"/>
                  </a:lnTo>
                  <a:lnTo>
                    <a:pt x="305" y="89"/>
                  </a:lnTo>
                  <a:lnTo>
                    <a:pt x="308" y="92"/>
                  </a:lnTo>
                  <a:lnTo>
                    <a:pt x="301" y="109"/>
                  </a:lnTo>
                  <a:lnTo>
                    <a:pt x="301" y="125"/>
                  </a:lnTo>
                  <a:lnTo>
                    <a:pt x="290" y="136"/>
                  </a:lnTo>
                  <a:lnTo>
                    <a:pt x="290" y="143"/>
                  </a:lnTo>
                  <a:lnTo>
                    <a:pt x="267" y="161"/>
                  </a:lnTo>
                  <a:lnTo>
                    <a:pt x="256" y="187"/>
                  </a:lnTo>
                  <a:lnTo>
                    <a:pt x="259" y="199"/>
                  </a:lnTo>
                  <a:lnTo>
                    <a:pt x="263" y="210"/>
                  </a:lnTo>
                  <a:lnTo>
                    <a:pt x="267" y="216"/>
                  </a:lnTo>
                  <a:lnTo>
                    <a:pt x="270" y="218"/>
                  </a:lnTo>
                  <a:lnTo>
                    <a:pt x="277" y="219"/>
                  </a:lnTo>
                  <a:lnTo>
                    <a:pt x="287" y="219"/>
                  </a:lnTo>
                  <a:lnTo>
                    <a:pt x="287" y="239"/>
                  </a:lnTo>
                  <a:lnTo>
                    <a:pt x="272" y="245"/>
                  </a:lnTo>
                  <a:lnTo>
                    <a:pt x="276" y="261"/>
                  </a:lnTo>
                  <a:lnTo>
                    <a:pt x="287" y="272"/>
                  </a:lnTo>
                  <a:lnTo>
                    <a:pt x="281" y="285"/>
                  </a:lnTo>
                  <a:lnTo>
                    <a:pt x="272" y="301"/>
                  </a:lnTo>
                  <a:lnTo>
                    <a:pt x="267" y="307"/>
                  </a:lnTo>
                  <a:lnTo>
                    <a:pt x="261" y="310"/>
                  </a:lnTo>
                  <a:lnTo>
                    <a:pt x="259" y="310"/>
                  </a:lnTo>
                  <a:lnTo>
                    <a:pt x="258" y="307"/>
                  </a:lnTo>
                  <a:lnTo>
                    <a:pt x="254" y="303"/>
                  </a:lnTo>
                  <a:lnTo>
                    <a:pt x="245" y="299"/>
                  </a:lnTo>
                  <a:lnTo>
                    <a:pt x="236" y="294"/>
                  </a:lnTo>
                  <a:lnTo>
                    <a:pt x="218" y="274"/>
                  </a:lnTo>
                  <a:lnTo>
                    <a:pt x="208" y="279"/>
                  </a:lnTo>
                  <a:lnTo>
                    <a:pt x="205" y="283"/>
                  </a:lnTo>
                  <a:lnTo>
                    <a:pt x="203" y="287"/>
                  </a:lnTo>
                  <a:lnTo>
                    <a:pt x="203" y="292"/>
                  </a:lnTo>
                  <a:lnTo>
                    <a:pt x="205" y="296"/>
                  </a:lnTo>
                  <a:lnTo>
                    <a:pt x="205" y="301"/>
                  </a:lnTo>
                  <a:lnTo>
                    <a:pt x="203" y="303"/>
                  </a:lnTo>
                  <a:lnTo>
                    <a:pt x="201" y="305"/>
                  </a:lnTo>
                  <a:lnTo>
                    <a:pt x="196" y="310"/>
                  </a:lnTo>
                  <a:lnTo>
                    <a:pt x="194" y="314"/>
                  </a:lnTo>
                  <a:lnTo>
                    <a:pt x="188" y="317"/>
                  </a:lnTo>
                  <a:lnTo>
                    <a:pt x="185" y="317"/>
                  </a:lnTo>
                  <a:lnTo>
                    <a:pt x="183" y="321"/>
                  </a:lnTo>
                  <a:lnTo>
                    <a:pt x="181" y="325"/>
                  </a:lnTo>
                  <a:lnTo>
                    <a:pt x="178" y="328"/>
                  </a:lnTo>
                  <a:lnTo>
                    <a:pt x="174" y="334"/>
                  </a:lnTo>
                  <a:lnTo>
                    <a:pt x="170" y="337"/>
                  </a:lnTo>
                  <a:lnTo>
                    <a:pt x="167" y="341"/>
                  </a:lnTo>
                  <a:lnTo>
                    <a:pt x="165" y="341"/>
                  </a:lnTo>
                  <a:lnTo>
                    <a:pt x="163" y="345"/>
                  </a:lnTo>
                  <a:lnTo>
                    <a:pt x="159" y="348"/>
                  </a:lnTo>
                  <a:lnTo>
                    <a:pt x="158" y="352"/>
                  </a:lnTo>
                  <a:lnTo>
                    <a:pt x="158" y="357"/>
                  </a:lnTo>
                  <a:lnTo>
                    <a:pt x="159" y="368"/>
                  </a:lnTo>
                  <a:lnTo>
                    <a:pt x="159" y="374"/>
                  </a:lnTo>
                  <a:lnTo>
                    <a:pt x="159" y="374"/>
                  </a:lnTo>
                  <a:lnTo>
                    <a:pt x="158" y="374"/>
                  </a:lnTo>
                  <a:lnTo>
                    <a:pt x="152" y="368"/>
                  </a:lnTo>
                  <a:lnTo>
                    <a:pt x="145" y="365"/>
                  </a:lnTo>
                  <a:lnTo>
                    <a:pt x="136" y="356"/>
                  </a:lnTo>
                  <a:lnTo>
                    <a:pt x="136" y="354"/>
                  </a:lnTo>
                  <a:lnTo>
                    <a:pt x="136" y="348"/>
                  </a:lnTo>
                  <a:lnTo>
                    <a:pt x="136" y="345"/>
                  </a:lnTo>
                  <a:lnTo>
                    <a:pt x="136" y="341"/>
                  </a:lnTo>
                  <a:lnTo>
                    <a:pt x="134" y="341"/>
                  </a:lnTo>
                  <a:lnTo>
                    <a:pt x="132" y="341"/>
                  </a:lnTo>
                  <a:lnTo>
                    <a:pt x="127" y="341"/>
                  </a:lnTo>
                  <a:lnTo>
                    <a:pt x="123" y="341"/>
                  </a:lnTo>
                  <a:lnTo>
                    <a:pt x="116" y="348"/>
                  </a:lnTo>
                  <a:lnTo>
                    <a:pt x="110" y="357"/>
                  </a:lnTo>
                  <a:lnTo>
                    <a:pt x="105" y="359"/>
                  </a:lnTo>
                  <a:lnTo>
                    <a:pt x="103" y="361"/>
                  </a:lnTo>
                  <a:lnTo>
                    <a:pt x="96" y="359"/>
                  </a:lnTo>
                  <a:lnTo>
                    <a:pt x="85" y="357"/>
                  </a:lnTo>
                  <a:lnTo>
                    <a:pt x="74" y="354"/>
                  </a:lnTo>
                  <a:lnTo>
                    <a:pt x="50" y="394"/>
                  </a:lnTo>
                  <a:lnTo>
                    <a:pt x="54" y="396"/>
                  </a:lnTo>
                  <a:lnTo>
                    <a:pt x="60" y="399"/>
                  </a:lnTo>
                  <a:lnTo>
                    <a:pt x="61" y="401"/>
                  </a:lnTo>
                  <a:lnTo>
                    <a:pt x="63" y="405"/>
                  </a:lnTo>
                  <a:lnTo>
                    <a:pt x="67" y="408"/>
                  </a:lnTo>
                  <a:lnTo>
                    <a:pt x="63" y="414"/>
                  </a:lnTo>
                  <a:lnTo>
                    <a:pt x="60" y="423"/>
                  </a:lnTo>
                  <a:lnTo>
                    <a:pt x="54" y="430"/>
                  </a:lnTo>
                  <a:lnTo>
                    <a:pt x="50" y="439"/>
                  </a:lnTo>
                  <a:lnTo>
                    <a:pt x="47" y="448"/>
                  </a:lnTo>
                  <a:lnTo>
                    <a:pt x="43" y="452"/>
                  </a:lnTo>
                  <a:lnTo>
                    <a:pt x="41" y="456"/>
                  </a:lnTo>
                  <a:lnTo>
                    <a:pt x="40" y="459"/>
                  </a:lnTo>
                  <a:lnTo>
                    <a:pt x="36" y="461"/>
                  </a:lnTo>
                  <a:lnTo>
                    <a:pt x="36" y="463"/>
                  </a:lnTo>
                  <a:lnTo>
                    <a:pt x="34" y="468"/>
                  </a:lnTo>
                  <a:lnTo>
                    <a:pt x="34" y="479"/>
                  </a:lnTo>
                  <a:lnTo>
                    <a:pt x="30" y="486"/>
                  </a:lnTo>
                  <a:lnTo>
                    <a:pt x="29" y="490"/>
                  </a:lnTo>
                  <a:lnTo>
                    <a:pt x="27" y="497"/>
                  </a:lnTo>
                  <a:lnTo>
                    <a:pt x="27" y="505"/>
                  </a:lnTo>
                  <a:lnTo>
                    <a:pt x="25" y="512"/>
                  </a:lnTo>
                  <a:lnTo>
                    <a:pt x="20" y="516"/>
                  </a:lnTo>
                  <a:lnTo>
                    <a:pt x="16" y="523"/>
                  </a:lnTo>
                  <a:lnTo>
                    <a:pt x="12" y="525"/>
                  </a:lnTo>
                  <a:lnTo>
                    <a:pt x="7" y="528"/>
                  </a:lnTo>
                  <a:lnTo>
                    <a:pt x="1" y="530"/>
                  </a:lnTo>
                  <a:lnTo>
                    <a:pt x="0" y="532"/>
                  </a:lnTo>
                  <a:lnTo>
                    <a:pt x="0" y="534"/>
                  </a:lnTo>
                  <a:lnTo>
                    <a:pt x="0" y="541"/>
                  </a:lnTo>
                  <a:lnTo>
                    <a:pt x="1" y="550"/>
                  </a:lnTo>
                  <a:lnTo>
                    <a:pt x="5" y="554"/>
                  </a:lnTo>
                  <a:lnTo>
                    <a:pt x="7" y="561"/>
                  </a:lnTo>
                  <a:lnTo>
                    <a:pt x="11" y="563"/>
                  </a:lnTo>
                  <a:lnTo>
                    <a:pt x="14" y="566"/>
                  </a:lnTo>
                  <a:lnTo>
                    <a:pt x="18" y="568"/>
                  </a:lnTo>
                  <a:lnTo>
                    <a:pt x="21" y="572"/>
                  </a:lnTo>
                  <a:lnTo>
                    <a:pt x="21" y="574"/>
                  </a:lnTo>
                  <a:lnTo>
                    <a:pt x="25" y="570"/>
                  </a:lnTo>
                  <a:lnTo>
                    <a:pt x="27" y="570"/>
                  </a:lnTo>
                  <a:lnTo>
                    <a:pt x="29" y="570"/>
                  </a:lnTo>
                  <a:lnTo>
                    <a:pt x="32" y="572"/>
                  </a:lnTo>
                  <a:lnTo>
                    <a:pt x="36" y="576"/>
                  </a:lnTo>
                  <a:lnTo>
                    <a:pt x="40" y="577"/>
                  </a:lnTo>
                  <a:lnTo>
                    <a:pt x="41" y="583"/>
                  </a:lnTo>
                  <a:lnTo>
                    <a:pt x="41" y="586"/>
                  </a:lnTo>
                  <a:lnTo>
                    <a:pt x="43" y="588"/>
                  </a:lnTo>
                  <a:lnTo>
                    <a:pt x="52" y="590"/>
                  </a:lnTo>
                  <a:lnTo>
                    <a:pt x="58" y="592"/>
                  </a:lnTo>
                  <a:lnTo>
                    <a:pt x="67" y="597"/>
                  </a:lnTo>
                  <a:lnTo>
                    <a:pt x="69" y="603"/>
                  </a:lnTo>
                  <a:lnTo>
                    <a:pt x="70" y="603"/>
                  </a:lnTo>
                  <a:lnTo>
                    <a:pt x="70" y="605"/>
                  </a:lnTo>
                  <a:lnTo>
                    <a:pt x="74" y="606"/>
                  </a:lnTo>
                  <a:lnTo>
                    <a:pt x="80" y="606"/>
                  </a:lnTo>
                  <a:lnTo>
                    <a:pt x="83" y="603"/>
                  </a:lnTo>
                  <a:lnTo>
                    <a:pt x="89" y="603"/>
                  </a:lnTo>
                  <a:lnTo>
                    <a:pt x="90" y="605"/>
                  </a:lnTo>
                  <a:lnTo>
                    <a:pt x="96" y="610"/>
                  </a:lnTo>
                  <a:lnTo>
                    <a:pt x="100" y="615"/>
                  </a:lnTo>
                  <a:lnTo>
                    <a:pt x="101" y="615"/>
                  </a:lnTo>
                  <a:lnTo>
                    <a:pt x="103" y="614"/>
                  </a:lnTo>
                  <a:lnTo>
                    <a:pt x="109" y="610"/>
                  </a:lnTo>
                  <a:lnTo>
                    <a:pt x="110" y="608"/>
                  </a:lnTo>
                  <a:lnTo>
                    <a:pt x="114" y="606"/>
                  </a:lnTo>
                  <a:lnTo>
                    <a:pt x="118" y="605"/>
                  </a:lnTo>
                  <a:lnTo>
                    <a:pt x="121" y="603"/>
                  </a:lnTo>
                  <a:lnTo>
                    <a:pt x="123" y="603"/>
                  </a:lnTo>
                  <a:lnTo>
                    <a:pt x="123" y="599"/>
                  </a:lnTo>
                  <a:lnTo>
                    <a:pt x="123" y="597"/>
                  </a:lnTo>
                  <a:lnTo>
                    <a:pt x="127" y="595"/>
                  </a:lnTo>
                  <a:lnTo>
                    <a:pt x="132" y="594"/>
                  </a:lnTo>
                  <a:lnTo>
                    <a:pt x="136" y="594"/>
                  </a:lnTo>
                  <a:lnTo>
                    <a:pt x="136" y="594"/>
                  </a:lnTo>
                  <a:lnTo>
                    <a:pt x="138" y="594"/>
                  </a:lnTo>
                  <a:lnTo>
                    <a:pt x="136" y="603"/>
                  </a:lnTo>
                  <a:lnTo>
                    <a:pt x="138" y="605"/>
                  </a:lnTo>
                  <a:lnTo>
                    <a:pt x="139" y="606"/>
                  </a:lnTo>
                  <a:lnTo>
                    <a:pt x="158" y="619"/>
                  </a:lnTo>
                  <a:lnTo>
                    <a:pt x="178" y="634"/>
                  </a:lnTo>
                  <a:lnTo>
                    <a:pt x="181" y="639"/>
                  </a:lnTo>
                  <a:lnTo>
                    <a:pt x="185" y="648"/>
                  </a:lnTo>
                  <a:lnTo>
                    <a:pt x="188" y="652"/>
                  </a:lnTo>
                  <a:lnTo>
                    <a:pt x="194" y="654"/>
                  </a:lnTo>
                  <a:lnTo>
                    <a:pt x="194" y="654"/>
                  </a:lnTo>
                  <a:lnTo>
                    <a:pt x="199" y="652"/>
                  </a:lnTo>
                  <a:lnTo>
                    <a:pt x="201" y="650"/>
                  </a:lnTo>
                  <a:lnTo>
                    <a:pt x="205" y="650"/>
                  </a:lnTo>
                  <a:lnTo>
                    <a:pt x="208" y="652"/>
                  </a:lnTo>
                  <a:lnTo>
                    <a:pt x="214" y="652"/>
                  </a:lnTo>
                  <a:lnTo>
                    <a:pt x="214" y="655"/>
                  </a:lnTo>
                  <a:lnTo>
                    <a:pt x="218" y="657"/>
                  </a:lnTo>
                  <a:lnTo>
                    <a:pt x="219" y="659"/>
                  </a:lnTo>
                  <a:lnTo>
                    <a:pt x="227" y="668"/>
                  </a:lnTo>
                  <a:lnTo>
                    <a:pt x="234" y="670"/>
                  </a:lnTo>
                  <a:lnTo>
                    <a:pt x="236" y="672"/>
                  </a:lnTo>
                  <a:lnTo>
                    <a:pt x="238" y="674"/>
                  </a:lnTo>
                  <a:lnTo>
                    <a:pt x="243" y="685"/>
                  </a:lnTo>
                  <a:lnTo>
                    <a:pt x="245" y="688"/>
                  </a:lnTo>
                  <a:lnTo>
                    <a:pt x="247" y="692"/>
                  </a:lnTo>
                  <a:lnTo>
                    <a:pt x="248" y="692"/>
                  </a:lnTo>
                  <a:lnTo>
                    <a:pt x="256" y="692"/>
                  </a:lnTo>
                  <a:lnTo>
                    <a:pt x="259" y="694"/>
                  </a:lnTo>
                  <a:lnTo>
                    <a:pt x="263" y="697"/>
                  </a:lnTo>
                  <a:lnTo>
                    <a:pt x="267" y="703"/>
                  </a:lnTo>
                  <a:lnTo>
                    <a:pt x="267" y="706"/>
                  </a:lnTo>
                  <a:lnTo>
                    <a:pt x="268" y="706"/>
                  </a:lnTo>
                  <a:lnTo>
                    <a:pt x="270" y="706"/>
                  </a:lnTo>
                  <a:lnTo>
                    <a:pt x="279" y="699"/>
                  </a:lnTo>
                  <a:lnTo>
                    <a:pt x="288" y="697"/>
                  </a:lnTo>
                  <a:lnTo>
                    <a:pt x="296" y="694"/>
                  </a:lnTo>
                  <a:lnTo>
                    <a:pt x="292" y="694"/>
                  </a:lnTo>
                  <a:lnTo>
                    <a:pt x="292" y="694"/>
                  </a:lnTo>
                  <a:lnTo>
                    <a:pt x="283" y="692"/>
                  </a:lnTo>
                  <a:lnTo>
                    <a:pt x="292" y="694"/>
                  </a:lnTo>
                  <a:lnTo>
                    <a:pt x="296" y="685"/>
                  </a:lnTo>
                  <a:lnTo>
                    <a:pt x="296" y="679"/>
                  </a:lnTo>
                  <a:lnTo>
                    <a:pt x="312" y="668"/>
                  </a:lnTo>
                  <a:lnTo>
                    <a:pt x="337" y="648"/>
                  </a:lnTo>
                  <a:lnTo>
                    <a:pt x="352" y="630"/>
                  </a:lnTo>
                  <a:lnTo>
                    <a:pt x="374" y="612"/>
                  </a:lnTo>
                  <a:lnTo>
                    <a:pt x="396" y="595"/>
                  </a:lnTo>
                  <a:lnTo>
                    <a:pt x="403" y="577"/>
                  </a:lnTo>
                  <a:lnTo>
                    <a:pt x="412" y="552"/>
                  </a:lnTo>
                  <a:lnTo>
                    <a:pt x="414" y="534"/>
                  </a:lnTo>
                  <a:lnTo>
                    <a:pt x="412" y="510"/>
                  </a:lnTo>
                  <a:lnTo>
                    <a:pt x="414" y="506"/>
                  </a:lnTo>
                  <a:lnTo>
                    <a:pt x="410" y="497"/>
                  </a:lnTo>
                  <a:lnTo>
                    <a:pt x="406" y="485"/>
                  </a:lnTo>
                  <a:lnTo>
                    <a:pt x="406" y="477"/>
                  </a:lnTo>
                  <a:lnTo>
                    <a:pt x="406" y="468"/>
                  </a:lnTo>
                  <a:lnTo>
                    <a:pt x="405" y="465"/>
                  </a:lnTo>
                  <a:lnTo>
                    <a:pt x="406" y="459"/>
                  </a:lnTo>
                  <a:lnTo>
                    <a:pt x="410" y="446"/>
                  </a:lnTo>
                  <a:lnTo>
                    <a:pt x="412" y="443"/>
                  </a:lnTo>
                  <a:lnTo>
                    <a:pt x="414" y="439"/>
                  </a:lnTo>
                  <a:lnTo>
                    <a:pt x="421" y="439"/>
                  </a:lnTo>
                  <a:lnTo>
                    <a:pt x="410" y="427"/>
                  </a:lnTo>
                  <a:lnTo>
                    <a:pt x="406" y="425"/>
                  </a:lnTo>
                  <a:lnTo>
                    <a:pt x="403" y="423"/>
                  </a:lnTo>
                  <a:lnTo>
                    <a:pt x="397" y="421"/>
                  </a:lnTo>
                  <a:lnTo>
                    <a:pt x="397" y="416"/>
                  </a:lnTo>
                  <a:lnTo>
                    <a:pt x="401" y="408"/>
                  </a:lnTo>
                  <a:lnTo>
                    <a:pt x="405" y="403"/>
                  </a:lnTo>
                  <a:lnTo>
                    <a:pt x="410" y="399"/>
                  </a:lnTo>
                  <a:lnTo>
                    <a:pt x="414" y="397"/>
                  </a:lnTo>
                  <a:lnTo>
                    <a:pt x="425" y="396"/>
                  </a:lnTo>
                  <a:lnTo>
                    <a:pt x="428" y="396"/>
                  </a:lnTo>
                  <a:lnTo>
                    <a:pt x="430" y="394"/>
                  </a:lnTo>
                  <a:lnTo>
                    <a:pt x="432" y="388"/>
                  </a:lnTo>
                  <a:lnTo>
                    <a:pt x="434" y="387"/>
                  </a:lnTo>
                  <a:lnTo>
                    <a:pt x="434" y="383"/>
                  </a:lnTo>
                  <a:lnTo>
                    <a:pt x="434" y="381"/>
                  </a:lnTo>
                  <a:lnTo>
                    <a:pt x="435" y="381"/>
                  </a:lnTo>
                  <a:lnTo>
                    <a:pt x="439" y="381"/>
                  </a:lnTo>
                  <a:lnTo>
                    <a:pt x="446" y="381"/>
                  </a:lnTo>
                  <a:lnTo>
                    <a:pt x="448" y="383"/>
                  </a:lnTo>
                  <a:lnTo>
                    <a:pt x="452" y="383"/>
                  </a:lnTo>
                  <a:lnTo>
                    <a:pt x="455" y="383"/>
                  </a:lnTo>
                  <a:lnTo>
                    <a:pt x="463" y="385"/>
                  </a:lnTo>
                  <a:lnTo>
                    <a:pt x="468" y="387"/>
                  </a:lnTo>
                  <a:lnTo>
                    <a:pt x="472" y="387"/>
                  </a:lnTo>
                  <a:lnTo>
                    <a:pt x="474" y="385"/>
                  </a:lnTo>
                  <a:lnTo>
                    <a:pt x="475" y="383"/>
                  </a:lnTo>
                  <a:lnTo>
                    <a:pt x="479" y="374"/>
                  </a:lnTo>
                  <a:lnTo>
                    <a:pt x="483" y="368"/>
                  </a:lnTo>
                  <a:lnTo>
                    <a:pt x="485" y="368"/>
                  </a:lnTo>
                  <a:lnTo>
                    <a:pt x="492" y="368"/>
                  </a:lnTo>
                  <a:lnTo>
                    <a:pt x="501" y="372"/>
                  </a:lnTo>
                  <a:lnTo>
                    <a:pt x="506" y="368"/>
                  </a:lnTo>
                  <a:lnTo>
                    <a:pt x="510" y="367"/>
                  </a:lnTo>
                  <a:lnTo>
                    <a:pt x="512" y="367"/>
                  </a:lnTo>
                  <a:lnTo>
                    <a:pt x="514" y="368"/>
                  </a:lnTo>
                  <a:lnTo>
                    <a:pt x="514" y="368"/>
                  </a:lnTo>
                  <a:lnTo>
                    <a:pt x="514" y="374"/>
                  </a:lnTo>
                  <a:lnTo>
                    <a:pt x="515" y="377"/>
                  </a:lnTo>
                  <a:lnTo>
                    <a:pt x="519" y="381"/>
                  </a:lnTo>
                  <a:lnTo>
                    <a:pt x="526" y="383"/>
                  </a:lnTo>
                  <a:lnTo>
                    <a:pt x="530" y="385"/>
                  </a:lnTo>
                  <a:lnTo>
                    <a:pt x="534" y="385"/>
                  </a:lnTo>
                  <a:lnTo>
                    <a:pt x="535" y="383"/>
                  </a:lnTo>
                  <a:lnTo>
                    <a:pt x="537" y="383"/>
                  </a:lnTo>
                  <a:lnTo>
                    <a:pt x="548" y="387"/>
                  </a:lnTo>
                  <a:lnTo>
                    <a:pt x="555" y="387"/>
                  </a:lnTo>
                  <a:lnTo>
                    <a:pt x="559" y="387"/>
                  </a:lnTo>
                  <a:lnTo>
                    <a:pt x="559" y="385"/>
                  </a:lnTo>
                  <a:lnTo>
                    <a:pt x="561" y="381"/>
                  </a:lnTo>
                  <a:lnTo>
                    <a:pt x="561" y="377"/>
                  </a:lnTo>
                  <a:lnTo>
                    <a:pt x="561" y="374"/>
                  </a:lnTo>
                  <a:lnTo>
                    <a:pt x="561" y="374"/>
                  </a:lnTo>
                  <a:lnTo>
                    <a:pt x="563" y="374"/>
                  </a:lnTo>
                  <a:lnTo>
                    <a:pt x="568" y="374"/>
                  </a:lnTo>
                  <a:lnTo>
                    <a:pt x="574" y="374"/>
                  </a:lnTo>
                  <a:lnTo>
                    <a:pt x="575" y="374"/>
                  </a:lnTo>
                  <a:lnTo>
                    <a:pt x="577" y="374"/>
                  </a:lnTo>
                  <a:lnTo>
                    <a:pt x="579" y="368"/>
                  </a:lnTo>
                  <a:lnTo>
                    <a:pt x="579" y="367"/>
                  </a:lnTo>
                  <a:lnTo>
                    <a:pt x="584" y="347"/>
                  </a:lnTo>
                  <a:lnTo>
                    <a:pt x="592" y="347"/>
                  </a:lnTo>
                  <a:lnTo>
                    <a:pt x="595" y="345"/>
                  </a:lnTo>
                  <a:lnTo>
                    <a:pt x="601" y="343"/>
                  </a:lnTo>
                  <a:lnTo>
                    <a:pt x="610" y="337"/>
                  </a:lnTo>
                  <a:lnTo>
                    <a:pt x="615" y="334"/>
                  </a:lnTo>
                  <a:lnTo>
                    <a:pt x="621" y="328"/>
                  </a:lnTo>
                  <a:lnTo>
                    <a:pt x="604" y="347"/>
                  </a:lnTo>
                  <a:lnTo>
                    <a:pt x="608" y="348"/>
                  </a:lnTo>
                  <a:lnTo>
                    <a:pt x="610" y="348"/>
                  </a:lnTo>
                  <a:lnTo>
                    <a:pt x="613" y="352"/>
                  </a:lnTo>
                  <a:lnTo>
                    <a:pt x="619" y="356"/>
                  </a:lnTo>
                  <a:lnTo>
                    <a:pt x="624" y="354"/>
                  </a:lnTo>
                  <a:lnTo>
                    <a:pt x="635" y="354"/>
                  </a:lnTo>
                  <a:lnTo>
                    <a:pt x="641" y="352"/>
                  </a:lnTo>
                  <a:lnTo>
                    <a:pt x="643" y="348"/>
                  </a:lnTo>
                  <a:lnTo>
                    <a:pt x="646" y="345"/>
                  </a:lnTo>
                  <a:lnTo>
                    <a:pt x="652" y="341"/>
                  </a:lnTo>
                  <a:lnTo>
                    <a:pt x="655" y="341"/>
                  </a:lnTo>
                  <a:lnTo>
                    <a:pt x="657" y="343"/>
                  </a:lnTo>
                  <a:lnTo>
                    <a:pt x="657" y="341"/>
                  </a:lnTo>
                  <a:lnTo>
                    <a:pt x="659" y="337"/>
                  </a:lnTo>
                  <a:lnTo>
                    <a:pt x="659" y="336"/>
                  </a:lnTo>
                  <a:lnTo>
                    <a:pt x="657" y="334"/>
                  </a:lnTo>
                  <a:lnTo>
                    <a:pt x="657" y="328"/>
                  </a:lnTo>
                  <a:lnTo>
                    <a:pt x="657" y="325"/>
                  </a:lnTo>
                  <a:lnTo>
                    <a:pt x="657" y="325"/>
                  </a:lnTo>
                  <a:lnTo>
                    <a:pt x="657" y="321"/>
                  </a:lnTo>
                  <a:lnTo>
                    <a:pt x="657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0" y="321"/>
                  </a:lnTo>
                  <a:lnTo>
                    <a:pt x="639" y="307"/>
                  </a:lnTo>
                  <a:lnTo>
                    <a:pt x="635" y="303"/>
                  </a:lnTo>
                  <a:lnTo>
                    <a:pt x="635" y="299"/>
                  </a:lnTo>
                  <a:lnTo>
                    <a:pt x="635" y="296"/>
                  </a:lnTo>
                  <a:lnTo>
                    <a:pt x="639" y="294"/>
                  </a:lnTo>
                  <a:lnTo>
                    <a:pt x="639" y="292"/>
                  </a:lnTo>
                  <a:lnTo>
                    <a:pt x="641" y="290"/>
                  </a:lnTo>
                  <a:lnTo>
                    <a:pt x="639" y="283"/>
                  </a:lnTo>
                  <a:lnTo>
                    <a:pt x="637" y="279"/>
                  </a:lnTo>
                  <a:lnTo>
                    <a:pt x="637" y="276"/>
                  </a:lnTo>
                  <a:lnTo>
                    <a:pt x="639" y="276"/>
                  </a:lnTo>
                  <a:lnTo>
                    <a:pt x="641" y="276"/>
                  </a:lnTo>
                  <a:lnTo>
                    <a:pt x="639" y="272"/>
                  </a:lnTo>
                  <a:lnTo>
                    <a:pt x="637" y="270"/>
                  </a:lnTo>
                  <a:lnTo>
                    <a:pt x="637" y="268"/>
                  </a:lnTo>
                  <a:lnTo>
                    <a:pt x="639" y="268"/>
                  </a:lnTo>
                  <a:lnTo>
                    <a:pt x="643" y="261"/>
                  </a:lnTo>
                  <a:lnTo>
                    <a:pt x="646" y="259"/>
                  </a:lnTo>
                  <a:lnTo>
                    <a:pt x="650" y="259"/>
                  </a:lnTo>
                  <a:lnTo>
                    <a:pt x="655" y="259"/>
                  </a:lnTo>
                  <a:lnTo>
                    <a:pt x="661" y="263"/>
                  </a:lnTo>
                  <a:lnTo>
                    <a:pt x="666" y="263"/>
                  </a:lnTo>
                  <a:lnTo>
                    <a:pt x="668" y="265"/>
                  </a:lnTo>
                  <a:lnTo>
                    <a:pt x="675" y="263"/>
                  </a:lnTo>
                  <a:lnTo>
                    <a:pt x="681" y="261"/>
                  </a:lnTo>
                  <a:lnTo>
                    <a:pt x="681" y="259"/>
                  </a:lnTo>
                  <a:lnTo>
                    <a:pt x="677" y="245"/>
                  </a:lnTo>
                  <a:lnTo>
                    <a:pt x="677" y="245"/>
                  </a:lnTo>
                  <a:lnTo>
                    <a:pt x="677" y="2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Freeform 6">
              <a:extLst>
                <a:ext uri="{FF2B5EF4-FFF2-40B4-BE49-F238E27FC236}">
                  <a16:creationId xmlns:a16="http://schemas.microsoft.com/office/drawing/2014/main" id="{FEFE16C3-C66A-1048-A586-C839EE605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090" y="4790802"/>
              <a:ext cx="841462" cy="619448"/>
            </a:xfrm>
            <a:custGeom>
              <a:avLst/>
              <a:gdLst>
                <a:gd name="T0" fmla="*/ 558 w 581"/>
                <a:gd name="T1" fmla="*/ 102 h 433"/>
                <a:gd name="T2" fmla="*/ 521 w 581"/>
                <a:gd name="T3" fmla="*/ 46 h 433"/>
                <a:gd name="T4" fmla="*/ 520 w 581"/>
                <a:gd name="T5" fmla="*/ 31 h 433"/>
                <a:gd name="T6" fmla="*/ 538 w 581"/>
                <a:gd name="T7" fmla="*/ 0 h 433"/>
                <a:gd name="T8" fmla="*/ 501 w 581"/>
                <a:gd name="T9" fmla="*/ 19 h 433"/>
                <a:gd name="T10" fmla="*/ 485 w 581"/>
                <a:gd name="T11" fmla="*/ 46 h 433"/>
                <a:gd name="T12" fmla="*/ 476 w 581"/>
                <a:gd name="T13" fmla="*/ 57 h 433"/>
                <a:gd name="T14" fmla="*/ 451 w 581"/>
                <a:gd name="T15" fmla="*/ 57 h 433"/>
                <a:gd name="T16" fmla="*/ 431 w 581"/>
                <a:gd name="T17" fmla="*/ 40 h 433"/>
                <a:gd name="T18" fmla="*/ 409 w 581"/>
                <a:gd name="T19" fmla="*/ 40 h 433"/>
                <a:gd name="T20" fmla="*/ 389 w 581"/>
                <a:gd name="T21" fmla="*/ 59 h 433"/>
                <a:gd name="T22" fmla="*/ 363 w 581"/>
                <a:gd name="T23" fmla="*/ 53 h 433"/>
                <a:gd name="T24" fmla="*/ 349 w 581"/>
                <a:gd name="T25" fmla="*/ 60 h 433"/>
                <a:gd name="T26" fmla="*/ 322 w 581"/>
                <a:gd name="T27" fmla="*/ 75 h 433"/>
                <a:gd name="T28" fmla="*/ 327 w 581"/>
                <a:gd name="T29" fmla="*/ 99 h 433"/>
                <a:gd name="T30" fmla="*/ 322 w 581"/>
                <a:gd name="T31" fmla="*/ 137 h 433"/>
                <a:gd name="T32" fmla="*/ 331 w 581"/>
                <a:gd name="T33" fmla="*/ 178 h 433"/>
                <a:gd name="T34" fmla="*/ 291 w 581"/>
                <a:gd name="T35" fmla="*/ 284 h 433"/>
                <a:gd name="T36" fmla="*/ 209 w 581"/>
                <a:gd name="T37" fmla="*/ 366 h 433"/>
                <a:gd name="T38" fmla="*/ 184 w 581"/>
                <a:gd name="T39" fmla="*/ 378 h 433"/>
                <a:gd name="T40" fmla="*/ 164 w 581"/>
                <a:gd name="T41" fmla="*/ 364 h 433"/>
                <a:gd name="T42" fmla="*/ 144 w 581"/>
                <a:gd name="T43" fmla="*/ 340 h 433"/>
                <a:gd name="T44" fmla="*/ 122 w 581"/>
                <a:gd name="T45" fmla="*/ 322 h 433"/>
                <a:gd name="T46" fmla="*/ 102 w 581"/>
                <a:gd name="T47" fmla="*/ 320 h 433"/>
                <a:gd name="T48" fmla="*/ 53 w 581"/>
                <a:gd name="T49" fmla="*/ 275 h 433"/>
                <a:gd name="T50" fmla="*/ 40 w 581"/>
                <a:gd name="T51" fmla="*/ 269 h 433"/>
                <a:gd name="T52" fmla="*/ 27 w 581"/>
                <a:gd name="T53" fmla="*/ 280 h 433"/>
                <a:gd name="T54" fmla="*/ 11 w 581"/>
                <a:gd name="T55" fmla="*/ 287 h 433"/>
                <a:gd name="T56" fmla="*/ 11 w 581"/>
                <a:gd name="T57" fmla="*/ 329 h 433"/>
                <a:gd name="T58" fmla="*/ 33 w 581"/>
                <a:gd name="T59" fmla="*/ 344 h 433"/>
                <a:gd name="T60" fmla="*/ 95 w 581"/>
                <a:gd name="T61" fmla="*/ 364 h 433"/>
                <a:gd name="T62" fmla="*/ 122 w 581"/>
                <a:gd name="T63" fmla="*/ 391 h 433"/>
                <a:gd name="T64" fmla="*/ 153 w 581"/>
                <a:gd name="T65" fmla="*/ 426 h 433"/>
                <a:gd name="T66" fmla="*/ 178 w 581"/>
                <a:gd name="T67" fmla="*/ 433 h 433"/>
                <a:gd name="T68" fmla="*/ 218 w 581"/>
                <a:gd name="T69" fmla="*/ 420 h 433"/>
                <a:gd name="T70" fmla="*/ 249 w 581"/>
                <a:gd name="T71" fmla="*/ 413 h 433"/>
                <a:gd name="T72" fmla="*/ 280 w 581"/>
                <a:gd name="T73" fmla="*/ 415 h 433"/>
                <a:gd name="T74" fmla="*/ 303 w 581"/>
                <a:gd name="T75" fmla="*/ 429 h 433"/>
                <a:gd name="T76" fmla="*/ 327 w 581"/>
                <a:gd name="T77" fmla="*/ 426 h 433"/>
                <a:gd name="T78" fmla="*/ 340 w 581"/>
                <a:gd name="T79" fmla="*/ 406 h 433"/>
                <a:gd name="T80" fmla="*/ 345 w 581"/>
                <a:gd name="T81" fmla="*/ 395 h 433"/>
                <a:gd name="T82" fmla="*/ 345 w 581"/>
                <a:gd name="T83" fmla="*/ 371 h 433"/>
                <a:gd name="T84" fmla="*/ 343 w 581"/>
                <a:gd name="T85" fmla="*/ 364 h 433"/>
                <a:gd name="T86" fmla="*/ 362 w 581"/>
                <a:gd name="T87" fmla="*/ 347 h 433"/>
                <a:gd name="T88" fmla="*/ 382 w 581"/>
                <a:gd name="T89" fmla="*/ 346 h 433"/>
                <a:gd name="T90" fmla="*/ 416 w 581"/>
                <a:gd name="T91" fmla="*/ 340 h 433"/>
                <a:gd name="T92" fmla="*/ 423 w 581"/>
                <a:gd name="T93" fmla="*/ 326 h 433"/>
                <a:gd name="T94" fmla="*/ 452 w 581"/>
                <a:gd name="T95" fmla="*/ 297 h 433"/>
                <a:gd name="T96" fmla="*/ 471 w 581"/>
                <a:gd name="T97" fmla="*/ 287 h 433"/>
                <a:gd name="T98" fmla="*/ 491 w 581"/>
                <a:gd name="T99" fmla="*/ 275 h 433"/>
                <a:gd name="T100" fmla="*/ 511 w 581"/>
                <a:gd name="T101" fmla="*/ 264 h 433"/>
                <a:gd name="T102" fmla="*/ 521 w 581"/>
                <a:gd name="T103" fmla="*/ 237 h 433"/>
                <a:gd name="T104" fmla="*/ 501 w 581"/>
                <a:gd name="T105" fmla="*/ 217 h 433"/>
                <a:gd name="T106" fmla="*/ 532 w 581"/>
                <a:gd name="T107" fmla="*/ 178 h 433"/>
                <a:gd name="T108" fmla="*/ 567 w 581"/>
                <a:gd name="T109" fmla="*/ 149 h 433"/>
                <a:gd name="T110" fmla="*/ 581 w 581"/>
                <a:gd name="T111" fmla="*/ 12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1" h="433">
                  <a:moveTo>
                    <a:pt x="580" y="117"/>
                  </a:moveTo>
                  <a:lnTo>
                    <a:pt x="578" y="113"/>
                  </a:lnTo>
                  <a:lnTo>
                    <a:pt x="574" y="109"/>
                  </a:lnTo>
                  <a:lnTo>
                    <a:pt x="563" y="102"/>
                  </a:lnTo>
                  <a:lnTo>
                    <a:pt x="560" y="102"/>
                  </a:lnTo>
                  <a:lnTo>
                    <a:pt x="558" y="102"/>
                  </a:lnTo>
                  <a:lnTo>
                    <a:pt x="547" y="102"/>
                  </a:lnTo>
                  <a:lnTo>
                    <a:pt x="538" y="86"/>
                  </a:lnTo>
                  <a:lnTo>
                    <a:pt x="529" y="60"/>
                  </a:lnTo>
                  <a:lnTo>
                    <a:pt x="527" y="49"/>
                  </a:lnTo>
                  <a:lnTo>
                    <a:pt x="529" y="49"/>
                  </a:lnTo>
                  <a:lnTo>
                    <a:pt x="521" y="46"/>
                  </a:lnTo>
                  <a:lnTo>
                    <a:pt x="518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18" y="37"/>
                  </a:lnTo>
                  <a:lnTo>
                    <a:pt x="520" y="35"/>
                  </a:lnTo>
                  <a:lnTo>
                    <a:pt x="520" y="31"/>
                  </a:lnTo>
                  <a:lnTo>
                    <a:pt x="520" y="28"/>
                  </a:lnTo>
                  <a:lnTo>
                    <a:pt x="520" y="26"/>
                  </a:lnTo>
                  <a:lnTo>
                    <a:pt x="521" y="20"/>
                  </a:lnTo>
                  <a:lnTo>
                    <a:pt x="525" y="20"/>
                  </a:lnTo>
                  <a:lnTo>
                    <a:pt x="521" y="19"/>
                  </a:lnTo>
                  <a:lnTo>
                    <a:pt x="538" y="0"/>
                  </a:lnTo>
                  <a:lnTo>
                    <a:pt x="532" y="6"/>
                  </a:lnTo>
                  <a:lnTo>
                    <a:pt x="527" y="9"/>
                  </a:lnTo>
                  <a:lnTo>
                    <a:pt x="518" y="15"/>
                  </a:lnTo>
                  <a:lnTo>
                    <a:pt x="512" y="17"/>
                  </a:lnTo>
                  <a:lnTo>
                    <a:pt x="509" y="19"/>
                  </a:lnTo>
                  <a:lnTo>
                    <a:pt x="501" y="19"/>
                  </a:lnTo>
                  <a:lnTo>
                    <a:pt x="496" y="39"/>
                  </a:lnTo>
                  <a:lnTo>
                    <a:pt x="496" y="40"/>
                  </a:lnTo>
                  <a:lnTo>
                    <a:pt x="494" y="46"/>
                  </a:lnTo>
                  <a:lnTo>
                    <a:pt x="492" y="46"/>
                  </a:lnTo>
                  <a:lnTo>
                    <a:pt x="491" y="46"/>
                  </a:lnTo>
                  <a:lnTo>
                    <a:pt x="485" y="46"/>
                  </a:lnTo>
                  <a:lnTo>
                    <a:pt x="480" y="46"/>
                  </a:lnTo>
                  <a:lnTo>
                    <a:pt x="478" y="46"/>
                  </a:lnTo>
                  <a:lnTo>
                    <a:pt x="478" y="46"/>
                  </a:lnTo>
                  <a:lnTo>
                    <a:pt x="478" y="49"/>
                  </a:lnTo>
                  <a:lnTo>
                    <a:pt x="478" y="53"/>
                  </a:lnTo>
                  <a:lnTo>
                    <a:pt x="476" y="57"/>
                  </a:lnTo>
                  <a:lnTo>
                    <a:pt x="476" y="59"/>
                  </a:lnTo>
                  <a:lnTo>
                    <a:pt x="472" y="59"/>
                  </a:lnTo>
                  <a:lnTo>
                    <a:pt x="465" y="59"/>
                  </a:lnTo>
                  <a:lnTo>
                    <a:pt x="454" y="55"/>
                  </a:lnTo>
                  <a:lnTo>
                    <a:pt x="452" y="55"/>
                  </a:lnTo>
                  <a:lnTo>
                    <a:pt x="451" y="57"/>
                  </a:lnTo>
                  <a:lnTo>
                    <a:pt x="447" y="57"/>
                  </a:lnTo>
                  <a:lnTo>
                    <a:pt x="443" y="55"/>
                  </a:lnTo>
                  <a:lnTo>
                    <a:pt x="436" y="53"/>
                  </a:lnTo>
                  <a:lnTo>
                    <a:pt x="432" y="49"/>
                  </a:lnTo>
                  <a:lnTo>
                    <a:pt x="431" y="46"/>
                  </a:lnTo>
                  <a:lnTo>
                    <a:pt x="431" y="40"/>
                  </a:lnTo>
                  <a:lnTo>
                    <a:pt x="431" y="40"/>
                  </a:lnTo>
                  <a:lnTo>
                    <a:pt x="429" y="39"/>
                  </a:lnTo>
                  <a:lnTo>
                    <a:pt x="427" y="39"/>
                  </a:lnTo>
                  <a:lnTo>
                    <a:pt x="423" y="40"/>
                  </a:lnTo>
                  <a:lnTo>
                    <a:pt x="418" y="44"/>
                  </a:lnTo>
                  <a:lnTo>
                    <a:pt x="409" y="40"/>
                  </a:lnTo>
                  <a:lnTo>
                    <a:pt x="402" y="40"/>
                  </a:lnTo>
                  <a:lnTo>
                    <a:pt x="400" y="40"/>
                  </a:lnTo>
                  <a:lnTo>
                    <a:pt x="396" y="46"/>
                  </a:lnTo>
                  <a:lnTo>
                    <a:pt x="392" y="55"/>
                  </a:lnTo>
                  <a:lnTo>
                    <a:pt x="391" y="57"/>
                  </a:lnTo>
                  <a:lnTo>
                    <a:pt x="389" y="59"/>
                  </a:lnTo>
                  <a:lnTo>
                    <a:pt x="385" y="59"/>
                  </a:lnTo>
                  <a:lnTo>
                    <a:pt x="380" y="57"/>
                  </a:lnTo>
                  <a:lnTo>
                    <a:pt x="372" y="55"/>
                  </a:lnTo>
                  <a:lnTo>
                    <a:pt x="369" y="55"/>
                  </a:lnTo>
                  <a:lnTo>
                    <a:pt x="365" y="55"/>
                  </a:lnTo>
                  <a:lnTo>
                    <a:pt x="363" y="53"/>
                  </a:lnTo>
                  <a:lnTo>
                    <a:pt x="356" y="53"/>
                  </a:lnTo>
                  <a:lnTo>
                    <a:pt x="352" y="53"/>
                  </a:lnTo>
                  <a:lnTo>
                    <a:pt x="351" y="53"/>
                  </a:lnTo>
                  <a:lnTo>
                    <a:pt x="351" y="55"/>
                  </a:lnTo>
                  <a:lnTo>
                    <a:pt x="351" y="59"/>
                  </a:lnTo>
                  <a:lnTo>
                    <a:pt x="349" y="60"/>
                  </a:lnTo>
                  <a:lnTo>
                    <a:pt x="347" y="66"/>
                  </a:lnTo>
                  <a:lnTo>
                    <a:pt x="345" y="68"/>
                  </a:lnTo>
                  <a:lnTo>
                    <a:pt x="342" y="68"/>
                  </a:lnTo>
                  <a:lnTo>
                    <a:pt x="331" y="69"/>
                  </a:lnTo>
                  <a:lnTo>
                    <a:pt x="327" y="71"/>
                  </a:lnTo>
                  <a:lnTo>
                    <a:pt x="322" y="75"/>
                  </a:lnTo>
                  <a:lnTo>
                    <a:pt x="318" y="80"/>
                  </a:lnTo>
                  <a:lnTo>
                    <a:pt x="314" y="88"/>
                  </a:lnTo>
                  <a:lnTo>
                    <a:pt x="314" y="93"/>
                  </a:lnTo>
                  <a:lnTo>
                    <a:pt x="320" y="95"/>
                  </a:lnTo>
                  <a:lnTo>
                    <a:pt x="323" y="97"/>
                  </a:lnTo>
                  <a:lnTo>
                    <a:pt x="327" y="99"/>
                  </a:lnTo>
                  <a:lnTo>
                    <a:pt x="338" y="111"/>
                  </a:lnTo>
                  <a:lnTo>
                    <a:pt x="331" y="111"/>
                  </a:lnTo>
                  <a:lnTo>
                    <a:pt x="329" y="115"/>
                  </a:lnTo>
                  <a:lnTo>
                    <a:pt x="327" y="118"/>
                  </a:lnTo>
                  <a:lnTo>
                    <a:pt x="323" y="131"/>
                  </a:lnTo>
                  <a:lnTo>
                    <a:pt x="322" y="137"/>
                  </a:lnTo>
                  <a:lnTo>
                    <a:pt x="323" y="140"/>
                  </a:lnTo>
                  <a:lnTo>
                    <a:pt x="323" y="149"/>
                  </a:lnTo>
                  <a:lnTo>
                    <a:pt x="323" y="157"/>
                  </a:lnTo>
                  <a:lnTo>
                    <a:pt x="327" y="169"/>
                  </a:lnTo>
                  <a:lnTo>
                    <a:pt x="331" y="178"/>
                  </a:lnTo>
                  <a:lnTo>
                    <a:pt x="331" y="178"/>
                  </a:lnTo>
                  <a:lnTo>
                    <a:pt x="329" y="182"/>
                  </a:lnTo>
                  <a:lnTo>
                    <a:pt x="331" y="206"/>
                  </a:lnTo>
                  <a:lnTo>
                    <a:pt x="329" y="224"/>
                  </a:lnTo>
                  <a:lnTo>
                    <a:pt x="320" y="249"/>
                  </a:lnTo>
                  <a:lnTo>
                    <a:pt x="313" y="267"/>
                  </a:lnTo>
                  <a:lnTo>
                    <a:pt x="291" y="284"/>
                  </a:lnTo>
                  <a:lnTo>
                    <a:pt x="269" y="302"/>
                  </a:lnTo>
                  <a:lnTo>
                    <a:pt x="254" y="320"/>
                  </a:lnTo>
                  <a:lnTo>
                    <a:pt x="229" y="340"/>
                  </a:lnTo>
                  <a:lnTo>
                    <a:pt x="213" y="351"/>
                  </a:lnTo>
                  <a:lnTo>
                    <a:pt x="213" y="357"/>
                  </a:lnTo>
                  <a:lnTo>
                    <a:pt x="209" y="366"/>
                  </a:lnTo>
                  <a:lnTo>
                    <a:pt x="213" y="366"/>
                  </a:lnTo>
                  <a:lnTo>
                    <a:pt x="205" y="369"/>
                  </a:lnTo>
                  <a:lnTo>
                    <a:pt x="196" y="371"/>
                  </a:lnTo>
                  <a:lnTo>
                    <a:pt x="187" y="378"/>
                  </a:lnTo>
                  <a:lnTo>
                    <a:pt x="185" y="378"/>
                  </a:lnTo>
                  <a:lnTo>
                    <a:pt x="184" y="378"/>
                  </a:lnTo>
                  <a:lnTo>
                    <a:pt x="184" y="375"/>
                  </a:lnTo>
                  <a:lnTo>
                    <a:pt x="180" y="369"/>
                  </a:lnTo>
                  <a:lnTo>
                    <a:pt x="176" y="366"/>
                  </a:lnTo>
                  <a:lnTo>
                    <a:pt x="173" y="364"/>
                  </a:lnTo>
                  <a:lnTo>
                    <a:pt x="165" y="364"/>
                  </a:lnTo>
                  <a:lnTo>
                    <a:pt x="164" y="364"/>
                  </a:lnTo>
                  <a:lnTo>
                    <a:pt x="162" y="360"/>
                  </a:lnTo>
                  <a:lnTo>
                    <a:pt x="160" y="357"/>
                  </a:lnTo>
                  <a:lnTo>
                    <a:pt x="155" y="346"/>
                  </a:lnTo>
                  <a:lnTo>
                    <a:pt x="153" y="344"/>
                  </a:lnTo>
                  <a:lnTo>
                    <a:pt x="151" y="342"/>
                  </a:lnTo>
                  <a:lnTo>
                    <a:pt x="144" y="340"/>
                  </a:lnTo>
                  <a:lnTo>
                    <a:pt x="136" y="331"/>
                  </a:lnTo>
                  <a:lnTo>
                    <a:pt x="135" y="329"/>
                  </a:lnTo>
                  <a:lnTo>
                    <a:pt x="131" y="327"/>
                  </a:lnTo>
                  <a:lnTo>
                    <a:pt x="131" y="324"/>
                  </a:lnTo>
                  <a:lnTo>
                    <a:pt x="125" y="324"/>
                  </a:lnTo>
                  <a:lnTo>
                    <a:pt x="122" y="322"/>
                  </a:lnTo>
                  <a:lnTo>
                    <a:pt x="118" y="322"/>
                  </a:lnTo>
                  <a:lnTo>
                    <a:pt x="116" y="324"/>
                  </a:lnTo>
                  <a:lnTo>
                    <a:pt x="111" y="326"/>
                  </a:lnTo>
                  <a:lnTo>
                    <a:pt x="111" y="326"/>
                  </a:lnTo>
                  <a:lnTo>
                    <a:pt x="105" y="324"/>
                  </a:lnTo>
                  <a:lnTo>
                    <a:pt x="102" y="320"/>
                  </a:lnTo>
                  <a:lnTo>
                    <a:pt x="98" y="311"/>
                  </a:lnTo>
                  <a:lnTo>
                    <a:pt x="95" y="306"/>
                  </a:lnTo>
                  <a:lnTo>
                    <a:pt x="75" y="291"/>
                  </a:lnTo>
                  <a:lnTo>
                    <a:pt x="56" y="278"/>
                  </a:lnTo>
                  <a:lnTo>
                    <a:pt x="55" y="277"/>
                  </a:lnTo>
                  <a:lnTo>
                    <a:pt x="53" y="275"/>
                  </a:lnTo>
                  <a:lnTo>
                    <a:pt x="55" y="266"/>
                  </a:lnTo>
                  <a:lnTo>
                    <a:pt x="53" y="266"/>
                  </a:lnTo>
                  <a:lnTo>
                    <a:pt x="53" y="266"/>
                  </a:lnTo>
                  <a:lnTo>
                    <a:pt x="49" y="266"/>
                  </a:lnTo>
                  <a:lnTo>
                    <a:pt x="44" y="267"/>
                  </a:lnTo>
                  <a:lnTo>
                    <a:pt x="40" y="269"/>
                  </a:lnTo>
                  <a:lnTo>
                    <a:pt x="40" y="271"/>
                  </a:lnTo>
                  <a:lnTo>
                    <a:pt x="40" y="275"/>
                  </a:lnTo>
                  <a:lnTo>
                    <a:pt x="38" y="275"/>
                  </a:lnTo>
                  <a:lnTo>
                    <a:pt x="35" y="277"/>
                  </a:lnTo>
                  <a:lnTo>
                    <a:pt x="31" y="278"/>
                  </a:lnTo>
                  <a:lnTo>
                    <a:pt x="27" y="280"/>
                  </a:lnTo>
                  <a:lnTo>
                    <a:pt x="26" y="282"/>
                  </a:lnTo>
                  <a:lnTo>
                    <a:pt x="20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9"/>
                  </a:lnTo>
                  <a:lnTo>
                    <a:pt x="11" y="287"/>
                  </a:lnTo>
                  <a:lnTo>
                    <a:pt x="7" y="297"/>
                  </a:lnTo>
                  <a:lnTo>
                    <a:pt x="9" y="302"/>
                  </a:lnTo>
                  <a:lnTo>
                    <a:pt x="0" y="313"/>
                  </a:lnTo>
                  <a:lnTo>
                    <a:pt x="6" y="327"/>
                  </a:lnTo>
                  <a:lnTo>
                    <a:pt x="7" y="327"/>
                  </a:lnTo>
                  <a:lnTo>
                    <a:pt x="11" y="329"/>
                  </a:lnTo>
                  <a:lnTo>
                    <a:pt x="13" y="331"/>
                  </a:lnTo>
                  <a:lnTo>
                    <a:pt x="15" y="333"/>
                  </a:lnTo>
                  <a:lnTo>
                    <a:pt x="18" y="337"/>
                  </a:lnTo>
                  <a:lnTo>
                    <a:pt x="26" y="340"/>
                  </a:lnTo>
                  <a:lnTo>
                    <a:pt x="29" y="340"/>
                  </a:lnTo>
                  <a:lnTo>
                    <a:pt x="33" y="344"/>
                  </a:lnTo>
                  <a:lnTo>
                    <a:pt x="36" y="346"/>
                  </a:lnTo>
                  <a:lnTo>
                    <a:pt x="40" y="347"/>
                  </a:lnTo>
                  <a:lnTo>
                    <a:pt x="44" y="347"/>
                  </a:lnTo>
                  <a:lnTo>
                    <a:pt x="56" y="351"/>
                  </a:lnTo>
                  <a:lnTo>
                    <a:pt x="75" y="357"/>
                  </a:lnTo>
                  <a:lnTo>
                    <a:pt x="95" y="364"/>
                  </a:lnTo>
                  <a:lnTo>
                    <a:pt x="111" y="367"/>
                  </a:lnTo>
                  <a:lnTo>
                    <a:pt x="115" y="369"/>
                  </a:lnTo>
                  <a:lnTo>
                    <a:pt x="116" y="369"/>
                  </a:lnTo>
                  <a:lnTo>
                    <a:pt x="118" y="371"/>
                  </a:lnTo>
                  <a:lnTo>
                    <a:pt x="118" y="375"/>
                  </a:lnTo>
                  <a:lnTo>
                    <a:pt x="122" y="391"/>
                  </a:lnTo>
                  <a:lnTo>
                    <a:pt x="125" y="404"/>
                  </a:lnTo>
                  <a:lnTo>
                    <a:pt x="131" y="407"/>
                  </a:lnTo>
                  <a:lnTo>
                    <a:pt x="133" y="409"/>
                  </a:lnTo>
                  <a:lnTo>
                    <a:pt x="144" y="420"/>
                  </a:lnTo>
                  <a:lnTo>
                    <a:pt x="147" y="424"/>
                  </a:lnTo>
                  <a:lnTo>
                    <a:pt x="153" y="426"/>
                  </a:lnTo>
                  <a:lnTo>
                    <a:pt x="160" y="426"/>
                  </a:lnTo>
                  <a:lnTo>
                    <a:pt x="162" y="426"/>
                  </a:lnTo>
                  <a:lnTo>
                    <a:pt x="164" y="426"/>
                  </a:lnTo>
                  <a:lnTo>
                    <a:pt x="171" y="429"/>
                  </a:lnTo>
                  <a:lnTo>
                    <a:pt x="175" y="431"/>
                  </a:lnTo>
                  <a:lnTo>
                    <a:pt x="178" y="433"/>
                  </a:lnTo>
                  <a:lnTo>
                    <a:pt x="184" y="433"/>
                  </a:lnTo>
                  <a:lnTo>
                    <a:pt x="193" y="433"/>
                  </a:lnTo>
                  <a:lnTo>
                    <a:pt x="196" y="429"/>
                  </a:lnTo>
                  <a:lnTo>
                    <a:pt x="204" y="426"/>
                  </a:lnTo>
                  <a:lnTo>
                    <a:pt x="209" y="422"/>
                  </a:lnTo>
                  <a:lnTo>
                    <a:pt x="218" y="420"/>
                  </a:lnTo>
                  <a:lnTo>
                    <a:pt x="225" y="415"/>
                  </a:lnTo>
                  <a:lnTo>
                    <a:pt x="229" y="415"/>
                  </a:lnTo>
                  <a:lnTo>
                    <a:pt x="231" y="413"/>
                  </a:lnTo>
                  <a:lnTo>
                    <a:pt x="234" y="413"/>
                  </a:lnTo>
                  <a:lnTo>
                    <a:pt x="238" y="413"/>
                  </a:lnTo>
                  <a:lnTo>
                    <a:pt x="249" y="413"/>
                  </a:lnTo>
                  <a:lnTo>
                    <a:pt x="258" y="413"/>
                  </a:lnTo>
                  <a:lnTo>
                    <a:pt x="262" y="415"/>
                  </a:lnTo>
                  <a:lnTo>
                    <a:pt x="265" y="416"/>
                  </a:lnTo>
                  <a:lnTo>
                    <a:pt x="267" y="420"/>
                  </a:lnTo>
                  <a:lnTo>
                    <a:pt x="271" y="416"/>
                  </a:lnTo>
                  <a:lnTo>
                    <a:pt x="280" y="415"/>
                  </a:lnTo>
                  <a:lnTo>
                    <a:pt x="283" y="415"/>
                  </a:lnTo>
                  <a:lnTo>
                    <a:pt x="287" y="415"/>
                  </a:lnTo>
                  <a:lnTo>
                    <a:pt x="291" y="416"/>
                  </a:lnTo>
                  <a:lnTo>
                    <a:pt x="300" y="422"/>
                  </a:lnTo>
                  <a:lnTo>
                    <a:pt x="303" y="426"/>
                  </a:lnTo>
                  <a:lnTo>
                    <a:pt x="303" y="429"/>
                  </a:lnTo>
                  <a:lnTo>
                    <a:pt x="303" y="433"/>
                  </a:lnTo>
                  <a:lnTo>
                    <a:pt x="309" y="433"/>
                  </a:lnTo>
                  <a:lnTo>
                    <a:pt x="314" y="433"/>
                  </a:lnTo>
                  <a:lnTo>
                    <a:pt x="325" y="433"/>
                  </a:lnTo>
                  <a:lnTo>
                    <a:pt x="327" y="429"/>
                  </a:lnTo>
                  <a:lnTo>
                    <a:pt x="327" y="426"/>
                  </a:lnTo>
                  <a:lnTo>
                    <a:pt x="325" y="424"/>
                  </a:lnTo>
                  <a:lnTo>
                    <a:pt x="327" y="422"/>
                  </a:lnTo>
                  <a:lnTo>
                    <a:pt x="331" y="415"/>
                  </a:lnTo>
                  <a:lnTo>
                    <a:pt x="334" y="411"/>
                  </a:lnTo>
                  <a:lnTo>
                    <a:pt x="338" y="407"/>
                  </a:lnTo>
                  <a:lnTo>
                    <a:pt x="340" y="406"/>
                  </a:lnTo>
                  <a:lnTo>
                    <a:pt x="343" y="406"/>
                  </a:lnTo>
                  <a:lnTo>
                    <a:pt x="351" y="406"/>
                  </a:lnTo>
                  <a:lnTo>
                    <a:pt x="352" y="404"/>
                  </a:lnTo>
                  <a:lnTo>
                    <a:pt x="356" y="402"/>
                  </a:lnTo>
                  <a:lnTo>
                    <a:pt x="356" y="400"/>
                  </a:lnTo>
                  <a:lnTo>
                    <a:pt x="345" y="395"/>
                  </a:lnTo>
                  <a:lnTo>
                    <a:pt x="338" y="391"/>
                  </a:lnTo>
                  <a:lnTo>
                    <a:pt x="334" y="389"/>
                  </a:lnTo>
                  <a:lnTo>
                    <a:pt x="334" y="389"/>
                  </a:lnTo>
                  <a:lnTo>
                    <a:pt x="340" y="378"/>
                  </a:lnTo>
                  <a:lnTo>
                    <a:pt x="342" y="375"/>
                  </a:lnTo>
                  <a:lnTo>
                    <a:pt x="345" y="371"/>
                  </a:lnTo>
                  <a:lnTo>
                    <a:pt x="347" y="371"/>
                  </a:lnTo>
                  <a:lnTo>
                    <a:pt x="349" y="369"/>
                  </a:lnTo>
                  <a:lnTo>
                    <a:pt x="347" y="369"/>
                  </a:lnTo>
                  <a:lnTo>
                    <a:pt x="347" y="366"/>
                  </a:lnTo>
                  <a:lnTo>
                    <a:pt x="343" y="366"/>
                  </a:lnTo>
                  <a:lnTo>
                    <a:pt x="343" y="364"/>
                  </a:lnTo>
                  <a:lnTo>
                    <a:pt x="343" y="362"/>
                  </a:lnTo>
                  <a:lnTo>
                    <a:pt x="343" y="353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2" y="347"/>
                  </a:lnTo>
                  <a:lnTo>
                    <a:pt x="362" y="347"/>
                  </a:lnTo>
                  <a:lnTo>
                    <a:pt x="362" y="347"/>
                  </a:lnTo>
                  <a:lnTo>
                    <a:pt x="365" y="347"/>
                  </a:lnTo>
                  <a:lnTo>
                    <a:pt x="371" y="351"/>
                  </a:lnTo>
                  <a:lnTo>
                    <a:pt x="372" y="351"/>
                  </a:lnTo>
                  <a:lnTo>
                    <a:pt x="376" y="349"/>
                  </a:lnTo>
                  <a:lnTo>
                    <a:pt x="382" y="346"/>
                  </a:lnTo>
                  <a:lnTo>
                    <a:pt x="389" y="340"/>
                  </a:lnTo>
                  <a:lnTo>
                    <a:pt x="394" y="337"/>
                  </a:lnTo>
                  <a:lnTo>
                    <a:pt x="402" y="337"/>
                  </a:lnTo>
                  <a:lnTo>
                    <a:pt x="407" y="337"/>
                  </a:lnTo>
                  <a:lnTo>
                    <a:pt x="411" y="338"/>
                  </a:lnTo>
                  <a:lnTo>
                    <a:pt x="416" y="340"/>
                  </a:lnTo>
                  <a:lnTo>
                    <a:pt x="418" y="340"/>
                  </a:lnTo>
                  <a:lnTo>
                    <a:pt x="422" y="338"/>
                  </a:lnTo>
                  <a:lnTo>
                    <a:pt x="422" y="337"/>
                  </a:lnTo>
                  <a:lnTo>
                    <a:pt x="422" y="331"/>
                  </a:lnTo>
                  <a:lnTo>
                    <a:pt x="422" y="329"/>
                  </a:lnTo>
                  <a:lnTo>
                    <a:pt x="423" y="326"/>
                  </a:lnTo>
                  <a:lnTo>
                    <a:pt x="434" y="318"/>
                  </a:lnTo>
                  <a:lnTo>
                    <a:pt x="443" y="311"/>
                  </a:lnTo>
                  <a:lnTo>
                    <a:pt x="447" y="307"/>
                  </a:lnTo>
                  <a:lnTo>
                    <a:pt x="451" y="302"/>
                  </a:lnTo>
                  <a:lnTo>
                    <a:pt x="451" y="300"/>
                  </a:lnTo>
                  <a:lnTo>
                    <a:pt x="452" y="297"/>
                  </a:lnTo>
                  <a:lnTo>
                    <a:pt x="454" y="291"/>
                  </a:lnTo>
                  <a:lnTo>
                    <a:pt x="458" y="287"/>
                  </a:lnTo>
                  <a:lnTo>
                    <a:pt x="460" y="287"/>
                  </a:lnTo>
                  <a:lnTo>
                    <a:pt x="465" y="289"/>
                  </a:lnTo>
                  <a:lnTo>
                    <a:pt x="467" y="289"/>
                  </a:lnTo>
                  <a:lnTo>
                    <a:pt x="471" y="287"/>
                  </a:lnTo>
                  <a:lnTo>
                    <a:pt x="472" y="286"/>
                  </a:lnTo>
                  <a:lnTo>
                    <a:pt x="476" y="284"/>
                  </a:lnTo>
                  <a:lnTo>
                    <a:pt x="483" y="282"/>
                  </a:lnTo>
                  <a:lnTo>
                    <a:pt x="485" y="280"/>
                  </a:lnTo>
                  <a:lnTo>
                    <a:pt x="489" y="278"/>
                  </a:lnTo>
                  <a:lnTo>
                    <a:pt x="491" y="275"/>
                  </a:lnTo>
                  <a:lnTo>
                    <a:pt x="492" y="275"/>
                  </a:lnTo>
                  <a:lnTo>
                    <a:pt x="500" y="271"/>
                  </a:lnTo>
                  <a:lnTo>
                    <a:pt x="501" y="269"/>
                  </a:lnTo>
                  <a:lnTo>
                    <a:pt x="505" y="269"/>
                  </a:lnTo>
                  <a:lnTo>
                    <a:pt x="507" y="266"/>
                  </a:lnTo>
                  <a:lnTo>
                    <a:pt x="511" y="264"/>
                  </a:lnTo>
                  <a:lnTo>
                    <a:pt x="514" y="262"/>
                  </a:lnTo>
                  <a:lnTo>
                    <a:pt x="518" y="260"/>
                  </a:lnTo>
                  <a:lnTo>
                    <a:pt x="520" y="258"/>
                  </a:lnTo>
                  <a:lnTo>
                    <a:pt x="520" y="255"/>
                  </a:lnTo>
                  <a:lnTo>
                    <a:pt x="521" y="244"/>
                  </a:lnTo>
                  <a:lnTo>
                    <a:pt x="521" y="237"/>
                  </a:lnTo>
                  <a:lnTo>
                    <a:pt x="520" y="235"/>
                  </a:lnTo>
                  <a:lnTo>
                    <a:pt x="518" y="233"/>
                  </a:lnTo>
                  <a:lnTo>
                    <a:pt x="512" y="228"/>
                  </a:lnTo>
                  <a:lnTo>
                    <a:pt x="509" y="226"/>
                  </a:lnTo>
                  <a:lnTo>
                    <a:pt x="507" y="222"/>
                  </a:lnTo>
                  <a:lnTo>
                    <a:pt x="501" y="217"/>
                  </a:lnTo>
                  <a:lnTo>
                    <a:pt x="501" y="208"/>
                  </a:lnTo>
                  <a:lnTo>
                    <a:pt x="501" y="206"/>
                  </a:lnTo>
                  <a:lnTo>
                    <a:pt x="507" y="202"/>
                  </a:lnTo>
                  <a:lnTo>
                    <a:pt x="518" y="197"/>
                  </a:lnTo>
                  <a:lnTo>
                    <a:pt x="529" y="184"/>
                  </a:lnTo>
                  <a:lnTo>
                    <a:pt x="532" y="178"/>
                  </a:lnTo>
                  <a:lnTo>
                    <a:pt x="536" y="173"/>
                  </a:lnTo>
                  <a:lnTo>
                    <a:pt x="540" y="164"/>
                  </a:lnTo>
                  <a:lnTo>
                    <a:pt x="547" y="158"/>
                  </a:lnTo>
                  <a:lnTo>
                    <a:pt x="550" y="155"/>
                  </a:lnTo>
                  <a:lnTo>
                    <a:pt x="554" y="151"/>
                  </a:lnTo>
                  <a:lnTo>
                    <a:pt x="567" y="149"/>
                  </a:lnTo>
                  <a:lnTo>
                    <a:pt x="570" y="146"/>
                  </a:lnTo>
                  <a:lnTo>
                    <a:pt x="574" y="142"/>
                  </a:lnTo>
                  <a:lnTo>
                    <a:pt x="578" y="140"/>
                  </a:lnTo>
                  <a:lnTo>
                    <a:pt x="581" y="137"/>
                  </a:lnTo>
                  <a:lnTo>
                    <a:pt x="581" y="133"/>
                  </a:lnTo>
                  <a:lnTo>
                    <a:pt x="581" y="129"/>
                  </a:lnTo>
                  <a:lnTo>
                    <a:pt x="580" y="117"/>
                  </a:lnTo>
                  <a:lnTo>
                    <a:pt x="580" y="117"/>
                  </a:lnTo>
                  <a:lnTo>
                    <a:pt x="580" y="11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6" name="Freeform 7">
              <a:extLst>
                <a:ext uri="{FF2B5EF4-FFF2-40B4-BE49-F238E27FC236}">
                  <a16:creationId xmlns:a16="http://schemas.microsoft.com/office/drawing/2014/main" id="{F58E0FC1-7987-7F47-8AD0-3E5E43B91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175" y="5076921"/>
              <a:ext cx="15932" cy="11445"/>
            </a:xfrm>
            <a:custGeom>
              <a:avLst/>
              <a:gdLst>
                <a:gd name="T0" fmla="*/ 7 w 11"/>
                <a:gd name="T1" fmla="*/ 8 h 8"/>
                <a:gd name="T2" fmla="*/ 7 w 11"/>
                <a:gd name="T3" fmla="*/ 8 h 8"/>
                <a:gd name="T4" fmla="*/ 11 w 11"/>
                <a:gd name="T5" fmla="*/ 8 h 8"/>
                <a:gd name="T6" fmla="*/ 2 w 11"/>
                <a:gd name="T7" fmla="*/ 0 h 8"/>
                <a:gd name="T8" fmla="*/ 2 w 11"/>
                <a:gd name="T9" fmla="*/ 0 h 8"/>
                <a:gd name="T10" fmla="*/ 0 w 11"/>
                <a:gd name="T11" fmla="*/ 6 h 8"/>
                <a:gd name="T12" fmla="*/ 0 w 11"/>
                <a:gd name="T13" fmla="*/ 6 h 8"/>
                <a:gd name="T14" fmla="*/ 0 w 11"/>
                <a:gd name="T15" fmla="*/ 8 h 8"/>
                <a:gd name="T16" fmla="*/ 4 w 11"/>
                <a:gd name="T17" fmla="*/ 8 h 8"/>
                <a:gd name="T18" fmla="*/ 5 w 11"/>
                <a:gd name="T19" fmla="*/ 8 h 8"/>
                <a:gd name="T20" fmla="*/ 7 w 11"/>
                <a:gd name="T21" fmla="*/ 8 h 8"/>
                <a:gd name="T22" fmla="*/ 7 w 11"/>
                <a:gd name="T23" fmla="*/ 8 h 8"/>
                <a:gd name="T24" fmla="*/ 7 w 11"/>
                <a:gd name="T25" fmla="*/ 8 h 8"/>
                <a:gd name="T26" fmla="*/ 7 w 11"/>
                <a:gd name="T27" fmla="*/ 8 h 8"/>
                <a:gd name="T28" fmla="*/ 7 w 11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8">
                  <a:moveTo>
                    <a:pt x="7" y="8"/>
                  </a:moveTo>
                  <a:lnTo>
                    <a:pt x="7" y="8"/>
                  </a:lnTo>
                  <a:lnTo>
                    <a:pt x="11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7" name="Freeform 8">
              <a:extLst>
                <a:ext uri="{FF2B5EF4-FFF2-40B4-BE49-F238E27FC236}">
                  <a16:creationId xmlns:a16="http://schemas.microsoft.com/office/drawing/2014/main" id="{0D4AB3C1-BCFE-1547-B185-4008BF75D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507" y="4042599"/>
              <a:ext cx="157864" cy="140199"/>
            </a:xfrm>
            <a:custGeom>
              <a:avLst/>
              <a:gdLst>
                <a:gd name="T0" fmla="*/ 107 w 109"/>
                <a:gd name="T1" fmla="*/ 78 h 98"/>
                <a:gd name="T2" fmla="*/ 100 w 109"/>
                <a:gd name="T3" fmla="*/ 60 h 98"/>
                <a:gd name="T4" fmla="*/ 109 w 109"/>
                <a:gd name="T5" fmla="*/ 53 h 98"/>
                <a:gd name="T6" fmla="*/ 100 w 109"/>
                <a:gd name="T7" fmla="*/ 47 h 98"/>
                <a:gd name="T8" fmla="*/ 96 w 109"/>
                <a:gd name="T9" fmla="*/ 55 h 98"/>
                <a:gd name="T10" fmla="*/ 93 w 109"/>
                <a:gd name="T11" fmla="*/ 49 h 98"/>
                <a:gd name="T12" fmla="*/ 85 w 109"/>
                <a:gd name="T13" fmla="*/ 38 h 98"/>
                <a:gd name="T14" fmla="*/ 69 w 109"/>
                <a:gd name="T15" fmla="*/ 35 h 98"/>
                <a:gd name="T16" fmla="*/ 58 w 109"/>
                <a:gd name="T17" fmla="*/ 33 h 98"/>
                <a:gd name="T18" fmla="*/ 51 w 109"/>
                <a:gd name="T19" fmla="*/ 22 h 98"/>
                <a:gd name="T20" fmla="*/ 45 w 109"/>
                <a:gd name="T21" fmla="*/ 13 h 98"/>
                <a:gd name="T22" fmla="*/ 44 w 109"/>
                <a:gd name="T23" fmla="*/ 11 h 98"/>
                <a:gd name="T24" fmla="*/ 38 w 109"/>
                <a:gd name="T25" fmla="*/ 9 h 98"/>
                <a:gd name="T26" fmla="*/ 34 w 109"/>
                <a:gd name="T27" fmla="*/ 7 h 98"/>
                <a:gd name="T28" fmla="*/ 27 w 109"/>
                <a:gd name="T29" fmla="*/ 0 h 98"/>
                <a:gd name="T30" fmla="*/ 24 w 109"/>
                <a:gd name="T31" fmla="*/ 0 h 98"/>
                <a:gd name="T32" fmla="*/ 15 w 109"/>
                <a:gd name="T33" fmla="*/ 9 h 98"/>
                <a:gd name="T34" fmla="*/ 13 w 109"/>
                <a:gd name="T35" fmla="*/ 9 h 98"/>
                <a:gd name="T36" fmla="*/ 7 w 109"/>
                <a:gd name="T37" fmla="*/ 7 h 98"/>
                <a:gd name="T38" fmla="*/ 5 w 109"/>
                <a:gd name="T39" fmla="*/ 7 h 98"/>
                <a:gd name="T40" fmla="*/ 5 w 109"/>
                <a:gd name="T41" fmla="*/ 13 h 98"/>
                <a:gd name="T42" fmla="*/ 5 w 109"/>
                <a:gd name="T43" fmla="*/ 18 h 98"/>
                <a:gd name="T44" fmla="*/ 4 w 109"/>
                <a:gd name="T45" fmla="*/ 20 h 98"/>
                <a:gd name="T46" fmla="*/ 0 w 109"/>
                <a:gd name="T47" fmla="*/ 22 h 98"/>
                <a:gd name="T48" fmla="*/ 0 w 109"/>
                <a:gd name="T49" fmla="*/ 29 h 98"/>
                <a:gd name="T50" fmla="*/ 0 w 109"/>
                <a:gd name="T51" fmla="*/ 36 h 98"/>
                <a:gd name="T52" fmla="*/ 13 w 109"/>
                <a:gd name="T53" fmla="*/ 42 h 98"/>
                <a:gd name="T54" fmla="*/ 18 w 109"/>
                <a:gd name="T55" fmla="*/ 44 h 98"/>
                <a:gd name="T56" fmla="*/ 24 w 109"/>
                <a:gd name="T57" fmla="*/ 44 h 98"/>
                <a:gd name="T58" fmla="*/ 31 w 109"/>
                <a:gd name="T59" fmla="*/ 51 h 98"/>
                <a:gd name="T60" fmla="*/ 31 w 109"/>
                <a:gd name="T61" fmla="*/ 53 h 98"/>
                <a:gd name="T62" fmla="*/ 31 w 109"/>
                <a:gd name="T63" fmla="*/ 55 h 98"/>
                <a:gd name="T64" fmla="*/ 33 w 109"/>
                <a:gd name="T65" fmla="*/ 60 h 98"/>
                <a:gd name="T66" fmla="*/ 34 w 109"/>
                <a:gd name="T67" fmla="*/ 62 h 98"/>
                <a:gd name="T68" fmla="*/ 34 w 109"/>
                <a:gd name="T69" fmla="*/ 67 h 98"/>
                <a:gd name="T70" fmla="*/ 34 w 109"/>
                <a:gd name="T71" fmla="*/ 75 h 98"/>
                <a:gd name="T72" fmla="*/ 34 w 109"/>
                <a:gd name="T73" fmla="*/ 80 h 98"/>
                <a:gd name="T74" fmla="*/ 36 w 109"/>
                <a:gd name="T75" fmla="*/ 84 h 98"/>
                <a:gd name="T76" fmla="*/ 38 w 109"/>
                <a:gd name="T77" fmla="*/ 91 h 98"/>
                <a:gd name="T78" fmla="*/ 51 w 109"/>
                <a:gd name="T79" fmla="*/ 91 h 98"/>
                <a:gd name="T80" fmla="*/ 65 w 109"/>
                <a:gd name="T81" fmla="*/ 86 h 98"/>
                <a:gd name="T82" fmla="*/ 74 w 109"/>
                <a:gd name="T83" fmla="*/ 86 h 98"/>
                <a:gd name="T84" fmla="*/ 85 w 109"/>
                <a:gd name="T85" fmla="*/ 91 h 98"/>
                <a:gd name="T86" fmla="*/ 91 w 109"/>
                <a:gd name="T87" fmla="*/ 95 h 98"/>
                <a:gd name="T88" fmla="*/ 102 w 109"/>
                <a:gd name="T89" fmla="*/ 98 h 98"/>
                <a:gd name="T90" fmla="*/ 102 w 109"/>
                <a:gd name="T91" fmla="*/ 95 h 98"/>
                <a:gd name="T92" fmla="*/ 109 w 109"/>
                <a:gd name="T93" fmla="*/ 82 h 98"/>
                <a:gd name="T94" fmla="*/ 109 w 109"/>
                <a:gd name="T95" fmla="*/ 8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" h="98">
                  <a:moveTo>
                    <a:pt x="109" y="82"/>
                  </a:moveTo>
                  <a:lnTo>
                    <a:pt x="107" y="78"/>
                  </a:lnTo>
                  <a:lnTo>
                    <a:pt x="109" y="69"/>
                  </a:lnTo>
                  <a:lnTo>
                    <a:pt x="100" y="60"/>
                  </a:lnTo>
                  <a:lnTo>
                    <a:pt x="105" y="55"/>
                  </a:lnTo>
                  <a:lnTo>
                    <a:pt x="109" y="53"/>
                  </a:lnTo>
                  <a:lnTo>
                    <a:pt x="109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96" y="55"/>
                  </a:lnTo>
                  <a:lnTo>
                    <a:pt x="93" y="53"/>
                  </a:lnTo>
                  <a:lnTo>
                    <a:pt x="93" y="49"/>
                  </a:lnTo>
                  <a:lnTo>
                    <a:pt x="93" y="44"/>
                  </a:lnTo>
                  <a:lnTo>
                    <a:pt x="85" y="38"/>
                  </a:lnTo>
                  <a:lnTo>
                    <a:pt x="73" y="38"/>
                  </a:lnTo>
                  <a:lnTo>
                    <a:pt x="69" y="35"/>
                  </a:lnTo>
                  <a:lnTo>
                    <a:pt x="69" y="31"/>
                  </a:lnTo>
                  <a:lnTo>
                    <a:pt x="58" y="33"/>
                  </a:lnTo>
                  <a:lnTo>
                    <a:pt x="47" y="27"/>
                  </a:lnTo>
                  <a:lnTo>
                    <a:pt x="51" y="2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1"/>
                  </a:lnTo>
                  <a:lnTo>
                    <a:pt x="42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4" y="7"/>
                  </a:lnTo>
                  <a:lnTo>
                    <a:pt x="31" y="6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9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7" y="40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8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9" y="47"/>
                  </a:lnTo>
                  <a:lnTo>
                    <a:pt x="31" y="51"/>
                  </a:lnTo>
                  <a:lnTo>
                    <a:pt x="33" y="51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8"/>
                  </a:lnTo>
                  <a:lnTo>
                    <a:pt x="33" y="60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6"/>
                  </a:lnTo>
                  <a:lnTo>
                    <a:pt x="34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8" y="89"/>
                  </a:lnTo>
                  <a:lnTo>
                    <a:pt x="65" y="86"/>
                  </a:lnTo>
                  <a:lnTo>
                    <a:pt x="69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85" y="91"/>
                  </a:lnTo>
                  <a:lnTo>
                    <a:pt x="89" y="91"/>
                  </a:lnTo>
                  <a:lnTo>
                    <a:pt x="91" y="95"/>
                  </a:lnTo>
                  <a:lnTo>
                    <a:pt x="93" y="96"/>
                  </a:lnTo>
                  <a:lnTo>
                    <a:pt x="102" y="98"/>
                  </a:lnTo>
                  <a:lnTo>
                    <a:pt x="105" y="96"/>
                  </a:lnTo>
                  <a:lnTo>
                    <a:pt x="102" y="95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Freeform 9">
              <a:extLst>
                <a:ext uri="{FF2B5EF4-FFF2-40B4-BE49-F238E27FC236}">
                  <a16:creationId xmlns:a16="http://schemas.microsoft.com/office/drawing/2014/main" id="{71901670-9C68-304F-8DDD-E8C1E8AB0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9165" y="4128435"/>
              <a:ext cx="188279" cy="190269"/>
            </a:xfrm>
            <a:custGeom>
              <a:avLst/>
              <a:gdLst>
                <a:gd name="T0" fmla="*/ 119 w 130"/>
                <a:gd name="T1" fmla="*/ 15 h 133"/>
                <a:gd name="T2" fmla="*/ 110 w 130"/>
                <a:gd name="T3" fmla="*/ 16 h 133"/>
                <a:gd name="T4" fmla="*/ 105 w 130"/>
                <a:gd name="T5" fmla="*/ 11 h 133"/>
                <a:gd name="T6" fmla="*/ 99 w 130"/>
                <a:gd name="T7" fmla="*/ 2 h 133"/>
                <a:gd name="T8" fmla="*/ 96 w 130"/>
                <a:gd name="T9" fmla="*/ 0 h 133"/>
                <a:gd name="T10" fmla="*/ 85 w 130"/>
                <a:gd name="T11" fmla="*/ 0 h 133"/>
                <a:gd name="T12" fmla="*/ 81 w 130"/>
                <a:gd name="T13" fmla="*/ 2 h 133"/>
                <a:gd name="T14" fmla="*/ 78 w 130"/>
                <a:gd name="T15" fmla="*/ 11 h 133"/>
                <a:gd name="T16" fmla="*/ 74 w 130"/>
                <a:gd name="T17" fmla="*/ 16 h 133"/>
                <a:gd name="T18" fmla="*/ 65 w 130"/>
                <a:gd name="T19" fmla="*/ 26 h 133"/>
                <a:gd name="T20" fmla="*/ 58 w 130"/>
                <a:gd name="T21" fmla="*/ 29 h 133"/>
                <a:gd name="T22" fmla="*/ 45 w 130"/>
                <a:gd name="T23" fmla="*/ 24 h 133"/>
                <a:gd name="T24" fmla="*/ 27 w 130"/>
                <a:gd name="T25" fmla="*/ 51 h 133"/>
                <a:gd name="T26" fmla="*/ 16 w 130"/>
                <a:gd name="T27" fmla="*/ 55 h 133"/>
                <a:gd name="T28" fmla="*/ 7 w 130"/>
                <a:gd name="T29" fmla="*/ 58 h 133"/>
                <a:gd name="T30" fmla="*/ 5 w 130"/>
                <a:gd name="T31" fmla="*/ 60 h 133"/>
                <a:gd name="T32" fmla="*/ 5 w 130"/>
                <a:gd name="T33" fmla="*/ 73 h 133"/>
                <a:gd name="T34" fmla="*/ 3 w 130"/>
                <a:gd name="T35" fmla="*/ 82 h 133"/>
                <a:gd name="T36" fmla="*/ 9 w 130"/>
                <a:gd name="T37" fmla="*/ 102 h 133"/>
                <a:gd name="T38" fmla="*/ 25 w 130"/>
                <a:gd name="T39" fmla="*/ 107 h 133"/>
                <a:gd name="T40" fmla="*/ 29 w 130"/>
                <a:gd name="T41" fmla="*/ 96 h 133"/>
                <a:gd name="T42" fmla="*/ 49 w 130"/>
                <a:gd name="T43" fmla="*/ 98 h 133"/>
                <a:gd name="T44" fmla="*/ 40 w 130"/>
                <a:gd name="T45" fmla="*/ 115 h 133"/>
                <a:gd name="T46" fmla="*/ 50 w 130"/>
                <a:gd name="T47" fmla="*/ 118 h 133"/>
                <a:gd name="T48" fmla="*/ 49 w 130"/>
                <a:gd name="T49" fmla="*/ 120 h 133"/>
                <a:gd name="T50" fmla="*/ 41 w 130"/>
                <a:gd name="T51" fmla="*/ 122 h 133"/>
                <a:gd name="T52" fmla="*/ 40 w 130"/>
                <a:gd name="T53" fmla="*/ 125 h 133"/>
                <a:gd name="T54" fmla="*/ 41 w 130"/>
                <a:gd name="T55" fmla="*/ 133 h 133"/>
                <a:gd name="T56" fmla="*/ 65 w 130"/>
                <a:gd name="T57" fmla="*/ 133 h 133"/>
                <a:gd name="T58" fmla="*/ 79 w 130"/>
                <a:gd name="T59" fmla="*/ 124 h 133"/>
                <a:gd name="T60" fmla="*/ 78 w 130"/>
                <a:gd name="T61" fmla="*/ 118 h 133"/>
                <a:gd name="T62" fmla="*/ 78 w 130"/>
                <a:gd name="T63" fmla="*/ 113 h 133"/>
                <a:gd name="T64" fmla="*/ 70 w 130"/>
                <a:gd name="T65" fmla="*/ 109 h 133"/>
                <a:gd name="T66" fmla="*/ 74 w 130"/>
                <a:gd name="T67" fmla="*/ 105 h 133"/>
                <a:gd name="T68" fmla="*/ 76 w 130"/>
                <a:gd name="T69" fmla="*/ 104 h 133"/>
                <a:gd name="T70" fmla="*/ 78 w 130"/>
                <a:gd name="T71" fmla="*/ 100 h 133"/>
                <a:gd name="T72" fmla="*/ 79 w 130"/>
                <a:gd name="T73" fmla="*/ 100 h 133"/>
                <a:gd name="T74" fmla="*/ 83 w 130"/>
                <a:gd name="T75" fmla="*/ 102 h 133"/>
                <a:gd name="T76" fmla="*/ 89 w 130"/>
                <a:gd name="T77" fmla="*/ 100 h 133"/>
                <a:gd name="T78" fmla="*/ 99 w 130"/>
                <a:gd name="T79" fmla="*/ 96 h 133"/>
                <a:gd name="T80" fmla="*/ 101 w 130"/>
                <a:gd name="T81" fmla="*/ 93 h 133"/>
                <a:gd name="T82" fmla="*/ 103 w 130"/>
                <a:gd name="T83" fmla="*/ 84 h 133"/>
                <a:gd name="T84" fmla="*/ 103 w 130"/>
                <a:gd name="T85" fmla="*/ 80 h 133"/>
                <a:gd name="T86" fmla="*/ 107 w 130"/>
                <a:gd name="T87" fmla="*/ 75 h 133"/>
                <a:gd name="T88" fmla="*/ 107 w 130"/>
                <a:gd name="T89" fmla="*/ 71 h 133"/>
                <a:gd name="T90" fmla="*/ 109 w 130"/>
                <a:gd name="T91" fmla="*/ 71 h 133"/>
                <a:gd name="T92" fmla="*/ 119 w 130"/>
                <a:gd name="T93" fmla="*/ 64 h 133"/>
                <a:gd name="T94" fmla="*/ 119 w 130"/>
                <a:gd name="T95" fmla="*/ 60 h 133"/>
                <a:gd name="T96" fmla="*/ 121 w 130"/>
                <a:gd name="T97" fmla="*/ 46 h 133"/>
                <a:gd name="T98" fmla="*/ 123 w 130"/>
                <a:gd name="T99" fmla="*/ 42 h 133"/>
                <a:gd name="T100" fmla="*/ 121 w 130"/>
                <a:gd name="T101" fmla="*/ 22 h 133"/>
                <a:gd name="T102" fmla="*/ 119 w 130"/>
                <a:gd name="T103" fmla="*/ 15 h 133"/>
                <a:gd name="T104" fmla="*/ 119 w 130"/>
                <a:gd name="T105" fmla="*/ 1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0" h="133">
                  <a:moveTo>
                    <a:pt x="119" y="15"/>
                  </a:moveTo>
                  <a:lnTo>
                    <a:pt x="119" y="15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07" y="15"/>
                  </a:lnTo>
                  <a:lnTo>
                    <a:pt x="105" y="11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8" y="0"/>
                  </a:lnTo>
                  <a:lnTo>
                    <a:pt x="96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1" y="2"/>
                  </a:lnTo>
                  <a:lnTo>
                    <a:pt x="79" y="7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4" y="1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1" y="29"/>
                  </a:lnTo>
                  <a:lnTo>
                    <a:pt x="58" y="29"/>
                  </a:lnTo>
                  <a:lnTo>
                    <a:pt x="54" y="29"/>
                  </a:lnTo>
                  <a:lnTo>
                    <a:pt x="45" y="24"/>
                  </a:lnTo>
                  <a:lnTo>
                    <a:pt x="34" y="29"/>
                  </a:lnTo>
                  <a:lnTo>
                    <a:pt x="27" y="51"/>
                  </a:lnTo>
                  <a:lnTo>
                    <a:pt x="21" y="56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5" y="60"/>
                  </a:lnTo>
                  <a:lnTo>
                    <a:pt x="5" y="64"/>
                  </a:lnTo>
                  <a:lnTo>
                    <a:pt x="5" y="73"/>
                  </a:lnTo>
                  <a:lnTo>
                    <a:pt x="1" y="78"/>
                  </a:lnTo>
                  <a:lnTo>
                    <a:pt x="3" y="82"/>
                  </a:lnTo>
                  <a:lnTo>
                    <a:pt x="0" y="87"/>
                  </a:lnTo>
                  <a:lnTo>
                    <a:pt x="9" y="102"/>
                  </a:lnTo>
                  <a:lnTo>
                    <a:pt x="18" y="100"/>
                  </a:lnTo>
                  <a:lnTo>
                    <a:pt x="25" y="107"/>
                  </a:lnTo>
                  <a:lnTo>
                    <a:pt x="30" y="107"/>
                  </a:lnTo>
                  <a:lnTo>
                    <a:pt x="29" y="96"/>
                  </a:lnTo>
                  <a:lnTo>
                    <a:pt x="45" y="96"/>
                  </a:lnTo>
                  <a:lnTo>
                    <a:pt x="49" y="98"/>
                  </a:lnTo>
                  <a:lnTo>
                    <a:pt x="38" y="104"/>
                  </a:lnTo>
                  <a:lnTo>
                    <a:pt x="40" y="115"/>
                  </a:lnTo>
                  <a:lnTo>
                    <a:pt x="49" y="113"/>
                  </a:lnTo>
                  <a:lnTo>
                    <a:pt x="50" y="118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0" y="124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41" y="133"/>
                  </a:lnTo>
                  <a:lnTo>
                    <a:pt x="49" y="129"/>
                  </a:lnTo>
                  <a:lnTo>
                    <a:pt x="65" y="133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8" y="120"/>
                  </a:lnTo>
                  <a:lnTo>
                    <a:pt x="78" y="118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6" y="113"/>
                  </a:lnTo>
                  <a:lnTo>
                    <a:pt x="70" y="109"/>
                  </a:lnTo>
                  <a:lnTo>
                    <a:pt x="70" y="107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6" y="104"/>
                  </a:lnTo>
                  <a:lnTo>
                    <a:pt x="78" y="102"/>
                  </a:lnTo>
                  <a:lnTo>
                    <a:pt x="78" y="100"/>
                  </a:lnTo>
                  <a:lnTo>
                    <a:pt x="79" y="100"/>
                  </a:lnTo>
                  <a:lnTo>
                    <a:pt x="79" y="100"/>
                  </a:lnTo>
                  <a:lnTo>
                    <a:pt x="81" y="102"/>
                  </a:lnTo>
                  <a:lnTo>
                    <a:pt x="83" y="102"/>
                  </a:lnTo>
                  <a:lnTo>
                    <a:pt x="89" y="100"/>
                  </a:lnTo>
                  <a:lnTo>
                    <a:pt x="89" y="100"/>
                  </a:lnTo>
                  <a:lnTo>
                    <a:pt x="98" y="96"/>
                  </a:lnTo>
                  <a:lnTo>
                    <a:pt x="99" y="96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85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7" y="78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1"/>
                  </a:lnTo>
                  <a:lnTo>
                    <a:pt x="109" y="71"/>
                  </a:lnTo>
                  <a:lnTo>
                    <a:pt x="109" y="71"/>
                  </a:lnTo>
                  <a:lnTo>
                    <a:pt x="116" y="65"/>
                  </a:lnTo>
                  <a:lnTo>
                    <a:pt x="119" y="64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53"/>
                  </a:lnTo>
                  <a:lnTo>
                    <a:pt x="121" y="46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30" y="31"/>
                  </a:lnTo>
                  <a:lnTo>
                    <a:pt x="121" y="22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9" name="Freeform 11">
              <a:extLst>
                <a:ext uri="{FF2B5EF4-FFF2-40B4-BE49-F238E27FC236}">
                  <a16:creationId xmlns:a16="http://schemas.microsoft.com/office/drawing/2014/main" id="{75A3028E-22FB-1B4A-AD63-F3EDD082B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0546" y="3982514"/>
              <a:ext cx="431593" cy="410582"/>
            </a:xfrm>
            <a:custGeom>
              <a:avLst/>
              <a:gdLst>
                <a:gd name="T0" fmla="*/ 240 w 298"/>
                <a:gd name="T1" fmla="*/ 62 h 287"/>
                <a:gd name="T2" fmla="*/ 224 w 298"/>
                <a:gd name="T3" fmla="*/ 51 h 287"/>
                <a:gd name="T4" fmla="*/ 200 w 298"/>
                <a:gd name="T5" fmla="*/ 49 h 287"/>
                <a:gd name="T6" fmla="*/ 177 w 298"/>
                <a:gd name="T7" fmla="*/ 48 h 287"/>
                <a:gd name="T8" fmla="*/ 138 w 298"/>
                <a:gd name="T9" fmla="*/ 26 h 287"/>
                <a:gd name="T10" fmla="*/ 137 w 298"/>
                <a:gd name="T11" fmla="*/ 8 h 287"/>
                <a:gd name="T12" fmla="*/ 120 w 298"/>
                <a:gd name="T13" fmla="*/ 8 h 287"/>
                <a:gd name="T14" fmla="*/ 98 w 298"/>
                <a:gd name="T15" fmla="*/ 17 h 287"/>
                <a:gd name="T16" fmla="*/ 97 w 298"/>
                <a:gd name="T17" fmla="*/ 38 h 287"/>
                <a:gd name="T18" fmla="*/ 117 w 298"/>
                <a:gd name="T19" fmla="*/ 58 h 287"/>
                <a:gd name="T20" fmla="*/ 109 w 298"/>
                <a:gd name="T21" fmla="*/ 73 h 287"/>
                <a:gd name="T22" fmla="*/ 84 w 298"/>
                <a:gd name="T23" fmla="*/ 84 h 287"/>
                <a:gd name="T24" fmla="*/ 77 w 298"/>
                <a:gd name="T25" fmla="*/ 97 h 287"/>
                <a:gd name="T26" fmla="*/ 84 w 298"/>
                <a:gd name="T27" fmla="*/ 104 h 287"/>
                <a:gd name="T28" fmla="*/ 80 w 298"/>
                <a:gd name="T29" fmla="*/ 113 h 287"/>
                <a:gd name="T30" fmla="*/ 73 w 298"/>
                <a:gd name="T31" fmla="*/ 120 h 287"/>
                <a:gd name="T32" fmla="*/ 68 w 298"/>
                <a:gd name="T33" fmla="*/ 126 h 287"/>
                <a:gd name="T34" fmla="*/ 53 w 298"/>
                <a:gd name="T35" fmla="*/ 144 h 287"/>
                <a:gd name="T36" fmla="*/ 49 w 298"/>
                <a:gd name="T37" fmla="*/ 162 h 287"/>
                <a:gd name="T38" fmla="*/ 39 w 298"/>
                <a:gd name="T39" fmla="*/ 173 h 287"/>
                <a:gd name="T40" fmla="*/ 37 w 298"/>
                <a:gd name="T41" fmla="*/ 180 h 287"/>
                <a:gd name="T42" fmla="*/ 31 w 298"/>
                <a:gd name="T43" fmla="*/ 187 h 287"/>
                <a:gd name="T44" fmla="*/ 28 w 298"/>
                <a:gd name="T45" fmla="*/ 198 h 287"/>
                <a:gd name="T46" fmla="*/ 11 w 298"/>
                <a:gd name="T47" fmla="*/ 204 h 287"/>
                <a:gd name="T48" fmla="*/ 8 w 298"/>
                <a:gd name="T49" fmla="*/ 204 h 287"/>
                <a:gd name="T50" fmla="*/ 0 w 298"/>
                <a:gd name="T51" fmla="*/ 209 h 287"/>
                <a:gd name="T52" fmla="*/ 8 w 298"/>
                <a:gd name="T53" fmla="*/ 215 h 287"/>
                <a:gd name="T54" fmla="*/ 9 w 298"/>
                <a:gd name="T55" fmla="*/ 226 h 287"/>
                <a:gd name="T56" fmla="*/ 15 w 298"/>
                <a:gd name="T57" fmla="*/ 227 h 287"/>
                <a:gd name="T58" fmla="*/ 19 w 298"/>
                <a:gd name="T59" fmla="*/ 242 h 287"/>
                <a:gd name="T60" fmla="*/ 28 w 298"/>
                <a:gd name="T61" fmla="*/ 246 h 287"/>
                <a:gd name="T62" fmla="*/ 42 w 298"/>
                <a:gd name="T63" fmla="*/ 257 h 287"/>
                <a:gd name="T64" fmla="*/ 46 w 298"/>
                <a:gd name="T65" fmla="*/ 267 h 287"/>
                <a:gd name="T66" fmla="*/ 55 w 298"/>
                <a:gd name="T67" fmla="*/ 269 h 287"/>
                <a:gd name="T68" fmla="*/ 53 w 298"/>
                <a:gd name="T69" fmla="*/ 287 h 287"/>
                <a:gd name="T70" fmla="*/ 62 w 298"/>
                <a:gd name="T71" fmla="*/ 287 h 287"/>
                <a:gd name="T72" fmla="*/ 73 w 298"/>
                <a:gd name="T73" fmla="*/ 286 h 287"/>
                <a:gd name="T74" fmla="*/ 82 w 298"/>
                <a:gd name="T75" fmla="*/ 271 h 287"/>
                <a:gd name="T76" fmla="*/ 88 w 298"/>
                <a:gd name="T77" fmla="*/ 260 h 287"/>
                <a:gd name="T78" fmla="*/ 95 w 298"/>
                <a:gd name="T79" fmla="*/ 264 h 287"/>
                <a:gd name="T80" fmla="*/ 102 w 298"/>
                <a:gd name="T81" fmla="*/ 267 h 287"/>
                <a:gd name="T82" fmla="*/ 118 w 298"/>
                <a:gd name="T83" fmla="*/ 253 h 287"/>
                <a:gd name="T84" fmla="*/ 133 w 298"/>
                <a:gd name="T85" fmla="*/ 238 h 287"/>
                <a:gd name="T86" fmla="*/ 142 w 298"/>
                <a:gd name="T87" fmla="*/ 246 h 287"/>
                <a:gd name="T88" fmla="*/ 151 w 298"/>
                <a:gd name="T89" fmla="*/ 246 h 287"/>
                <a:gd name="T90" fmla="*/ 157 w 298"/>
                <a:gd name="T91" fmla="*/ 237 h 287"/>
                <a:gd name="T92" fmla="*/ 167 w 298"/>
                <a:gd name="T93" fmla="*/ 226 h 287"/>
                <a:gd name="T94" fmla="*/ 184 w 298"/>
                <a:gd name="T95" fmla="*/ 226 h 287"/>
                <a:gd name="T96" fmla="*/ 189 w 298"/>
                <a:gd name="T97" fmla="*/ 222 h 287"/>
                <a:gd name="T98" fmla="*/ 193 w 298"/>
                <a:gd name="T99" fmla="*/ 202 h 287"/>
                <a:gd name="T100" fmla="*/ 206 w 298"/>
                <a:gd name="T101" fmla="*/ 193 h 287"/>
                <a:gd name="T102" fmla="*/ 197 w 298"/>
                <a:gd name="T103" fmla="*/ 178 h 287"/>
                <a:gd name="T104" fmla="*/ 197 w 298"/>
                <a:gd name="T105" fmla="*/ 166 h 287"/>
                <a:gd name="T106" fmla="*/ 213 w 298"/>
                <a:gd name="T107" fmla="*/ 160 h 287"/>
                <a:gd name="T108" fmla="*/ 224 w 298"/>
                <a:gd name="T109" fmla="*/ 153 h 287"/>
                <a:gd name="T110" fmla="*/ 264 w 298"/>
                <a:gd name="T111" fmla="*/ 120 h 287"/>
                <a:gd name="T112" fmla="*/ 269 w 298"/>
                <a:gd name="T113" fmla="*/ 104 h 287"/>
                <a:gd name="T114" fmla="*/ 282 w 298"/>
                <a:gd name="T115" fmla="*/ 86 h 287"/>
                <a:gd name="T116" fmla="*/ 298 w 298"/>
                <a:gd name="T117" fmla="*/ 75 h 287"/>
                <a:gd name="T118" fmla="*/ 269 w 298"/>
                <a:gd name="T119" fmla="*/ 84 h 287"/>
                <a:gd name="T120" fmla="*/ 266 w 298"/>
                <a:gd name="T121" fmla="*/ 8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8" h="287">
                  <a:moveTo>
                    <a:pt x="266" y="82"/>
                  </a:moveTo>
                  <a:lnTo>
                    <a:pt x="266" y="82"/>
                  </a:lnTo>
                  <a:lnTo>
                    <a:pt x="249" y="71"/>
                  </a:lnTo>
                  <a:lnTo>
                    <a:pt x="240" y="62"/>
                  </a:lnTo>
                  <a:lnTo>
                    <a:pt x="235" y="57"/>
                  </a:lnTo>
                  <a:lnTo>
                    <a:pt x="235" y="57"/>
                  </a:lnTo>
                  <a:lnTo>
                    <a:pt x="227" y="53"/>
                  </a:lnTo>
                  <a:lnTo>
                    <a:pt x="224" y="51"/>
                  </a:lnTo>
                  <a:lnTo>
                    <a:pt x="220" y="55"/>
                  </a:lnTo>
                  <a:lnTo>
                    <a:pt x="217" y="51"/>
                  </a:lnTo>
                  <a:lnTo>
                    <a:pt x="207" y="57"/>
                  </a:lnTo>
                  <a:lnTo>
                    <a:pt x="200" y="49"/>
                  </a:lnTo>
                  <a:lnTo>
                    <a:pt x="193" y="55"/>
                  </a:lnTo>
                  <a:lnTo>
                    <a:pt x="184" y="44"/>
                  </a:lnTo>
                  <a:lnTo>
                    <a:pt x="178" y="49"/>
                  </a:lnTo>
                  <a:lnTo>
                    <a:pt x="177" y="48"/>
                  </a:lnTo>
                  <a:lnTo>
                    <a:pt x="171" y="53"/>
                  </a:lnTo>
                  <a:lnTo>
                    <a:pt x="153" y="31"/>
                  </a:lnTo>
                  <a:lnTo>
                    <a:pt x="144" y="33"/>
                  </a:lnTo>
                  <a:lnTo>
                    <a:pt x="138" y="26"/>
                  </a:lnTo>
                  <a:lnTo>
                    <a:pt x="144" y="18"/>
                  </a:lnTo>
                  <a:lnTo>
                    <a:pt x="144" y="18"/>
                  </a:lnTo>
                  <a:lnTo>
                    <a:pt x="140" y="13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1" y="9"/>
                  </a:lnTo>
                  <a:lnTo>
                    <a:pt x="129" y="11"/>
                  </a:lnTo>
                  <a:lnTo>
                    <a:pt x="120" y="8"/>
                  </a:lnTo>
                  <a:lnTo>
                    <a:pt x="115" y="9"/>
                  </a:lnTo>
                  <a:lnTo>
                    <a:pt x="106" y="0"/>
                  </a:lnTo>
                  <a:lnTo>
                    <a:pt x="97" y="9"/>
                  </a:lnTo>
                  <a:lnTo>
                    <a:pt x="98" y="17"/>
                  </a:lnTo>
                  <a:lnTo>
                    <a:pt x="98" y="20"/>
                  </a:lnTo>
                  <a:lnTo>
                    <a:pt x="102" y="28"/>
                  </a:lnTo>
                  <a:lnTo>
                    <a:pt x="95" y="31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115" y="55"/>
                  </a:lnTo>
                  <a:lnTo>
                    <a:pt x="115" y="55"/>
                  </a:lnTo>
                  <a:lnTo>
                    <a:pt x="117" y="58"/>
                  </a:lnTo>
                  <a:lnTo>
                    <a:pt x="117" y="62"/>
                  </a:lnTo>
                  <a:lnTo>
                    <a:pt x="115" y="68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00" y="77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84" y="84"/>
                  </a:lnTo>
                  <a:lnTo>
                    <a:pt x="80" y="89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7"/>
                  </a:lnTo>
                  <a:lnTo>
                    <a:pt x="77" y="98"/>
                  </a:lnTo>
                  <a:lnTo>
                    <a:pt x="80" y="102"/>
                  </a:lnTo>
                  <a:lnTo>
                    <a:pt x="82" y="104"/>
                  </a:lnTo>
                  <a:lnTo>
                    <a:pt x="84" y="104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4" y="111"/>
                  </a:lnTo>
                  <a:lnTo>
                    <a:pt x="80" y="113"/>
                  </a:lnTo>
                  <a:lnTo>
                    <a:pt x="77" y="117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3" y="122"/>
                  </a:lnTo>
                  <a:lnTo>
                    <a:pt x="71" y="124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3" y="144"/>
                  </a:lnTo>
                  <a:lnTo>
                    <a:pt x="53" y="144"/>
                  </a:lnTo>
                  <a:lnTo>
                    <a:pt x="51" y="148"/>
                  </a:lnTo>
                  <a:lnTo>
                    <a:pt x="49" y="155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49" y="166"/>
                  </a:lnTo>
                  <a:lnTo>
                    <a:pt x="46" y="167"/>
                  </a:lnTo>
                  <a:lnTo>
                    <a:pt x="39" y="173"/>
                  </a:lnTo>
                  <a:lnTo>
                    <a:pt x="39" y="173"/>
                  </a:lnTo>
                  <a:lnTo>
                    <a:pt x="37" y="173"/>
                  </a:lnTo>
                  <a:lnTo>
                    <a:pt x="37" y="175"/>
                  </a:lnTo>
                  <a:lnTo>
                    <a:pt x="37" y="177"/>
                  </a:lnTo>
                  <a:lnTo>
                    <a:pt x="37" y="180"/>
                  </a:lnTo>
                  <a:lnTo>
                    <a:pt x="33" y="182"/>
                  </a:lnTo>
                  <a:lnTo>
                    <a:pt x="33" y="182"/>
                  </a:lnTo>
                  <a:lnTo>
                    <a:pt x="33" y="186"/>
                  </a:lnTo>
                  <a:lnTo>
                    <a:pt x="31" y="187"/>
                  </a:lnTo>
                  <a:lnTo>
                    <a:pt x="31" y="195"/>
                  </a:lnTo>
                  <a:lnTo>
                    <a:pt x="31" y="195"/>
                  </a:lnTo>
                  <a:lnTo>
                    <a:pt x="29" y="198"/>
                  </a:lnTo>
                  <a:lnTo>
                    <a:pt x="28" y="198"/>
                  </a:lnTo>
                  <a:lnTo>
                    <a:pt x="19" y="202"/>
                  </a:lnTo>
                  <a:lnTo>
                    <a:pt x="19" y="202"/>
                  </a:lnTo>
                  <a:lnTo>
                    <a:pt x="13" y="204"/>
                  </a:lnTo>
                  <a:lnTo>
                    <a:pt x="11" y="204"/>
                  </a:lnTo>
                  <a:lnTo>
                    <a:pt x="9" y="202"/>
                  </a:lnTo>
                  <a:lnTo>
                    <a:pt x="9" y="202"/>
                  </a:lnTo>
                  <a:lnTo>
                    <a:pt x="8" y="202"/>
                  </a:lnTo>
                  <a:lnTo>
                    <a:pt x="8" y="204"/>
                  </a:lnTo>
                  <a:lnTo>
                    <a:pt x="6" y="206"/>
                  </a:lnTo>
                  <a:lnTo>
                    <a:pt x="4" y="207"/>
                  </a:lnTo>
                  <a:lnTo>
                    <a:pt x="4" y="207"/>
                  </a:lnTo>
                  <a:lnTo>
                    <a:pt x="0" y="209"/>
                  </a:lnTo>
                  <a:lnTo>
                    <a:pt x="0" y="211"/>
                  </a:lnTo>
                  <a:lnTo>
                    <a:pt x="6" y="215"/>
                  </a:lnTo>
                  <a:lnTo>
                    <a:pt x="8" y="215"/>
                  </a:lnTo>
                  <a:lnTo>
                    <a:pt x="8" y="215"/>
                  </a:lnTo>
                  <a:lnTo>
                    <a:pt x="8" y="220"/>
                  </a:lnTo>
                  <a:lnTo>
                    <a:pt x="8" y="222"/>
                  </a:lnTo>
                  <a:lnTo>
                    <a:pt x="9" y="226"/>
                  </a:lnTo>
                  <a:lnTo>
                    <a:pt x="9" y="226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19" y="235"/>
                  </a:lnTo>
                  <a:lnTo>
                    <a:pt x="19" y="238"/>
                  </a:lnTo>
                  <a:lnTo>
                    <a:pt x="19" y="242"/>
                  </a:lnTo>
                  <a:lnTo>
                    <a:pt x="19" y="242"/>
                  </a:lnTo>
                  <a:lnTo>
                    <a:pt x="19" y="244"/>
                  </a:lnTo>
                  <a:lnTo>
                    <a:pt x="20" y="244"/>
                  </a:lnTo>
                  <a:lnTo>
                    <a:pt x="28" y="246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40" y="251"/>
                  </a:lnTo>
                  <a:lnTo>
                    <a:pt x="42" y="257"/>
                  </a:lnTo>
                  <a:lnTo>
                    <a:pt x="40" y="262"/>
                  </a:lnTo>
                  <a:lnTo>
                    <a:pt x="40" y="262"/>
                  </a:lnTo>
                  <a:lnTo>
                    <a:pt x="42" y="266"/>
                  </a:lnTo>
                  <a:lnTo>
                    <a:pt x="46" y="267"/>
                  </a:lnTo>
                  <a:lnTo>
                    <a:pt x="53" y="267"/>
                  </a:lnTo>
                  <a:lnTo>
                    <a:pt x="53" y="267"/>
                  </a:lnTo>
                  <a:lnTo>
                    <a:pt x="55" y="267"/>
                  </a:lnTo>
                  <a:lnTo>
                    <a:pt x="55" y="269"/>
                  </a:lnTo>
                  <a:lnTo>
                    <a:pt x="55" y="277"/>
                  </a:lnTo>
                  <a:lnTo>
                    <a:pt x="53" y="282"/>
                  </a:lnTo>
                  <a:lnTo>
                    <a:pt x="53" y="284"/>
                  </a:lnTo>
                  <a:lnTo>
                    <a:pt x="53" y="287"/>
                  </a:lnTo>
                  <a:lnTo>
                    <a:pt x="53" y="287"/>
                  </a:lnTo>
                  <a:lnTo>
                    <a:pt x="55" y="287"/>
                  </a:lnTo>
                  <a:lnTo>
                    <a:pt x="57" y="287"/>
                  </a:lnTo>
                  <a:lnTo>
                    <a:pt x="62" y="287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73" y="286"/>
                  </a:lnTo>
                  <a:lnTo>
                    <a:pt x="80" y="278"/>
                  </a:lnTo>
                  <a:lnTo>
                    <a:pt x="80" y="278"/>
                  </a:lnTo>
                  <a:lnTo>
                    <a:pt x="82" y="277"/>
                  </a:lnTo>
                  <a:lnTo>
                    <a:pt x="82" y="271"/>
                  </a:lnTo>
                  <a:lnTo>
                    <a:pt x="84" y="267"/>
                  </a:lnTo>
                  <a:lnTo>
                    <a:pt x="84" y="264"/>
                  </a:lnTo>
                  <a:lnTo>
                    <a:pt x="84" y="262"/>
                  </a:lnTo>
                  <a:lnTo>
                    <a:pt x="88" y="260"/>
                  </a:lnTo>
                  <a:lnTo>
                    <a:pt x="88" y="260"/>
                  </a:lnTo>
                  <a:lnTo>
                    <a:pt x="89" y="260"/>
                  </a:lnTo>
                  <a:lnTo>
                    <a:pt x="93" y="262"/>
                  </a:lnTo>
                  <a:lnTo>
                    <a:pt x="95" y="264"/>
                  </a:lnTo>
                  <a:lnTo>
                    <a:pt x="98" y="267"/>
                  </a:lnTo>
                  <a:lnTo>
                    <a:pt x="100" y="267"/>
                  </a:lnTo>
                  <a:lnTo>
                    <a:pt x="102" y="267"/>
                  </a:lnTo>
                  <a:lnTo>
                    <a:pt x="102" y="267"/>
                  </a:lnTo>
                  <a:lnTo>
                    <a:pt x="109" y="264"/>
                  </a:lnTo>
                  <a:lnTo>
                    <a:pt x="113" y="260"/>
                  </a:lnTo>
                  <a:lnTo>
                    <a:pt x="118" y="253"/>
                  </a:lnTo>
                  <a:lnTo>
                    <a:pt x="118" y="253"/>
                  </a:lnTo>
                  <a:lnTo>
                    <a:pt x="120" y="247"/>
                  </a:lnTo>
                  <a:lnTo>
                    <a:pt x="126" y="242"/>
                  </a:lnTo>
                  <a:lnTo>
                    <a:pt x="126" y="242"/>
                  </a:lnTo>
                  <a:lnTo>
                    <a:pt x="133" y="238"/>
                  </a:lnTo>
                  <a:lnTo>
                    <a:pt x="135" y="238"/>
                  </a:lnTo>
                  <a:lnTo>
                    <a:pt x="137" y="240"/>
                  </a:lnTo>
                  <a:lnTo>
                    <a:pt x="137" y="240"/>
                  </a:lnTo>
                  <a:lnTo>
                    <a:pt x="142" y="246"/>
                  </a:lnTo>
                  <a:lnTo>
                    <a:pt x="144" y="247"/>
                  </a:lnTo>
                  <a:lnTo>
                    <a:pt x="146" y="247"/>
                  </a:lnTo>
                  <a:lnTo>
                    <a:pt x="146" y="247"/>
                  </a:lnTo>
                  <a:lnTo>
                    <a:pt x="151" y="246"/>
                  </a:lnTo>
                  <a:lnTo>
                    <a:pt x="155" y="244"/>
                  </a:lnTo>
                  <a:lnTo>
                    <a:pt x="157" y="240"/>
                  </a:lnTo>
                  <a:lnTo>
                    <a:pt x="157" y="237"/>
                  </a:lnTo>
                  <a:lnTo>
                    <a:pt x="157" y="237"/>
                  </a:lnTo>
                  <a:lnTo>
                    <a:pt x="157" y="237"/>
                  </a:lnTo>
                  <a:lnTo>
                    <a:pt x="158" y="235"/>
                  </a:lnTo>
                  <a:lnTo>
                    <a:pt x="162" y="229"/>
                  </a:lnTo>
                  <a:lnTo>
                    <a:pt x="167" y="226"/>
                  </a:lnTo>
                  <a:lnTo>
                    <a:pt x="171" y="224"/>
                  </a:lnTo>
                  <a:lnTo>
                    <a:pt x="171" y="224"/>
                  </a:lnTo>
                  <a:lnTo>
                    <a:pt x="180" y="226"/>
                  </a:lnTo>
                  <a:lnTo>
                    <a:pt x="184" y="226"/>
                  </a:lnTo>
                  <a:lnTo>
                    <a:pt x="187" y="226"/>
                  </a:lnTo>
                  <a:lnTo>
                    <a:pt x="187" y="224"/>
                  </a:lnTo>
                  <a:lnTo>
                    <a:pt x="187" y="224"/>
                  </a:lnTo>
                  <a:lnTo>
                    <a:pt x="189" y="222"/>
                  </a:lnTo>
                  <a:lnTo>
                    <a:pt x="193" y="220"/>
                  </a:lnTo>
                  <a:lnTo>
                    <a:pt x="193" y="211"/>
                  </a:lnTo>
                  <a:lnTo>
                    <a:pt x="193" y="206"/>
                  </a:lnTo>
                  <a:lnTo>
                    <a:pt x="193" y="202"/>
                  </a:lnTo>
                  <a:lnTo>
                    <a:pt x="195" y="200"/>
                  </a:lnTo>
                  <a:lnTo>
                    <a:pt x="195" y="200"/>
                  </a:lnTo>
                  <a:lnTo>
                    <a:pt x="204" y="195"/>
                  </a:lnTo>
                  <a:lnTo>
                    <a:pt x="206" y="193"/>
                  </a:lnTo>
                  <a:lnTo>
                    <a:pt x="204" y="187"/>
                  </a:lnTo>
                  <a:lnTo>
                    <a:pt x="204" y="187"/>
                  </a:lnTo>
                  <a:lnTo>
                    <a:pt x="200" y="182"/>
                  </a:lnTo>
                  <a:lnTo>
                    <a:pt x="197" y="178"/>
                  </a:lnTo>
                  <a:lnTo>
                    <a:pt x="197" y="175"/>
                  </a:lnTo>
                  <a:lnTo>
                    <a:pt x="195" y="175"/>
                  </a:lnTo>
                  <a:lnTo>
                    <a:pt x="197" y="169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200" y="164"/>
                  </a:lnTo>
                  <a:lnTo>
                    <a:pt x="204" y="162"/>
                  </a:lnTo>
                  <a:lnTo>
                    <a:pt x="213" y="160"/>
                  </a:lnTo>
                  <a:lnTo>
                    <a:pt x="218" y="157"/>
                  </a:lnTo>
                  <a:lnTo>
                    <a:pt x="222" y="155"/>
                  </a:lnTo>
                  <a:lnTo>
                    <a:pt x="224" y="153"/>
                  </a:lnTo>
                  <a:lnTo>
                    <a:pt x="224" y="153"/>
                  </a:lnTo>
                  <a:lnTo>
                    <a:pt x="235" y="144"/>
                  </a:lnTo>
                  <a:lnTo>
                    <a:pt x="246" y="135"/>
                  </a:lnTo>
                  <a:lnTo>
                    <a:pt x="260" y="124"/>
                  </a:lnTo>
                  <a:lnTo>
                    <a:pt x="264" y="120"/>
                  </a:lnTo>
                  <a:lnTo>
                    <a:pt x="266" y="117"/>
                  </a:lnTo>
                  <a:lnTo>
                    <a:pt x="266" y="117"/>
                  </a:lnTo>
                  <a:lnTo>
                    <a:pt x="267" y="111"/>
                  </a:lnTo>
                  <a:lnTo>
                    <a:pt x="269" y="104"/>
                  </a:lnTo>
                  <a:lnTo>
                    <a:pt x="271" y="97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82" y="86"/>
                  </a:lnTo>
                  <a:lnTo>
                    <a:pt x="287" y="82"/>
                  </a:lnTo>
                  <a:lnTo>
                    <a:pt x="298" y="77"/>
                  </a:lnTo>
                  <a:lnTo>
                    <a:pt x="298" y="75"/>
                  </a:lnTo>
                  <a:lnTo>
                    <a:pt x="298" y="75"/>
                  </a:lnTo>
                  <a:lnTo>
                    <a:pt x="282" y="82"/>
                  </a:lnTo>
                  <a:lnTo>
                    <a:pt x="282" y="82"/>
                  </a:lnTo>
                  <a:lnTo>
                    <a:pt x="276" y="84"/>
                  </a:lnTo>
                  <a:lnTo>
                    <a:pt x="269" y="84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lnTo>
                    <a:pt x="266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0" name="Freeform 12">
              <a:extLst>
                <a:ext uri="{FF2B5EF4-FFF2-40B4-BE49-F238E27FC236}">
                  <a16:creationId xmlns:a16="http://schemas.microsoft.com/office/drawing/2014/main" id="{1E1627E0-E9D9-914A-9BE7-60914121A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643" y="4292954"/>
              <a:ext cx="225934" cy="185978"/>
            </a:xfrm>
            <a:custGeom>
              <a:avLst/>
              <a:gdLst>
                <a:gd name="T0" fmla="*/ 151 w 156"/>
                <a:gd name="T1" fmla="*/ 50 h 130"/>
                <a:gd name="T2" fmla="*/ 147 w 156"/>
                <a:gd name="T3" fmla="*/ 50 h 130"/>
                <a:gd name="T4" fmla="*/ 147 w 156"/>
                <a:gd name="T5" fmla="*/ 41 h 130"/>
                <a:gd name="T6" fmla="*/ 145 w 156"/>
                <a:gd name="T7" fmla="*/ 34 h 130"/>
                <a:gd name="T8" fmla="*/ 140 w 156"/>
                <a:gd name="T9" fmla="*/ 23 h 130"/>
                <a:gd name="T10" fmla="*/ 131 w 156"/>
                <a:gd name="T11" fmla="*/ 21 h 130"/>
                <a:gd name="T12" fmla="*/ 127 w 156"/>
                <a:gd name="T13" fmla="*/ 23 h 130"/>
                <a:gd name="T14" fmla="*/ 124 w 156"/>
                <a:gd name="T15" fmla="*/ 27 h 130"/>
                <a:gd name="T16" fmla="*/ 118 w 156"/>
                <a:gd name="T17" fmla="*/ 21 h 130"/>
                <a:gd name="T18" fmla="*/ 114 w 156"/>
                <a:gd name="T19" fmla="*/ 20 h 130"/>
                <a:gd name="T20" fmla="*/ 109 w 156"/>
                <a:gd name="T21" fmla="*/ 18 h 130"/>
                <a:gd name="T22" fmla="*/ 107 w 156"/>
                <a:gd name="T23" fmla="*/ 5 h 130"/>
                <a:gd name="T24" fmla="*/ 104 w 156"/>
                <a:gd name="T25" fmla="*/ 5 h 130"/>
                <a:gd name="T26" fmla="*/ 98 w 156"/>
                <a:gd name="T27" fmla="*/ 18 h 130"/>
                <a:gd name="T28" fmla="*/ 84 w 156"/>
                <a:gd name="T29" fmla="*/ 23 h 130"/>
                <a:gd name="T30" fmla="*/ 73 w 156"/>
                <a:gd name="T31" fmla="*/ 21 h 130"/>
                <a:gd name="T32" fmla="*/ 67 w 156"/>
                <a:gd name="T33" fmla="*/ 12 h 130"/>
                <a:gd name="T34" fmla="*/ 64 w 156"/>
                <a:gd name="T35" fmla="*/ 7 h 130"/>
                <a:gd name="T36" fmla="*/ 51 w 156"/>
                <a:gd name="T37" fmla="*/ 7 h 130"/>
                <a:gd name="T38" fmla="*/ 45 w 156"/>
                <a:gd name="T39" fmla="*/ 3 h 130"/>
                <a:gd name="T40" fmla="*/ 35 w 156"/>
                <a:gd name="T41" fmla="*/ 1 h 130"/>
                <a:gd name="T42" fmla="*/ 27 w 156"/>
                <a:gd name="T43" fmla="*/ 3 h 130"/>
                <a:gd name="T44" fmla="*/ 22 w 156"/>
                <a:gd name="T45" fmla="*/ 1 h 130"/>
                <a:gd name="T46" fmla="*/ 13 w 156"/>
                <a:gd name="T47" fmla="*/ 3 h 130"/>
                <a:gd name="T48" fmla="*/ 9 w 156"/>
                <a:gd name="T49" fmla="*/ 10 h 130"/>
                <a:gd name="T50" fmla="*/ 7 w 156"/>
                <a:gd name="T51" fmla="*/ 20 h 130"/>
                <a:gd name="T52" fmla="*/ 2 w 156"/>
                <a:gd name="T53" fmla="*/ 29 h 130"/>
                <a:gd name="T54" fmla="*/ 2 w 156"/>
                <a:gd name="T55" fmla="*/ 30 h 130"/>
                <a:gd name="T56" fmla="*/ 0 w 156"/>
                <a:gd name="T57" fmla="*/ 36 h 130"/>
                <a:gd name="T58" fmla="*/ 2 w 156"/>
                <a:gd name="T59" fmla="*/ 47 h 130"/>
                <a:gd name="T60" fmla="*/ 2 w 156"/>
                <a:gd name="T61" fmla="*/ 60 h 130"/>
                <a:gd name="T62" fmla="*/ 11 w 156"/>
                <a:gd name="T63" fmla="*/ 74 h 130"/>
                <a:gd name="T64" fmla="*/ 13 w 156"/>
                <a:gd name="T65" fmla="*/ 87 h 130"/>
                <a:gd name="T66" fmla="*/ 18 w 156"/>
                <a:gd name="T67" fmla="*/ 101 h 130"/>
                <a:gd name="T68" fmla="*/ 18 w 156"/>
                <a:gd name="T69" fmla="*/ 109 h 130"/>
                <a:gd name="T70" fmla="*/ 22 w 156"/>
                <a:gd name="T71" fmla="*/ 114 h 130"/>
                <a:gd name="T72" fmla="*/ 24 w 156"/>
                <a:gd name="T73" fmla="*/ 123 h 130"/>
                <a:gd name="T74" fmla="*/ 20 w 156"/>
                <a:gd name="T75" fmla="*/ 130 h 130"/>
                <a:gd name="T76" fmla="*/ 27 w 156"/>
                <a:gd name="T77" fmla="*/ 125 h 130"/>
                <a:gd name="T78" fmla="*/ 49 w 156"/>
                <a:gd name="T79" fmla="*/ 127 h 130"/>
                <a:gd name="T80" fmla="*/ 56 w 156"/>
                <a:gd name="T81" fmla="*/ 123 h 130"/>
                <a:gd name="T82" fmla="*/ 65 w 156"/>
                <a:gd name="T83" fmla="*/ 116 h 130"/>
                <a:gd name="T84" fmla="*/ 69 w 156"/>
                <a:gd name="T85" fmla="*/ 109 h 130"/>
                <a:gd name="T86" fmla="*/ 75 w 156"/>
                <a:gd name="T87" fmla="*/ 110 h 130"/>
                <a:gd name="T88" fmla="*/ 82 w 156"/>
                <a:gd name="T89" fmla="*/ 107 h 130"/>
                <a:gd name="T90" fmla="*/ 93 w 156"/>
                <a:gd name="T91" fmla="*/ 105 h 130"/>
                <a:gd name="T92" fmla="*/ 107 w 156"/>
                <a:gd name="T93" fmla="*/ 98 h 130"/>
                <a:gd name="T94" fmla="*/ 118 w 156"/>
                <a:gd name="T95" fmla="*/ 87 h 130"/>
                <a:gd name="T96" fmla="*/ 133 w 156"/>
                <a:gd name="T97" fmla="*/ 76 h 130"/>
                <a:gd name="T98" fmla="*/ 140 w 156"/>
                <a:gd name="T99" fmla="*/ 70 h 130"/>
                <a:gd name="T100" fmla="*/ 149 w 156"/>
                <a:gd name="T101" fmla="*/ 63 h 130"/>
                <a:gd name="T102" fmla="*/ 156 w 156"/>
                <a:gd name="T103" fmla="*/ 60 h 130"/>
                <a:gd name="T104" fmla="*/ 156 w 156"/>
                <a:gd name="T105" fmla="*/ 52 h 130"/>
                <a:gd name="T106" fmla="*/ 154 w 156"/>
                <a:gd name="T107" fmla="*/ 5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6" h="130">
                  <a:moveTo>
                    <a:pt x="154" y="50"/>
                  </a:moveTo>
                  <a:lnTo>
                    <a:pt x="154" y="50"/>
                  </a:lnTo>
                  <a:lnTo>
                    <a:pt x="151" y="50"/>
                  </a:lnTo>
                  <a:lnTo>
                    <a:pt x="149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43"/>
                  </a:lnTo>
                  <a:lnTo>
                    <a:pt x="147" y="41"/>
                  </a:lnTo>
                  <a:lnTo>
                    <a:pt x="145" y="40"/>
                  </a:lnTo>
                  <a:lnTo>
                    <a:pt x="145" y="40"/>
                  </a:lnTo>
                  <a:lnTo>
                    <a:pt x="145" y="34"/>
                  </a:lnTo>
                  <a:lnTo>
                    <a:pt x="144" y="30"/>
                  </a:lnTo>
                  <a:lnTo>
                    <a:pt x="140" y="27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34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18" y="21"/>
                  </a:lnTo>
                  <a:lnTo>
                    <a:pt x="118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1" y="20"/>
                  </a:lnTo>
                  <a:lnTo>
                    <a:pt x="109" y="20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09" y="9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4" y="5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1" y="21"/>
                  </a:lnTo>
                  <a:lnTo>
                    <a:pt x="87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75" y="23"/>
                  </a:lnTo>
                  <a:lnTo>
                    <a:pt x="73" y="21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67" y="12"/>
                  </a:lnTo>
                  <a:lnTo>
                    <a:pt x="65" y="9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0" y="7"/>
                  </a:lnTo>
                  <a:lnTo>
                    <a:pt x="55" y="7"/>
                  </a:lnTo>
                  <a:lnTo>
                    <a:pt x="51" y="7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3"/>
                  </a:lnTo>
                  <a:lnTo>
                    <a:pt x="42" y="1"/>
                  </a:lnTo>
                  <a:lnTo>
                    <a:pt x="38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9" y="10"/>
                  </a:lnTo>
                  <a:lnTo>
                    <a:pt x="9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54"/>
                  </a:lnTo>
                  <a:lnTo>
                    <a:pt x="2" y="6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1" y="74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7"/>
                  </a:lnTo>
                  <a:lnTo>
                    <a:pt x="15" y="92"/>
                  </a:lnTo>
                  <a:lnTo>
                    <a:pt x="18" y="96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5"/>
                  </a:lnTo>
                  <a:lnTo>
                    <a:pt x="18" y="109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5" y="116"/>
                  </a:lnTo>
                  <a:lnTo>
                    <a:pt x="25" y="121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0" y="130"/>
                  </a:lnTo>
                  <a:lnTo>
                    <a:pt x="20" y="130"/>
                  </a:lnTo>
                  <a:lnTo>
                    <a:pt x="24" y="127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38" y="127"/>
                  </a:lnTo>
                  <a:lnTo>
                    <a:pt x="45" y="129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53" y="125"/>
                  </a:lnTo>
                  <a:lnTo>
                    <a:pt x="56" y="123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5" y="116"/>
                  </a:lnTo>
                  <a:lnTo>
                    <a:pt x="65" y="112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3" y="110"/>
                  </a:lnTo>
                  <a:lnTo>
                    <a:pt x="75" y="110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82" y="107"/>
                  </a:lnTo>
                  <a:lnTo>
                    <a:pt x="85" y="105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8" y="103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13" y="92"/>
                  </a:lnTo>
                  <a:lnTo>
                    <a:pt x="114" y="89"/>
                  </a:lnTo>
                  <a:lnTo>
                    <a:pt x="118" y="87"/>
                  </a:lnTo>
                  <a:lnTo>
                    <a:pt x="118" y="87"/>
                  </a:lnTo>
                  <a:lnTo>
                    <a:pt x="124" y="83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40" y="70"/>
                  </a:lnTo>
                  <a:lnTo>
                    <a:pt x="145" y="65"/>
                  </a:lnTo>
                  <a:lnTo>
                    <a:pt x="145" y="65"/>
                  </a:lnTo>
                  <a:lnTo>
                    <a:pt x="149" y="63"/>
                  </a:lnTo>
                  <a:lnTo>
                    <a:pt x="154" y="61"/>
                  </a:lnTo>
                  <a:lnTo>
                    <a:pt x="154" y="61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6" y="54"/>
                  </a:lnTo>
                  <a:lnTo>
                    <a:pt x="156" y="52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1" name="Freeform 13">
              <a:extLst>
                <a:ext uri="{FF2B5EF4-FFF2-40B4-BE49-F238E27FC236}">
                  <a16:creationId xmlns:a16="http://schemas.microsoft.com/office/drawing/2014/main" id="{A12754D8-36E6-EE4A-AA3D-9AA5F1895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4608" y="4178506"/>
              <a:ext cx="210003" cy="155935"/>
            </a:xfrm>
            <a:custGeom>
              <a:avLst/>
              <a:gdLst>
                <a:gd name="T0" fmla="*/ 51 w 145"/>
                <a:gd name="T1" fmla="*/ 83 h 109"/>
                <a:gd name="T2" fmla="*/ 58 w 145"/>
                <a:gd name="T3" fmla="*/ 81 h 109"/>
                <a:gd name="T4" fmla="*/ 63 w 145"/>
                <a:gd name="T5" fmla="*/ 83 h 109"/>
                <a:gd name="T6" fmla="*/ 65 w 145"/>
                <a:gd name="T7" fmla="*/ 83 h 109"/>
                <a:gd name="T8" fmla="*/ 73 w 145"/>
                <a:gd name="T9" fmla="*/ 81 h 109"/>
                <a:gd name="T10" fmla="*/ 76 w 145"/>
                <a:gd name="T11" fmla="*/ 80 h 109"/>
                <a:gd name="T12" fmla="*/ 83 w 145"/>
                <a:gd name="T13" fmla="*/ 83 h 109"/>
                <a:gd name="T14" fmla="*/ 85 w 145"/>
                <a:gd name="T15" fmla="*/ 85 h 109"/>
                <a:gd name="T16" fmla="*/ 93 w 145"/>
                <a:gd name="T17" fmla="*/ 87 h 109"/>
                <a:gd name="T18" fmla="*/ 102 w 145"/>
                <a:gd name="T19" fmla="*/ 87 h 109"/>
                <a:gd name="T20" fmla="*/ 103 w 145"/>
                <a:gd name="T21" fmla="*/ 89 h 109"/>
                <a:gd name="T22" fmla="*/ 109 w 145"/>
                <a:gd name="T23" fmla="*/ 100 h 109"/>
                <a:gd name="T24" fmla="*/ 111 w 145"/>
                <a:gd name="T25" fmla="*/ 101 h 109"/>
                <a:gd name="T26" fmla="*/ 122 w 145"/>
                <a:gd name="T27" fmla="*/ 103 h 109"/>
                <a:gd name="T28" fmla="*/ 125 w 145"/>
                <a:gd name="T29" fmla="*/ 103 h 109"/>
                <a:gd name="T30" fmla="*/ 136 w 145"/>
                <a:gd name="T31" fmla="*/ 98 h 109"/>
                <a:gd name="T32" fmla="*/ 142 w 145"/>
                <a:gd name="T33" fmla="*/ 89 h 109"/>
                <a:gd name="T34" fmla="*/ 145 w 145"/>
                <a:gd name="T35" fmla="*/ 85 h 109"/>
                <a:gd name="T36" fmla="*/ 136 w 145"/>
                <a:gd name="T37" fmla="*/ 61 h 109"/>
                <a:gd name="T38" fmla="*/ 111 w 145"/>
                <a:gd name="T39" fmla="*/ 41 h 109"/>
                <a:gd name="T40" fmla="*/ 94 w 145"/>
                <a:gd name="T41" fmla="*/ 29 h 109"/>
                <a:gd name="T42" fmla="*/ 87 w 145"/>
                <a:gd name="T43" fmla="*/ 18 h 109"/>
                <a:gd name="T44" fmla="*/ 73 w 145"/>
                <a:gd name="T45" fmla="*/ 1 h 109"/>
                <a:gd name="T46" fmla="*/ 63 w 145"/>
                <a:gd name="T47" fmla="*/ 9 h 109"/>
                <a:gd name="T48" fmla="*/ 36 w 145"/>
                <a:gd name="T49" fmla="*/ 7 h 109"/>
                <a:gd name="T50" fmla="*/ 25 w 145"/>
                <a:gd name="T51" fmla="*/ 9 h 109"/>
                <a:gd name="T52" fmla="*/ 27 w 145"/>
                <a:gd name="T53" fmla="*/ 11 h 109"/>
                <a:gd name="T54" fmla="*/ 36 w 145"/>
                <a:gd name="T55" fmla="*/ 16 h 109"/>
                <a:gd name="T56" fmla="*/ 34 w 145"/>
                <a:gd name="T57" fmla="*/ 20 h 109"/>
                <a:gd name="T58" fmla="*/ 29 w 145"/>
                <a:gd name="T59" fmla="*/ 27 h 109"/>
                <a:gd name="T60" fmla="*/ 29 w 145"/>
                <a:gd name="T61" fmla="*/ 32 h 109"/>
                <a:gd name="T62" fmla="*/ 27 w 145"/>
                <a:gd name="T63" fmla="*/ 38 h 109"/>
                <a:gd name="T64" fmla="*/ 25 w 145"/>
                <a:gd name="T65" fmla="*/ 41 h 109"/>
                <a:gd name="T66" fmla="*/ 25 w 145"/>
                <a:gd name="T67" fmla="*/ 49 h 109"/>
                <a:gd name="T68" fmla="*/ 25 w 145"/>
                <a:gd name="T69" fmla="*/ 60 h 109"/>
                <a:gd name="T70" fmla="*/ 24 w 145"/>
                <a:gd name="T71" fmla="*/ 61 h 109"/>
                <a:gd name="T72" fmla="*/ 22 w 145"/>
                <a:gd name="T73" fmla="*/ 67 h 109"/>
                <a:gd name="T74" fmla="*/ 18 w 145"/>
                <a:gd name="T75" fmla="*/ 70 h 109"/>
                <a:gd name="T76" fmla="*/ 11 w 145"/>
                <a:gd name="T77" fmla="*/ 74 h 109"/>
                <a:gd name="T78" fmla="*/ 9 w 145"/>
                <a:gd name="T79" fmla="*/ 81 h 109"/>
                <a:gd name="T80" fmla="*/ 5 w 145"/>
                <a:gd name="T81" fmla="*/ 83 h 109"/>
                <a:gd name="T82" fmla="*/ 2 w 145"/>
                <a:gd name="T83" fmla="*/ 83 h 109"/>
                <a:gd name="T84" fmla="*/ 0 w 145"/>
                <a:gd name="T85" fmla="*/ 83 h 109"/>
                <a:gd name="T86" fmla="*/ 2 w 145"/>
                <a:gd name="T87" fmla="*/ 87 h 109"/>
                <a:gd name="T88" fmla="*/ 5 w 145"/>
                <a:gd name="T89" fmla="*/ 94 h 109"/>
                <a:gd name="T90" fmla="*/ 14 w 145"/>
                <a:gd name="T91" fmla="*/ 101 h 109"/>
                <a:gd name="T92" fmla="*/ 25 w 145"/>
                <a:gd name="T93" fmla="*/ 103 h 109"/>
                <a:gd name="T94" fmla="*/ 31 w 145"/>
                <a:gd name="T95" fmla="*/ 105 h 109"/>
                <a:gd name="T96" fmla="*/ 38 w 145"/>
                <a:gd name="T97" fmla="*/ 109 h 109"/>
                <a:gd name="T98" fmla="*/ 45 w 145"/>
                <a:gd name="T99" fmla="*/ 100 h 109"/>
                <a:gd name="T100" fmla="*/ 47 w 145"/>
                <a:gd name="T101" fmla="*/ 90 h 109"/>
                <a:gd name="T102" fmla="*/ 51 w 145"/>
                <a:gd name="T103" fmla="*/ 83 h 109"/>
                <a:gd name="T104" fmla="*/ 51 w 145"/>
                <a:gd name="T105" fmla="*/ 83 h 109"/>
                <a:gd name="T106" fmla="*/ 51 w 145"/>
                <a:gd name="T107" fmla="*/ 8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" h="109">
                  <a:moveTo>
                    <a:pt x="51" y="83"/>
                  </a:moveTo>
                  <a:lnTo>
                    <a:pt x="51" y="83"/>
                  </a:lnTo>
                  <a:lnTo>
                    <a:pt x="56" y="81"/>
                  </a:lnTo>
                  <a:lnTo>
                    <a:pt x="58" y="81"/>
                  </a:lnTo>
                  <a:lnTo>
                    <a:pt x="60" y="81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7" y="83"/>
                  </a:lnTo>
                  <a:lnTo>
                    <a:pt x="73" y="81"/>
                  </a:lnTo>
                  <a:lnTo>
                    <a:pt x="73" y="81"/>
                  </a:lnTo>
                  <a:lnTo>
                    <a:pt x="76" y="80"/>
                  </a:lnTo>
                  <a:lnTo>
                    <a:pt x="80" y="81"/>
                  </a:lnTo>
                  <a:lnTo>
                    <a:pt x="83" y="83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9" y="87"/>
                  </a:lnTo>
                  <a:lnTo>
                    <a:pt x="93" y="87"/>
                  </a:lnTo>
                  <a:lnTo>
                    <a:pt x="98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3" y="89"/>
                  </a:lnTo>
                  <a:lnTo>
                    <a:pt x="105" y="92"/>
                  </a:lnTo>
                  <a:lnTo>
                    <a:pt x="109" y="100"/>
                  </a:lnTo>
                  <a:lnTo>
                    <a:pt x="109" y="100"/>
                  </a:lnTo>
                  <a:lnTo>
                    <a:pt x="111" y="101"/>
                  </a:lnTo>
                  <a:lnTo>
                    <a:pt x="113" y="103"/>
                  </a:lnTo>
                  <a:lnTo>
                    <a:pt x="122" y="103"/>
                  </a:lnTo>
                  <a:lnTo>
                    <a:pt x="122" y="103"/>
                  </a:lnTo>
                  <a:lnTo>
                    <a:pt x="125" y="103"/>
                  </a:lnTo>
                  <a:lnTo>
                    <a:pt x="129" y="101"/>
                  </a:lnTo>
                  <a:lnTo>
                    <a:pt x="136" y="98"/>
                  </a:lnTo>
                  <a:lnTo>
                    <a:pt x="136" y="98"/>
                  </a:lnTo>
                  <a:lnTo>
                    <a:pt x="142" y="89"/>
                  </a:lnTo>
                  <a:lnTo>
                    <a:pt x="142" y="85"/>
                  </a:lnTo>
                  <a:lnTo>
                    <a:pt x="145" y="85"/>
                  </a:lnTo>
                  <a:lnTo>
                    <a:pt x="136" y="78"/>
                  </a:lnTo>
                  <a:lnTo>
                    <a:pt x="136" y="61"/>
                  </a:lnTo>
                  <a:lnTo>
                    <a:pt x="129" y="50"/>
                  </a:lnTo>
                  <a:lnTo>
                    <a:pt x="111" y="41"/>
                  </a:lnTo>
                  <a:lnTo>
                    <a:pt x="103" y="29"/>
                  </a:lnTo>
                  <a:lnTo>
                    <a:pt x="94" y="29"/>
                  </a:lnTo>
                  <a:lnTo>
                    <a:pt x="85" y="21"/>
                  </a:lnTo>
                  <a:lnTo>
                    <a:pt x="87" y="18"/>
                  </a:lnTo>
                  <a:lnTo>
                    <a:pt x="85" y="20"/>
                  </a:lnTo>
                  <a:lnTo>
                    <a:pt x="73" y="1"/>
                  </a:lnTo>
                  <a:lnTo>
                    <a:pt x="69" y="0"/>
                  </a:lnTo>
                  <a:lnTo>
                    <a:pt x="63" y="9"/>
                  </a:lnTo>
                  <a:lnTo>
                    <a:pt x="56" y="14"/>
                  </a:lnTo>
                  <a:lnTo>
                    <a:pt x="36" y="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34" y="14"/>
                  </a:lnTo>
                  <a:lnTo>
                    <a:pt x="36" y="1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1" y="23"/>
                  </a:lnTo>
                  <a:lnTo>
                    <a:pt x="29" y="27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9"/>
                  </a:lnTo>
                  <a:lnTo>
                    <a:pt x="25" y="52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4" y="61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18" y="69"/>
                  </a:lnTo>
                  <a:lnTo>
                    <a:pt x="18" y="70"/>
                  </a:lnTo>
                  <a:lnTo>
                    <a:pt x="14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9" y="81"/>
                  </a:lnTo>
                  <a:lnTo>
                    <a:pt x="7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4" y="90"/>
                  </a:lnTo>
                  <a:lnTo>
                    <a:pt x="5" y="94"/>
                  </a:lnTo>
                  <a:lnTo>
                    <a:pt x="9" y="100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31" y="105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7" y="98"/>
                  </a:lnTo>
                  <a:lnTo>
                    <a:pt x="47" y="90"/>
                  </a:lnTo>
                  <a:lnTo>
                    <a:pt x="51" y="85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2" name="Freeform 14">
              <a:extLst>
                <a:ext uri="{FF2B5EF4-FFF2-40B4-BE49-F238E27FC236}">
                  <a16:creationId xmlns:a16="http://schemas.microsoft.com/office/drawing/2014/main" id="{6BA765FC-CDA4-F749-BFA1-12EC8273E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0131" y="4676354"/>
              <a:ext cx="13035" cy="28612"/>
            </a:xfrm>
            <a:custGeom>
              <a:avLst/>
              <a:gdLst>
                <a:gd name="T0" fmla="*/ 0 w 9"/>
                <a:gd name="T1" fmla="*/ 4 h 20"/>
                <a:gd name="T2" fmla="*/ 0 w 9"/>
                <a:gd name="T3" fmla="*/ 20 h 20"/>
                <a:gd name="T4" fmla="*/ 0 w 9"/>
                <a:gd name="T5" fmla="*/ 20 h 20"/>
                <a:gd name="T6" fmla="*/ 9 w 9"/>
                <a:gd name="T7" fmla="*/ 0 h 20"/>
                <a:gd name="T8" fmla="*/ 0 w 9"/>
                <a:gd name="T9" fmla="*/ 2 h 20"/>
                <a:gd name="T10" fmla="*/ 0 w 9"/>
                <a:gd name="T11" fmla="*/ 4 h 20"/>
                <a:gd name="T12" fmla="*/ 0 w 9"/>
                <a:gd name="T13" fmla="*/ 4 h 20"/>
                <a:gd name="T14" fmla="*/ 0 w 9"/>
                <a:gd name="T15" fmla="*/ 4 h 20"/>
                <a:gd name="T16" fmla="*/ 0 w 9"/>
                <a:gd name="T1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20">
                  <a:moveTo>
                    <a:pt x="0" y="4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Freeform 15">
              <a:extLst>
                <a:ext uri="{FF2B5EF4-FFF2-40B4-BE49-F238E27FC236}">
                  <a16:creationId xmlns:a16="http://schemas.microsoft.com/office/drawing/2014/main" id="{DA714AF4-9064-8F44-9470-D59C681DA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713" y="4165631"/>
              <a:ext cx="283866" cy="264661"/>
            </a:xfrm>
            <a:custGeom>
              <a:avLst/>
              <a:gdLst>
                <a:gd name="T0" fmla="*/ 144 w 196"/>
                <a:gd name="T1" fmla="*/ 158 h 185"/>
                <a:gd name="T2" fmla="*/ 149 w 196"/>
                <a:gd name="T3" fmla="*/ 152 h 185"/>
                <a:gd name="T4" fmla="*/ 149 w 196"/>
                <a:gd name="T5" fmla="*/ 136 h 185"/>
                <a:gd name="T6" fmla="*/ 151 w 196"/>
                <a:gd name="T7" fmla="*/ 132 h 185"/>
                <a:gd name="T8" fmla="*/ 158 w 196"/>
                <a:gd name="T9" fmla="*/ 132 h 185"/>
                <a:gd name="T10" fmla="*/ 166 w 196"/>
                <a:gd name="T11" fmla="*/ 134 h 185"/>
                <a:gd name="T12" fmla="*/ 173 w 196"/>
                <a:gd name="T13" fmla="*/ 132 h 185"/>
                <a:gd name="T14" fmla="*/ 180 w 196"/>
                <a:gd name="T15" fmla="*/ 132 h 185"/>
                <a:gd name="T16" fmla="*/ 184 w 196"/>
                <a:gd name="T17" fmla="*/ 129 h 185"/>
                <a:gd name="T18" fmla="*/ 196 w 196"/>
                <a:gd name="T19" fmla="*/ 123 h 185"/>
                <a:gd name="T20" fmla="*/ 191 w 196"/>
                <a:gd name="T21" fmla="*/ 112 h 185"/>
                <a:gd name="T22" fmla="*/ 187 w 196"/>
                <a:gd name="T23" fmla="*/ 107 h 185"/>
                <a:gd name="T24" fmla="*/ 186 w 196"/>
                <a:gd name="T25" fmla="*/ 99 h 185"/>
                <a:gd name="T26" fmla="*/ 187 w 196"/>
                <a:gd name="T27" fmla="*/ 96 h 185"/>
                <a:gd name="T28" fmla="*/ 195 w 196"/>
                <a:gd name="T29" fmla="*/ 87 h 185"/>
                <a:gd name="T30" fmla="*/ 195 w 196"/>
                <a:gd name="T31" fmla="*/ 72 h 185"/>
                <a:gd name="T32" fmla="*/ 176 w 196"/>
                <a:gd name="T33" fmla="*/ 81 h 185"/>
                <a:gd name="T34" fmla="*/ 155 w 196"/>
                <a:gd name="T35" fmla="*/ 76 h 185"/>
                <a:gd name="T36" fmla="*/ 147 w 196"/>
                <a:gd name="T37" fmla="*/ 52 h 185"/>
                <a:gd name="T38" fmla="*/ 146 w 196"/>
                <a:gd name="T39" fmla="*/ 32 h 185"/>
                <a:gd name="T40" fmla="*/ 142 w 196"/>
                <a:gd name="T41" fmla="*/ 12 h 185"/>
                <a:gd name="T42" fmla="*/ 126 w 196"/>
                <a:gd name="T43" fmla="*/ 10 h 185"/>
                <a:gd name="T44" fmla="*/ 118 w 196"/>
                <a:gd name="T45" fmla="*/ 5 h 185"/>
                <a:gd name="T46" fmla="*/ 107 w 196"/>
                <a:gd name="T47" fmla="*/ 0 h 185"/>
                <a:gd name="T48" fmla="*/ 91 w 196"/>
                <a:gd name="T49" fmla="*/ 3 h 185"/>
                <a:gd name="T50" fmla="*/ 71 w 196"/>
                <a:gd name="T51" fmla="*/ 5 h 185"/>
                <a:gd name="T52" fmla="*/ 44 w 196"/>
                <a:gd name="T53" fmla="*/ 9 h 185"/>
                <a:gd name="T54" fmla="*/ 18 w 196"/>
                <a:gd name="T55" fmla="*/ 29 h 185"/>
                <a:gd name="T56" fmla="*/ 0 w 196"/>
                <a:gd name="T57" fmla="*/ 30 h 185"/>
                <a:gd name="T58" fmla="*/ 26 w 196"/>
                <a:gd name="T59" fmla="*/ 50 h 185"/>
                <a:gd name="T60" fmla="*/ 51 w 196"/>
                <a:gd name="T61" fmla="*/ 87 h 185"/>
                <a:gd name="T62" fmla="*/ 60 w 196"/>
                <a:gd name="T63" fmla="*/ 94 h 185"/>
                <a:gd name="T64" fmla="*/ 62 w 196"/>
                <a:gd name="T65" fmla="*/ 107 h 185"/>
                <a:gd name="T66" fmla="*/ 67 w 196"/>
                <a:gd name="T67" fmla="*/ 109 h 185"/>
                <a:gd name="T68" fmla="*/ 71 w 196"/>
                <a:gd name="T69" fmla="*/ 110 h 185"/>
                <a:gd name="T70" fmla="*/ 77 w 196"/>
                <a:gd name="T71" fmla="*/ 116 h 185"/>
                <a:gd name="T72" fmla="*/ 80 w 196"/>
                <a:gd name="T73" fmla="*/ 112 h 185"/>
                <a:gd name="T74" fmla="*/ 84 w 196"/>
                <a:gd name="T75" fmla="*/ 110 h 185"/>
                <a:gd name="T76" fmla="*/ 93 w 196"/>
                <a:gd name="T77" fmla="*/ 112 h 185"/>
                <a:gd name="T78" fmla="*/ 98 w 196"/>
                <a:gd name="T79" fmla="*/ 123 h 185"/>
                <a:gd name="T80" fmla="*/ 100 w 196"/>
                <a:gd name="T81" fmla="*/ 130 h 185"/>
                <a:gd name="T82" fmla="*/ 100 w 196"/>
                <a:gd name="T83" fmla="*/ 139 h 185"/>
                <a:gd name="T84" fmla="*/ 104 w 196"/>
                <a:gd name="T85" fmla="*/ 139 h 185"/>
                <a:gd name="T86" fmla="*/ 109 w 196"/>
                <a:gd name="T87" fmla="*/ 141 h 185"/>
                <a:gd name="T88" fmla="*/ 109 w 196"/>
                <a:gd name="T89" fmla="*/ 149 h 185"/>
                <a:gd name="T90" fmla="*/ 109 w 196"/>
                <a:gd name="T91" fmla="*/ 152 h 185"/>
                <a:gd name="T92" fmla="*/ 113 w 196"/>
                <a:gd name="T93" fmla="*/ 168 h 185"/>
                <a:gd name="T94" fmla="*/ 118 w 196"/>
                <a:gd name="T95" fmla="*/ 181 h 185"/>
                <a:gd name="T96" fmla="*/ 124 w 196"/>
                <a:gd name="T97" fmla="*/ 176 h 185"/>
                <a:gd name="T98" fmla="*/ 129 w 196"/>
                <a:gd name="T99" fmla="*/ 161 h 185"/>
                <a:gd name="T100" fmla="*/ 133 w 196"/>
                <a:gd name="T101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6" h="185">
                  <a:moveTo>
                    <a:pt x="133" y="159"/>
                  </a:moveTo>
                  <a:lnTo>
                    <a:pt x="133" y="159"/>
                  </a:lnTo>
                  <a:lnTo>
                    <a:pt x="144" y="158"/>
                  </a:lnTo>
                  <a:lnTo>
                    <a:pt x="147" y="156"/>
                  </a:lnTo>
                  <a:lnTo>
                    <a:pt x="147" y="156"/>
                  </a:lnTo>
                  <a:lnTo>
                    <a:pt x="149" y="152"/>
                  </a:lnTo>
                  <a:lnTo>
                    <a:pt x="149" y="152"/>
                  </a:lnTo>
                  <a:lnTo>
                    <a:pt x="149" y="141"/>
                  </a:lnTo>
                  <a:lnTo>
                    <a:pt x="149" y="136"/>
                  </a:lnTo>
                  <a:lnTo>
                    <a:pt x="149" y="134"/>
                  </a:lnTo>
                  <a:lnTo>
                    <a:pt x="151" y="132"/>
                  </a:lnTo>
                  <a:lnTo>
                    <a:pt x="151" y="132"/>
                  </a:lnTo>
                  <a:lnTo>
                    <a:pt x="153" y="132"/>
                  </a:lnTo>
                  <a:lnTo>
                    <a:pt x="155" y="132"/>
                  </a:lnTo>
                  <a:lnTo>
                    <a:pt x="158" y="132"/>
                  </a:lnTo>
                  <a:lnTo>
                    <a:pt x="162" y="136"/>
                  </a:lnTo>
                  <a:lnTo>
                    <a:pt x="162" y="136"/>
                  </a:lnTo>
                  <a:lnTo>
                    <a:pt x="166" y="134"/>
                  </a:lnTo>
                  <a:lnTo>
                    <a:pt x="166" y="134"/>
                  </a:lnTo>
                  <a:lnTo>
                    <a:pt x="169" y="134"/>
                  </a:lnTo>
                  <a:lnTo>
                    <a:pt x="173" y="132"/>
                  </a:lnTo>
                  <a:lnTo>
                    <a:pt x="176" y="134"/>
                  </a:lnTo>
                  <a:lnTo>
                    <a:pt x="176" y="134"/>
                  </a:lnTo>
                  <a:lnTo>
                    <a:pt x="180" y="132"/>
                  </a:lnTo>
                  <a:lnTo>
                    <a:pt x="180" y="130"/>
                  </a:lnTo>
                  <a:lnTo>
                    <a:pt x="184" y="129"/>
                  </a:lnTo>
                  <a:lnTo>
                    <a:pt x="184" y="129"/>
                  </a:lnTo>
                  <a:lnTo>
                    <a:pt x="187" y="129"/>
                  </a:lnTo>
                  <a:lnTo>
                    <a:pt x="193" y="129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5" y="118"/>
                  </a:lnTo>
                  <a:lnTo>
                    <a:pt x="191" y="112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7"/>
                  </a:lnTo>
                  <a:lnTo>
                    <a:pt x="186" y="101"/>
                  </a:lnTo>
                  <a:lnTo>
                    <a:pt x="186" y="99"/>
                  </a:lnTo>
                  <a:lnTo>
                    <a:pt x="186" y="98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95" y="94"/>
                  </a:lnTo>
                  <a:lnTo>
                    <a:pt x="196" y="92"/>
                  </a:lnTo>
                  <a:lnTo>
                    <a:pt x="195" y="87"/>
                  </a:lnTo>
                  <a:lnTo>
                    <a:pt x="186" y="89"/>
                  </a:lnTo>
                  <a:lnTo>
                    <a:pt x="184" y="78"/>
                  </a:lnTo>
                  <a:lnTo>
                    <a:pt x="195" y="72"/>
                  </a:lnTo>
                  <a:lnTo>
                    <a:pt x="191" y="70"/>
                  </a:lnTo>
                  <a:lnTo>
                    <a:pt x="175" y="70"/>
                  </a:lnTo>
                  <a:lnTo>
                    <a:pt x="176" y="81"/>
                  </a:lnTo>
                  <a:lnTo>
                    <a:pt x="171" y="81"/>
                  </a:lnTo>
                  <a:lnTo>
                    <a:pt x="164" y="74"/>
                  </a:lnTo>
                  <a:lnTo>
                    <a:pt x="155" y="76"/>
                  </a:lnTo>
                  <a:lnTo>
                    <a:pt x="146" y="61"/>
                  </a:lnTo>
                  <a:lnTo>
                    <a:pt x="149" y="56"/>
                  </a:lnTo>
                  <a:lnTo>
                    <a:pt x="147" y="52"/>
                  </a:lnTo>
                  <a:lnTo>
                    <a:pt x="142" y="47"/>
                  </a:lnTo>
                  <a:lnTo>
                    <a:pt x="140" y="38"/>
                  </a:lnTo>
                  <a:lnTo>
                    <a:pt x="146" y="32"/>
                  </a:lnTo>
                  <a:lnTo>
                    <a:pt x="144" y="30"/>
                  </a:lnTo>
                  <a:lnTo>
                    <a:pt x="140" y="29"/>
                  </a:lnTo>
                  <a:lnTo>
                    <a:pt x="142" y="12"/>
                  </a:lnTo>
                  <a:lnTo>
                    <a:pt x="138" y="10"/>
                  </a:lnTo>
                  <a:lnTo>
                    <a:pt x="135" y="12"/>
                  </a:lnTo>
                  <a:lnTo>
                    <a:pt x="126" y="10"/>
                  </a:lnTo>
                  <a:lnTo>
                    <a:pt x="124" y="9"/>
                  </a:lnTo>
                  <a:lnTo>
                    <a:pt x="122" y="5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1" y="3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64" y="3"/>
                  </a:lnTo>
                  <a:lnTo>
                    <a:pt x="44" y="9"/>
                  </a:lnTo>
                  <a:lnTo>
                    <a:pt x="29" y="10"/>
                  </a:lnTo>
                  <a:lnTo>
                    <a:pt x="37" y="25"/>
                  </a:lnTo>
                  <a:lnTo>
                    <a:pt x="18" y="29"/>
                  </a:lnTo>
                  <a:lnTo>
                    <a:pt x="13" y="23"/>
                  </a:lnTo>
                  <a:lnTo>
                    <a:pt x="2" y="27"/>
                  </a:lnTo>
                  <a:lnTo>
                    <a:pt x="0" y="30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26" y="50"/>
                  </a:lnTo>
                  <a:lnTo>
                    <a:pt x="44" y="59"/>
                  </a:lnTo>
                  <a:lnTo>
                    <a:pt x="51" y="70"/>
                  </a:lnTo>
                  <a:lnTo>
                    <a:pt x="51" y="87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2" y="98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2" y="109"/>
                  </a:lnTo>
                  <a:lnTo>
                    <a:pt x="64" y="109"/>
                  </a:lnTo>
                  <a:lnTo>
                    <a:pt x="67" y="109"/>
                  </a:lnTo>
                  <a:lnTo>
                    <a:pt x="67" y="109"/>
                  </a:lnTo>
                  <a:lnTo>
                    <a:pt x="71" y="109"/>
                  </a:lnTo>
                  <a:lnTo>
                    <a:pt x="71" y="110"/>
                  </a:lnTo>
                  <a:lnTo>
                    <a:pt x="75" y="114"/>
                  </a:lnTo>
                  <a:lnTo>
                    <a:pt x="75" y="114"/>
                  </a:lnTo>
                  <a:lnTo>
                    <a:pt x="77" y="116"/>
                  </a:lnTo>
                  <a:lnTo>
                    <a:pt x="77" y="116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82" y="110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87" y="110"/>
                  </a:lnTo>
                  <a:lnTo>
                    <a:pt x="93" y="112"/>
                  </a:lnTo>
                  <a:lnTo>
                    <a:pt x="93" y="112"/>
                  </a:lnTo>
                  <a:lnTo>
                    <a:pt x="93" y="116"/>
                  </a:lnTo>
                  <a:lnTo>
                    <a:pt x="97" y="119"/>
                  </a:lnTo>
                  <a:lnTo>
                    <a:pt x="98" y="123"/>
                  </a:lnTo>
                  <a:lnTo>
                    <a:pt x="98" y="129"/>
                  </a:lnTo>
                  <a:lnTo>
                    <a:pt x="98" y="129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100" y="139"/>
                  </a:lnTo>
                  <a:lnTo>
                    <a:pt x="100" y="139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9" y="141"/>
                  </a:lnTo>
                  <a:lnTo>
                    <a:pt x="109" y="143"/>
                  </a:lnTo>
                  <a:lnTo>
                    <a:pt x="109" y="149"/>
                  </a:lnTo>
                  <a:lnTo>
                    <a:pt x="109" y="149"/>
                  </a:lnTo>
                  <a:lnTo>
                    <a:pt x="107" y="150"/>
                  </a:lnTo>
                  <a:lnTo>
                    <a:pt x="107" y="150"/>
                  </a:lnTo>
                  <a:lnTo>
                    <a:pt x="109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3" y="168"/>
                  </a:lnTo>
                  <a:lnTo>
                    <a:pt x="113" y="176"/>
                  </a:lnTo>
                  <a:lnTo>
                    <a:pt x="118" y="181"/>
                  </a:lnTo>
                  <a:lnTo>
                    <a:pt x="118" y="181"/>
                  </a:lnTo>
                  <a:lnTo>
                    <a:pt x="118" y="185"/>
                  </a:lnTo>
                  <a:lnTo>
                    <a:pt x="118" y="185"/>
                  </a:lnTo>
                  <a:lnTo>
                    <a:pt x="124" y="176"/>
                  </a:lnTo>
                  <a:lnTo>
                    <a:pt x="124" y="176"/>
                  </a:lnTo>
                  <a:lnTo>
                    <a:pt x="127" y="165"/>
                  </a:lnTo>
                  <a:lnTo>
                    <a:pt x="129" y="161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lnTo>
                    <a:pt x="133" y="15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4" name="Freeform 16">
              <a:extLst>
                <a:ext uri="{FF2B5EF4-FFF2-40B4-BE49-F238E27FC236}">
                  <a16:creationId xmlns:a16="http://schemas.microsoft.com/office/drawing/2014/main" id="{29A6C192-6871-7C4C-981B-5BA7222F0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912" y="3852330"/>
              <a:ext cx="139037" cy="151644"/>
            </a:xfrm>
            <a:custGeom>
              <a:avLst/>
              <a:gdLst>
                <a:gd name="T0" fmla="*/ 49 w 96"/>
                <a:gd name="T1" fmla="*/ 104 h 106"/>
                <a:gd name="T2" fmla="*/ 60 w 96"/>
                <a:gd name="T3" fmla="*/ 104 h 106"/>
                <a:gd name="T4" fmla="*/ 64 w 96"/>
                <a:gd name="T5" fmla="*/ 104 h 106"/>
                <a:gd name="T6" fmla="*/ 67 w 96"/>
                <a:gd name="T7" fmla="*/ 99 h 106"/>
                <a:gd name="T8" fmla="*/ 73 w 96"/>
                <a:gd name="T9" fmla="*/ 93 h 106"/>
                <a:gd name="T10" fmla="*/ 73 w 96"/>
                <a:gd name="T11" fmla="*/ 86 h 106"/>
                <a:gd name="T12" fmla="*/ 73 w 96"/>
                <a:gd name="T13" fmla="*/ 84 h 106"/>
                <a:gd name="T14" fmla="*/ 82 w 96"/>
                <a:gd name="T15" fmla="*/ 84 h 106"/>
                <a:gd name="T16" fmla="*/ 85 w 96"/>
                <a:gd name="T17" fmla="*/ 82 h 106"/>
                <a:gd name="T18" fmla="*/ 89 w 96"/>
                <a:gd name="T19" fmla="*/ 80 h 106"/>
                <a:gd name="T20" fmla="*/ 94 w 96"/>
                <a:gd name="T21" fmla="*/ 77 h 106"/>
                <a:gd name="T22" fmla="*/ 89 w 96"/>
                <a:gd name="T23" fmla="*/ 68 h 106"/>
                <a:gd name="T24" fmla="*/ 89 w 96"/>
                <a:gd name="T25" fmla="*/ 68 h 106"/>
                <a:gd name="T26" fmla="*/ 96 w 96"/>
                <a:gd name="T27" fmla="*/ 62 h 106"/>
                <a:gd name="T28" fmla="*/ 87 w 96"/>
                <a:gd name="T29" fmla="*/ 51 h 106"/>
                <a:gd name="T30" fmla="*/ 82 w 96"/>
                <a:gd name="T31" fmla="*/ 40 h 106"/>
                <a:gd name="T32" fmla="*/ 83 w 96"/>
                <a:gd name="T33" fmla="*/ 33 h 106"/>
                <a:gd name="T34" fmla="*/ 82 w 96"/>
                <a:gd name="T35" fmla="*/ 33 h 106"/>
                <a:gd name="T36" fmla="*/ 80 w 96"/>
                <a:gd name="T37" fmla="*/ 26 h 106"/>
                <a:gd name="T38" fmla="*/ 82 w 96"/>
                <a:gd name="T39" fmla="*/ 22 h 106"/>
                <a:gd name="T40" fmla="*/ 83 w 96"/>
                <a:gd name="T41" fmla="*/ 17 h 106"/>
                <a:gd name="T42" fmla="*/ 82 w 96"/>
                <a:gd name="T43" fmla="*/ 13 h 106"/>
                <a:gd name="T44" fmla="*/ 82 w 96"/>
                <a:gd name="T45" fmla="*/ 8 h 106"/>
                <a:gd name="T46" fmla="*/ 80 w 96"/>
                <a:gd name="T47" fmla="*/ 8 h 106"/>
                <a:gd name="T48" fmla="*/ 73 w 96"/>
                <a:gd name="T49" fmla="*/ 6 h 106"/>
                <a:gd name="T50" fmla="*/ 65 w 96"/>
                <a:gd name="T51" fmla="*/ 2 h 106"/>
                <a:gd name="T52" fmla="*/ 58 w 96"/>
                <a:gd name="T53" fmla="*/ 2 h 106"/>
                <a:gd name="T54" fmla="*/ 49 w 96"/>
                <a:gd name="T55" fmla="*/ 0 h 106"/>
                <a:gd name="T56" fmla="*/ 47 w 96"/>
                <a:gd name="T57" fmla="*/ 0 h 106"/>
                <a:gd name="T58" fmla="*/ 45 w 96"/>
                <a:gd name="T59" fmla="*/ 4 h 106"/>
                <a:gd name="T60" fmla="*/ 44 w 96"/>
                <a:gd name="T61" fmla="*/ 8 h 106"/>
                <a:gd name="T62" fmla="*/ 40 w 96"/>
                <a:gd name="T63" fmla="*/ 6 h 106"/>
                <a:gd name="T64" fmla="*/ 31 w 96"/>
                <a:gd name="T65" fmla="*/ 2 h 106"/>
                <a:gd name="T66" fmla="*/ 25 w 96"/>
                <a:gd name="T67" fmla="*/ 2 h 106"/>
                <a:gd name="T68" fmla="*/ 25 w 96"/>
                <a:gd name="T69" fmla="*/ 6 h 106"/>
                <a:gd name="T70" fmla="*/ 25 w 96"/>
                <a:gd name="T71" fmla="*/ 13 h 106"/>
                <a:gd name="T72" fmla="*/ 22 w 96"/>
                <a:gd name="T73" fmla="*/ 17 h 106"/>
                <a:gd name="T74" fmla="*/ 14 w 96"/>
                <a:gd name="T75" fmla="*/ 17 h 106"/>
                <a:gd name="T76" fmla="*/ 7 w 96"/>
                <a:gd name="T77" fmla="*/ 20 h 106"/>
                <a:gd name="T78" fmla="*/ 0 w 96"/>
                <a:gd name="T79" fmla="*/ 24 h 106"/>
                <a:gd name="T80" fmla="*/ 0 w 96"/>
                <a:gd name="T81" fmla="*/ 24 h 106"/>
                <a:gd name="T82" fmla="*/ 2 w 96"/>
                <a:gd name="T83" fmla="*/ 24 h 106"/>
                <a:gd name="T84" fmla="*/ 7 w 96"/>
                <a:gd name="T85" fmla="*/ 24 h 106"/>
                <a:gd name="T86" fmla="*/ 11 w 96"/>
                <a:gd name="T87" fmla="*/ 24 h 106"/>
                <a:gd name="T88" fmla="*/ 20 w 96"/>
                <a:gd name="T89" fmla="*/ 33 h 106"/>
                <a:gd name="T90" fmla="*/ 22 w 96"/>
                <a:gd name="T91" fmla="*/ 37 h 106"/>
                <a:gd name="T92" fmla="*/ 20 w 96"/>
                <a:gd name="T93" fmla="*/ 40 h 106"/>
                <a:gd name="T94" fmla="*/ 20 w 96"/>
                <a:gd name="T95" fmla="*/ 46 h 106"/>
                <a:gd name="T96" fmla="*/ 22 w 96"/>
                <a:gd name="T97" fmla="*/ 50 h 106"/>
                <a:gd name="T98" fmla="*/ 31 w 96"/>
                <a:gd name="T99" fmla="*/ 55 h 106"/>
                <a:gd name="T100" fmla="*/ 33 w 96"/>
                <a:gd name="T101" fmla="*/ 57 h 106"/>
                <a:gd name="T102" fmla="*/ 33 w 96"/>
                <a:gd name="T103" fmla="*/ 64 h 106"/>
                <a:gd name="T104" fmla="*/ 33 w 96"/>
                <a:gd name="T105" fmla="*/ 71 h 106"/>
                <a:gd name="T106" fmla="*/ 38 w 96"/>
                <a:gd name="T107" fmla="*/ 86 h 106"/>
                <a:gd name="T108" fmla="*/ 38 w 96"/>
                <a:gd name="T109" fmla="*/ 91 h 106"/>
                <a:gd name="T110" fmla="*/ 40 w 96"/>
                <a:gd name="T111" fmla="*/ 100 h 106"/>
                <a:gd name="T112" fmla="*/ 44 w 96"/>
                <a:gd name="T113" fmla="*/ 106 h 106"/>
                <a:gd name="T114" fmla="*/ 44 w 96"/>
                <a:gd name="T115" fmla="*/ 106 h 106"/>
                <a:gd name="T116" fmla="*/ 47 w 96"/>
                <a:gd name="T117" fmla="*/ 106 h 106"/>
                <a:gd name="T118" fmla="*/ 49 w 96"/>
                <a:gd name="T119" fmla="*/ 104 h 106"/>
                <a:gd name="T120" fmla="*/ 49 w 96"/>
                <a:gd name="T121" fmla="*/ 104 h 106"/>
                <a:gd name="T122" fmla="*/ 49 w 96"/>
                <a:gd name="T123" fmla="*/ 10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06">
                  <a:moveTo>
                    <a:pt x="49" y="104"/>
                  </a:moveTo>
                  <a:lnTo>
                    <a:pt x="49" y="104"/>
                  </a:lnTo>
                  <a:lnTo>
                    <a:pt x="53" y="102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4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73" y="93"/>
                  </a:lnTo>
                  <a:lnTo>
                    <a:pt x="73" y="90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4"/>
                  </a:lnTo>
                  <a:lnTo>
                    <a:pt x="74" y="8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85" y="82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1" y="71"/>
                  </a:lnTo>
                  <a:lnTo>
                    <a:pt x="89" y="68"/>
                  </a:lnTo>
                  <a:lnTo>
                    <a:pt x="89" y="68"/>
                  </a:lnTo>
                  <a:lnTo>
                    <a:pt x="89" y="68"/>
                  </a:lnTo>
                  <a:lnTo>
                    <a:pt x="94" y="64"/>
                  </a:lnTo>
                  <a:lnTo>
                    <a:pt x="96" y="6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3" y="46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2" y="33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2" y="22"/>
                  </a:lnTo>
                  <a:lnTo>
                    <a:pt x="83" y="20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2" y="13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3" y="6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58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5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1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4"/>
                  </a:lnTo>
                  <a:lnTo>
                    <a:pt x="25" y="6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2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7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6" y="28"/>
                  </a:lnTo>
                  <a:lnTo>
                    <a:pt x="20" y="33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18" y="44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2" y="50"/>
                  </a:lnTo>
                  <a:lnTo>
                    <a:pt x="25" y="51"/>
                  </a:lnTo>
                  <a:lnTo>
                    <a:pt x="31" y="55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3" y="60"/>
                  </a:lnTo>
                  <a:lnTo>
                    <a:pt x="33" y="64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6" y="80"/>
                  </a:lnTo>
                  <a:lnTo>
                    <a:pt x="38" y="86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8" y="99"/>
                  </a:lnTo>
                  <a:lnTo>
                    <a:pt x="40" y="100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5" name="Freeform 17">
              <a:extLst>
                <a:ext uri="{FF2B5EF4-FFF2-40B4-BE49-F238E27FC236}">
                  <a16:creationId xmlns:a16="http://schemas.microsoft.com/office/drawing/2014/main" id="{F95D627C-E1CA-E940-B6AB-76D7EFAF7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982" y="3740743"/>
              <a:ext cx="176692" cy="130184"/>
            </a:xfrm>
            <a:custGeom>
              <a:avLst/>
              <a:gdLst>
                <a:gd name="T0" fmla="*/ 35 w 122"/>
                <a:gd name="T1" fmla="*/ 86 h 91"/>
                <a:gd name="T2" fmla="*/ 40 w 122"/>
                <a:gd name="T3" fmla="*/ 84 h 91"/>
                <a:gd name="T4" fmla="*/ 49 w 122"/>
                <a:gd name="T5" fmla="*/ 80 h 91"/>
                <a:gd name="T6" fmla="*/ 67 w 122"/>
                <a:gd name="T7" fmla="*/ 80 h 91"/>
                <a:gd name="T8" fmla="*/ 73 w 122"/>
                <a:gd name="T9" fmla="*/ 82 h 91"/>
                <a:gd name="T10" fmla="*/ 86 w 122"/>
                <a:gd name="T11" fmla="*/ 91 h 91"/>
                <a:gd name="T12" fmla="*/ 89 w 122"/>
                <a:gd name="T13" fmla="*/ 86 h 91"/>
                <a:gd name="T14" fmla="*/ 93 w 122"/>
                <a:gd name="T15" fmla="*/ 84 h 91"/>
                <a:gd name="T16" fmla="*/ 100 w 122"/>
                <a:gd name="T17" fmla="*/ 86 h 91"/>
                <a:gd name="T18" fmla="*/ 109 w 122"/>
                <a:gd name="T19" fmla="*/ 84 h 91"/>
                <a:gd name="T20" fmla="*/ 113 w 122"/>
                <a:gd name="T21" fmla="*/ 82 h 91"/>
                <a:gd name="T22" fmla="*/ 113 w 122"/>
                <a:gd name="T23" fmla="*/ 78 h 91"/>
                <a:gd name="T24" fmla="*/ 122 w 122"/>
                <a:gd name="T25" fmla="*/ 68 h 91"/>
                <a:gd name="T26" fmla="*/ 122 w 122"/>
                <a:gd name="T27" fmla="*/ 60 h 91"/>
                <a:gd name="T28" fmla="*/ 122 w 122"/>
                <a:gd name="T29" fmla="*/ 60 h 91"/>
                <a:gd name="T30" fmla="*/ 120 w 122"/>
                <a:gd name="T31" fmla="*/ 53 h 91"/>
                <a:gd name="T32" fmla="*/ 118 w 122"/>
                <a:gd name="T33" fmla="*/ 49 h 91"/>
                <a:gd name="T34" fmla="*/ 106 w 122"/>
                <a:gd name="T35" fmla="*/ 40 h 91"/>
                <a:gd name="T36" fmla="*/ 102 w 122"/>
                <a:gd name="T37" fmla="*/ 33 h 91"/>
                <a:gd name="T38" fmla="*/ 96 w 122"/>
                <a:gd name="T39" fmla="*/ 24 h 91"/>
                <a:gd name="T40" fmla="*/ 95 w 122"/>
                <a:gd name="T41" fmla="*/ 22 h 91"/>
                <a:gd name="T42" fmla="*/ 91 w 122"/>
                <a:gd name="T43" fmla="*/ 24 h 91"/>
                <a:gd name="T44" fmla="*/ 73 w 122"/>
                <a:gd name="T45" fmla="*/ 22 h 91"/>
                <a:gd name="T46" fmla="*/ 64 w 122"/>
                <a:gd name="T47" fmla="*/ 24 h 91"/>
                <a:gd name="T48" fmla="*/ 60 w 122"/>
                <a:gd name="T49" fmla="*/ 24 h 91"/>
                <a:gd name="T50" fmla="*/ 56 w 122"/>
                <a:gd name="T51" fmla="*/ 17 h 91"/>
                <a:gd name="T52" fmla="*/ 49 w 122"/>
                <a:gd name="T53" fmla="*/ 20 h 91"/>
                <a:gd name="T54" fmla="*/ 42 w 122"/>
                <a:gd name="T55" fmla="*/ 17 h 91"/>
                <a:gd name="T56" fmla="*/ 36 w 122"/>
                <a:gd name="T57" fmla="*/ 4 h 91"/>
                <a:gd name="T58" fmla="*/ 29 w 122"/>
                <a:gd name="T59" fmla="*/ 2 h 91"/>
                <a:gd name="T60" fmla="*/ 26 w 122"/>
                <a:gd name="T61" fmla="*/ 9 h 91"/>
                <a:gd name="T62" fmla="*/ 26 w 122"/>
                <a:gd name="T63" fmla="*/ 11 h 91"/>
                <a:gd name="T64" fmla="*/ 13 w 122"/>
                <a:gd name="T65" fmla="*/ 11 h 91"/>
                <a:gd name="T66" fmla="*/ 7 w 122"/>
                <a:gd name="T67" fmla="*/ 11 h 91"/>
                <a:gd name="T68" fmla="*/ 11 w 122"/>
                <a:gd name="T69" fmla="*/ 15 h 91"/>
                <a:gd name="T70" fmla="*/ 9 w 122"/>
                <a:gd name="T71" fmla="*/ 24 h 91"/>
                <a:gd name="T72" fmla="*/ 9 w 122"/>
                <a:gd name="T73" fmla="*/ 29 h 91"/>
                <a:gd name="T74" fmla="*/ 13 w 122"/>
                <a:gd name="T75" fmla="*/ 40 h 91"/>
                <a:gd name="T76" fmla="*/ 9 w 122"/>
                <a:gd name="T77" fmla="*/ 51 h 91"/>
                <a:gd name="T78" fmla="*/ 0 w 122"/>
                <a:gd name="T79" fmla="*/ 58 h 91"/>
                <a:gd name="T80" fmla="*/ 0 w 122"/>
                <a:gd name="T81" fmla="*/ 68 h 91"/>
                <a:gd name="T82" fmla="*/ 6 w 122"/>
                <a:gd name="T83" fmla="*/ 75 h 91"/>
                <a:gd name="T84" fmla="*/ 2 w 122"/>
                <a:gd name="T85" fmla="*/ 78 h 91"/>
                <a:gd name="T86" fmla="*/ 18 w 122"/>
                <a:gd name="T87" fmla="*/ 80 h 91"/>
                <a:gd name="T88" fmla="*/ 26 w 122"/>
                <a:gd name="T89" fmla="*/ 84 h 91"/>
                <a:gd name="T90" fmla="*/ 33 w 122"/>
                <a:gd name="T91" fmla="*/ 86 h 91"/>
                <a:gd name="T92" fmla="*/ 33 w 122"/>
                <a:gd name="T93" fmla="*/ 86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2" h="91">
                  <a:moveTo>
                    <a:pt x="33" y="86"/>
                  </a:moveTo>
                  <a:lnTo>
                    <a:pt x="33" y="86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8" y="86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2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60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3" y="82"/>
                  </a:lnTo>
                  <a:lnTo>
                    <a:pt x="73" y="82"/>
                  </a:lnTo>
                  <a:lnTo>
                    <a:pt x="80" y="88"/>
                  </a:lnTo>
                  <a:lnTo>
                    <a:pt x="82" y="91"/>
                  </a:lnTo>
                  <a:lnTo>
                    <a:pt x="86" y="91"/>
                  </a:lnTo>
                  <a:lnTo>
                    <a:pt x="86" y="91"/>
                  </a:lnTo>
                  <a:lnTo>
                    <a:pt x="86" y="88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3" y="84"/>
                  </a:lnTo>
                  <a:lnTo>
                    <a:pt x="93" y="84"/>
                  </a:lnTo>
                  <a:lnTo>
                    <a:pt x="95" y="84"/>
                  </a:lnTo>
                  <a:lnTo>
                    <a:pt x="96" y="86"/>
                  </a:lnTo>
                  <a:lnTo>
                    <a:pt x="100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9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3" y="80"/>
                  </a:lnTo>
                  <a:lnTo>
                    <a:pt x="113" y="78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2" y="60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3"/>
                  </a:lnTo>
                  <a:lnTo>
                    <a:pt x="120" y="51"/>
                  </a:lnTo>
                  <a:lnTo>
                    <a:pt x="120" y="49"/>
                  </a:lnTo>
                  <a:lnTo>
                    <a:pt x="118" y="49"/>
                  </a:lnTo>
                  <a:lnTo>
                    <a:pt x="118" y="49"/>
                  </a:lnTo>
                  <a:lnTo>
                    <a:pt x="111" y="44"/>
                  </a:lnTo>
                  <a:lnTo>
                    <a:pt x="106" y="40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2" y="33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82" y="24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1" y="22"/>
                  </a:lnTo>
                  <a:lnTo>
                    <a:pt x="69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2" y="24"/>
                  </a:lnTo>
                  <a:lnTo>
                    <a:pt x="60" y="24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8"/>
                  </a:lnTo>
                  <a:lnTo>
                    <a:pt x="36" y="4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1"/>
                  </a:lnTo>
                  <a:lnTo>
                    <a:pt x="20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13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3" y="17"/>
                  </a:lnTo>
                  <a:lnTo>
                    <a:pt x="13" y="20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9"/>
                  </a:lnTo>
                  <a:lnTo>
                    <a:pt x="9" y="33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6"/>
                  </a:lnTo>
                  <a:lnTo>
                    <a:pt x="9" y="51"/>
                  </a:lnTo>
                  <a:lnTo>
                    <a:pt x="6" y="5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6" y="75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1" y="80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20" y="80"/>
                  </a:lnTo>
                  <a:lnTo>
                    <a:pt x="26" y="84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6" name="Freeform 18">
              <a:extLst>
                <a:ext uri="{FF2B5EF4-FFF2-40B4-BE49-F238E27FC236}">
                  <a16:creationId xmlns:a16="http://schemas.microsoft.com/office/drawing/2014/main" id="{25D3CAF0-E1CE-C34F-B105-6CFD7CC9D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42" y="4032585"/>
              <a:ext cx="160761" cy="165950"/>
            </a:xfrm>
            <a:custGeom>
              <a:avLst/>
              <a:gdLst>
                <a:gd name="T0" fmla="*/ 87 w 111"/>
                <a:gd name="T1" fmla="*/ 102 h 116"/>
                <a:gd name="T2" fmla="*/ 87 w 111"/>
                <a:gd name="T3" fmla="*/ 98 h 116"/>
                <a:gd name="T4" fmla="*/ 91 w 111"/>
                <a:gd name="T5" fmla="*/ 65 h 116"/>
                <a:gd name="T6" fmla="*/ 94 w 111"/>
                <a:gd name="T7" fmla="*/ 54 h 116"/>
                <a:gd name="T8" fmla="*/ 100 w 111"/>
                <a:gd name="T9" fmla="*/ 49 h 116"/>
                <a:gd name="T10" fmla="*/ 98 w 111"/>
                <a:gd name="T11" fmla="*/ 43 h 116"/>
                <a:gd name="T12" fmla="*/ 103 w 111"/>
                <a:gd name="T13" fmla="*/ 38 h 116"/>
                <a:gd name="T14" fmla="*/ 107 w 111"/>
                <a:gd name="T15" fmla="*/ 33 h 116"/>
                <a:gd name="T16" fmla="*/ 111 w 111"/>
                <a:gd name="T17" fmla="*/ 34 h 116"/>
                <a:gd name="T18" fmla="*/ 105 w 111"/>
                <a:gd name="T19" fmla="*/ 27 h 116"/>
                <a:gd name="T20" fmla="*/ 94 w 111"/>
                <a:gd name="T21" fmla="*/ 18 h 116"/>
                <a:gd name="T22" fmla="*/ 91 w 111"/>
                <a:gd name="T23" fmla="*/ 18 h 116"/>
                <a:gd name="T24" fmla="*/ 83 w 111"/>
                <a:gd name="T25" fmla="*/ 22 h 116"/>
                <a:gd name="T26" fmla="*/ 82 w 111"/>
                <a:gd name="T27" fmla="*/ 22 h 116"/>
                <a:gd name="T28" fmla="*/ 78 w 111"/>
                <a:gd name="T29" fmla="*/ 20 h 116"/>
                <a:gd name="T30" fmla="*/ 78 w 111"/>
                <a:gd name="T31" fmla="*/ 14 h 116"/>
                <a:gd name="T32" fmla="*/ 78 w 111"/>
                <a:gd name="T33" fmla="*/ 13 h 116"/>
                <a:gd name="T34" fmla="*/ 72 w 111"/>
                <a:gd name="T35" fmla="*/ 7 h 116"/>
                <a:gd name="T36" fmla="*/ 67 w 111"/>
                <a:gd name="T37" fmla="*/ 3 h 116"/>
                <a:gd name="T38" fmla="*/ 58 w 111"/>
                <a:gd name="T39" fmla="*/ 2 h 116"/>
                <a:gd name="T40" fmla="*/ 49 w 111"/>
                <a:gd name="T41" fmla="*/ 0 h 116"/>
                <a:gd name="T42" fmla="*/ 29 w 111"/>
                <a:gd name="T43" fmla="*/ 14 h 116"/>
                <a:gd name="T44" fmla="*/ 20 w 111"/>
                <a:gd name="T45" fmla="*/ 20 h 116"/>
                <a:gd name="T46" fmla="*/ 18 w 111"/>
                <a:gd name="T47" fmla="*/ 27 h 116"/>
                <a:gd name="T48" fmla="*/ 16 w 111"/>
                <a:gd name="T49" fmla="*/ 42 h 116"/>
                <a:gd name="T50" fmla="*/ 16 w 111"/>
                <a:gd name="T51" fmla="*/ 45 h 116"/>
                <a:gd name="T52" fmla="*/ 16 w 111"/>
                <a:gd name="T53" fmla="*/ 51 h 116"/>
                <a:gd name="T54" fmla="*/ 14 w 111"/>
                <a:gd name="T55" fmla="*/ 51 h 116"/>
                <a:gd name="T56" fmla="*/ 2 w 111"/>
                <a:gd name="T57" fmla="*/ 58 h 116"/>
                <a:gd name="T58" fmla="*/ 5 w 111"/>
                <a:gd name="T59" fmla="*/ 65 h 116"/>
                <a:gd name="T60" fmla="*/ 7 w 111"/>
                <a:gd name="T61" fmla="*/ 78 h 116"/>
                <a:gd name="T62" fmla="*/ 11 w 111"/>
                <a:gd name="T63" fmla="*/ 85 h 116"/>
                <a:gd name="T64" fmla="*/ 16 w 111"/>
                <a:gd name="T65" fmla="*/ 91 h 116"/>
                <a:gd name="T66" fmla="*/ 18 w 111"/>
                <a:gd name="T67" fmla="*/ 98 h 116"/>
                <a:gd name="T68" fmla="*/ 20 w 111"/>
                <a:gd name="T69" fmla="*/ 103 h 116"/>
                <a:gd name="T70" fmla="*/ 23 w 111"/>
                <a:gd name="T71" fmla="*/ 107 h 116"/>
                <a:gd name="T72" fmla="*/ 25 w 111"/>
                <a:gd name="T73" fmla="*/ 111 h 116"/>
                <a:gd name="T74" fmla="*/ 29 w 111"/>
                <a:gd name="T75" fmla="*/ 113 h 116"/>
                <a:gd name="T76" fmla="*/ 36 w 111"/>
                <a:gd name="T77" fmla="*/ 116 h 116"/>
                <a:gd name="T78" fmla="*/ 43 w 111"/>
                <a:gd name="T79" fmla="*/ 113 h 116"/>
                <a:gd name="T80" fmla="*/ 60 w 111"/>
                <a:gd name="T81" fmla="*/ 105 h 116"/>
                <a:gd name="T82" fmla="*/ 67 w 111"/>
                <a:gd name="T83" fmla="*/ 103 h 116"/>
                <a:gd name="T84" fmla="*/ 72 w 111"/>
                <a:gd name="T85" fmla="*/ 103 h 116"/>
                <a:gd name="T86" fmla="*/ 82 w 111"/>
                <a:gd name="T87" fmla="*/ 100 h 116"/>
                <a:gd name="T88" fmla="*/ 83 w 111"/>
                <a:gd name="T89" fmla="*/ 100 h 116"/>
                <a:gd name="T90" fmla="*/ 87 w 111"/>
                <a:gd name="T91" fmla="*/ 102 h 116"/>
                <a:gd name="T92" fmla="*/ 87 w 111"/>
                <a:gd name="T93" fmla="*/ 102 h 116"/>
                <a:gd name="T94" fmla="*/ 87 w 111"/>
                <a:gd name="T95" fmla="*/ 10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1" h="116">
                  <a:moveTo>
                    <a:pt x="87" y="102"/>
                  </a:moveTo>
                  <a:lnTo>
                    <a:pt x="87" y="102"/>
                  </a:lnTo>
                  <a:lnTo>
                    <a:pt x="87" y="98"/>
                  </a:lnTo>
                  <a:lnTo>
                    <a:pt x="87" y="98"/>
                  </a:lnTo>
                  <a:lnTo>
                    <a:pt x="91" y="65"/>
                  </a:lnTo>
                  <a:lnTo>
                    <a:pt x="91" y="65"/>
                  </a:lnTo>
                  <a:lnTo>
                    <a:pt x="94" y="58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100" y="49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100" y="42"/>
                  </a:lnTo>
                  <a:lnTo>
                    <a:pt x="103" y="38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05" y="27"/>
                  </a:lnTo>
                  <a:lnTo>
                    <a:pt x="100" y="20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1" y="18"/>
                  </a:lnTo>
                  <a:lnTo>
                    <a:pt x="89" y="20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2"/>
                  </a:lnTo>
                  <a:lnTo>
                    <a:pt x="80" y="22"/>
                  </a:lnTo>
                  <a:lnTo>
                    <a:pt x="78" y="20"/>
                  </a:lnTo>
                  <a:lnTo>
                    <a:pt x="74" y="16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2" y="7"/>
                  </a:lnTo>
                  <a:lnTo>
                    <a:pt x="69" y="5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58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33" y="9"/>
                  </a:lnTo>
                  <a:lnTo>
                    <a:pt x="29" y="14"/>
                  </a:lnTo>
                  <a:lnTo>
                    <a:pt x="25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7"/>
                  </a:lnTo>
                  <a:lnTo>
                    <a:pt x="16" y="34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5"/>
                  </a:lnTo>
                  <a:lnTo>
                    <a:pt x="16" y="49"/>
                  </a:lnTo>
                  <a:lnTo>
                    <a:pt x="16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7" y="54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5" y="65"/>
                  </a:lnTo>
                  <a:lnTo>
                    <a:pt x="0" y="74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6" y="91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102"/>
                  </a:lnTo>
                  <a:lnTo>
                    <a:pt x="20" y="103"/>
                  </a:lnTo>
                  <a:lnTo>
                    <a:pt x="22" y="103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5" y="111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31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3" y="113"/>
                  </a:lnTo>
                  <a:lnTo>
                    <a:pt x="51" y="109"/>
                  </a:lnTo>
                  <a:lnTo>
                    <a:pt x="60" y="105"/>
                  </a:lnTo>
                  <a:lnTo>
                    <a:pt x="67" y="103"/>
                  </a:lnTo>
                  <a:lnTo>
                    <a:pt x="67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8" y="102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3" y="100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7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7" name="Freeform 19">
              <a:extLst>
                <a:ext uri="{FF2B5EF4-FFF2-40B4-BE49-F238E27FC236}">
                  <a16:creationId xmlns:a16="http://schemas.microsoft.com/office/drawing/2014/main" id="{EA6252FF-E9D2-4641-BD0C-A7534D56F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812" y="3447470"/>
              <a:ext cx="234624" cy="210298"/>
            </a:xfrm>
            <a:custGeom>
              <a:avLst/>
              <a:gdLst>
                <a:gd name="T0" fmla="*/ 31 w 162"/>
                <a:gd name="T1" fmla="*/ 95 h 147"/>
                <a:gd name="T2" fmla="*/ 44 w 162"/>
                <a:gd name="T3" fmla="*/ 98 h 147"/>
                <a:gd name="T4" fmla="*/ 60 w 162"/>
                <a:gd name="T5" fmla="*/ 105 h 147"/>
                <a:gd name="T6" fmla="*/ 64 w 162"/>
                <a:gd name="T7" fmla="*/ 111 h 147"/>
                <a:gd name="T8" fmla="*/ 69 w 162"/>
                <a:gd name="T9" fmla="*/ 109 h 147"/>
                <a:gd name="T10" fmla="*/ 87 w 162"/>
                <a:gd name="T11" fmla="*/ 105 h 147"/>
                <a:gd name="T12" fmla="*/ 94 w 162"/>
                <a:gd name="T13" fmla="*/ 105 h 147"/>
                <a:gd name="T14" fmla="*/ 100 w 162"/>
                <a:gd name="T15" fmla="*/ 104 h 147"/>
                <a:gd name="T16" fmla="*/ 107 w 162"/>
                <a:gd name="T17" fmla="*/ 113 h 147"/>
                <a:gd name="T18" fmla="*/ 113 w 162"/>
                <a:gd name="T19" fmla="*/ 122 h 147"/>
                <a:gd name="T20" fmla="*/ 118 w 162"/>
                <a:gd name="T21" fmla="*/ 125 h 147"/>
                <a:gd name="T22" fmla="*/ 122 w 162"/>
                <a:gd name="T23" fmla="*/ 131 h 147"/>
                <a:gd name="T24" fmla="*/ 138 w 162"/>
                <a:gd name="T25" fmla="*/ 136 h 147"/>
                <a:gd name="T26" fmla="*/ 145 w 162"/>
                <a:gd name="T27" fmla="*/ 142 h 147"/>
                <a:gd name="T28" fmla="*/ 158 w 162"/>
                <a:gd name="T29" fmla="*/ 147 h 147"/>
                <a:gd name="T30" fmla="*/ 162 w 162"/>
                <a:gd name="T31" fmla="*/ 145 h 147"/>
                <a:gd name="T32" fmla="*/ 160 w 162"/>
                <a:gd name="T33" fmla="*/ 133 h 147"/>
                <a:gd name="T34" fmla="*/ 156 w 162"/>
                <a:gd name="T35" fmla="*/ 120 h 147"/>
                <a:gd name="T36" fmla="*/ 151 w 162"/>
                <a:gd name="T37" fmla="*/ 115 h 147"/>
                <a:gd name="T38" fmla="*/ 154 w 162"/>
                <a:gd name="T39" fmla="*/ 104 h 147"/>
                <a:gd name="T40" fmla="*/ 156 w 162"/>
                <a:gd name="T41" fmla="*/ 91 h 147"/>
                <a:gd name="T42" fmla="*/ 149 w 162"/>
                <a:gd name="T43" fmla="*/ 78 h 147"/>
                <a:gd name="T44" fmla="*/ 151 w 162"/>
                <a:gd name="T45" fmla="*/ 69 h 147"/>
                <a:gd name="T46" fmla="*/ 151 w 162"/>
                <a:gd name="T47" fmla="*/ 62 h 147"/>
                <a:gd name="T48" fmla="*/ 145 w 162"/>
                <a:gd name="T49" fmla="*/ 58 h 147"/>
                <a:gd name="T50" fmla="*/ 142 w 162"/>
                <a:gd name="T51" fmla="*/ 49 h 147"/>
                <a:gd name="T52" fmla="*/ 134 w 162"/>
                <a:gd name="T53" fmla="*/ 49 h 147"/>
                <a:gd name="T54" fmla="*/ 125 w 162"/>
                <a:gd name="T55" fmla="*/ 51 h 147"/>
                <a:gd name="T56" fmla="*/ 125 w 162"/>
                <a:gd name="T57" fmla="*/ 36 h 147"/>
                <a:gd name="T58" fmla="*/ 125 w 162"/>
                <a:gd name="T59" fmla="*/ 27 h 147"/>
                <a:gd name="T60" fmla="*/ 120 w 162"/>
                <a:gd name="T61" fmla="*/ 16 h 147"/>
                <a:gd name="T62" fmla="*/ 113 w 162"/>
                <a:gd name="T63" fmla="*/ 20 h 147"/>
                <a:gd name="T64" fmla="*/ 102 w 162"/>
                <a:gd name="T65" fmla="*/ 16 h 147"/>
                <a:gd name="T66" fmla="*/ 96 w 162"/>
                <a:gd name="T67" fmla="*/ 13 h 147"/>
                <a:gd name="T68" fmla="*/ 85 w 162"/>
                <a:gd name="T69" fmla="*/ 13 h 147"/>
                <a:gd name="T70" fmla="*/ 76 w 162"/>
                <a:gd name="T71" fmla="*/ 5 h 147"/>
                <a:gd name="T72" fmla="*/ 75 w 162"/>
                <a:gd name="T73" fmla="*/ 0 h 147"/>
                <a:gd name="T74" fmla="*/ 65 w 162"/>
                <a:gd name="T75" fmla="*/ 4 h 147"/>
                <a:gd name="T76" fmla="*/ 62 w 162"/>
                <a:gd name="T77" fmla="*/ 7 h 147"/>
                <a:gd name="T78" fmla="*/ 56 w 162"/>
                <a:gd name="T79" fmla="*/ 5 h 147"/>
                <a:gd name="T80" fmla="*/ 53 w 162"/>
                <a:gd name="T81" fmla="*/ 4 h 147"/>
                <a:gd name="T82" fmla="*/ 42 w 162"/>
                <a:gd name="T83" fmla="*/ 4 h 147"/>
                <a:gd name="T84" fmla="*/ 36 w 162"/>
                <a:gd name="T85" fmla="*/ 5 h 147"/>
                <a:gd name="T86" fmla="*/ 36 w 162"/>
                <a:gd name="T87" fmla="*/ 13 h 147"/>
                <a:gd name="T88" fmla="*/ 36 w 162"/>
                <a:gd name="T89" fmla="*/ 22 h 147"/>
                <a:gd name="T90" fmla="*/ 38 w 162"/>
                <a:gd name="T91" fmla="*/ 29 h 147"/>
                <a:gd name="T92" fmla="*/ 35 w 162"/>
                <a:gd name="T93" fmla="*/ 36 h 147"/>
                <a:gd name="T94" fmla="*/ 25 w 162"/>
                <a:gd name="T95" fmla="*/ 45 h 147"/>
                <a:gd name="T96" fmla="*/ 20 w 162"/>
                <a:gd name="T97" fmla="*/ 42 h 147"/>
                <a:gd name="T98" fmla="*/ 16 w 162"/>
                <a:gd name="T99" fmla="*/ 45 h 147"/>
                <a:gd name="T100" fmla="*/ 13 w 162"/>
                <a:gd name="T101" fmla="*/ 53 h 147"/>
                <a:gd name="T102" fmla="*/ 11 w 162"/>
                <a:gd name="T103" fmla="*/ 55 h 147"/>
                <a:gd name="T104" fmla="*/ 2 w 162"/>
                <a:gd name="T105" fmla="*/ 56 h 147"/>
                <a:gd name="T106" fmla="*/ 0 w 162"/>
                <a:gd name="T107" fmla="*/ 64 h 147"/>
                <a:gd name="T108" fmla="*/ 2 w 162"/>
                <a:gd name="T109" fmla="*/ 69 h 147"/>
                <a:gd name="T110" fmla="*/ 6 w 162"/>
                <a:gd name="T111" fmla="*/ 75 h 147"/>
                <a:gd name="T112" fmla="*/ 24 w 162"/>
                <a:gd name="T113" fmla="*/ 91 h 147"/>
                <a:gd name="T114" fmla="*/ 24 w 162"/>
                <a:gd name="T115" fmla="*/ 9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2" h="147">
                  <a:moveTo>
                    <a:pt x="24" y="91"/>
                  </a:moveTo>
                  <a:lnTo>
                    <a:pt x="24" y="91"/>
                  </a:lnTo>
                  <a:lnTo>
                    <a:pt x="31" y="95"/>
                  </a:lnTo>
                  <a:lnTo>
                    <a:pt x="35" y="96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51" y="102"/>
                  </a:lnTo>
                  <a:lnTo>
                    <a:pt x="55" y="102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7" y="111"/>
                  </a:lnTo>
                  <a:lnTo>
                    <a:pt x="69" y="109"/>
                  </a:lnTo>
                  <a:lnTo>
                    <a:pt x="69" y="109"/>
                  </a:lnTo>
                  <a:lnTo>
                    <a:pt x="76" y="105"/>
                  </a:lnTo>
                  <a:lnTo>
                    <a:pt x="80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93" y="105"/>
                  </a:lnTo>
                  <a:lnTo>
                    <a:pt x="94" y="105"/>
                  </a:lnTo>
                  <a:lnTo>
                    <a:pt x="96" y="104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104" y="105"/>
                  </a:lnTo>
                  <a:lnTo>
                    <a:pt x="105" y="105"/>
                  </a:lnTo>
                  <a:lnTo>
                    <a:pt x="107" y="113"/>
                  </a:lnTo>
                  <a:lnTo>
                    <a:pt x="107" y="113"/>
                  </a:lnTo>
                  <a:lnTo>
                    <a:pt x="109" y="120"/>
                  </a:lnTo>
                  <a:lnTo>
                    <a:pt x="113" y="122"/>
                  </a:lnTo>
                  <a:lnTo>
                    <a:pt x="114" y="125"/>
                  </a:lnTo>
                  <a:lnTo>
                    <a:pt x="114" y="125"/>
                  </a:lnTo>
                  <a:lnTo>
                    <a:pt x="118" y="125"/>
                  </a:lnTo>
                  <a:lnTo>
                    <a:pt x="120" y="129"/>
                  </a:lnTo>
                  <a:lnTo>
                    <a:pt x="122" y="131"/>
                  </a:lnTo>
                  <a:lnTo>
                    <a:pt x="122" y="131"/>
                  </a:lnTo>
                  <a:lnTo>
                    <a:pt x="125" y="133"/>
                  </a:lnTo>
                  <a:lnTo>
                    <a:pt x="129" y="134"/>
                  </a:lnTo>
                  <a:lnTo>
                    <a:pt x="138" y="136"/>
                  </a:lnTo>
                  <a:lnTo>
                    <a:pt x="138" y="136"/>
                  </a:lnTo>
                  <a:lnTo>
                    <a:pt x="142" y="138"/>
                  </a:lnTo>
                  <a:lnTo>
                    <a:pt x="145" y="142"/>
                  </a:lnTo>
                  <a:lnTo>
                    <a:pt x="154" y="145"/>
                  </a:lnTo>
                  <a:lnTo>
                    <a:pt x="154" y="145"/>
                  </a:lnTo>
                  <a:lnTo>
                    <a:pt x="158" y="147"/>
                  </a:lnTo>
                  <a:lnTo>
                    <a:pt x="158" y="147"/>
                  </a:lnTo>
                  <a:lnTo>
                    <a:pt x="160" y="145"/>
                  </a:lnTo>
                  <a:lnTo>
                    <a:pt x="162" y="145"/>
                  </a:lnTo>
                  <a:lnTo>
                    <a:pt x="162" y="142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0" y="125"/>
                  </a:lnTo>
                  <a:lnTo>
                    <a:pt x="156" y="120"/>
                  </a:lnTo>
                  <a:lnTo>
                    <a:pt x="156" y="120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1" y="115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54" y="104"/>
                  </a:lnTo>
                  <a:lnTo>
                    <a:pt x="158" y="98"/>
                  </a:lnTo>
                  <a:lnTo>
                    <a:pt x="158" y="98"/>
                  </a:lnTo>
                  <a:lnTo>
                    <a:pt x="156" y="91"/>
                  </a:lnTo>
                  <a:lnTo>
                    <a:pt x="154" y="82"/>
                  </a:lnTo>
                  <a:lnTo>
                    <a:pt x="149" y="78"/>
                  </a:lnTo>
                  <a:lnTo>
                    <a:pt x="149" y="78"/>
                  </a:lnTo>
                  <a:lnTo>
                    <a:pt x="147" y="76"/>
                  </a:lnTo>
                  <a:lnTo>
                    <a:pt x="149" y="75"/>
                  </a:lnTo>
                  <a:lnTo>
                    <a:pt x="151" y="69"/>
                  </a:lnTo>
                  <a:lnTo>
                    <a:pt x="151" y="69"/>
                  </a:lnTo>
                  <a:lnTo>
                    <a:pt x="151" y="64"/>
                  </a:lnTo>
                  <a:lnTo>
                    <a:pt x="151" y="62"/>
                  </a:lnTo>
                  <a:lnTo>
                    <a:pt x="149" y="60"/>
                  </a:lnTo>
                  <a:lnTo>
                    <a:pt x="145" y="58"/>
                  </a:lnTo>
                  <a:lnTo>
                    <a:pt x="145" y="58"/>
                  </a:lnTo>
                  <a:lnTo>
                    <a:pt x="145" y="56"/>
                  </a:lnTo>
                  <a:lnTo>
                    <a:pt x="144" y="53"/>
                  </a:lnTo>
                  <a:lnTo>
                    <a:pt x="142" y="49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4" y="49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25" y="51"/>
                  </a:lnTo>
                  <a:lnTo>
                    <a:pt x="125" y="49"/>
                  </a:lnTo>
                  <a:lnTo>
                    <a:pt x="125" y="47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3"/>
                  </a:lnTo>
                  <a:lnTo>
                    <a:pt x="125" y="27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0" y="16"/>
                  </a:lnTo>
                  <a:lnTo>
                    <a:pt x="118" y="16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09" y="22"/>
                  </a:lnTo>
                  <a:lnTo>
                    <a:pt x="105" y="20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0" y="15"/>
                  </a:lnTo>
                  <a:lnTo>
                    <a:pt x="96" y="13"/>
                  </a:lnTo>
                  <a:lnTo>
                    <a:pt x="89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2" y="13"/>
                  </a:lnTo>
                  <a:lnTo>
                    <a:pt x="78" y="9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67" y="0"/>
                  </a:lnTo>
                  <a:lnTo>
                    <a:pt x="65" y="4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58" y="5"/>
                  </a:lnTo>
                  <a:lnTo>
                    <a:pt x="56" y="5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47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6" y="5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5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3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1" y="40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0" y="4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5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5"/>
                  </a:lnTo>
                  <a:lnTo>
                    <a:pt x="11" y="55"/>
                  </a:lnTo>
                  <a:lnTo>
                    <a:pt x="6" y="55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0" y="64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9" y="78"/>
                  </a:lnTo>
                  <a:lnTo>
                    <a:pt x="13" y="80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8" name="Freeform 20">
              <a:extLst>
                <a:ext uri="{FF2B5EF4-FFF2-40B4-BE49-F238E27FC236}">
                  <a16:creationId xmlns:a16="http://schemas.microsoft.com/office/drawing/2014/main" id="{45718271-C2A4-084F-84DF-B19928292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540" y="4094101"/>
              <a:ext cx="126002" cy="113017"/>
            </a:xfrm>
            <a:custGeom>
              <a:avLst/>
              <a:gdLst>
                <a:gd name="T0" fmla="*/ 83 w 87"/>
                <a:gd name="T1" fmla="*/ 39 h 79"/>
                <a:gd name="T2" fmla="*/ 83 w 87"/>
                <a:gd name="T3" fmla="*/ 31 h 79"/>
                <a:gd name="T4" fmla="*/ 83 w 87"/>
                <a:gd name="T5" fmla="*/ 26 h 79"/>
                <a:gd name="T6" fmla="*/ 80 w 87"/>
                <a:gd name="T7" fmla="*/ 22 h 79"/>
                <a:gd name="T8" fmla="*/ 80 w 87"/>
                <a:gd name="T9" fmla="*/ 17 h 79"/>
                <a:gd name="T10" fmla="*/ 82 w 87"/>
                <a:gd name="T11" fmla="*/ 15 h 79"/>
                <a:gd name="T12" fmla="*/ 78 w 87"/>
                <a:gd name="T13" fmla="*/ 11 h 79"/>
                <a:gd name="T14" fmla="*/ 73 w 87"/>
                <a:gd name="T15" fmla="*/ 8 h 79"/>
                <a:gd name="T16" fmla="*/ 62 w 87"/>
                <a:gd name="T17" fmla="*/ 6 h 79"/>
                <a:gd name="T18" fmla="*/ 56 w 87"/>
                <a:gd name="T19" fmla="*/ 4 h 79"/>
                <a:gd name="T20" fmla="*/ 49 w 87"/>
                <a:gd name="T21" fmla="*/ 0 h 79"/>
                <a:gd name="T22" fmla="*/ 44 w 87"/>
                <a:gd name="T23" fmla="*/ 4 h 79"/>
                <a:gd name="T24" fmla="*/ 38 w 87"/>
                <a:gd name="T25" fmla="*/ 6 h 79"/>
                <a:gd name="T26" fmla="*/ 31 w 87"/>
                <a:gd name="T27" fmla="*/ 8 h 79"/>
                <a:gd name="T28" fmla="*/ 29 w 87"/>
                <a:gd name="T29" fmla="*/ 11 h 79"/>
                <a:gd name="T30" fmla="*/ 25 w 87"/>
                <a:gd name="T31" fmla="*/ 19 h 79"/>
                <a:gd name="T32" fmla="*/ 29 w 87"/>
                <a:gd name="T33" fmla="*/ 24 h 79"/>
                <a:gd name="T34" fmla="*/ 29 w 87"/>
                <a:gd name="T35" fmla="*/ 26 h 79"/>
                <a:gd name="T36" fmla="*/ 29 w 87"/>
                <a:gd name="T37" fmla="*/ 26 h 79"/>
                <a:gd name="T38" fmla="*/ 20 w 87"/>
                <a:gd name="T39" fmla="*/ 28 h 79"/>
                <a:gd name="T40" fmla="*/ 18 w 87"/>
                <a:gd name="T41" fmla="*/ 28 h 79"/>
                <a:gd name="T42" fmla="*/ 14 w 87"/>
                <a:gd name="T43" fmla="*/ 28 h 79"/>
                <a:gd name="T44" fmla="*/ 11 w 87"/>
                <a:gd name="T45" fmla="*/ 31 h 79"/>
                <a:gd name="T46" fmla="*/ 7 w 87"/>
                <a:gd name="T47" fmla="*/ 42 h 79"/>
                <a:gd name="T48" fmla="*/ 0 w 87"/>
                <a:gd name="T49" fmla="*/ 59 h 79"/>
                <a:gd name="T50" fmla="*/ 16 w 87"/>
                <a:gd name="T51" fmla="*/ 79 h 79"/>
                <a:gd name="T52" fmla="*/ 29 w 87"/>
                <a:gd name="T53" fmla="*/ 73 h 79"/>
                <a:gd name="T54" fmla="*/ 53 w 87"/>
                <a:gd name="T55" fmla="*/ 75 h 79"/>
                <a:gd name="T56" fmla="*/ 60 w 87"/>
                <a:gd name="T57" fmla="*/ 59 h 79"/>
                <a:gd name="T58" fmla="*/ 80 w 87"/>
                <a:gd name="T59" fmla="*/ 53 h 79"/>
                <a:gd name="T60" fmla="*/ 87 w 87"/>
                <a:gd name="T61" fmla="*/ 55 h 79"/>
                <a:gd name="T62" fmla="*/ 85 w 87"/>
                <a:gd name="T63" fmla="*/ 48 h 79"/>
                <a:gd name="T64" fmla="*/ 83 w 87"/>
                <a:gd name="T65" fmla="*/ 40 h 79"/>
                <a:gd name="T66" fmla="*/ 83 w 87"/>
                <a:gd name="T67" fmla="*/ 39 h 79"/>
                <a:gd name="T68" fmla="*/ 83 w 87"/>
                <a:gd name="T69" fmla="*/ 3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" h="79">
                  <a:moveTo>
                    <a:pt x="83" y="39"/>
                  </a:moveTo>
                  <a:lnTo>
                    <a:pt x="83" y="39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2" y="24"/>
                  </a:lnTo>
                  <a:lnTo>
                    <a:pt x="80" y="22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78" y="11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67" y="8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56" y="4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38" y="6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29" y="11"/>
                  </a:lnTo>
                  <a:lnTo>
                    <a:pt x="25" y="13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9" y="24"/>
                  </a:lnTo>
                  <a:lnTo>
                    <a:pt x="31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4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1" y="31"/>
                  </a:lnTo>
                  <a:lnTo>
                    <a:pt x="9" y="33"/>
                  </a:lnTo>
                  <a:lnTo>
                    <a:pt x="7" y="42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60"/>
                  </a:lnTo>
                  <a:lnTo>
                    <a:pt x="16" y="79"/>
                  </a:lnTo>
                  <a:lnTo>
                    <a:pt x="18" y="77"/>
                  </a:lnTo>
                  <a:lnTo>
                    <a:pt x="29" y="73"/>
                  </a:lnTo>
                  <a:lnTo>
                    <a:pt x="34" y="79"/>
                  </a:lnTo>
                  <a:lnTo>
                    <a:pt x="53" y="75"/>
                  </a:lnTo>
                  <a:lnTo>
                    <a:pt x="45" y="60"/>
                  </a:lnTo>
                  <a:lnTo>
                    <a:pt x="60" y="59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3" y="44"/>
                  </a:lnTo>
                  <a:lnTo>
                    <a:pt x="83" y="40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9" name="Freeform 21">
              <a:extLst>
                <a:ext uri="{FF2B5EF4-FFF2-40B4-BE49-F238E27FC236}">
                  <a16:creationId xmlns:a16="http://schemas.microsoft.com/office/drawing/2014/main" id="{3F14C994-658B-6C4B-A754-64E722263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643" y="3832301"/>
              <a:ext cx="150623" cy="134476"/>
            </a:xfrm>
            <a:custGeom>
              <a:avLst/>
              <a:gdLst>
                <a:gd name="T0" fmla="*/ 56 w 104"/>
                <a:gd name="T1" fmla="*/ 94 h 94"/>
                <a:gd name="T2" fmla="*/ 60 w 104"/>
                <a:gd name="T3" fmla="*/ 94 h 94"/>
                <a:gd name="T4" fmla="*/ 64 w 104"/>
                <a:gd name="T5" fmla="*/ 91 h 94"/>
                <a:gd name="T6" fmla="*/ 67 w 104"/>
                <a:gd name="T7" fmla="*/ 85 h 94"/>
                <a:gd name="T8" fmla="*/ 73 w 104"/>
                <a:gd name="T9" fmla="*/ 84 h 94"/>
                <a:gd name="T10" fmla="*/ 78 w 104"/>
                <a:gd name="T11" fmla="*/ 84 h 94"/>
                <a:gd name="T12" fmla="*/ 84 w 104"/>
                <a:gd name="T13" fmla="*/ 82 h 94"/>
                <a:gd name="T14" fmla="*/ 94 w 104"/>
                <a:gd name="T15" fmla="*/ 65 h 94"/>
                <a:gd name="T16" fmla="*/ 94 w 104"/>
                <a:gd name="T17" fmla="*/ 64 h 94"/>
                <a:gd name="T18" fmla="*/ 98 w 104"/>
                <a:gd name="T19" fmla="*/ 58 h 94"/>
                <a:gd name="T20" fmla="*/ 104 w 104"/>
                <a:gd name="T21" fmla="*/ 54 h 94"/>
                <a:gd name="T22" fmla="*/ 104 w 104"/>
                <a:gd name="T23" fmla="*/ 51 h 94"/>
                <a:gd name="T24" fmla="*/ 98 w 104"/>
                <a:gd name="T25" fmla="*/ 47 h 94"/>
                <a:gd name="T26" fmla="*/ 94 w 104"/>
                <a:gd name="T27" fmla="*/ 42 h 94"/>
                <a:gd name="T28" fmla="*/ 91 w 104"/>
                <a:gd name="T29" fmla="*/ 40 h 94"/>
                <a:gd name="T30" fmla="*/ 84 w 104"/>
                <a:gd name="T31" fmla="*/ 27 h 94"/>
                <a:gd name="T32" fmla="*/ 84 w 104"/>
                <a:gd name="T33" fmla="*/ 27 h 94"/>
                <a:gd name="T34" fmla="*/ 80 w 104"/>
                <a:gd name="T35" fmla="*/ 27 h 94"/>
                <a:gd name="T36" fmla="*/ 71 w 104"/>
                <a:gd name="T37" fmla="*/ 33 h 94"/>
                <a:gd name="T38" fmla="*/ 69 w 104"/>
                <a:gd name="T39" fmla="*/ 31 h 94"/>
                <a:gd name="T40" fmla="*/ 58 w 104"/>
                <a:gd name="T41" fmla="*/ 24 h 94"/>
                <a:gd name="T42" fmla="*/ 51 w 104"/>
                <a:gd name="T43" fmla="*/ 16 h 94"/>
                <a:gd name="T44" fmla="*/ 49 w 104"/>
                <a:gd name="T45" fmla="*/ 14 h 94"/>
                <a:gd name="T46" fmla="*/ 47 w 104"/>
                <a:gd name="T47" fmla="*/ 11 h 94"/>
                <a:gd name="T48" fmla="*/ 40 w 104"/>
                <a:gd name="T49" fmla="*/ 11 h 94"/>
                <a:gd name="T50" fmla="*/ 33 w 104"/>
                <a:gd name="T51" fmla="*/ 9 h 94"/>
                <a:gd name="T52" fmla="*/ 22 w 104"/>
                <a:gd name="T53" fmla="*/ 0 h 94"/>
                <a:gd name="T54" fmla="*/ 18 w 104"/>
                <a:gd name="T55" fmla="*/ 0 h 94"/>
                <a:gd name="T56" fmla="*/ 7 w 104"/>
                <a:gd name="T57" fmla="*/ 4 h 94"/>
                <a:gd name="T58" fmla="*/ 9 w 104"/>
                <a:gd name="T59" fmla="*/ 11 h 94"/>
                <a:gd name="T60" fmla="*/ 13 w 104"/>
                <a:gd name="T61" fmla="*/ 14 h 94"/>
                <a:gd name="T62" fmla="*/ 13 w 104"/>
                <a:gd name="T63" fmla="*/ 20 h 94"/>
                <a:gd name="T64" fmla="*/ 5 w 104"/>
                <a:gd name="T65" fmla="*/ 27 h 94"/>
                <a:gd name="T66" fmla="*/ 0 w 104"/>
                <a:gd name="T67" fmla="*/ 31 h 94"/>
                <a:gd name="T68" fmla="*/ 2 w 104"/>
                <a:gd name="T69" fmla="*/ 34 h 94"/>
                <a:gd name="T70" fmla="*/ 9 w 104"/>
                <a:gd name="T71" fmla="*/ 36 h 94"/>
                <a:gd name="T72" fmla="*/ 13 w 104"/>
                <a:gd name="T73" fmla="*/ 38 h 94"/>
                <a:gd name="T74" fmla="*/ 20 w 104"/>
                <a:gd name="T75" fmla="*/ 42 h 94"/>
                <a:gd name="T76" fmla="*/ 22 w 104"/>
                <a:gd name="T77" fmla="*/ 47 h 94"/>
                <a:gd name="T78" fmla="*/ 27 w 104"/>
                <a:gd name="T79" fmla="*/ 58 h 94"/>
                <a:gd name="T80" fmla="*/ 35 w 104"/>
                <a:gd name="T81" fmla="*/ 69 h 94"/>
                <a:gd name="T82" fmla="*/ 38 w 104"/>
                <a:gd name="T83" fmla="*/ 74 h 94"/>
                <a:gd name="T84" fmla="*/ 38 w 104"/>
                <a:gd name="T85" fmla="*/ 78 h 94"/>
                <a:gd name="T86" fmla="*/ 38 w 104"/>
                <a:gd name="T87" fmla="*/ 82 h 94"/>
                <a:gd name="T88" fmla="*/ 47 w 104"/>
                <a:gd name="T89" fmla="*/ 84 h 94"/>
                <a:gd name="T90" fmla="*/ 49 w 104"/>
                <a:gd name="T91" fmla="*/ 85 h 94"/>
                <a:gd name="T92" fmla="*/ 54 w 104"/>
                <a:gd name="T93" fmla="*/ 94 h 94"/>
                <a:gd name="T94" fmla="*/ 56 w 104"/>
                <a:gd name="T95" fmla="*/ 94 h 94"/>
                <a:gd name="T96" fmla="*/ 56 w 104"/>
                <a:gd name="T97" fmla="*/ 94 h 94"/>
                <a:gd name="T98" fmla="*/ 56 w 104"/>
                <a:gd name="T9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94">
                  <a:moveTo>
                    <a:pt x="56" y="94"/>
                  </a:moveTo>
                  <a:lnTo>
                    <a:pt x="56" y="94"/>
                  </a:lnTo>
                  <a:lnTo>
                    <a:pt x="58" y="94"/>
                  </a:lnTo>
                  <a:lnTo>
                    <a:pt x="60" y="94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7" y="89"/>
                  </a:lnTo>
                  <a:lnTo>
                    <a:pt x="67" y="85"/>
                  </a:lnTo>
                  <a:lnTo>
                    <a:pt x="69" y="84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8" y="84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93" y="71"/>
                  </a:lnTo>
                  <a:lnTo>
                    <a:pt x="94" y="65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8" y="58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3"/>
                  </a:lnTo>
                  <a:lnTo>
                    <a:pt x="104" y="51"/>
                  </a:lnTo>
                  <a:lnTo>
                    <a:pt x="104" y="49"/>
                  </a:lnTo>
                  <a:lnTo>
                    <a:pt x="98" y="47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85" y="36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2" y="27"/>
                  </a:lnTo>
                  <a:lnTo>
                    <a:pt x="80" y="27"/>
                  </a:lnTo>
                  <a:lnTo>
                    <a:pt x="78" y="31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58" y="24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9" y="14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38" y="11"/>
                  </a:lnTo>
                  <a:lnTo>
                    <a:pt x="33" y="9"/>
                  </a:lnTo>
                  <a:lnTo>
                    <a:pt x="29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4"/>
                  </a:lnTo>
                  <a:lnTo>
                    <a:pt x="7" y="34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3" y="38"/>
                  </a:lnTo>
                  <a:lnTo>
                    <a:pt x="16" y="40"/>
                  </a:lnTo>
                  <a:lnTo>
                    <a:pt x="20" y="42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5" y="53"/>
                  </a:lnTo>
                  <a:lnTo>
                    <a:pt x="27" y="58"/>
                  </a:lnTo>
                  <a:lnTo>
                    <a:pt x="31" y="64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8" y="74"/>
                  </a:lnTo>
                  <a:lnTo>
                    <a:pt x="40" y="76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2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9" y="85"/>
                  </a:lnTo>
                  <a:lnTo>
                    <a:pt x="51" y="89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0" name="Freeform 22">
              <a:extLst>
                <a:ext uri="{FF2B5EF4-FFF2-40B4-BE49-F238E27FC236}">
                  <a16:creationId xmlns:a16="http://schemas.microsoft.com/office/drawing/2014/main" id="{05A0F9E5-BFBE-EB42-81E4-C7DC3A446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0106" y="5085505"/>
              <a:ext cx="18828" cy="12876"/>
            </a:xfrm>
            <a:custGeom>
              <a:avLst/>
              <a:gdLst>
                <a:gd name="T0" fmla="*/ 9 w 13"/>
                <a:gd name="T1" fmla="*/ 2 h 9"/>
                <a:gd name="T2" fmla="*/ 9 w 13"/>
                <a:gd name="T3" fmla="*/ 2 h 9"/>
                <a:gd name="T4" fmla="*/ 3 w 13"/>
                <a:gd name="T5" fmla="*/ 0 h 9"/>
                <a:gd name="T6" fmla="*/ 0 w 13"/>
                <a:gd name="T7" fmla="*/ 2 h 9"/>
                <a:gd name="T8" fmla="*/ 13 w 13"/>
                <a:gd name="T9" fmla="*/ 9 h 9"/>
                <a:gd name="T10" fmla="*/ 13 w 13"/>
                <a:gd name="T11" fmla="*/ 9 h 9"/>
                <a:gd name="T12" fmla="*/ 13 w 13"/>
                <a:gd name="T13" fmla="*/ 5 h 9"/>
                <a:gd name="T14" fmla="*/ 9 w 13"/>
                <a:gd name="T15" fmla="*/ 2 h 9"/>
                <a:gd name="T16" fmla="*/ 9 w 13"/>
                <a:gd name="T17" fmla="*/ 2 h 9"/>
                <a:gd name="T18" fmla="*/ 9 w 13"/>
                <a:gd name="T19" fmla="*/ 2 h 9"/>
                <a:gd name="T20" fmla="*/ 9 w 13"/>
                <a:gd name="T21" fmla="*/ 2 h 9"/>
                <a:gd name="T22" fmla="*/ 9 w 13"/>
                <a:gd name="T2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9">
                  <a:moveTo>
                    <a:pt x="9" y="2"/>
                  </a:moveTo>
                  <a:lnTo>
                    <a:pt x="9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5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1" name="Freeform 23">
              <a:extLst>
                <a:ext uri="{FF2B5EF4-FFF2-40B4-BE49-F238E27FC236}">
                  <a16:creationId xmlns:a16="http://schemas.microsoft.com/office/drawing/2014/main" id="{FC757FA7-FD8A-5E4F-ADC2-E231C9778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951" y="4036876"/>
              <a:ext cx="192624" cy="161657"/>
            </a:xfrm>
            <a:custGeom>
              <a:avLst/>
              <a:gdLst>
                <a:gd name="T0" fmla="*/ 133 w 133"/>
                <a:gd name="T1" fmla="*/ 73 h 113"/>
                <a:gd name="T2" fmla="*/ 128 w 133"/>
                <a:gd name="T3" fmla="*/ 75 h 113"/>
                <a:gd name="T4" fmla="*/ 120 w 133"/>
                <a:gd name="T5" fmla="*/ 71 h 113"/>
                <a:gd name="T6" fmla="*/ 126 w 133"/>
                <a:gd name="T7" fmla="*/ 66 h 113"/>
                <a:gd name="T8" fmla="*/ 126 w 133"/>
                <a:gd name="T9" fmla="*/ 64 h 113"/>
                <a:gd name="T10" fmla="*/ 120 w 133"/>
                <a:gd name="T11" fmla="*/ 60 h 113"/>
                <a:gd name="T12" fmla="*/ 111 w 133"/>
                <a:gd name="T13" fmla="*/ 66 h 113"/>
                <a:gd name="T14" fmla="*/ 99 w 133"/>
                <a:gd name="T15" fmla="*/ 62 h 113"/>
                <a:gd name="T16" fmla="*/ 91 w 133"/>
                <a:gd name="T17" fmla="*/ 66 h 113"/>
                <a:gd name="T18" fmla="*/ 89 w 133"/>
                <a:gd name="T19" fmla="*/ 71 h 113"/>
                <a:gd name="T20" fmla="*/ 82 w 133"/>
                <a:gd name="T21" fmla="*/ 66 h 113"/>
                <a:gd name="T22" fmla="*/ 82 w 133"/>
                <a:gd name="T23" fmla="*/ 62 h 113"/>
                <a:gd name="T24" fmla="*/ 75 w 133"/>
                <a:gd name="T25" fmla="*/ 53 h 113"/>
                <a:gd name="T26" fmla="*/ 73 w 133"/>
                <a:gd name="T27" fmla="*/ 44 h 113"/>
                <a:gd name="T28" fmla="*/ 73 w 133"/>
                <a:gd name="T29" fmla="*/ 20 h 113"/>
                <a:gd name="T30" fmla="*/ 66 w 133"/>
                <a:gd name="T31" fmla="*/ 17 h 113"/>
                <a:gd name="T32" fmla="*/ 53 w 133"/>
                <a:gd name="T33" fmla="*/ 13 h 113"/>
                <a:gd name="T34" fmla="*/ 44 w 133"/>
                <a:gd name="T35" fmla="*/ 0 h 113"/>
                <a:gd name="T36" fmla="*/ 40 w 133"/>
                <a:gd name="T37" fmla="*/ 0 h 113"/>
                <a:gd name="T38" fmla="*/ 42 w 133"/>
                <a:gd name="T39" fmla="*/ 13 h 113"/>
                <a:gd name="T40" fmla="*/ 37 w 133"/>
                <a:gd name="T41" fmla="*/ 17 h 113"/>
                <a:gd name="T42" fmla="*/ 33 w 133"/>
                <a:gd name="T43" fmla="*/ 17 h 113"/>
                <a:gd name="T44" fmla="*/ 24 w 133"/>
                <a:gd name="T45" fmla="*/ 20 h 113"/>
                <a:gd name="T46" fmla="*/ 19 w 133"/>
                <a:gd name="T47" fmla="*/ 19 h 113"/>
                <a:gd name="T48" fmla="*/ 15 w 133"/>
                <a:gd name="T49" fmla="*/ 20 h 113"/>
                <a:gd name="T50" fmla="*/ 19 w 133"/>
                <a:gd name="T51" fmla="*/ 24 h 113"/>
                <a:gd name="T52" fmla="*/ 19 w 133"/>
                <a:gd name="T53" fmla="*/ 26 h 113"/>
                <a:gd name="T54" fmla="*/ 13 w 133"/>
                <a:gd name="T55" fmla="*/ 26 h 113"/>
                <a:gd name="T56" fmla="*/ 11 w 133"/>
                <a:gd name="T57" fmla="*/ 31 h 113"/>
                <a:gd name="T58" fmla="*/ 8 w 133"/>
                <a:gd name="T59" fmla="*/ 35 h 113"/>
                <a:gd name="T60" fmla="*/ 2 w 133"/>
                <a:gd name="T61" fmla="*/ 39 h 113"/>
                <a:gd name="T62" fmla="*/ 11 w 133"/>
                <a:gd name="T63" fmla="*/ 40 h 113"/>
                <a:gd name="T64" fmla="*/ 17 w 133"/>
                <a:gd name="T65" fmla="*/ 48 h 113"/>
                <a:gd name="T66" fmla="*/ 28 w 133"/>
                <a:gd name="T67" fmla="*/ 51 h 113"/>
                <a:gd name="T68" fmla="*/ 33 w 133"/>
                <a:gd name="T69" fmla="*/ 55 h 113"/>
                <a:gd name="T70" fmla="*/ 37 w 133"/>
                <a:gd name="T71" fmla="*/ 66 h 113"/>
                <a:gd name="T72" fmla="*/ 35 w 133"/>
                <a:gd name="T73" fmla="*/ 75 h 113"/>
                <a:gd name="T74" fmla="*/ 40 w 133"/>
                <a:gd name="T75" fmla="*/ 88 h 113"/>
                <a:gd name="T76" fmla="*/ 48 w 133"/>
                <a:gd name="T77" fmla="*/ 93 h 113"/>
                <a:gd name="T78" fmla="*/ 53 w 133"/>
                <a:gd name="T79" fmla="*/ 88 h 113"/>
                <a:gd name="T80" fmla="*/ 59 w 133"/>
                <a:gd name="T81" fmla="*/ 86 h 113"/>
                <a:gd name="T82" fmla="*/ 71 w 133"/>
                <a:gd name="T83" fmla="*/ 99 h 113"/>
                <a:gd name="T84" fmla="*/ 80 w 133"/>
                <a:gd name="T85" fmla="*/ 108 h 113"/>
                <a:gd name="T86" fmla="*/ 118 w 133"/>
                <a:gd name="T87" fmla="*/ 108 h 113"/>
                <a:gd name="T88" fmla="*/ 131 w 133"/>
                <a:gd name="T89" fmla="*/ 82 h 113"/>
                <a:gd name="T90" fmla="*/ 131 w 133"/>
                <a:gd name="T91" fmla="*/ 82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13">
                  <a:moveTo>
                    <a:pt x="131" y="82"/>
                  </a:moveTo>
                  <a:lnTo>
                    <a:pt x="133" y="73"/>
                  </a:lnTo>
                  <a:lnTo>
                    <a:pt x="133" y="73"/>
                  </a:lnTo>
                  <a:lnTo>
                    <a:pt x="131" y="75"/>
                  </a:lnTo>
                  <a:lnTo>
                    <a:pt x="131" y="75"/>
                  </a:lnTo>
                  <a:lnTo>
                    <a:pt x="128" y="75"/>
                  </a:lnTo>
                  <a:lnTo>
                    <a:pt x="128" y="75"/>
                  </a:lnTo>
                  <a:lnTo>
                    <a:pt x="122" y="71"/>
                  </a:lnTo>
                  <a:lnTo>
                    <a:pt x="120" y="71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4"/>
                  </a:lnTo>
                  <a:lnTo>
                    <a:pt x="126" y="64"/>
                  </a:lnTo>
                  <a:lnTo>
                    <a:pt x="124" y="62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8" y="62"/>
                  </a:lnTo>
                  <a:lnTo>
                    <a:pt x="115" y="62"/>
                  </a:lnTo>
                  <a:lnTo>
                    <a:pt x="111" y="66"/>
                  </a:lnTo>
                  <a:lnTo>
                    <a:pt x="104" y="64"/>
                  </a:lnTo>
                  <a:lnTo>
                    <a:pt x="100" y="64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5" y="64"/>
                  </a:lnTo>
                  <a:lnTo>
                    <a:pt x="91" y="66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0" y="64"/>
                  </a:lnTo>
                  <a:lnTo>
                    <a:pt x="80" y="62"/>
                  </a:lnTo>
                  <a:lnTo>
                    <a:pt x="82" y="62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5" y="53"/>
                  </a:lnTo>
                  <a:lnTo>
                    <a:pt x="73" y="48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31"/>
                  </a:lnTo>
                  <a:lnTo>
                    <a:pt x="73" y="24"/>
                  </a:lnTo>
                  <a:lnTo>
                    <a:pt x="73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66" y="17"/>
                  </a:lnTo>
                  <a:lnTo>
                    <a:pt x="62" y="17"/>
                  </a:lnTo>
                  <a:lnTo>
                    <a:pt x="57" y="17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49" y="6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5" y="15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28" y="19"/>
                  </a:lnTo>
                  <a:lnTo>
                    <a:pt x="24" y="20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7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5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1" y="31"/>
                  </a:lnTo>
                  <a:lnTo>
                    <a:pt x="10" y="33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39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1" y="40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7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31" y="53"/>
                  </a:lnTo>
                  <a:lnTo>
                    <a:pt x="33" y="55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7" y="66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5"/>
                  </a:lnTo>
                  <a:lnTo>
                    <a:pt x="37" y="80"/>
                  </a:lnTo>
                  <a:lnTo>
                    <a:pt x="37" y="86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4" y="93"/>
                  </a:lnTo>
                  <a:lnTo>
                    <a:pt x="48" y="93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53" y="88"/>
                  </a:lnTo>
                  <a:lnTo>
                    <a:pt x="55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60" y="88"/>
                  </a:lnTo>
                  <a:lnTo>
                    <a:pt x="64" y="90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5" y="104"/>
                  </a:lnTo>
                  <a:lnTo>
                    <a:pt x="80" y="108"/>
                  </a:lnTo>
                  <a:lnTo>
                    <a:pt x="91" y="106"/>
                  </a:lnTo>
                  <a:lnTo>
                    <a:pt x="111" y="113"/>
                  </a:lnTo>
                  <a:lnTo>
                    <a:pt x="118" y="108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31" y="82"/>
                  </a:lnTo>
                  <a:lnTo>
                    <a:pt x="131" y="82"/>
                  </a:lnTo>
                  <a:lnTo>
                    <a:pt x="131" y="82"/>
                  </a:lnTo>
                  <a:lnTo>
                    <a:pt x="131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2" name="Freeform 24">
              <a:extLst>
                <a:ext uri="{FF2B5EF4-FFF2-40B4-BE49-F238E27FC236}">
                  <a16:creationId xmlns:a16="http://schemas.microsoft.com/office/drawing/2014/main" id="{F455C444-DC26-7247-A725-9558CA08A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371" y="4305829"/>
              <a:ext cx="315729" cy="399137"/>
            </a:xfrm>
            <a:custGeom>
              <a:avLst/>
              <a:gdLst>
                <a:gd name="T0" fmla="*/ 176 w 218"/>
                <a:gd name="T1" fmla="*/ 70 h 279"/>
                <a:gd name="T2" fmla="*/ 176 w 218"/>
                <a:gd name="T3" fmla="*/ 60 h 279"/>
                <a:gd name="T4" fmla="*/ 156 w 218"/>
                <a:gd name="T5" fmla="*/ 58 h 279"/>
                <a:gd name="T6" fmla="*/ 156 w 218"/>
                <a:gd name="T7" fmla="*/ 41 h 279"/>
                <a:gd name="T8" fmla="*/ 143 w 218"/>
                <a:gd name="T9" fmla="*/ 25 h 279"/>
                <a:gd name="T10" fmla="*/ 122 w 218"/>
                <a:gd name="T11" fmla="*/ 16 h 279"/>
                <a:gd name="T12" fmla="*/ 114 w 218"/>
                <a:gd name="T13" fmla="*/ 1 h 279"/>
                <a:gd name="T14" fmla="*/ 74 w 218"/>
                <a:gd name="T15" fmla="*/ 9 h 279"/>
                <a:gd name="T16" fmla="*/ 83 w 218"/>
                <a:gd name="T17" fmla="*/ 25 h 279"/>
                <a:gd name="T18" fmla="*/ 67 w 218"/>
                <a:gd name="T19" fmla="*/ 32 h 279"/>
                <a:gd name="T20" fmla="*/ 53 w 218"/>
                <a:gd name="T21" fmla="*/ 36 h 279"/>
                <a:gd name="T22" fmla="*/ 40 w 218"/>
                <a:gd name="T23" fmla="*/ 34 h 279"/>
                <a:gd name="T24" fmla="*/ 36 w 218"/>
                <a:gd name="T25" fmla="*/ 54 h 279"/>
                <a:gd name="T26" fmla="*/ 20 w 218"/>
                <a:gd name="T27" fmla="*/ 61 h 279"/>
                <a:gd name="T28" fmla="*/ 5 w 218"/>
                <a:gd name="T29" fmla="*/ 87 h 279"/>
                <a:gd name="T30" fmla="*/ 4 w 218"/>
                <a:gd name="T31" fmla="*/ 103 h 279"/>
                <a:gd name="T32" fmla="*/ 5 w 218"/>
                <a:gd name="T33" fmla="*/ 127 h 279"/>
                <a:gd name="T34" fmla="*/ 9 w 218"/>
                <a:gd name="T35" fmla="*/ 140 h 279"/>
                <a:gd name="T36" fmla="*/ 13 w 218"/>
                <a:gd name="T37" fmla="*/ 147 h 279"/>
                <a:gd name="T38" fmla="*/ 11 w 218"/>
                <a:gd name="T39" fmla="*/ 167 h 279"/>
                <a:gd name="T40" fmla="*/ 7 w 218"/>
                <a:gd name="T41" fmla="*/ 178 h 279"/>
                <a:gd name="T42" fmla="*/ 0 w 218"/>
                <a:gd name="T43" fmla="*/ 190 h 279"/>
                <a:gd name="T44" fmla="*/ 14 w 218"/>
                <a:gd name="T45" fmla="*/ 198 h 279"/>
                <a:gd name="T46" fmla="*/ 27 w 218"/>
                <a:gd name="T47" fmla="*/ 205 h 279"/>
                <a:gd name="T48" fmla="*/ 16 w 218"/>
                <a:gd name="T49" fmla="*/ 218 h 279"/>
                <a:gd name="T50" fmla="*/ 20 w 218"/>
                <a:gd name="T51" fmla="*/ 227 h 279"/>
                <a:gd name="T52" fmla="*/ 11 w 218"/>
                <a:gd name="T53" fmla="*/ 245 h 279"/>
                <a:gd name="T54" fmla="*/ 14 w 218"/>
                <a:gd name="T55" fmla="*/ 247 h 279"/>
                <a:gd name="T56" fmla="*/ 20 w 218"/>
                <a:gd name="T57" fmla="*/ 256 h 279"/>
                <a:gd name="T58" fmla="*/ 40 w 218"/>
                <a:gd name="T59" fmla="*/ 256 h 279"/>
                <a:gd name="T60" fmla="*/ 53 w 218"/>
                <a:gd name="T61" fmla="*/ 274 h 279"/>
                <a:gd name="T62" fmla="*/ 82 w 218"/>
                <a:gd name="T63" fmla="*/ 261 h 279"/>
                <a:gd name="T64" fmla="*/ 102 w 218"/>
                <a:gd name="T65" fmla="*/ 238 h 279"/>
                <a:gd name="T66" fmla="*/ 120 w 218"/>
                <a:gd name="T67" fmla="*/ 221 h 279"/>
                <a:gd name="T68" fmla="*/ 140 w 218"/>
                <a:gd name="T69" fmla="*/ 198 h 279"/>
                <a:gd name="T70" fmla="*/ 160 w 218"/>
                <a:gd name="T71" fmla="*/ 190 h 279"/>
                <a:gd name="T72" fmla="*/ 174 w 218"/>
                <a:gd name="T73" fmla="*/ 185 h 279"/>
                <a:gd name="T74" fmla="*/ 192 w 218"/>
                <a:gd name="T75" fmla="*/ 170 h 279"/>
                <a:gd name="T76" fmla="*/ 185 w 218"/>
                <a:gd name="T77" fmla="*/ 163 h 279"/>
                <a:gd name="T78" fmla="*/ 160 w 218"/>
                <a:gd name="T79" fmla="*/ 163 h 279"/>
                <a:gd name="T80" fmla="*/ 129 w 218"/>
                <a:gd name="T81" fmla="*/ 154 h 279"/>
                <a:gd name="T82" fmla="*/ 131 w 218"/>
                <a:gd name="T83" fmla="*/ 136 h 279"/>
                <a:gd name="T84" fmla="*/ 122 w 218"/>
                <a:gd name="T85" fmla="*/ 116 h 279"/>
                <a:gd name="T86" fmla="*/ 136 w 218"/>
                <a:gd name="T87" fmla="*/ 103 h 279"/>
                <a:gd name="T88" fmla="*/ 154 w 218"/>
                <a:gd name="T89" fmla="*/ 114 h 279"/>
                <a:gd name="T90" fmla="*/ 151 w 218"/>
                <a:gd name="T91" fmla="*/ 127 h 279"/>
                <a:gd name="T92" fmla="*/ 160 w 218"/>
                <a:gd name="T93" fmla="*/ 127 h 279"/>
                <a:gd name="T94" fmla="*/ 163 w 218"/>
                <a:gd name="T95" fmla="*/ 140 h 279"/>
                <a:gd name="T96" fmla="*/ 174 w 218"/>
                <a:gd name="T97" fmla="*/ 130 h 279"/>
                <a:gd name="T98" fmla="*/ 191 w 218"/>
                <a:gd name="T99" fmla="*/ 130 h 279"/>
                <a:gd name="T100" fmla="*/ 205 w 218"/>
                <a:gd name="T101" fmla="*/ 136 h 279"/>
                <a:gd name="T102" fmla="*/ 200 w 218"/>
                <a:gd name="T103" fmla="*/ 120 h 279"/>
                <a:gd name="T104" fmla="*/ 209 w 218"/>
                <a:gd name="T105" fmla="*/ 107 h 279"/>
                <a:gd name="T106" fmla="*/ 212 w 218"/>
                <a:gd name="T107" fmla="*/ 100 h 279"/>
                <a:gd name="T108" fmla="*/ 187 w 218"/>
                <a:gd name="T109" fmla="*/ 8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279">
                  <a:moveTo>
                    <a:pt x="187" y="81"/>
                  </a:moveTo>
                  <a:lnTo>
                    <a:pt x="187" y="81"/>
                  </a:lnTo>
                  <a:lnTo>
                    <a:pt x="180" y="78"/>
                  </a:lnTo>
                  <a:lnTo>
                    <a:pt x="176" y="74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6" y="63"/>
                  </a:lnTo>
                  <a:lnTo>
                    <a:pt x="178" y="61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65" y="61"/>
                  </a:lnTo>
                  <a:lnTo>
                    <a:pt x="160" y="61"/>
                  </a:lnTo>
                  <a:lnTo>
                    <a:pt x="158" y="61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56" y="58"/>
                  </a:lnTo>
                  <a:lnTo>
                    <a:pt x="156" y="56"/>
                  </a:lnTo>
                  <a:lnTo>
                    <a:pt x="158" y="51"/>
                  </a:lnTo>
                  <a:lnTo>
                    <a:pt x="158" y="43"/>
                  </a:lnTo>
                  <a:lnTo>
                    <a:pt x="158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49" y="41"/>
                  </a:lnTo>
                  <a:lnTo>
                    <a:pt x="145" y="40"/>
                  </a:lnTo>
                  <a:lnTo>
                    <a:pt x="143" y="36"/>
                  </a:lnTo>
                  <a:lnTo>
                    <a:pt x="143" y="36"/>
                  </a:lnTo>
                  <a:lnTo>
                    <a:pt x="145" y="31"/>
                  </a:lnTo>
                  <a:lnTo>
                    <a:pt x="143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31" y="20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2"/>
                  </a:lnTo>
                  <a:lnTo>
                    <a:pt x="122" y="9"/>
                  </a:lnTo>
                  <a:lnTo>
                    <a:pt x="118" y="3"/>
                  </a:lnTo>
                  <a:lnTo>
                    <a:pt x="118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98" y="9"/>
                  </a:lnTo>
                  <a:lnTo>
                    <a:pt x="82" y="5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8" y="14"/>
                  </a:lnTo>
                  <a:lnTo>
                    <a:pt x="82" y="20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31"/>
                  </a:lnTo>
                  <a:lnTo>
                    <a:pt x="74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0" y="34"/>
                  </a:lnTo>
                  <a:lnTo>
                    <a:pt x="56" y="36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5" y="34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6" y="43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1" y="60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6" y="63"/>
                  </a:lnTo>
                  <a:lnTo>
                    <a:pt x="14" y="67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0" y="94"/>
                  </a:lnTo>
                  <a:lnTo>
                    <a:pt x="0" y="98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9"/>
                  </a:lnTo>
                  <a:lnTo>
                    <a:pt x="4" y="116"/>
                  </a:lnTo>
                  <a:lnTo>
                    <a:pt x="0" y="123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5" y="127"/>
                  </a:lnTo>
                  <a:lnTo>
                    <a:pt x="7" y="130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9" y="136"/>
                  </a:lnTo>
                  <a:lnTo>
                    <a:pt x="7" y="138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41"/>
                  </a:lnTo>
                  <a:lnTo>
                    <a:pt x="11" y="143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50"/>
                  </a:lnTo>
                  <a:lnTo>
                    <a:pt x="13" y="154"/>
                  </a:lnTo>
                  <a:lnTo>
                    <a:pt x="11" y="158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7"/>
                  </a:lnTo>
                  <a:lnTo>
                    <a:pt x="11" y="170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3" y="176"/>
                  </a:lnTo>
                  <a:lnTo>
                    <a:pt x="11" y="178"/>
                  </a:lnTo>
                  <a:lnTo>
                    <a:pt x="7" y="178"/>
                  </a:lnTo>
                  <a:lnTo>
                    <a:pt x="7" y="178"/>
                  </a:lnTo>
                  <a:lnTo>
                    <a:pt x="5" y="178"/>
                  </a:lnTo>
                  <a:lnTo>
                    <a:pt x="5" y="180"/>
                  </a:lnTo>
                  <a:lnTo>
                    <a:pt x="5" y="183"/>
                  </a:lnTo>
                  <a:lnTo>
                    <a:pt x="9" y="185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7" y="198"/>
                  </a:lnTo>
                  <a:lnTo>
                    <a:pt x="7" y="198"/>
                  </a:lnTo>
                  <a:lnTo>
                    <a:pt x="9" y="199"/>
                  </a:lnTo>
                  <a:lnTo>
                    <a:pt x="11" y="199"/>
                  </a:lnTo>
                  <a:lnTo>
                    <a:pt x="14" y="198"/>
                  </a:lnTo>
                  <a:lnTo>
                    <a:pt x="20" y="196"/>
                  </a:lnTo>
                  <a:lnTo>
                    <a:pt x="25" y="196"/>
                  </a:lnTo>
                  <a:lnTo>
                    <a:pt x="25" y="196"/>
                  </a:lnTo>
                  <a:lnTo>
                    <a:pt x="25" y="198"/>
                  </a:lnTo>
                  <a:lnTo>
                    <a:pt x="27" y="199"/>
                  </a:lnTo>
                  <a:lnTo>
                    <a:pt x="27" y="205"/>
                  </a:lnTo>
                  <a:lnTo>
                    <a:pt x="27" y="205"/>
                  </a:lnTo>
                  <a:lnTo>
                    <a:pt x="22" y="210"/>
                  </a:lnTo>
                  <a:lnTo>
                    <a:pt x="20" y="212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21"/>
                  </a:lnTo>
                  <a:lnTo>
                    <a:pt x="16" y="223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7"/>
                  </a:lnTo>
                  <a:lnTo>
                    <a:pt x="20" y="230"/>
                  </a:lnTo>
                  <a:lnTo>
                    <a:pt x="18" y="232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3" y="241"/>
                  </a:lnTo>
                  <a:lnTo>
                    <a:pt x="11" y="245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11" y="250"/>
                  </a:lnTo>
                  <a:lnTo>
                    <a:pt x="14" y="247"/>
                  </a:lnTo>
                  <a:lnTo>
                    <a:pt x="14" y="247"/>
                  </a:lnTo>
                  <a:lnTo>
                    <a:pt x="16" y="250"/>
                  </a:lnTo>
                  <a:lnTo>
                    <a:pt x="18" y="252"/>
                  </a:lnTo>
                  <a:lnTo>
                    <a:pt x="20" y="254"/>
                  </a:lnTo>
                  <a:lnTo>
                    <a:pt x="20" y="254"/>
                  </a:lnTo>
                  <a:lnTo>
                    <a:pt x="20" y="256"/>
                  </a:lnTo>
                  <a:lnTo>
                    <a:pt x="25" y="259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4" y="261"/>
                  </a:lnTo>
                  <a:lnTo>
                    <a:pt x="36" y="259"/>
                  </a:lnTo>
                  <a:lnTo>
                    <a:pt x="40" y="256"/>
                  </a:lnTo>
                  <a:lnTo>
                    <a:pt x="40" y="256"/>
                  </a:lnTo>
                  <a:lnTo>
                    <a:pt x="45" y="263"/>
                  </a:lnTo>
                  <a:lnTo>
                    <a:pt x="49" y="267"/>
                  </a:lnTo>
                  <a:lnTo>
                    <a:pt x="53" y="272"/>
                  </a:lnTo>
                  <a:lnTo>
                    <a:pt x="53" y="272"/>
                  </a:lnTo>
                  <a:lnTo>
                    <a:pt x="53" y="274"/>
                  </a:lnTo>
                  <a:lnTo>
                    <a:pt x="53" y="276"/>
                  </a:lnTo>
                  <a:lnTo>
                    <a:pt x="58" y="279"/>
                  </a:lnTo>
                  <a:lnTo>
                    <a:pt x="62" y="279"/>
                  </a:lnTo>
                  <a:lnTo>
                    <a:pt x="73" y="270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91" y="259"/>
                  </a:lnTo>
                  <a:lnTo>
                    <a:pt x="91" y="259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8" y="241"/>
                  </a:lnTo>
                  <a:lnTo>
                    <a:pt x="102" y="238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12" y="227"/>
                  </a:lnTo>
                  <a:lnTo>
                    <a:pt x="118" y="225"/>
                  </a:lnTo>
                  <a:lnTo>
                    <a:pt x="120" y="221"/>
                  </a:lnTo>
                  <a:lnTo>
                    <a:pt x="120" y="221"/>
                  </a:lnTo>
                  <a:lnTo>
                    <a:pt x="123" y="210"/>
                  </a:lnTo>
                  <a:lnTo>
                    <a:pt x="129" y="207"/>
                  </a:lnTo>
                  <a:lnTo>
                    <a:pt x="132" y="201"/>
                  </a:lnTo>
                  <a:lnTo>
                    <a:pt x="132" y="201"/>
                  </a:lnTo>
                  <a:lnTo>
                    <a:pt x="136" y="198"/>
                  </a:lnTo>
                  <a:lnTo>
                    <a:pt x="140" y="198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6" y="189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67" y="196"/>
                  </a:lnTo>
                  <a:lnTo>
                    <a:pt x="171" y="196"/>
                  </a:lnTo>
                  <a:lnTo>
                    <a:pt x="172" y="192"/>
                  </a:lnTo>
                  <a:lnTo>
                    <a:pt x="172" y="192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6" y="181"/>
                  </a:lnTo>
                  <a:lnTo>
                    <a:pt x="176" y="181"/>
                  </a:lnTo>
                  <a:lnTo>
                    <a:pt x="183" y="176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4" y="167"/>
                  </a:lnTo>
                  <a:lnTo>
                    <a:pt x="187" y="165"/>
                  </a:lnTo>
                  <a:lnTo>
                    <a:pt x="185" y="163"/>
                  </a:lnTo>
                  <a:lnTo>
                    <a:pt x="180" y="165"/>
                  </a:lnTo>
                  <a:lnTo>
                    <a:pt x="180" y="165"/>
                  </a:lnTo>
                  <a:lnTo>
                    <a:pt x="172" y="167"/>
                  </a:lnTo>
                  <a:lnTo>
                    <a:pt x="167" y="165"/>
                  </a:lnTo>
                  <a:lnTo>
                    <a:pt x="160" y="163"/>
                  </a:lnTo>
                  <a:lnTo>
                    <a:pt x="160" y="163"/>
                  </a:lnTo>
                  <a:lnTo>
                    <a:pt x="151" y="158"/>
                  </a:lnTo>
                  <a:lnTo>
                    <a:pt x="145" y="156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32" y="154"/>
                  </a:lnTo>
                  <a:lnTo>
                    <a:pt x="129" y="154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29" y="150"/>
                  </a:lnTo>
                  <a:lnTo>
                    <a:pt x="131" y="145"/>
                  </a:lnTo>
                  <a:lnTo>
                    <a:pt x="131" y="140"/>
                  </a:lnTo>
                  <a:lnTo>
                    <a:pt x="131" y="136"/>
                  </a:lnTo>
                  <a:lnTo>
                    <a:pt x="129" y="129"/>
                  </a:lnTo>
                  <a:lnTo>
                    <a:pt x="129" y="129"/>
                  </a:lnTo>
                  <a:lnTo>
                    <a:pt x="123" y="125"/>
                  </a:lnTo>
                  <a:lnTo>
                    <a:pt x="122" y="120"/>
                  </a:lnTo>
                  <a:lnTo>
                    <a:pt x="122" y="116"/>
                  </a:lnTo>
                  <a:lnTo>
                    <a:pt x="122" y="116"/>
                  </a:lnTo>
                  <a:lnTo>
                    <a:pt x="123" y="114"/>
                  </a:lnTo>
                  <a:lnTo>
                    <a:pt x="123" y="114"/>
                  </a:lnTo>
                  <a:lnTo>
                    <a:pt x="129" y="112"/>
                  </a:lnTo>
                  <a:lnTo>
                    <a:pt x="132" y="107"/>
                  </a:lnTo>
                  <a:lnTo>
                    <a:pt x="134" y="103"/>
                  </a:lnTo>
                  <a:lnTo>
                    <a:pt x="136" y="103"/>
                  </a:lnTo>
                  <a:lnTo>
                    <a:pt x="140" y="103"/>
                  </a:lnTo>
                  <a:lnTo>
                    <a:pt x="140" y="103"/>
                  </a:lnTo>
                  <a:lnTo>
                    <a:pt x="149" y="107"/>
                  </a:lnTo>
                  <a:lnTo>
                    <a:pt x="152" y="112"/>
                  </a:lnTo>
                  <a:lnTo>
                    <a:pt x="152" y="112"/>
                  </a:lnTo>
                  <a:lnTo>
                    <a:pt x="154" y="114"/>
                  </a:lnTo>
                  <a:lnTo>
                    <a:pt x="154" y="116"/>
                  </a:lnTo>
                  <a:lnTo>
                    <a:pt x="152" y="120"/>
                  </a:lnTo>
                  <a:lnTo>
                    <a:pt x="151" y="123"/>
                  </a:lnTo>
                  <a:lnTo>
                    <a:pt x="151" y="125"/>
                  </a:lnTo>
                  <a:lnTo>
                    <a:pt x="151" y="127"/>
                  </a:lnTo>
                  <a:lnTo>
                    <a:pt x="151" y="127"/>
                  </a:lnTo>
                  <a:lnTo>
                    <a:pt x="152" y="129"/>
                  </a:lnTo>
                  <a:lnTo>
                    <a:pt x="152" y="129"/>
                  </a:lnTo>
                  <a:lnTo>
                    <a:pt x="156" y="127"/>
                  </a:lnTo>
                  <a:lnTo>
                    <a:pt x="158" y="125"/>
                  </a:lnTo>
                  <a:lnTo>
                    <a:pt x="160" y="125"/>
                  </a:lnTo>
                  <a:lnTo>
                    <a:pt x="160" y="127"/>
                  </a:lnTo>
                  <a:lnTo>
                    <a:pt x="160" y="127"/>
                  </a:lnTo>
                  <a:lnTo>
                    <a:pt x="160" y="130"/>
                  </a:lnTo>
                  <a:lnTo>
                    <a:pt x="160" y="136"/>
                  </a:lnTo>
                  <a:lnTo>
                    <a:pt x="160" y="140"/>
                  </a:lnTo>
                  <a:lnTo>
                    <a:pt x="162" y="140"/>
                  </a:lnTo>
                  <a:lnTo>
                    <a:pt x="163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7" y="140"/>
                  </a:lnTo>
                  <a:lnTo>
                    <a:pt x="171" y="136"/>
                  </a:lnTo>
                  <a:lnTo>
                    <a:pt x="174" y="130"/>
                  </a:lnTo>
                  <a:lnTo>
                    <a:pt x="174" y="130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83" y="134"/>
                  </a:lnTo>
                  <a:lnTo>
                    <a:pt x="187" y="134"/>
                  </a:lnTo>
                  <a:lnTo>
                    <a:pt x="191" y="130"/>
                  </a:lnTo>
                  <a:lnTo>
                    <a:pt x="191" y="130"/>
                  </a:lnTo>
                  <a:lnTo>
                    <a:pt x="192" y="129"/>
                  </a:lnTo>
                  <a:lnTo>
                    <a:pt x="194" y="129"/>
                  </a:lnTo>
                  <a:lnTo>
                    <a:pt x="196" y="130"/>
                  </a:lnTo>
                  <a:lnTo>
                    <a:pt x="196" y="130"/>
                  </a:lnTo>
                  <a:lnTo>
                    <a:pt x="201" y="136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4"/>
                  </a:lnTo>
                  <a:lnTo>
                    <a:pt x="205" y="134"/>
                  </a:lnTo>
                  <a:lnTo>
                    <a:pt x="201" y="125"/>
                  </a:lnTo>
                  <a:lnTo>
                    <a:pt x="200" y="121"/>
                  </a:lnTo>
                  <a:lnTo>
                    <a:pt x="200" y="120"/>
                  </a:lnTo>
                  <a:lnTo>
                    <a:pt x="201" y="118"/>
                  </a:lnTo>
                  <a:lnTo>
                    <a:pt x="201" y="118"/>
                  </a:lnTo>
                  <a:lnTo>
                    <a:pt x="203" y="116"/>
                  </a:lnTo>
                  <a:lnTo>
                    <a:pt x="205" y="112"/>
                  </a:lnTo>
                  <a:lnTo>
                    <a:pt x="207" y="109"/>
                  </a:lnTo>
                  <a:lnTo>
                    <a:pt x="209" y="107"/>
                  </a:lnTo>
                  <a:lnTo>
                    <a:pt x="209" y="107"/>
                  </a:lnTo>
                  <a:lnTo>
                    <a:pt x="216" y="105"/>
                  </a:lnTo>
                  <a:lnTo>
                    <a:pt x="218" y="103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2" y="100"/>
                  </a:lnTo>
                  <a:lnTo>
                    <a:pt x="207" y="98"/>
                  </a:lnTo>
                  <a:lnTo>
                    <a:pt x="207" y="98"/>
                  </a:lnTo>
                  <a:lnTo>
                    <a:pt x="203" y="96"/>
                  </a:lnTo>
                  <a:lnTo>
                    <a:pt x="203" y="96"/>
                  </a:lnTo>
                  <a:lnTo>
                    <a:pt x="198" y="89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7" y="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3" name="Freeform 25">
              <a:extLst>
                <a:ext uri="{FF2B5EF4-FFF2-40B4-BE49-F238E27FC236}">
                  <a16:creationId xmlns:a16="http://schemas.microsoft.com/office/drawing/2014/main" id="{D206DCFA-03AD-7441-B03A-85A7E5734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73" y="4433152"/>
              <a:ext cx="183934" cy="280397"/>
            </a:xfrm>
            <a:custGeom>
              <a:avLst/>
              <a:gdLst>
                <a:gd name="T0" fmla="*/ 50 w 127"/>
                <a:gd name="T1" fmla="*/ 5 h 196"/>
                <a:gd name="T2" fmla="*/ 45 w 127"/>
                <a:gd name="T3" fmla="*/ 7 h 196"/>
                <a:gd name="T4" fmla="*/ 41 w 127"/>
                <a:gd name="T5" fmla="*/ 9 h 196"/>
                <a:gd name="T6" fmla="*/ 36 w 127"/>
                <a:gd name="T7" fmla="*/ 5 h 196"/>
                <a:gd name="T8" fmla="*/ 30 w 127"/>
                <a:gd name="T9" fmla="*/ 0 h 196"/>
                <a:gd name="T10" fmla="*/ 21 w 127"/>
                <a:gd name="T11" fmla="*/ 11 h 196"/>
                <a:gd name="T12" fmla="*/ 18 w 127"/>
                <a:gd name="T13" fmla="*/ 20 h 196"/>
                <a:gd name="T14" fmla="*/ 21 w 127"/>
                <a:gd name="T15" fmla="*/ 31 h 196"/>
                <a:gd name="T16" fmla="*/ 18 w 127"/>
                <a:gd name="T17" fmla="*/ 38 h 196"/>
                <a:gd name="T18" fmla="*/ 18 w 127"/>
                <a:gd name="T19" fmla="*/ 51 h 196"/>
                <a:gd name="T20" fmla="*/ 14 w 127"/>
                <a:gd name="T21" fmla="*/ 51 h 196"/>
                <a:gd name="T22" fmla="*/ 3 w 127"/>
                <a:gd name="T23" fmla="*/ 52 h 196"/>
                <a:gd name="T24" fmla="*/ 3 w 127"/>
                <a:gd name="T25" fmla="*/ 67 h 196"/>
                <a:gd name="T26" fmla="*/ 7 w 127"/>
                <a:gd name="T27" fmla="*/ 74 h 196"/>
                <a:gd name="T28" fmla="*/ 9 w 127"/>
                <a:gd name="T29" fmla="*/ 78 h 196"/>
                <a:gd name="T30" fmla="*/ 10 w 127"/>
                <a:gd name="T31" fmla="*/ 83 h 196"/>
                <a:gd name="T32" fmla="*/ 14 w 127"/>
                <a:gd name="T33" fmla="*/ 92 h 196"/>
                <a:gd name="T34" fmla="*/ 18 w 127"/>
                <a:gd name="T35" fmla="*/ 94 h 196"/>
                <a:gd name="T36" fmla="*/ 18 w 127"/>
                <a:gd name="T37" fmla="*/ 96 h 196"/>
                <a:gd name="T38" fmla="*/ 3 w 127"/>
                <a:gd name="T39" fmla="*/ 96 h 196"/>
                <a:gd name="T40" fmla="*/ 0 w 127"/>
                <a:gd name="T41" fmla="*/ 100 h 196"/>
                <a:gd name="T42" fmla="*/ 3 w 127"/>
                <a:gd name="T43" fmla="*/ 112 h 196"/>
                <a:gd name="T44" fmla="*/ 0 w 127"/>
                <a:gd name="T45" fmla="*/ 118 h 196"/>
                <a:gd name="T46" fmla="*/ 0 w 127"/>
                <a:gd name="T47" fmla="*/ 121 h 196"/>
                <a:gd name="T48" fmla="*/ 12 w 127"/>
                <a:gd name="T49" fmla="*/ 123 h 196"/>
                <a:gd name="T50" fmla="*/ 18 w 127"/>
                <a:gd name="T51" fmla="*/ 129 h 196"/>
                <a:gd name="T52" fmla="*/ 21 w 127"/>
                <a:gd name="T53" fmla="*/ 143 h 196"/>
                <a:gd name="T54" fmla="*/ 38 w 127"/>
                <a:gd name="T55" fmla="*/ 149 h 196"/>
                <a:gd name="T56" fmla="*/ 41 w 127"/>
                <a:gd name="T57" fmla="*/ 156 h 196"/>
                <a:gd name="T58" fmla="*/ 45 w 127"/>
                <a:gd name="T59" fmla="*/ 161 h 196"/>
                <a:gd name="T60" fmla="*/ 41 w 127"/>
                <a:gd name="T61" fmla="*/ 163 h 196"/>
                <a:gd name="T62" fmla="*/ 43 w 127"/>
                <a:gd name="T63" fmla="*/ 165 h 196"/>
                <a:gd name="T64" fmla="*/ 50 w 127"/>
                <a:gd name="T65" fmla="*/ 174 h 196"/>
                <a:gd name="T66" fmla="*/ 54 w 127"/>
                <a:gd name="T67" fmla="*/ 181 h 196"/>
                <a:gd name="T68" fmla="*/ 58 w 127"/>
                <a:gd name="T69" fmla="*/ 190 h 196"/>
                <a:gd name="T70" fmla="*/ 61 w 127"/>
                <a:gd name="T71" fmla="*/ 190 h 196"/>
                <a:gd name="T72" fmla="*/ 65 w 127"/>
                <a:gd name="T73" fmla="*/ 185 h 196"/>
                <a:gd name="T74" fmla="*/ 70 w 127"/>
                <a:gd name="T75" fmla="*/ 185 h 196"/>
                <a:gd name="T76" fmla="*/ 70 w 127"/>
                <a:gd name="T77" fmla="*/ 192 h 196"/>
                <a:gd name="T78" fmla="*/ 90 w 127"/>
                <a:gd name="T79" fmla="*/ 187 h 196"/>
                <a:gd name="T80" fmla="*/ 90 w 127"/>
                <a:gd name="T81" fmla="*/ 178 h 196"/>
                <a:gd name="T82" fmla="*/ 99 w 127"/>
                <a:gd name="T83" fmla="*/ 165 h 196"/>
                <a:gd name="T84" fmla="*/ 123 w 127"/>
                <a:gd name="T85" fmla="*/ 163 h 196"/>
                <a:gd name="T86" fmla="*/ 125 w 127"/>
                <a:gd name="T87" fmla="*/ 163 h 196"/>
                <a:gd name="T88" fmla="*/ 127 w 127"/>
                <a:gd name="T89" fmla="*/ 156 h 196"/>
                <a:gd name="T90" fmla="*/ 114 w 127"/>
                <a:gd name="T91" fmla="*/ 114 h 196"/>
                <a:gd name="T92" fmla="*/ 112 w 127"/>
                <a:gd name="T93" fmla="*/ 96 h 196"/>
                <a:gd name="T94" fmla="*/ 112 w 127"/>
                <a:gd name="T95" fmla="*/ 89 h 196"/>
                <a:gd name="T96" fmla="*/ 116 w 127"/>
                <a:gd name="T97" fmla="*/ 76 h 196"/>
                <a:gd name="T98" fmla="*/ 103 w 127"/>
                <a:gd name="T99" fmla="*/ 47 h 196"/>
                <a:gd name="T100" fmla="*/ 98 w 127"/>
                <a:gd name="T101" fmla="*/ 40 h 196"/>
                <a:gd name="T102" fmla="*/ 79 w 127"/>
                <a:gd name="T103" fmla="*/ 34 h 196"/>
                <a:gd name="T104" fmla="*/ 83 w 127"/>
                <a:gd name="T105" fmla="*/ 27 h 196"/>
                <a:gd name="T106" fmla="*/ 74 w 127"/>
                <a:gd name="T107" fmla="*/ 27 h 196"/>
                <a:gd name="T108" fmla="*/ 65 w 127"/>
                <a:gd name="T109" fmla="*/ 18 h 196"/>
                <a:gd name="T110" fmla="*/ 56 w 127"/>
                <a:gd name="T111" fmla="*/ 9 h 196"/>
                <a:gd name="T112" fmla="*/ 56 w 127"/>
                <a:gd name="T113" fmla="*/ 9 h 196"/>
                <a:gd name="T114" fmla="*/ 54 w 127"/>
                <a:gd name="T115" fmla="*/ 7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" h="196">
                  <a:moveTo>
                    <a:pt x="54" y="7"/>
                  </a:moveTo>
                  <a:lnTo>
                    <a:pt x="54" y="7"/>
                  </a:lnTo>
                  <a:lnTo>
                    <a:pt x="50" y="5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5" y="7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1" y="11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20"/>
                  </a:lnTo>
                  <a:lnTo>
                    <a:pt x="16" y="23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19" y="32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7"/>
                  </a:lnTo>
                  <a:lnTo>
                    <a:pt x="18" y="51"/>
                  </a:lnTo>
                  <a:lnTo>
                    <a:pt x="16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9" y="51"/>
                  </a:lnTo>
                  <a:lnTo>
                    <a:pt x="7" y="51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1" y="65"/>
                  </a:lnTo>
                  <a:lnTo>
                    <a:pt x="3" y="67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10" y="80"/>
                  </a:lnTo>
                  <a:lnTo>
                    <a:pt x="10" y="83"/>
                  </a:lnTo>
                  <a:lnTo>
                    <a:pt x="10" y="89"/>
                  </a:lnTo>
                  <a:lnTo>
                    <a:pt x="10" y="91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8" y="92"/>
                  </a:lnTo>
                  <a:lnTo>
                    <a:pt x="18" y="94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6" y="98"/>
                  </a:lnTo>
                  <a:lnTo>
                    <a:pt x="10" y="98"/>
                  </a:lnTo>
                  <a:lnTo>
                    <a:pt x="3" y="96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100"/>
                  </a:lnTo>
                  <a:lnTo>
                    <a:pt x="0" y="103"/>
                  </a:lnTo>
                  <a:lnTo>
                    <a:pt x="1" y="109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1" y="116"/>
                  </a:lnTo>
                  <a:lnTo>
                    <a:pt x="0" y="118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2" y="123"/>
                  </a:lnTo>
                  <a:lnTo>
                    <a:pt x="16" y="125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6"/>
                  </a:lnTo>
                  <a:lnTo>
                    <a:pt x="21" y="143"/>
                  </a:lnTo>
                  <a:lnTo>
                    <a:pt x="21" y="143"/>
                  </a:lnTo>
                  <a:lnTo>
                    <a:pt x="27" y="145"/>
                  </a:lnTo>
                  <a:lnTo>
                    <a:pt x="30" y="149"/>
                  </a:lnTo>
                  <a:lnTo>
                    <a:pt x="38" y="149"/>
                  </a:lnTo>
                  <a:lnTo>
                    <a:pt x="38" y="149"/>
                  </a:lnTo>
                  <a:lnTo>
                    <a:pt x="39" y="152"/>
                  </a:lnTo>
                  <a:lnTo>
                    <a:pt x="41" y="156"/>
                  </a:lnTo>
                  <a:lnTo>
                    <a:pt x="45" y="160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1" y="163"/>
                  </a:lnTo>
                  <a:lnTo>
                    <a:pt x="41" y="163"/>
                  </a:lnTo>
                  <a:lnTo>
                    <a:pt x="41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9" y="170"/>
                  </a:lnTo>
                  <a:lnTo>
                    <a:pt x="50" y="174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6" y="185"/>
                  </a:lnTo>
                  <a:lnTo>
                    <a:pt x="58" y="190"/>
                  </a:lnTo>
                  <a:lnTo>
                    <a:pt x="59" y="192"/>
                  </a:lnTo>
                  <a:lnTo>
                    <a:pt x="61" y="192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3" y="185"/>
                  </a:lnTo>
                  <a:lnTo>
                    <a:pt x="65" y="185"/>
                  </a:lnTo>
                  <a:lnTo>
                    <a:pt x="69" y="183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72" y="187"/>
                  </a:lnTo>
                  <a:lnTo>
                    <a:pt x="70" y="190"/>
                  </a:lnTo>
                  <a:lnTo>
                    <a:pt x="70" y="192"/>
                  </a:lnTo>
                  <a:lnTo>
                    <a:pt x="76" y="196"/>
                  </a:lnTo>
                  <a:lnTo>
                    <a:pt x="79" y="194"/>
                  </a:lnTo>
                  <a:lnTo>
                    <a:pt x="90" y="187"/>
                  </a:lnTo>
                  <a:lnTo>
                    <a:pt x="79" y="174"/>
                  </a:lnTo>
                  <a:lnTo>
                    <a:pt x="83" y="174"/>
                  </a:lnTo>
                  <a:lnTo>
                    <a:pt x="90" y="178"/>
                  </a:lnTo>
                  <a:lnTo>
                    <a:pt x="98" y="178"/>
                  </a:lnTo>
                  <a:lnTo>
                    <a:pt x="92" y="170"/>
                  </a:lnTo>
                  <a:lnTo>
                    <a:pt x="99" y="165"/>
                  </a:lnTo>
                  <a:lnTo>
                    <a:pt x="103" y="170"/>
                  </a:lnTo>
                  <a:lnTo>
                    <a:pt x="116" y="167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27" y="156"/>
                  </a:lnTo>
                  <a:lnTo>
                    <a:pt x="127" y="152"/>
                  </a:lnTo>
                  <a:lnTo>
                    <a:pt x="127" y="152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2" y="103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89"/>
                  </a:lnTo>
                  <a:lnTo>
                    <a:pt x="116" y="83"/>
                  </a:lnTo>
                  <a:lnTo>
                    <a:pt x="116" y="80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0" y="60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1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87" y="38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8" y="32"/>
                  </a:lnTo>
                  <a:lnTo>
                    <a:pt x="83" y="27"/>
                  </a:lnTo>
                  <a:lnTo>
                    <a:pt x="78" y="25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0" y="25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3" y="16"/>
                  </a:lnTo>
                  <a:lnTo>
                    <a:pt x="61" y="12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4" name="Freeform 26">
              <a:extLst>
                <a:ext uri="{FF2B5EF4-FFF2-40B4-BE49-F238E27FC236}">
                  <a16:creationId xmlns:a16="http://schemas.microsoft.com/office/drawing/2014/main" id="{D8418DD8-C17E-374B-B13C-2C58C289C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019" y="3725006"/>
              <a:ext cx="170899" cy="218881"/>
            </a:xfrm>
            <a:custGeom>
              <a:avLst/>
              <a:gdLst>
                <a:gd name="T0" fmla="*/ 10 w 118"/>
                <a:gd name="T1" fmla="*/ 51 h 153"/>
                <a:gd name="T2" fmla="*/ 22 w 118"/>
                <a:gd name="T3" fmla="*/ 60 h 153"/>
                <a:gd name="T4" fmla="*/ 24 w 118"/>
                <a:gd name="T5" fmla="*/ 64 h 153"/>
                <a:gd name="T6" fmla="*/ 26 w 118"/>
                <a:gd name="T7" fmla="*/ 71 h 153"/>
                <a:gd name="T8" fmla="*/ 26 w 118"/>
                <a:gd name="T9" fmla="*/ 71 h 153"/>
                <a:gd name="T10" fmla="*/ 26 w 118"/>
                <a:gd name="T11" fmla="*/ 79 h 153"/>
                <a:gd name="T12" fmla="*/ 17 w 118"/>
                <a:gd name="T13" fmla="*/ 89 h 153"/>
                <a:gd name="T14" fmla="*/ 17 w 118"/>
                <a:gd name="T15" fmla="*/ 93 h 153"/>
                <a:gd name="T16" fmla="*/ 26 w 118"/>
                <a:gd name="T17" fmla="*/ 109 h 153"/>
                <a:gd name="T18" fmla="*/ 28 w 118"/>
                <a:gd name="T19" fmla="*/ 115 h 153"/>
                <a:gd name="T20" fmla="*/ 26 w 118"/>
                <a:gd name="T21" fmla="*/ 122 h 153"/>
                <a:gd name="T22" fmla="*/ 29 w 118"/>
                <a:gd name="T23" fmla="*/ 131 h 153"/>
                <a:gd name="T24" fmla="*/ 24 w 118"/>
                <a:gd name="T25" fmla="*/ 133 h 153"/>
                <a:gd name="T26" fmla="*/ 20 w 118"/>
                <a:gd name="T27" fmla="*/ 137 h 153"/>
                <a:gd name="T28" fmla="*/ 17 w 118"/>
                <a:gd name="T29" fmla="*/ 146 h 153"/>
                <a:gd name="T30" fmla="*/ 19 w 118"/>
                <a:gd name="T31" fmla="*/ 148 h 153"/>
                <a:gd name="T32" fmla="*/ 24 w 118"/>
                <a:gd name="T33" fmla="*/ 149 h 153"/>
                <a:gd name="T34" fmla="*/ 26 w 118"/>
                <a:gd name="T35" fmla="*/ 149 h 153"/>
                <a:gd name="T36" fmla="*/ 35 w 118"/>
                <a:gd name="T37" fmla="*/ 144 h 153"/>
                <a:gd name="T38" fmla="*/ 39 w 118"/>
                <a:gd name="T39" fmla="*/ 140 h 153"/>
                <a:gd name="T40" fmla="*/ 46 w 118"/>
                <a:gd name="T41" fmla="*/ 146 h 153"/>
                <a:gd name="T42" fmla="*/ 51 w 118"/>
                <a:gd name="T43" fmla="*/ 148 h 153"/>
                <a:gd name="T44" fmla="*/ 62 w 118"/>
                <a:gd name="T45" fmla="*/ 146 h 153"/>
                <a:gd name="T46" fmla="*/ 68 w 118"/>
                <a:gd name="T47" fmla="*/ 146 h 153"/>
                <a:gd name="T48" fmla="*/ 71 w 118"/>
                <a:gd name="T49" fmla="*/ 149 h 153"/>
                <a:gd name="T50" fmla="*/ 77 w 118"/>
                <a:gd name="T51" fmla="*/ 148 h 153"/>
                <a:gd name="T52" fmla="*/ 80 w 118"/>
                <a:gd name="T53" fmla="*/ 146 h 153"/>
                <a:gd name="T54" fmla="*/ 89 w 118"/>
                <a:gd name="T55" fmla="*/ 153 h 153"/>
                <a:gd name="T56" fmla="*/ 93 w 118"/>
                <a:gd name="T57" fmla="*/ 153 h 153"/>
                <a:gd name="T58" fmla="*/ 97 w 118"/>
                <a:gd name="T59" fmla="*/ 144 h 153"/>
                <a:gd name="T60" fmla="*/ 100 w 118"/>
                <a:gd name="T61" fmla="*/ 139 h 153"/>
                <a:gd name="T62" fmla="*/ 102 w 118"/>
                <a:gd name="T63" fmla="*/ 137 h 153"/>
                <a:gd name="T64" fmla="*/ 106 w 118"/>
                <a:gd name="T65" fmla="*/ 126 h 153"/>
                <a:gd name="T66" fmla="*/ 102 w 118"/>
                <a:gd name="T67" fmla="*/ 119 h 153"/>
                <a:gd name="T68" fmla="*/ 97 w 118"/>
                <a:gd name="T69" fmla="*/ 115 h 153"/>
                <a:gd name="T70" fmla="*/ 93 w 118"/>
                <a:gd name="T71" fmla="*/ 104 h 153"/>
                <a:gd name="T72" fmla="*/ 89 w 118"/>
                <a:gd name="T73" fmla="*/ 91 h 153"/>
                <a:gd name="T74" fmla="*/ 97 w 118"/>
                <a:gd name="T75" fmla="*/ 84 h 153"/>
                <a:gd name="T76" fmla="*/ 102 w 118"/>
                <a:gd name="T77" fmla="*/ 73 h 153"/>
                <a:gd name="T78" fmla="*/ 113 w 118"/>
                <a:gd name="T79" fmla="*/ 62 h 153"/>
                <a:gd name="T80" fmla="*/ 118 w 118"/>
                <a:gd name="T81" fmla="*/ 57 h 153"/>
                <a:gd name="T82" fmla="*/ 118 w 118"/>
                <a:gd name="T83" fmla="*/ 50 h 153"/>
                <a:gd name="T84" fmla="*/ 117 w 118"/>
                <a:gd name="T85" fmla="*/ 40 h 153"/>
                <a:gd name="T86" fmla="*/ 108 w 118"/>
                <a:gd name="T87" fmla="*/ 35 h 153"/>
                <a:gd name="T88" fmla="*/ 100 w 118"/>
                <a:gd name="T89" fmla="*/ 31 h 153"/>
                <a:gd name="T90" fmla="*/ 89 w 118"/>
                <a:gd name="T91" fmla="*/ 28 h 153"/>
                <a:gd name="T92" fmla="*/ 77 w 118"/>
                <a:gd name="T93" fmla="*/ 26 h 153"/>
                <a:gd name="T94" fmla="*/ 60 w 118"/>
                <a:gd name="T95" fmla="*/ 15 h 153"/>
                <a:gd name="T96" fmla="*/ 60 w 118"/>
                <a:gd name="T97" fmla="*/ 6 h 153"/>
                <a:gd name="T98" fmla="*/ 59 w 118"/>
                <a:gd name="T99" fmla="*/ 0 h 153"/>
                <a:gd name="T100" fmla="*/ 51 w 118"/>
                <a:gd name="T101" fmla="*/ 2 h 153"/>
                <a:gd name="T102" fmla="*/ 48 w 118"/>
                <a:gd name="T103" fmla="*/ 4 h 153"/>
                <a:gd name="T104" fmla="*/ 37 w 118"/>
                <a:gd name="T105" fmla="*/ 6 h 153"/>
                <a:gd name="T106" fmla="*/ 29 w 118"/>
                <a:gd name="T107" fmla="*/ 6 h 153"/>
                <a:gd name="T108" fmla="*/ 24 w 118"/>
                <a:gd name="T109" fmla="*/ 20 h 153"/>
                <a:gd name="T110" fmla="*/ 15 w 118"/>
                <a:gd name="T111" fmla="*/ 22 h 153"/>
                <a:gd name="T112" fmla="*/ 6 w 118"/>
                <a:gd name="T113" fmla="*/ 26 h 153"/>
                <a:gd name="T114" fmla="*/ 0 w 118"/>
                <a:gd name="T115" fmla="*/ 35 h 153"/>
                <a:gd name="T116" fmla="*/ 6 w 118"/>
                <a:gd name="T117" fmla="*/ 44 h 153"/>
                <a:gd name="T118" fmla="*/ 8 w 118"/>
                <a:gd name="T119" fmla="*/ 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53">
                  <a:moveTo>
                    <a:pt x="8" y="48"/>
                  </a:moveTo>
                  <a:lnTo>
                    <a:pt x="8" y="48"/>
                  </a:lnTo>
                  <a:lnTo>
                    <a:pt x="10" y="51"/>
                  </a:lnTo>
                  <a:lnTo>
                    <a:pt x="15" y="55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4" y="64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7"/>
                  </a:lnTo>
                  <a:lnTo>
                    <a:pt x="26" y="79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17" y="89"/>
                  </a:lnTo>
                  <a:lnTo>
                    <a:pt x="17" y="91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8" y="113"/>
                  </a:lnTo>
                  <a:lnTo>
                    <a:pt x="28" y="115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6" y="122"/>
                  </a:lnTo>
                  <a:lnTo>
                    <a:pt x="28" y="126"/>
                  </a:lnTo>
                  <a:lnTo>
                    <a:pt x="29" y="129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6" y="133"/>
                  </a:lnTo>
                  <a:lnTo>
                    <a:pt x="24" y="133"/>
                  </a:lnTo>
                  <a:lnTo>
                    <a:pt x="22" y="133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17" y="140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9" y="148"/>
                  </a:lnTo>
                  <a:lnTo>
                    <a:pt x="19" y="148"/>
                  </a:lnTo>
                  <a:lnTo>
                    <a:pt x="20" y="146"/>
                  </a:lnTo>
                  <a:lnTo>
                    <a:pt x="20" y="148"/>
                  </a:lnTo>
                  <a:lnTo>
                    <a:pt x="24" y="149"/>
                  </a:lnTo>
                  <a:lnTo>
                    <a:pt x="24" y="149"/>
                  </a:lnTo>
                  <a:lnTo>
                    <a:pt x="26" y="151"/>
                  </a:lnTo>
                  <a:lnTo>
                    <a:pt x="26" y="149"/>
                  </a:lnTo>
                  <a:lnTo>
                    <a:pt x="29" y="146"/>
                  </a:lnTo>
                  <a:lnTo>
                    <a:pt x="29" y="146"/>
                  </a:lnTo>
                  <a:lnTo>
                    <a:pt x="35" y="144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42" y="144"/>
                  </a:lnTo>
                  <a:lnTo>
                    <a:pt x="46" y="146"/>
                  </a:lnTo>
                  <a:lnTo>
                    <a:pt x="48" y="146"/>
                  </a:lnTo>
                  <a:lnTo>
                    <a:pt x="51" y="148"/>
                  </a:lnTo>
                  <a:lnTo>
                    <a:pt x="51" y="148"/>
                  </a:lnTo>
                  <a:lnTo>
                    <a:pt x="57" y="148"/>
                  </a:lnTo>
                  <a:lnTo>
                    <a:pt x="60" y="146"/>
                  </a:lnTo>
                  <a:lnTo>
                    <a:pt x="62" y="146"/>
                  </a:lnTo>
                  <a:lnTo>
                    <a:pt x="64" y="144"/>
                  </a:lnTo>
                  <a:lnTo>
                    <a:pt x="64" y="144"/>
                  </a:lnTo>
                  <a:lnTo>
                    <a:pt x="68" y="146"/>
                  </a:lnTo>
                  <a:lnTo>
                    <a:pt x="69" y="146"/>
                  </a:lnTo>
                  <a:lnTo>
                    <a:pt x="71" y="148"/>
                  </a:lnTo>
                  <a:lnTo>
                    <a:pt x="71" y="149"/>
                  </a:lnTo>
                  <a:lnTo>
                    <a:pt x="71" y="149"/>
                  </a:lnTo>
                  <a:lnTo>
                    <a:pt x="73" y="149"/>
                  </a:lnTo>
                  <a:lnTo>
                    <a:pt x="77" y="148"/>
                  </a:lnTo>
                  <a:lnTo>
                    <a:pt x="77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4" y="146"/>
                  </a:lnTo>
                  <a:lnTo>
                    <a:pt x="86" y="148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93" y="153"/>
                  </a:lnTo>
                  <a:lnTo>
                    <a:pt x="93" y="153"/>
                  </a:lnTo>
                  <a:lnTo>
                    <a:pt x="93" y="153"/>
                  </a:lnTo>
                  <a:lnTo>
                    <a:pt x="93" y="149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8" y="140"/>
                  </a:lnTo>
                  <a:lnTo>
                    <a:pt x="100" y="139"/>
                  </a:lnTo>
                  <a:lnTo>
                    <a:pt x="100" y="137"/>
                  </a:lnTo>
                  <a:lnTo>
                    <a:pt x="102" y="137"/>
                  </a:lnTo>
                  <a:lnTo>
                    <a:pt x="102" y="137"/>
                  </a:lnTo>
                  <a:lnTo>
                    <a:pt x="104" y="135"/>
                  </a:lnTo>
                  <a:lnTo>
                    <a:pt x="106" y="133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4" y="122"/>
                  </a:lnTo>
                  <a:lnTo>
                    <a:pt x="102" y="119"/>
                  </a:lnTo>
                  <a:lnTo>
                    <a:pt x="100" y="117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3" y="113"/>
                  </a:lnTo>
                  <a:lnTo>
                    <a:pt x="93" y="109"/>
                  </a:lnTo>
                  <a:lnTo>
                    <a:pt x="93" y="104"/>
                  </a:lnTo>
                  <a:lnTo>
                    <a:pt x="93" y="104"/>
                  </a:lnTo>
                  <a:lnTo>
                    <a:pt x="91" y="95"/>
                  </a:lnTo>
                  <a:lnTo>
                    <a:pt x="89" y="91"/>
                  </a:lnTo>
                  <a:lnTo>
                    <a:pt x="89" y="89"/>
                  </a:lnTo>
                  <a:lnTo>
                    <a:pt x="89" y="89"/>
                  </a:lnTo>
                  <a:lnTo>
                    <a:pt x="97" y="84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2" y="73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3" y="62"/>
                  </a:lnTo>
                  <a:lnTo>
                    <a:pt x="117" y="60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8" y="55"/>
                  </a:lnTo>
                  <a:lnTo>
                    <a:pt x="118" y="55"/>
                  </a:lnTo>
                  <a:lnTo>
                    <a:pt x="118" y="50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0"/>
                  </a:lnTo>
                  <a:lnTo>
                    <a:pt x="113" y="37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4" y="35"/>
                  </a:lnTo>
                  <a:lnTo>
                    <a:pt x="104" y="33"/>
                  </a:lnTo>
                  <a:lnTo>
                    <a:pt x="100" y="31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89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7" y="26"/>
                  </a:lnTo>
                  <a:lnTo>
                    <a:pt x="71" y="22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60" y="6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5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7" y="6"/>
                  </a:lnTo>
                  <a:lnTo>
                    <a:pt x="31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7" y="20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6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5" name="Freeform 27">
              <a:extLst>
                <a:ext uri="{FF2B5EF4-FFF2-40B4-BE49-F238E27FC236}">
                  <a16:creationId xmlns:a16="http://schemas.microsoft.com/office/drawing/2014/main" id="{9B3CB8DA-7D7C-3340-8757-5F5E17934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776" y="3855191"/>
              <a:ext cx="133244" cy="127323"/>
            </a:xfrm>
            <a:custGeom>
              <a:avLst/>
              <a:gdLst>
                <a:gd name="T0" fmla="*/ 69 w 92"/>
                <a:gd name="T1" fmla="*/ 73 h 89"/>
                <a:gd name="T2" fmla="*/ 73 w 92"/>
                <a:gd name="T3" fmla="*/ 69 h 89"/>
                <a:gd name="T4" fmla="*/ 73 w 92"/>
                <a:gd name="T5" fmla="*/ 66 h 89"/>
                <a:gd name="T6" fmla="*/ 78 w 92"/>
                <a:gd name="T7" fmla="*/ 62 h 89"/>
                <a:gd name="T8" fmla="*/ 82 w 92"/>
                <a:gd name="T9" fmla="*/ 57 h 89"/>
                <a:gd name="T10" fmla="*/ 82 w 92"/>
                <a:gd name="T11" fmla="*/ 57 h 89"/>
                <a:gd name="T12" fmla="*/ 80 w 92"/>
                <a:gd name="T13" fmla="*/ 55 h 89"/>
                <a:gd name="T14" fmla="*/ 80 w 92"/>
                <a:gd name="T15" fmla="*/ 49 h 89"/>
                <a:gd name="T16" fmla="*/ 83 w 92"/>
                <a:gd name="T17" fmla="*/ 46 h 89"/>
                <a:gd name="T18" fmla="*/ 87 w 92"/>
                <a:gd name="T19" fmla="*/ 42 h 89"/>
                <a:gd name="T20" fmla="*/ 92 w 92"/>
                <a:gd name="T21" fmla="*/ 40 h 89"/>
                <a:gd name="T22" fmla="*/ 92 w 92"/>
                <a:gd name="T23" fmla="*/ 38 h 89"/>
                <a:gd name="T24" fmla="*/ 89 w 92"/>
                <a:gd name="T25" fmla="*/ 31 h 89"/>
                <a:gd name="T26" fmla="*/ 89 w 92"/>
                <a:gd name="T27" fmla="*/ 28 h 89"/>
                <a:gd name="T28" fmla="*/ 91 w 92"/>
                <a:gd name="T29" fmla="*/ 22 h 89"/>
                <a:gd name="T30" fmla="*/ 89 w 92"/>
                <a:gd name="T31" fmla="*/ 18 h 89"/>
                <a:gd name="T32" fmla="*/ 82 w 92"/>
                <a:gd name="T33" fmla="*/ 4 h 89"/>
                <a:gd name="T34" fmla="*/ 69 w 92"/>
                <a:gd name="T35" fmla="*/ 6 h 89"/>
                <a:gd name="T36" fmla="*/ 67 w 92"/>
                <a:gd name="T37" fmla="*/ 6 h 89"/>
                <a:gd name="T38" fmla="*/ 62 w 92"/>
                <a:gd name="T39" fmla="*/ 4 h 89"/>
                <a:gd name="T40" fmla="*/ 60 w 92"/>
                <a:gd name="T41" fmla="*/ 4 h 89"/>
                <a:gd name="T42" fmla="*/ 56 w 92"/>
                <a:gd name="T43" fmla="*/ 6 h 89"/>
                <a:gd name="T44" fmla="*/ 53 w 92"/>
                <a:gd name="T45" fmla="*/ 11 h 89"/>
                <a:gd name="T46" fmla="*/ 49 w 92"/>
                <a:gd name="T47" fmla="*/ 11 h 89"/>
                <a:gd name="T48" fmla="*/ 40 w 92"/>
                <a:gd name="T49" fmla="*/ 2 h 89"/>
                <a:gd name="T50" fmla="*/ 38 w 92"/>
                <a:gd name="T51" fmla="*/ 0 h 89"/>
                <a:gd name="T52" fmla="*/ 27 w 92"/>
                <a:gd name="T53" fmla="*/ 0 h 89"/>
                <a:gd name="T54" fmla="*/ 16 w 92"/>
                <a:gd name="T55" fmla="*/ 0 h 89"/>
                <a:gd name="T56" fmla="*/ 7 w 92"/>
                <a:gd name="T57" fmla="*/ 4 h 89"/>
                <a:gd name="T58" fmla="*/ 5 w 92"/>
                <a:gd name="T59" fmla="*/ 6 h 89"/>
                <a:gd name="T60" fmla="*/ 2 w 92"/>
                <a:gd name="T61" fmla="*/ 6 h 89"/>
                <a:gd name="T62" fmla="*/ 3 w 92"/>
                <a:gd name="T63" fmla="*/ 15 h 89"/>
                <a:gd name="T64" fmla="*/ 3 w 92"/>
                <a:gd name="T65" fmla="*/ 18 h 89"/>
                <a:gd name="T66" fmla="*/ 0 w 92"/>
                <a:gd name="T67" fmla="*/ 24 h 89"/>
                <a:gd name="T68" fmla="*/ 0 w 92"/>
                <a:gd name="T69" fmla="*/ 26 h 89"/>
                <a:gd name="T70" fmla="*/ 3 w 92"/>
                <a:gd name="T71" fmla="*/ 31 h 89"/>
                <a:gd name="T72" fmla="*/ 2 w 92"/>
                <a:gd name="T73" fmla="*/ 38 h 89"/>
                <a:gd name="T74" fmla="*/ 3 w 92"/>
                <a:gd name="T75" fmla="*/ 44 h 89"/>
                <a:gd name="T76" fmla="*/ 16 w 92"/>
                <a:gd name="T77" fmla="*/ 60 h 89"/>
                <a:gd name="T78" fmla="*/ 14 w 92"/>
                <a:gd name="T79" fmla="*/ 62 h 89"/>
                <a:gd name="T80" fmla="*/ 9 w 92"/>
                <a:gd name="T81" fmla="*/ 66 h 89"/>
                <a:gd name="T82" fmla="*/ 11 w 92"/>
                <a:gd name="T83" fmla="*/ 69 h 89"/>
                <a:gd name="T84" fmla="*/ 14 w 92"/>
                <a:gd name="T85" fmla="*/ 75 h 89"/>
                <a:gd name="T86" fmla="*/ 14 w 92"/>
                <a:gd name="T87" fmla="*/ 75 h 89"/>
                <a:gd name="T88" fmla="*/ 20 w 92"/>
                <a:gd name="T89" fmla="*/ 78 h 89"/>
                <a:gd name="T90" fmla="*/ 22 w 92"/>
                <a:gd name="T91" fmla="*/ 84 h 89"/>
                <a:gd name="T92" fmla="*/ 25 w 92"/>
                <a:gd name="T93" fmla="*/ 89 h 89"/>
                <a:gd name="T94" fmla="*/ 31 w 92"/>
                <a:gd name="T95" fmla="*/ 89 h 89"/>
                <a:gd name="T96" fmla="*/ 36 w 92"/>
                <a:gd name="T97" fmla="*/ 88 h 89"/>
                <a:gd name="T98" fmla="*/ 40 w 92"/>
                <a:gd name="T99" fmla="*/ 86 h 89"/>
                <a:gd name="T100" fmla="*/ 42 w 92"/>
                <a:gd name="T101" fmla="*/ 86 h 89"/>
                <a:gd name="T102" fmla="*/ 45 w 92"/>
                <a:gd name="T103" fmla="*/ 84 h 89"/>
                <a:gd name="T104" fmla="*/ 49 w 92"/>
                <a:gd name="T105" fmla="*/ 82 h 89"/>
                <a:gd name="T106" fmla="*/ 53 w 92"/>
                <a:gd name="T107" fmla="*/ 84 h 89"/>
                <a:gd name="T108" fmla="*/ 63 w 92"/>
                <a:gd name="T109" fmla="*/ 78 h 89"/>
                <a:gd name="T110" fmla="*/ 65 w 92"/>
                <a:gd name="T111" fmla="*/ 75 h 89"/>
                <a:gd name="T112" fmla="*/ 69 w 92"/>
                <a:gd name="T113" fmla="*/ 73 h 89"/>
                <a:gd name="T114" fmla="*/ 69 w 92"/>
                <a:gd name="T115" fmla="*/ 73 h 89"/>
                <a:gd name="T116" fmla="*/ 69 w 92"/>
                <a:gd name="T117" fmla="*/ 7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" h="89">
                  <a:moveTo>
                    <a:pt x="69" y="73"/>
                  </a:moveTo>
                  <a:lnTo>
                    <a:pt x="69" y="73"/>
                  </a:lnTo>
                  <a:lnTo>
                    <a:pt x="71" y="73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8" y="62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49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5" y="42"/>
                  </a:lnTo>
                  <a:lnTo>
                    <a:pt x="87" y="42"/>
                  </a:lnTo>
                  <a:lnTo>
                    <a:pt x="89" y="42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8"/>
                  </a:lnTo>
                  <a:lnTo>
                    <a:pt x="91" y="35"/>
                  </a:lnTo>
                  <a:lnTo>
                    <a:pt x="89" y="31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91" y="24"/>
                  </a:lnTo>
                  <a:lnTo>
                    <a:pt x="91" y="22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76" y="4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7" y="6"/>
                  </a:lnTo>
                  <a:lnTo>
                    <a:pt x="63" y="6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6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49" y="11"/>
                  </a:lnTo>
                  <a:lnTo>
                    <a:pt x="47" y="8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1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3" y="44"/>
                  </a:lnTo>
                  <a:lnTo>
                    <a:pt x="7" y="49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62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1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8" y="77"/>
                  </a:lnTo>
                  <a:lnTo>
                    <a:pt x="20" y="78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3" y="88"/>
                  </a:lnTo>
                  <a:lnTo>
                    <a:pt x="25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4" y="89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3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9" y="82"/>
                  </a:lnTo>
                  <a:lnTo>
                    <a:pt x="51" y="82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6" name="Freeform 28">
              <a:extLst>
                <a:ext uri="{FF2B5EF4-FFF2-40B4-BE49-F238E27FC236}">
                  <a16:creationId xmlns:a16="http://schemas.microsoft.com/office/drawing/2014/main" id="{D3FBE11F-1067-064A-AB3D-2B904795D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020" y="4079794"/>
              <a:ext cx="189727" cy="217451"/>
            </a:xfrm>
            <a:custGeom>
              <a:avLst/>
              <a:gdLst>
                <a:gd name="T0" fmla="*/ 102 w 131"/>
                <a:gd name="T1" fmla="*/ 152 h 152"/>
                <a:gd name="T2" fmla="*/ 106 w 131"/>
                <a:gd name="T3" fmla="*/ 143 h 152"/>
                <a:gd name="T4" fmla="*/ 113 w 131"/>
                <a:gd name="T5" fmla="*/ 138 h 152"/>
                <a:gd name="T6" fmla="*/ 119 w 131"/>
                <a:gd name="T7" fmla="*/ 130 h 152"/>
                <a:gd name="T8" fmla="*/ 120 w 131"/>
                <a:gd name="T9" fmla="*/ 121 h 152"/>
                <a:gd name="T10" fmla="*/ 120 w 131"/>
                <a:gd name="T11" fmla="*/ 110 h 152"/>
                <a:gd name="T12" fmla="*/ 124 w 131"/>
                <a:gd name="T13" fmla="*/ 107 h 152"/>
                <a:gd name="T14" fmla="*/ 124 w 131"/>
                <a:gd name="T15" fmla="*/ 96 h 152"/>
                <a:gd name="T16" fmla="*/ 129 w 131"/>
                <a:gd name="T17" fmla="*/ 89 h 152"/>
                <a:gd name="T18" fmla="*/ 122 w 131"/>
                <a:gd name="T19" fmla="*/ 80 h 152"/>
                <a:gd name="T20" fmla="*/ 120 w 131"/>
                <a:gd name="T21" fmla="*/ 78 h 152"/>
                <a:gd name="T22" fmla="*/ 111 w 131"/>
                <a:gd name="T23" fmla="*/ 69 h 152"/>
                <a:gd name="T24" fmla="*/ 99 w 131"/>
                <a:gd name="T25" fmla="*/ 56 h 152"/>
                <a:gd name="T26" fmla="*/ 93 w 131"/>
                <a:gd name="T27" fmla="*/ 58 h 152"/>
                <a:gd name="T28" fmla="*/ 88 w 131"/>
                <a:gd name="T29" fmla="*/ 63 h 152"/>
                <a:gd name="T30" fmla="*/ 80 w 131"/>
                <a:gd name="T31" fmla="*/ 58 h 152"/>
                <a:gd name="T32" fmla="*/ 75 w 131"/>
                <a:gd name="T33" fmla="*/ 45 h 152"/>
                <a:gd name="T34" fmla="*/ 77 w 131"/>
                <a:gd name="T35" fmla="*/ 36 h 152"/>
                <a:gd name="T36" fmla="*/ 73 w 131"/>
                <a:gd name="T37" fmla="*/ 25 h 152"/>
                <a:gd name="T38" fmla="*/ 68 w 131"/>
                <a:gd name="T39" fmla="*/ 21 h 152"/>
                <a:gd name="T40" fmla="*/ 57 w 131"/>
                <a:gd name="T41" fmla="*/ 18 h 152"/>
                <a:gd name="T42" fmla="*/ 51 w 131"/>
                <a:gd name="T43" fmla="*/ 10 h 152"/>
                <a:gd name="T44" fmla="*/ 42 w 131"/>
                <a:gd name="T45" fmla="*/ 9 h 152"/>
                <a:gd name="T46" fmla="*/ 39 w 131"/>
                <a:gd name="T47" fmla="*/ 1 h 152"/>
                <a:gd name="T48" fmla="*/ 35 w 131"/>
                <a:gd name="T49" fmla="*/ 0 h 152"/>
                <a:gd name="T50" fmla="*/ 26 w 131"/>
                <a:gd name="T51" fmla="*/ 10 h 152"/>
                <a:gd name="T52" fmla="*/ 22 w 131"/>
                <a:gd name="T53" fmla="*/ 21 h 152"/>
                <a:gd name="T54" fmla="*/ 19 w 131"/>
                <a:gd name="T55" fmla="*/ 32 h 152"/>
                <a:gd name="T56" fmla="*/ 15 w 131"/>
                <a:gd name="T57" fmla="*/ 65 h 152"/>
                <a:gd name="T58" fmla="*/ 15 w 131"/>
                <a:gd name="T59" fmla="*/ 67 h 152"/>
                <a:gd name="T60" fmla="*/ 10 w 131"/>
                <a:gd name="T61" fmla="*/ 67 h 152"/>
                <a:gd name="T62" fmla="*/ 0 w 131"/>
                <a:gd name="T63" fmla="*/ 70 h 152"/>
                <a:gd name="T64" fmla="*/ 10 w 131"/>
                <a:gd name="T65" fmla="*/ 78 h 152"/>
                <a:gd name="T66" fmla="*/ 19 w 131"/>
                <a:gd name="T67" fmla="*/ 90 h 152"/>
                <a:gd name="T68" fmla="*/ 22 w 131"/>
                <a:gd name="T69" fmla="*/ 98 h 152"/>
                <a:gd name="T70" fmla="*/ 30 w 131"/>
                <a:gd name="T71" fmla="*/ 105 h 152"/>
                <a:gd name="T72" fmla="*/ 37 w 131"/>
                <a:gd name="T73" fmla="*/ 101 h 152"/>
                <a:gd name="T74" fmla="*/ 40 w 131"/>
                <a:gd name="T75" fmla="*/ 110 h 152"/>
                <a:gd name="T76" fmla="*/ 42 w 131"/>
                <a:gd name="T77" fmla="*/ 118 h 152"/>
                <a:gd name="T78" fmla="*/ 55 w 131"/>
                <a:gd name="T79" fmla="*/ 127 h 152"/>
                <a:gd name="T80" fmla="*/ 64 w 131"/>
                <a:gd name="T81" fmla="*/ 130 h 152"/>
                <a:gd name="T82" fmla="*/ 64 w 131"/>
                <a:gd name="T83" fmla="*/ 139 h 152"/>
                <a:gd name="T84" fmla="*/ 71 w 131"/>
                <a:gd name="T85" fmla="*/ 141 h 152"/>
                <a:gd name="T86" fmla="*/ 84 w 131"/>
                <a:gd name="T87" fmla="*/ 139 h 152"/>
                <a:gd name="T88" fmla="*/ 89 w 131"/>
                <a:gd name="T89" fmla="*/ 147 h 152"/>
                <a:gd name="T90" fmla="*/ 93 w 131"/>
                <a:gd name="T91" fmla="*/ 152 h 152"/>
                <a:gd name="T92" fmla="*/ 97 w 131"/>
                <a:gd name="T93" fmla="*/ 152 h 152"/>
                <a:gd name="T94" fmla="*/ 100 w 131"/>
                <a:gd name="T9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1" h="152">
                  <a:moveTo>
                    <a:pt x="100" y="152"/>
                  </a:moveTo>
                  <a:lnTo>
                    <a:pt x="100" y="152"/>
                  </a:lnTo>
                  <a:lnTo>
                    <a:pt x="102" y="152"/>
                  </a:lnTo>
                  <a:lnTo>
                    <a:pt x="104" y="150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9" y="141"/>
                  </a:lnTo>
                  <a:lnTo>
                    <a:pt x="113" y="139"/>
                  </a:lnTo>
                  <a:lnTo>
                    <a:pt x="113" y="138"/>
                  </a:lnTo>
                  <a:lnTo>
                    <a:pt x="117" y="136"/>
                  </a:lnTo>
                  <a:lnTo>
                    <a:pt x="117" y="136"/>
                  </a:lnTo>
                  <a:lnTo>
                    <a:pt x="119" y="130"/>
                  </a:lnTo>
                  <a:lnTo>
                    <a:pt x="120" y="129"/>
                  </a:lnTo>
                  <a:lnTo>
                    <a:pt x="120" y="129"/>
                  </a:lnTo>
                  <a:lnTo>
                    <a:pt x="120" y="121"/>
                  </a:lnTo>
                  <a:lnTo>
                    <a:pt x="120" y="118"/>
                  </a:lnTo>
                  <a:lnTo>
                    <a:pt x="120" y="112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2" y="107"/>
                  </a:lnTo>
                  <a:lnTo>
                    <a:pt x="124" y="107"/>
                  </a:lnTo>
                  <a:lnTo>
                    <a:pt x="124" y="101"/>
                  </a:lnTo>
                  <a:lnTo>
                    <a:pt x="124" y="101"/>
                  </a:lnTo>
                  <a:lnTo>
                    <a:pt x="124" y="96"/>
                  </a:lnTo>
                  <a:lnTo>
                    <a:pt x="126" y="92"/>
                  </a:lnTo>
                  <a:lnTo>
                    <a:pt x="129" y="89"/>
                  </a:lnTo>
                  <a:lnTo>
                    <a:pt x="129" y="89"/>
                  </a:lnTo>
                  <a:lnTo>
                    <a:pt x="131" y="85"/>
                  </a:lnTo>
                  <a:lnTo>
                    <a:pt x="129" y="83"/>
                  </a:lnTo>
                  <a:lnTo>
                    <a:pt x="122" y="80"/>
                  </a:lnTo>
                  <a:lnTo>
                    <a:pt x="122" y="80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15" y="74"/>
                  </a:lnTo>
                  <a:lnTo>
                    <a:pt x="111" y="69"/>
                  </a:lnTo>
                  <a:lnTo>
                    <a:pt x="111" y="69"/>
                  </a:lnTo>
                  <a:lnTo>
                    <a:pt x="104" y="60"/>
                  </a:lnTo>
                  <a:lnTo>
                    <a:pt x="100" y="58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5" y="56"/>
                  </a:lnTo>
                  <a:lnTo>
                    <a:pt x="93" y="58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88" y="63"/>
                  </a:lnTo>
                  <a:lnTo>
                    <a:pt x="84" y="63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6"/>
                  </a:lnTo>
                  <a:lnTo>
                    <a:pt x="77" y="50"/>
                  </a:lnTo>
                  <a:lnTo>
                    <a:pt x="75" y="45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7" y="36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3" y="25"/>
                  </a:lnTo>
                  <a:lnTo>
                    <a:pt x="71" y="23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4" y="18"/>
                  </a:lnTo>
                  <a:lnTo>
                    <a:pt x="60" y="18"/>
                  </a:lnTo>
                  <a:lnTo>
                    <a:pt x="57" y="18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1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2" y="9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1" y="5"/>
                  </a:lnTo>
                  <a:lnTo>
                    <a:pt x="28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8" y="16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5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1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6" y="69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10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9" y="90"/>
                  </a:lnTo>
                  <a:lnTo>
                    <a:pt x="19" y="94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101"/>
                  </a:lnTo>
                  <a:lnTo>
                    <a:pt x="28" y="105"/>
                  </a:lnTo>
                  <a:lnTo>
                    <a:pt x="30" y="105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7" y="101"/>
                  </a:lnTo>
                  <a:lnTo>
                    <a:pt x="39" y="105"/>
                  </a:lnTo>
                  <a:lnTo>
                    <a:pt x="40" y="107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2" y="116"/>
                  </a:lnTo>
                  <a:lnTo>
                    <a:pt x="42" y="11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55" y="127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68" y="141"/>
                  </a:lnTo>
                  <a:lnTo>
                    <a:pt x="71" y="141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9" y="141"/>
                  </a:lnTo>
                  <a:lnTo>
                    <a:pt x="89" y="147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5" y="152"/>
                  </a:lnTo>
                  <a:lnTo>
                    <a:pt x="95" y="152"/>
                  </a:lnTo>
                  <a:lnTo>
                    <a:pt x="97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lnTo>
                    <a:pt x="10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7" name="Freeform 29">
              <a:extLst>
                <a:ext uri="{FF2B5EF4-FFF2-40B4-BE49-F238E27FC236}">
                  <a16:creationId xmlns:a16="http://schemas.microsoft.com/office/drawing/2014/main" id="{E13E7220-9016-3A40-AD7A-19AE30137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638" y="3962486"/>
              <a:ext cx="162209" cy="153074"/>
            </a:xfrm>
            <a:custGeom>
              <a:avLst/>
              <a:gdLst>
                <a:gd name="T0" fmla="*/ 72 w 112"/>
                <a:gd name="T1" fmla="*/ 91 h 107"/>
                <a:gd name="T2" fmla="*/ 74 w 112"/>
                <a:gd name="T3" fmla="*/ 76 h 107"/>
                <a:gd name="T4" fmla="*/ 81 w 112"/>
                <a:gd name="T5" fmla="*/ 65 h 107"/>
                <a:gd name="T6" fmla="*/ 89 w 112"/>
                <a:gd name="T7" fmla="*/ 58 h 107"/>
                <a:gd name="T8" fmla="*/ 105 w 112"/>
                <a:gd name="T9" fmla="*/ 49 h 107"/>
                <a:gd name="T10" fmla="*/ 107 w 112"/>
                <a:gd name="T11" fmla="*/ 42 h 107"/>
                <a:gd name="T12" fmla="*/ 112 w 112"/>
                <a:gd name="T13" fmla="*/ 36 h 107"/>
                <a:gd name="T14" fmla="*/ 109 w 112"/>
                <a:gd name="T15" fmla="*/ 31 h 107"/>
                <a:gd name="T16" fmla="*/ 105 w 112"/>
                <a:gd name="T17" fmla="*/ 27 h 107"/>
                <a:gd name="T18" fmla="*/ 98 w 112"/>
                <a:gd name="T19" fmla="*/ 29 h 107"/>
                <a:gd name="T20" fmla="*/ 89 w 112"/>
                <a:gd name="T21" fmla="*/ 22 h 107"/>
                <a:gd name="T22" fmla="*/ 89 w 112"/>
                <a:gd name="T23" fmla="*/ 20 h 107"/>
                <a:gd name="T24" fmla="*/ 89 w 112"/>
                <a:gd name="T25" fmla="*/ 13 h 107"/>
                <a:gd name="T26" fmla="*/ 89 w 112"/>
                <a:gd name="T27" fmla="*/ 9 h 107"/>
                <a:gd name="T28" fmla="*/ 87 w 112"/>
                <a:gd name="T29" fmla="*/ 7 h 107"/>
                <a:gd name="T30" fmla="*/ 81 w 112"/>
                <a:gd name="T31" fmla="*/ 9 h 107"/>
                <a:gd name="T32" fmla="*/ 79 w 112"/>
                <a:gd name="T33" fmla="*/ 9 h 107"/>
                <a:gd name="T34" fmla="*/ 76 w 112"/>
                <a:gd name="T35" fmla="*/ 11 h 107"/>
                <a:gd name="T36" fmla="*/ 74 w 112"/>
                <a:gd name="T37" fmla="*/ 11 h 107"/>
                <a:gd name="T38" fmla="*/ 70 w 112"/>
                <a:gd name="T39" fmla="*/ 14 h 107"/>
                <a:gd name="T40" fmla="*/ 67 w 112"/>
                <a:gd name="T41" fmla="*/ 14 h 107"/>
                <a:gd name="T42" fmla="*/ 59 w 112"/>
                <a:gd name="T43" fmla="*/ 13 h 107"/>
                <a:gd name="T44" fmla="*/ 58 w 112"/>
                <a:gd name="T45" fmla="*/ 9 h 107"/>
                <a:gd name="T46" fmla="*/ 54 w 112"/>
                <a:gd name="T47" fmla="*/ 2 h 107"/>
                <a:gd name="T48" fmla="*/ 50 w 112"/>
                <a:gd name="T49" fmla="*/ 0 h 107"/>
                <a:gd name="T50" fmla="*/ 50 w 112"/>
                <a:gd name="T51" fmla="*/ 0 h 107"/>
                <a:gd name="T52" fmla="*/ 43 w 112"/>
                <a:gd name="T53" fmla="*/ 3 h 107"/>
                <a:gd name="T54" fmla="*/ 38 w 112"/>
                <a:gd name="T55" fmla="*/ 7 h 107"/>
                <a:gd name="T56" fmla="*/ 30 w 112"/>
                <a:gd name="T57" fmla="*/ 7 h 107"/>
                <a:gd name="T58" fmla="*/ 29 w 112"/>
                <a:gd name="T59" fmla="*/ 9 h 107"/>
                <a:gd name="T60" fmla="*/ 29 w 112"/>
                <a:gd name="T61" fmla="*/ 13 h 107"/>
                <a:gd name="T62" fmla="*/ 23 w 112"/>
                <a:gd name="T63" fmla="*/ 22 h 107"/>
                <a:gd name="T64" fmla="*/ 23 w 112"/>
                <a:gd name="T65" fmla="*/ 27 h 107"/>
                <a:gd name="T66" fmla="*/ 16 w 112"/>
                <a:gd name="T67" fmla="*/ 27 h 107"/>
                <a:gd name="T68" fmla="*/ 9 w 112"/>
                <a:gd name="T69" fmla="*/ 25 h 107"/>
                <a:gd name="T70" fmla="*/ 5 w 112"/>
                <a:gd name="T71" fmla="*/ 27 h 107"/>
                <a:gd name="T72" fmla="*/ 3 w 112"/>
                <a:gd name="T73" fmla="*/ 29 h 107"/>
                <a:gd name="T74" fmla="*/ 0 w 112"/>
                <a:gd name="T75" fmla="*/ 29 h 107"/>
                <a:gd name="T76" fmla="*/ 0 w 112"/>
                <a:gd name="T77" fmla="*/ 34 h 107"/>
                <a:gd name="T78" fmla="*/ 1 w 112"/>
                <a:gd name="T79" fmla="*/ 40 h 107"/>
                <a:gd name="T80" fmla="*/ 3 w 112"/>
                <a:gd name="T81" fmla="*/ 43 h 107"/>
                <a:gd name="T82" fmla="*/ 9 w 112"/>
                <a:gd name="T83" fmla="*/ 45 h 107"/>
                <a:gd name="T84" fmla="*/ 10 w 112"/>
                <a:gd name="T85" fmla="*/ 45 h 107"/>
                <a:gd name="T86" fmla="*/ 12 w 112"/>
                <a:gd name="T87" fmla="*/ 45 h 107"/>
                <a:gd name="T88" fmla="*/ 18 w 112"/>
                <a:gd name="T89" fmla="*/ 47 h 107"/>
                <a:gd name="T90" fmla="*/ 23 w 112"/>
                <a:gd name="T91" fmla="*/ 49 h 107"/>
                <a:gd name="T92" fmla="*/ 29 w 112"/>
                <a:gd name="T93" fmla="*/ 52 h 107"/>
                <a:gd name="T94" fmla="*/ 29 w 112"/>
                <a:gd name="T95" fmla="*/ 62 h 107"/>
                <a:gd name="T96" fmla="*/ 32 w 112"/>
                <a:gd name="T97" fmla="*/ 69 h 107"/>
                <a:gd name="T98" fmla="*/ 32 w 112"/>
                <a:gd name="T99" fmla="*/ 69 h 107"/>
                <a:gd name="T100" fmla="*/ 36 w 112"/>
                <a:gd name="T101" fmla="*/ 72 h 107"/>
                <a:gd name="T102" fmla="*/ 39 w 112"/>
                <a:gd name="T103" fmla="*/ 87 h 107"/>
                <a:gd name="T104" fmla="*/ 43 w 112"/>
                <a:gd name="T105" fmla="*/ 91 h 107"/>
                <a:gd name="T106" fmla="*/ 50 w 112"/>
                <a:gd name="T107" fmla="*/ 96 h 107"/>
                <a:gd name="T108" fmla="*/ 56 w 112"/>
                <a:gd name="T109" fmla="*/ 103 h 107"/>
                <a:gd name="T110" fmla="*/ 58 w 112"/>
                <a:gd name="T111" fmla="*/ 107 h 107"/>
                <a:gd name="T112" fmla="*/ 70 w 112"/>
                <a:gd name="T113" fmla="*/ 100 h 107"/>
                <a:gd name="T114" fmla="*/ 72 w 112"/>
                <a:gd name="T115" fmla="*/ 100 h 107"/>
                <a:gd name="T116" fmla="*/ 72 w 112"/>
                <a:gd name="T117" fmla="*/ 94 h 107"/>
                <a:gd name="T118" fmla="*/ 72 w 112"/>
                <a:gd name="T119" fmla="*/ 91 h 107"/>
                <a:gd name="T120" fmla="*/ 72 w 112"/>
                <a:gd name="T121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2" h="107">
                  <a:moveTo>
                    <a:pt x="72" y="91"/>
                  </a:moveTo>
                  <a:lnTo>
                    <a:pt x="72" y="91"/>
                  </a:lnTo>
                  <a:lnTo>
                    <a:pt x="72" y="83"/>
                  </a:lnTo>
                  <a:lnTo>
                    <a:pt x="74" y="76"/>
                  </a:lnTo>
                  <a:lnTo>
                    <a:pt x="76" y="69"/>
                  </a:lnTo>
                  <a:lnTo>
                    <a:pt x="81" y="65"/>
                  </a:lnTo>
                  <a:lnTo>
                    <a:pt x="85" y="63"/>
                  </a:lnTo>
                  <a:lnTo>
                    <a:pt x="89" y="58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7" y="42"/>
                  </a:lnTo>
                  <a:lnTo>
                    <a:pt x="107" y="42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09" y="31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9" y="20"/>
                  </a:lnTo>
                  <a:lnTo>
                    <a:pt x="89" y="16"/>
                  </a:lnTo>
                  <a:lnTo>
                    <a:pt x="89" y="13"/>
                  </a:lnTo>
                  <a:lnTo>
                    <a:pt x="92" y="11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9" y="9"/>
                  </a:lnTo>
                  <a:lnTo>
                    <a:pt x="78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4" y="11"/>
                  </a:lnTo>
                  <a:lnTo>
                    <a:pt x="72" y="13"/>
                  </a:lnTo>
                  <a:lnTo>
                    <a:pt x="70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1" y="14"/>
                  </a:lnTo>
                  <a:lnTo>
                    <a:pt x="59" y="13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6" y="3"/>
                  </a:lnTo>
                  <a:lnTo>
                    <a:pt x="54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1" y="5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0" y="7"/>
                  </a:lnTo>
                  <a:lnTo>
                    <a:pt x="29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13"/>
                  </a:lnTo>
                  <a:lnTo>
                    <a:pt x="29" y="16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7"/>
                  </a:lnTo>
                  <a:lnTo>
                    <a:pt x="20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9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40"/>
                  </a:lnTo>
                  <a:lnTo>
                    <a:pt x="1" y="42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4" y="45"/>
                  </a:lnTo>
                  <a:lnTo>
                    <a:pt x="18" y="47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52"/>
                  </a:lnTo>
                  <a:lnTo>
                    <a:pt x="29" y="5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7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6" y="72"/>
                  </a:lnTo>
                  <a:lnTo>
                    <a:pt x="38" y="76"/>
                  </a:lnTo>
                  <a:lnTo>
                    <a:pt x="39" y="87"/>
                  </a:lnTo>
                  <a:lnTo>
                    <a:pt x="39" y="87"/>
                  </a:lnTo>
                  <a:lnTo>
                    <a:pt x="43" y="91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63" y="103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2" y="100"/>
                  </a:lnTo>
                  <a:lnTo>
                    <a:pt x="72" y="98"/>
                  </a:lnTo>
                  <a:lnTo>
                    <a:pt x="72" y="94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2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8" name="Freeform 30">
              <a:extLst>
                <a:ext uri="{FF2B5EF4-FFF2-40B4-BE49-F238E27FC236}">
                  <a16:creationId xmlns:a16="http://schemas.microsoft.com/office/drawing/2014/main" id="{BC6AC6E5-B6E7-4047-ACF7-4933C03900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0680" y="3858052"/>
              <a:ext cx="369316" cy="381969"/>
            </a:xfrm>
            <a:custGeom>
              <a:avLst/>
              <a:gdLst>
                <a:gd name="T0" fmla="*/ 126 w 255"/>
                <a:gd name="T1" fmla="*/ 18 h 267"/>
                <a:gd name="T2" fmla="*/ 113 w 255"/>
                <a:gd name="T3" fmla="*/ 20 h 267"/>
                <a:gd name="T4" fmla="*/ 117 w 255"/>
                <a:gd name="T5" fmla="*/ 24 h 267"/>
                <a:gd name="T6" fmla="*/ 126 w 255"/>
                <a:gd name="T7" fmla="*/ 29 h 267"/>
                <a:gd name="T8" fmla="*/ 109 w 255"/>
                <a:gd name="T9" fmla="*/ 53 h 267"/>
                <a:gd name="T10" fmla="*/ 95 w 255"/>
                <a:gd name="T11" fmla="*/ 75 h 267"/>
                <a:gd name="T12" fmla="*/ 77 w 255"/>
                <a:gd name="T13" fmla="*/ 86 h 267"/>
                <a:gd name="T14" fmla="*/ 51 w 255"/>
                <a:gd name="T15" fmla="*/ 86 h 267"/>
                <a:gd name="T16" fmla="*/ 35 w 255"/>
                <a:gd name="T17" fmla="*/ 96 h 267"/>
                <a:gd name="T18" fmla="*/ 42 w 255"/>
                <a:gd name="T19" fmla="*/ 135 h 267"/>
                <a:gd name="T20" fmla="*/ 24 w 255"/>
                <a:gd name="T21" fmla="*/ 124 h 267"/>
                <a:gd name="T22" fmla="*/ 9 w 255"/>
                <a:gd name="T23" fmla="*/ 136 h 267"/>
                <a:gd name="T24" fmla="*/ 6 w 255"/>
                <a:gd name="T25" fmla="*/ 151 h 267"/>
                <a:gd name="T26" fmla="*/ 24 w 255"/>
                <a:gd name="T27" fmla="*/ 164 h 267"/>
                <a:gd name="T28" fmla="*/ 48 w 255"/>
                <a:gd name="T29" fmla="*/ 178 h 267"/>
                <a:gd name="T30" fmla="*/ 55 w 255"/>
                <a:gd name="T31" fmla="*/ 176 h 267"/>
                <a:gd name="T32" fmla="*/ 55 w 255"/>
                <a:gd name="T33" fmla="*/ 189 h 267"/>
                <a:gd name="T34" fmla="*/ 57 w 255"/>
                <a:gd name="T35" fmla="*/ 224 h 267"/>
                <a:gd name="T36" fmla="*/ 66 w 255"/>
                <a:gd name="T37" fmla="*/ 245 h 267"/>
                <a:gd name="T38" fmla="*/ 69 w 255"/>
                <a:gd name="T39" fmla="*/ 267 h 267"/>
                <a:gd name="T40" fmla="*/ 73 w 255"/>
                <a:gd name="T41" fmla="*/ 249 h 267"/>
                <a:gd name="T42" fmla="*/ 89 w 255"/>
                <a:gd name="T43" fmla="*/ 245 h 267"/>
                <a:gd name="T44" fmla="*/ 122 w 255"/>
                <a:gd name="T45" fmla="*/ 218 h 267"/>
                <a:gd name="T46" fmla="*/ 133 w 255"/>
                <a:gd name="T47" fmla="*/ 215 h 267"/>
                <a:gd name="T48" fmla="*/ 146 w 255"/>
                <a:gd name="T49" fmla="*/ 200 h 267"/>
                <a:gd name="T50" fmla="*/ 153 w 255"/>
                <a:gd name="T51" fmla="*/ 189 h 267"/>
                <a:gd name="T52" fmla="*/ 167 w 255"/>
                <a:gd name="T53" fmla="*/ 191 h 267"/>
                <a:gd name="T54" fmla="*/ 178 w 255"/>
                <a:gd name="T55" fmla="*/ 205 h 267"/>
                <a:gd name="T56" fmla="*/ 198 w 255"/>
                <a:gd name="T57" fmla="*/ 220 h 267"/>
                <a:gd name="T58" fmla="*/ 209 w 255"/>
                <a:gd name="T59" fmla="*/ 211 h 267"/>
                <a:gd name="T60" fmla="*/ 213 w 255"/>
                <a:gd name="T61" fmla="*/ 205 h 267"/>
                <a:gd name="T62" fmla="*/ 222 w 255"/>
                <a:gd name="T63" fmla="*/ 193 h 267"/>
                <a:gd name="T64" fmla="*/ 218 w 255"/>
                <a:gd name="T65" fmla="*/ 189 h 267"/>
                <a:gd name="T66" fmla="*/ 215 w 255"/>
                <a:gd name="T67" fmla="*/ 180 h 267"/>
                <a:gd name="T68" fmla="*/ 233 w 255"/>
                <a:gd name="T69" fmla="*/ 167 h 267"/>
                <a:gd name="T70" fmla="*/ 253 w 255"/>
                <a:gd name="T71" fmla="*/ 155 h 267"/>
                <a:gd name="T72" fmla="*/ 253 w 255"/>
                <a:gd name="T73" fmla="*/ 142 h 267"/>
                <a:gd name="T74" fmla="*/ 231 w 255"/>
                <a:gd name="T75" fmla="*/ 115 h 267"/>
                <a:gd name="T76" fmla="*/ 207 w 255"/>
                <a:gd name="T77" fmla="*/ 115 h 267"/>
                <a:gd name="T78" fmla="*/ 202 w 255"/>
                <a:gd name="T79" fmla="*/ 105 h 267"/>
                <a:gd name="T80" fmla="*/ 186 w 255"/>
                <a:gd name="T81" fmla="*/ 105 h 267"/>
                <a:gd name="T82" fmla="*/ 171 w 255"/>
                <a:gd name="T83" fmla="*/ 96 h 267"/>
                <a:gd name="T84" fmla="*/ 167 w 255"/>
                <a:gd name="T85" fmla="*/ 102 h 267"/>
                <a:gd name="T86" fmla="*/ 157 w 255"/>
                <a:gd name="T87" fmla="*/ 104 h 267"/>
                <a:gd name="T88" fmla="*/ 144 w 255"/>
                <a:gd name="T89" fmla="*/ 118 h 267"/>
                <a:gd name="T90" fmla="*/ 142 w 255"/>
                <a:gd name="T91" fmla="*/ 109 h 267"/>
                <a:gd name="T92" fmla="*/ 146 w 255"/>
                <a:gd name="T93" fmla="*/ 98 h 267"/>
                <a:gd name="T94" fmla="*/ 146 w 255"/>
                <a:gd name="T95" fmla="*/ 86 h 267"/>
                <a:gd name="T96" fmla="*/ 157 w 255"/>
                <a:gd name="T97" fmla="*/ 55 h 267"/>
                <a:gd name="T98" fmla="*/ 166 w 255"/>
                <a:gd name="T99" fmla="*/ 53 h 267"/>
                <a:gd name="T100" fmla="*/ 167 w 255"/>
                <a:gd name="T101" fmla="*/ 40 h 267"/>
                <a:gd name="T102" fmla="*/ 178 w 255"/>
                <a:gd name="T103" fmla="*/ 29 h 267"/>
                <a:gd name="T104" fmla="*/ 175 w 255"/>
                <a:gd name="T105" fmla="*/ 13 h 267"/>
                <a:gd name="T106" fmla="*/ 153 w 255"/>
                <a:gd name="T107" fmla="*/ 2 h 267"/>
                <a:gd name="T108" fmla="*/ 133 w 255"/>
                <a:gd name="T109" fmla="*/ 16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5" h="267">
                  <a:moveTo>
                    <a:pt x="133" y="16"/>
                  </a:moveTo>
                  <a:lnTo>
                    <a:pt x="133" y="16"/>
                  </a:lnTo>
                  <a:lnTo>
                    <a:pt x="129" y="18"/>
                  </a:lnTo>
                  <a:lnTo>
                    <a:pt x="126" y="18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5" y="16"/>
                  </a:lnTo>
                  <a:lnTo>
                    <a:pt x="113" y="20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5" y="24"/>
                  </a:lnTo>
                  <a:lnTo>
                    <a:pt x="117" y="24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8" y="33"/>
                  </a:lnTo>
                  <a:lnTo>
                    <a:pt x="111" y="44"/>
                  </a:lnTo>
                  <a:lnTo>
                    <a:pt x="113" y="47"/>
                  </a:lnTo>
                  <a:lnTo>
                    <a:pt x="109" y="53"/>
                  </a:lnTo>
                  <a:lnTo>
                    <a:pt x="97" y="60"/>
                  </a:lnTo>
                  <a:lnTo>
                    <a:pt x="102" y="64"/>
                  </a:lnTo>
                  <a:lnTo>
                    <a:pt x="95" y="73"/>
                  </a:lnTo>
                  <a:lnTo>
                    <a:pt x="95" y="75"/>
                  </a:lnTo>
                  <a:lnTo>
                    <a:pt x="95" y="78"/>
                  </a:lnTo>
                  <a:lnTo>
                    <a:pt x="91" y="87"/>
                  </a:lnTo>
                  <a:lnTo>
                    <a:pt x="84" y="82"/>
                  </a:lnTo>
                  <a:lnTo>
                    <a:pt x="77" y="86"/>
                  </a:lnTo>
                  <a:lnTo>
                    <a:pt x="73" y="82"/>
                  </a:lnTo>
                  <a:lnTo>
                    <a:pt x="69" y="86"/>
                  </a:lnTo>
                  <a:lnTo>
                    <a:pt x="60" y="82"/>
                  </a:lnTo>
                  <a:lnTo>
                    <a:pt x="51" y="86"/>
                  </a:lnTo>
                  <a:lnTo>
                    <a:pt x="48" y="86"/>
                  </a:lnTo>
                  <a:lnTo>
                    <a:pt x="35" y="95"/>
                  </a:lnTo>
                  <a:lnTo>
                    <a:pt x="33" y="93"/>
                  </a:lnTo>
                  <a:lnTo>
                    <a:pt x="35" y="96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48" y="131"/>
                  </a:lnTo>
                  <a:lnTo>
                    <a:pt x="42" y="135"/>
                  </a:lnTo>
                  <a:lnTo>
                    <a:pt x="39" y="136"/>
                  </a:lnTo>
                  <a:lnTo>
                    <a:pt x="35" y="135"/>
                  </a:lnTo>
                  <a:lnTo>
                    <a:pt x="35" y="135"/>
                  </a:lnTo>
                  <a:lnTo>
                    <a:pt x="24" y="124"/>
                  </a:lnTo>
                  <a:lnTo>
                    <a:pt x="15" y="125"/>
                  </a:lnTo>
                  <a:lnTo>
                    <a:pt x="13" y="129"/>
                  </a:lnTo>
                  <a:lnTo>
                    <a:pt x="13" y="135"/>
                  </a:lnTo>
                  <a:lnTo>
                    <a:pt x="9" y="136"/>
                  </a:lnTo>
                  <a:lnTo>
                    <a:pt x="6" y="136"/>
                  </a:lnTo>
                  <a:lnTo>
                    <a:pt x="4" y="142"/>
                  </a:lnTo>
                  <a:lnTo>
                    <a:pt x="0" y="142"/>
                  </a:lnTo>
                  <a:lnTo>
                    <a:pt x="6" y="151"/>
                  </a:lnTo>
                  <a:lnTo>
                    <a:pt x="2" y="156"/>
                  </a:lnTo>
                  <a:lnTo>
                    <a:pt x="13" y="162"/>
                  </a:lnTo>
                  <a:lnTo>
                    <a:pt x="24" y="160"/>
                  </a:lnTo>
                  <a:lnTo>
                    <a:pt x="24" y="164"/>
                  </a:lnTo>
                  <a:lnTo>
                    <a:pt x="28" y="167"/>
                  </a:lnTo>
                  <a:lnTo>
                    <a:pt x="40" y="167"/>
                  </a:lnTo>
                  <a:lnTo>
                    <a:pt x="48" y="173"/>
                  </a:lnTo>
                  <a:lnTo>
                    <a:pt x="48" y="178"/>
                  </a:lnTo>
                  <a:lnTo>
                    <a:pt x="48" y="182"/>
                  </a:lnTo>
                  <a:lnTo>
                    <a:pt x="51" y="184"/>
                  </a:lnTo>
                  <a:lnTo>
                    <a:pt x="55" y="180"/>
                  </a:lnTo>
                  <a:lnTo>
                    <a:pt x="55" y="176"/>
                  </a:lnTo>
                  <a:lnTo>
                    <a:pt x="64" y="176"/>
                  </a:lnTo>
                  <a:lnTo>
                    <a:pt x="64" y="182"/>
                  </a:lnTo>
                  <a:lnTo>
                    <a:pt x="60" y="184"/>
                  </a:lnTo>
                  <a:lnTo>
                    <a:pt x="55" y="189"/>
                  </a:lnTo>
                  <a:lnTo>
                    <a:pt x="64" y="198"/>
                  </a:lnTo>
                  <a:lnTo>
                    <a:pt x="62" y="207"/>
                  </a:lnTo>
                  <a:lnTo>
                    <a:pt x="64" y="211"/>
                  </a:lnTo>
                  <a:lnTo>
                    <a:pt x="57" y="224"/>
                  </a:lnTo>
                  <a:lnTo>
                    <a:pt x="60" y="225"/>
                  </a:lnTo>
                  <a:lnTo>
                    <a:pt x="64" y="227"/>
                  </a:lnTo>
                  <a:lnTo>
                    <a:pt x="62" y="244"/>
                  </a:lnTo>
                  <a:lnTo>
                    <a:pt x="66" y="245"/>
                  </a:lnTo>
                  <a:lnTo>
                    <a:pt x="68" y="247"/>
                  </a:lnTo>
                  <a:lnTo>
                    <a:pt x="62" y="253"/>
                  </a:lnTo>
                  <a:lnTo>
                    <a:pt x="64" y="262"/>
                  </a:lnTo>
                  <a:lnTo>
                    <a:pt x="69" y="267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53"/>
                  </a:lnTo>
                  <a:lnTo>
                    <a:pt x="73" y="249"/>
                  </a:lnTo>
                  <a:lnTo>
                    <a:pt x="75" y="247"/>
                  </a:lnTo>
                  <a:lnTo>
                    <a:pt x="75" y="247"/>
                  </a:lnTo>
                  <a:lnTo>
                    <a:pt x="84" y="244"/>
                  </a:lnTo>
                  <a:lnTo>
                    <a:pt x="89" y="245"/>
                  </a:lnTo>
                  <a:lnTo>
                    <a:pt x="95" y="240"/>
                  </a:lnTo>
                  <a:lnTo>
                    <a:pt x="102" y="218"/>
                  </a:lnTo>
                  <a:lnTo>
                    <a:pt x="113" y="213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6" y="218"/>
                  </a:lnTo>
                  <a:lnTo>
                    <a:pt x="129" y="218"/>
                  </a:lnTo>
                  <a:lnTo>
                    <a:pt x="133" y="215"/>
                  </a:lnTo>
                  <a:lnTo>
                    <a:pt x="133" y="215"/>
                  </a:lnTo>
                  <a:lnTo>
                    <a:pt x="142" y="205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7" y="196"/>
                  </a:lnTo>
                  <a:lnTo>
                    <a:pt x="149" y="191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7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73" y="200"/>
                  </a:lnTo>
                  <a:lnTo>
                    <a:pt x="175" y="204"/>
                  </a:lnTo>
                  <a:lnTo>
                    <a:pt x="178" y="205"/>
                  </a:lnTo>
                  <a:lnTo>
                    <a:pt x="178" y="205"/>
                  </a:lnTo>
                  <a:lnTo>
                    <a:pt x="187" y="204"/>
                  </a:lnTo>
                  <a:lnTo>
                    <a:pt x="189" y="211"/>
                  </a:lnTo>
                  <a:lnTo>
                    <a:pt x="198" y="220"/>
                  </a:lnTo>
                  <a:lnTo>
                    <a:pt x="198" y="220"/>
                  </a:lnTo>
                  <a:lnTo>
                    <a:pt x="206" y="213"/>
                  </a:lnTo>
                  <a:lnTo>
                    <a:pt x="206" y="213"/>
                  </a:lnTo>
                  <a:lnTo>
                    <a:pt x="209" y="211"/>
                  </a:lnTo>
                  <a:lnTo>
                    <a:pt x="211" y="209"/>
                  </a:lnTo>
                  <a:lnTo>
                    <a:pt x="211" y="207"/>
                  </a:lnTo>
                  <a:lnTo>
                    <a:pt x="213" y="205"/>
                  </a:lnTo>
                  <a:lnTo>
                    <a:pt x="213" y="205"/>
                  </a:lnTo>
                  <a:lnTo>
                    <a:pt x="215" y="204"/>
                  </a:lnTo>
                  <a:lnTo>
                    <a:pt x="218" y="200"/>
                  </a:lnTo>
                  <a:lnTo>
                    <a:pt x="222" y="198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2" y="191"/>
                  </a:lnTo>
                  <a:lnTo>
                    <a:pt x="220" y="191"/>
                  </a:lnTo>
                  <a:lnTo>
                    <a:pt x="218" y="189"/>
                  </a:lnTo>
                  <a:lnTo>
                    <a:pt x="215" y="185"/>
                  </a:lnTo>
                  <a:lnTo>
                    <a:pt x="215" y="184"/>
                  </a:lnTo>
                  <a:lnTo>
                    <a:pt x="215" y="180"/>
                  </a:lnTo>
                  <a:lnTo>
                    <a:pt x="215" y="180"/>
                  </a:lnTo>
                  <a:lnTo>
                    <a:pt x="218" y="176"/>
                  </a:lnTo>
                  <a:lnTo>
                    <a:pt x="222" y="171"/>
                  </a:lnTo>
                  <a:lnTo>
                    <a:pt x="233" y="167"/>
                  </a:lnTo>
                  <a:lnTo>
                    <a:pt x="233" y="167"/>
                  </a:lnTo>
                  <a:lnTo>
                    <a:pt x="238" y="164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53" y="155"/>
                  </a:lnTo>
                  <a:lnTo>
                    <a:pt x="255" y="149"/>
                  </a:lnTo>
                  <a:lnTo>
                    <a:pt x="255" y="145"/>
                  </a:lnTo>
                  <a:lnTo>
                    <a:pt x="253" y="142"/>
                  </a:lnTo>
                  <a:lnTo>
                    <a:pt x="253" y="142"/>
                  </a:lnTo>
                  <a:lnTo>
                    <a:pt x="235" y="125"/>
                  </a:lnTo>
                  <a:lnTo>
                    <a:pt x="233" y="118"/>
                  </a:lnTo>
                  <a:lnTo>
                    <a:pt x="233" y="120"/>
                  </a:lnTo>
                  <a:lnTo>
                    <a:pt x="231" y="115"/>
                  </a:lnTo>
                  <a:lnTo>
                    <a:pt x="229" y="115"/>
                  </a:lnTo>
                  <a:lnTo>
                    <a:pt x="206" y="118"/>
                  </a:lnTo>
                  <a:lnTo>
                    <a:pt x="206" y="118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6" y="107"/>
                  </a:lnTo>
                  <a:lnTo>
                    <a:pt x="206" y="107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197" y="105"/>
                  </a:lnTo>
                  <a:lnTo>
                    <a:pt x="197" y="105"/>
                  </a:lnTo>
                  <a:lnTo>
                    <a:pt x="186" y="105"/>
                  </a:lnTo>
                  <a:lnTo>
                    <a:pt x="173" y="100"/>
                  </a:lnTo>
                  <a:lnTo>
                    <a:pt x="173" y="100"/>
                  </a:lnTo>
                  <a:lnTo>
                    <a:pt x="171" y="98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0" y="102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49" y="113"/>
                  </a:lnTo>
                  <a:lnTo>
                    <a:pt x="144" y="118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2" y="115"/>
                  </a:lnTo>
                  <a:lnTo>
                    <a:pt x="142" y="113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4" y="105"/>
                  </a:lnTo>
                  <a:lnTo>
                    <a:pt x="146" y="102"/>
                  </a:lnTo>
                  <a:lnTo>
                    <a:pt x="146" y="98"/>
                  </a:lnTo>
                  <a:lnTo>
                    <a:pt x="146" y="96"/>
                  </a:lnTo>
                  <a:lnTo>
                    <a:pt x="146" y="96"/>
                  </a:lnTo>
                  <a:lnTo>
                    <a:pt x="142" y="89"/>
                  </a:lnTo>
                  <a:lnTo>
                    <a:pt x="146" y="86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47" y="64"/>
                  </a:lnTo>
                  <a:lnTo>
                    <a:pt x="157" y="55"/>
                  </a:lnTo>
                  <a:lnTo>
                    <a:pt x="157" y="55"/>
                  </a:lnTo>
                  <a:lnTo>
                    <a:pt x="160" y="55"/>
                  </a:lnTo>
                  <a:lnTo>
                    <a:pt x="164" y="53"/>
                  </a:lnTo>
                  <a:lnTo>
                    <a:pt x="166" y="53"/>
                  </a:lnTo>
                  <a:lnTo>
                    <a:pt x="166" y="53"/>
                  </a:lnTo>
                  <a:lnTo>
                    <a:pt x="166" y="46"/>
                  </a:lnTo>
                  <a:lnTo>
                    <a:pt x="166" y="44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71" y="38"/>
                  </a:lnTo>
                  <a:lnTo>
                    <a:pt x="175" y="33"/>
                  </a:lnTo>
                  <a:lnTo>
                    <a:pt x="178" y="29"/>
                  </a:lnTo>
                  <a:lnTo>
                    <a:pt x="178" y="24"/>
                  </a:lnTo>
                  <a:lnTo>
                    <a:pt x="175" y="26"/>
                  </a:lnTo>
                  <a:lnTo>
                    <a:pt x="171" y="20"/>
                  </a:lnTo>
                  <a:lnTo>
                    <a:pt x="175" y="13"/>
                  </a:lnTo>
                  <a:lnTo>
                    <a:pt x="164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9" name="Freeform 31">
              <a:extLst>
                <a:ext uri="{FF2B5EF4-FFF2-40B4-BE49-F238E27FC236}">
                  <a16:creationId xmlns:a16="http://schemas.microsoft.com/office/drawing/2014/main" id="{730E99B5-9411-8748-8984-2B6A9713C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505" y="3530445"/>
              <a:ext cx="412765" cy="403428"/>
            </a:xfrm>
            <a:custGeom>
              <a:avLst/>
              <a:gdLst>
                <a:gd name="T0" fmla="*/ 3 w 285"/>
                <a:gd name="T1" fmla="*/ 60 h 282"/>
                <a:gd name="T2" fmla="*/ 9 w 285"/>
                <a:gd name="T3" fmla="*/ 75 h 282"/>
                <a:gd name="T4" fmla="*/ 7 w 285"/>
                <a:gd name="T5" fmla="*/ 89 h 282"/>
                <a:gd name="T6" fmla="*/ 11 w 285"/>
                <a:gd name="T7" fmla="*/ 95 h 282"/>
                <a:gd name="T8" fmla="*/ 31 w 285"/>
                <a:gd name="T9" fmla="*/ 100 h 282"/>
                <a:gd name="T10" fmla="*/ 29 w 285"/>
                <a:gd name="T11" fmla="*/ 115 h 282"/>
                <a:gd name="T12" fmla="*/ 34 w 285"/>
                <a:gd name="T13" fmla="*/ 122 h 282"/>
                <a:gd name="T14" fmla="*/ 49 w 285"/>
                <a:gd name="T15" fmla="*/ 118 h 282"/>
                <a:gd name="T16" fmla="*/ 52 w 285"/>
                <a:gd name="T17" fmla="*/ 106 h 282"/>
                <a:gd name="T18" fmla="*/ 56 w 285"/>
                <a:gd name="T19" fmla="*/ 118 h 282"/>
                <a:gd name="T20" fmla="*/ 51 w 285"/>
                <a:gd name="T21" fmla="*/ 131 h 282"/>
                <a:gd name="T22" fmla="*/ 58 w 285"/>
                <a:gd name="T23" fmla="*/ 144 h 282"/>
                <a:gd name="T24" fmla="*/ 67 w 285"/>
                <a:gd name="T25" fmla="*/ 136 h 282"/>
                <a:gd name="T26" fmla="*/ 76 w 285"/>
                <a:gd name="T27" fmla="*/ 155 h 282"/>
                <a:gd name="T28" fmla="*/ 74 w 285"/>
                <a:gd name="T29" fmla="*/ 173 h 282"/>
                <a:gd name="T30" fmla="*/ 83 w 285"/>
                <a:gd name="T31" fmla="*/ 193 h 282"/>
                <a:gd name="T32" fmla="*/ 98 w 285"/>
                <a:gd name="T33" fmla="*/ 191 h 282"/>
                <a:gd name="T34" fmla="*/ 111 w 285"/>
                <a:gd name="T35" fmla="*/ 186 h 282"/>
                <a:gd name="T36" fmla="*/ 131 w 285"/>
                <a:gd name="T37" fmla="*/ 196 h 282"/>
                <a:gd name="T38" fmla="*/ 134 w 285"/>
                <a:gd name="T39" fmla="*/ 187 h 282"/>
                <a:gd name="T40" fmla="*/ 140 w 285"/>
                <a:gd name="T41" fmla="*/ 191 h 282"/>
                <a:gd name="T42" fmla="*/ 145 w 285"/>
                <a:gd name="T43" fmla="*/ 204 h 282"/>
                <a:gd name="T44" fmla="*/ 147 w 285"/>
                <a:gd name="T45" fmla="*/ 211 h 282"/>
                <a:gd name="T46" fmla="*/ 161 w 285"/>
                <a:gd name="T47" fmla="*/ 225 h 282"/>
                <a:gd name="T48" fmla="*/ 180 w 285"/>
                <a:gd name="T49" fmla="*/ 258 h 282"/>
                <a:gd name="T50" fmla="*/ 209 w 285"/>
                <a:gd name="T51" fmla="*/ 273 h 282"/>
                <a:gd name="T52" fmla="*/ 221 w 285"/>
                <a:gd name="T53" fmla="*/ 271 h 282"/>
                <a:gd name="T54" fmla="*/ 243 w 285"/>
                <a:gd name="T55" fmla="*/ 273 h 282"/>
                <a:gd name="T56" fmla="*/ 256 w 285"/>
                <a:gd name="T57" fmla="*/ 258 h 282"/>
                <a:gd name="T58" fmla="*/ 245 w 285"/>
                <a:gd name="T59" fmla="*/ 251 h 282"/>
                <a:gd name="T60" fmla="*/ 258 w 285"/>
                <a:gd name="T61" fmla="*/ 247 h 282"/>
                <a:gd name="T62" fmla="*/ 281 w 285"/>
                <a:gd name="T63" fmla="*/ 233 h 282"/>
                <a:gd name="T64" fmla="*/ 269 w 285"/>
                <a:gd name="T65" fmla="*/ 204 h 282"/>
                <a:gd name="T66" fmla="*/ 249 w 285"/>
                <a:gd name="T67" fmla="*/ 189 h 282"/>
                <a:gd name="T68" fmla="*/ 238 w 285"/>
                <a:gd name="T69" fmla="*/ 167 h 282"/>
                <a:gd name="T70" fmla="*/ 221 w 285"/>
                <a:gd name="T71" fmla="*/ 167 h 282"/>
                <a:gd name="T72" fmla="*/ 214 w 285"/>
                <a:gd name="T73" fmla="*/ 156 h 282"/>
                <a:gd name="T74" fmla="*/ 192 w 285"/>
                <a:gd name="T75" fmla="*/ 129 h 282"/>
                <a:gd name="T76" fmla="*/ 178 w 285"/>
                <a:gd name="T77" fmla="*/ 129 h 282"/>
                <a:gd name="T78" fmla="*/ 172 w 285"/>
                <a:gd name="T79" fmla="*/ 116 h 282"/>
                <a:gd name="T80" fmla="*/ 156 w 285"/>
                <a:gd name="T81" fmla="*/ 98 h 282"/>
                <a:gd name="T82" fmla="*/ 141 w 285"/>
                <a:gd name="T83" fmla="*/ 80 h 282"/>
                <a:gd name="T84" fmla="*/ 141 w 285"/>
                <a:gd name="T85" fmla="*/ 57 h 282"/>
                <a:gd name="T86" fmla="*/ 154 w 285"/>
                <a:gd name="T87" fmla="*/ 35 h 282"/>
                <a:gd name="T88" fmla="*/ 152 w 285"/>
                <a:gd name="T89" fmla="*/ 9 h 282"/>
                <a:gd name="T90" fmla="*/ 134 w 285"/>
                <a:gd name="T91" fmla="*/ 4 h 282"/>
                <a:gd name="T92" fmla="*/ 111 w 285"/>
                <a:gd name="T93" fmla="*/ 13 h 282"/>
                <a:gd name="T94" fmla="*/ 96 w 285"/>
                <a:gd name="T95" fmla="*/ 2 h 282"/>
                <a:gd name="T96" fmla="*/ 91 w 285"/>
                <a:gd name="T97" fmla="*/ 0 h 282"/>
                <a:gd name="T98" fmla="*/ 58 w 285"/>
                <a:gd name="T99" fmla="*/ 17 h 282"/>
                <a:gd name="T100" fmla="*/ 49 w 285"/>
                <a:gd name="T101" fmla="*/ 33 h 282"/>
                <a:gd name="T102" fmla="*/ 40 w 285"/>
                <a:gd name="T103" fmla="*/ 40 h 282"/>
                <a:gd name="T104" fmla="*/ 25 w 285"/>
                <a:gd name="T105" fmla="*/ 44 h 282"/>
                <a:gd name="T106" fmla="*/ 9 w 285"/>
                <a:gd name="T107" fmla="*/ 40 h 282"/>
                <a:gd name="T108" fmla="*/ 0 w 285"/>
                <a:gd name="T109" fmla="*/ 5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5" h="282">
                  <a:moveTo>
                    <a:pt x="0" y="53"/>
                  </a:moveTo>
                  <a:lnTo>
                    <a:pt x="0" y="53"/>
                  </a:lnTo>
                  <a:lnTo>
                    <a:pt x="0" y="57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9" y="67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1" y="84"/>
                  </a:lnTo>
                  <a:lnTo>
                    <a:pt x="11" y="87"/>
                  </a:lnTo>
                  <a:lnTo>
                    <a:pt x="9" y="87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3" y="87"/>
                  </a:lnTo>
                  <a:lnTo>
                    <a:pt x="3" y="87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11" y="95"/>
                  </a:lnTo>
                  <a:lnTo>
                    <a:pt x="16" y="96"/>
                  </a:lnTo>
                  <a:lnTo>
                    <a:pt x="25" y="98"/>
                  </a:lnTo>
                  <a:lnTo>
                    <a:pt x="29" y="100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102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8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45" y="122"/>
                  </a:lnTo>
                  <a:lnTo>
                    <a:pt x="47" y="122"/>
                  </a:lnTo>
                  <a:lnTo>
                    <a:pt x="49" y="118"/>
                  </a:lnTo>
                  <a:lnTo>
                    <a:pt x="49" y="118"/>
                  </a:lnTo>
                  <a:lnTo>
                    <a:pt x="49" y="113"/>
                  </a:lnTo>
                  <a:lnTo>
                    <a:pt x="51" y="109"/>
                  </a:lnTo>
                  <a:lnTo>
                    <a:pt x="52" y="107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4" y="107"/>
                  </a:lnTo>
                  <a:lnTo>
                    <a:pt x="56" y="109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4" y="122"/>
                  </a:lnTo>
                  <a:lnTo>
                    <a:pt x="52" y="126"/>
                  </a:lnTo>
                  <a:lnTo>
                    <a:pt x="51" y="129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4" y="138"/>
                  </a:lnTo>
                  <a:lnTo>
                    <a:pt x="56" y="142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62" y="142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7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2" y="146"/>
                  </a:lnTo>
                  <a:lnTo>
                    <a:pt x="76" y="149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8"/>
                  </a:lnTo>
                  <a:lnTo>
                    <a:pt x="76" y="164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80" y="187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91" y="193"/>
                  </a:lnTo>
                  <a:lnTo>
                    <a:pt x="94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100" y="187"/>
                  </a:lnTo>
                  <a:lnTo>
                    <a:pt x="102" y="186"/>
                  </a:lnTo>
                  <a:lnTo>
                    <a:pt x="105" y="186"/>
                  </a:lnTo>
                  <a:lnTo>
                    <a:pt x="111" y="186"/>
                  </a:lnTo>
                  <a:lnTo>
                    <a:pt x="111" y="186"/>
                  </a:lnTo>
                  <a:lnTo>
                    <a:pt x="121" y="196"/>
                  </a:lnTo>
                  <a:lnTo>
                    <a:pt x="129" y="198"/>
                  </a:lnTo>
                  <a:lnTo>
                    <a:pt x="131" y="198"/>
                  </a:lnTo>
                  <a:lnTo>
                    <a:pt x="131" y="196"/>
                  </a:lnTo>
                  <a:lnTo>
                    <a:pt x="131" y="196"/>
                  </a:lnTo>
                  <a:lnTo>
                    <a:pt x="131" y="193"/>
                  </a:lnTo>
                  <a:lnTo>
                    <a:pt x="132" y="191"/>
                  </a:lnTo>
                  <a:lnTo>
                    <a:pt x="132" y="189"/>
                  </a:lnTo>
                  <a:lnTo>
                    <a:pt x="134" y="187"/>
                  </a:lnTo>
                  <a:lnTo>
                    <a:pt x="134" y="187"/>
                  </a:lnTo>
                  <a:lnTo>
                    <a:pt x="140" y="186"/>
                  </a:lnTo>
                  <a:lnTo>
                    <a:pt x="141" y="187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3"/>
                  </a:lnTo>
                  <a:lnTo>
                    <a:pt x="140" y="196"/>
                  </a:lnTo>
                  <a:lnTo>
                    <a:pt x="141" y="200"/>
                  </a:lnTo>
                  <a:lnTo>
                    <a:pt x="145" y="200"/>
                  </a:lnTo>
                  <a:lnTo>
                    <a:pt x="145" y="204"/>
                  </a:lnTo>
                  <a:lnTo>
                    <a:pt x="145" y="204"/>
                  </a:lnTo>
                  <a:lnTo>
                    <a:pt x="145" y="205"/>
                  </a:lnTo>
                  <a:lnTo>
                    <a:pt x="145" y="207"/>
                  </a:lnTo>
                  <a:lnTo>
                    <a:pt x="145" y="209"/>
                  </a:lnTo>
                  <a:lnTo>
                    <a:pt x="147" y="211"/>
                  </a:lnTo>
                  <a:lnTo>
                    <a:pt x="147" y="211"/>
                  </a:lnTo>
                  <a:lnTo>
                    <a:pt x="152" y="211"/>
                  </a:lnTo>
                  <a:lnTo>
                    <a:pt x="154" y="21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7" y="233"/>
                  </a:lnTo>
                  <a:lnTo>
                    <a:pt x="172" y="245"/>
                  </a:lnTo>
                  <a:lnTo>
                    <a:pt x="176" y="251"/>
                  </a:lnTo>
                  <a:lnTo>
                    <a:pt x="178" y="255"/>
                  </a:lnTo>
                  <a:lnTo>
                    <a:pt x="180" y="258"/>
                  </a:lnTo>
                  <a:lnTo>
                    <a:pt x="180" y="258"/>
                  </a:lnTo>
                  <a:lnTo>
                    <a:pt x="187" y="260"/>
                  </a:lnTo>
                  <a:lnTo>
                    <a:pt x="196" y="265"/>
                  </a:lnTo>
                  <a:lnTo>
                    <a:pt x="201" y="269"/>
                  </a:lnTo>
                  <a:lnTo>
                    <a:pt x="209" y="273"/>
                  </a:lnTo>
                  <a:lnTo>
                    <a:pt x="209" y="273"/>
                  </a:lnTo>
                  <a:lnTo>
                    <a:pt x="214" y="273"/>
                  </a:lnTo>
                  <a:lnTo>
                    <a:pt x="216" y="275"/>
                  </a:lnTo>
                  <a:lnTo>
                    <a:pt x="218" y="275"/>
                  </a:lnTo>
                  <a:lnTo>
                    <a:pt x="221" y="271"/>
                  </a:lnTo>
                  <a:lnTo>
                    <a:pt x="225" y="269"/>
                  </a:lnTo>
                  <a:lnTo>
                    <a:pt x="230" y="273"/>
                  </a:lnTo>
                  <a:lnTo>
                    <a:pt x="241" y="282"/>
                  </a:lnTo>
                  <a:lnTo>
                    <a:pt x="245" y="276"/>
                  </a:lnTo>
                  <a:lnTo>
                    <a:pt x="243" y="273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58" y="258"/>
                  </a:lnTo>
                  <a:lnTo>
                    <a:pt x="258" y="258"/>
                  </a:lnTo>
                  <a:lnTo>
                    <a:pt x="256" y="258"/>
                  </a:lnTo>
                  <a:lnTo>
                    <a:pt x="256" y="258"/>
                  </a:lnTo>
                  <a:lnTo>
                    <a:pt x="249" y="253"/>
                  </a:lnTo>
                  <a:lnTo>
                    <a:pt x="247" y="253"/>
                  </a:lnTo>
                  <a:lnTo>
                    <a:pt x="245" y="251"/>
                  </a:lnTo>
                  <a:lnTo>
                    <a:pt x="245" y="251"/>
                  </a:lnTo>
                  <a:lnTo>
                    <a:pt x="245" y="249"/>
                  </a:lnTo>
                  <a:lnTo>
                    <a:pt x="247" y="245"/>
                  </a:lnTo>
                  <a:lnTo>
                    <a:pt x="249" y="242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61" y="247"/>
                  </a:lnTo>
                  <a:lnTo>
                    <a:pt x="265" y="245"/>
                  </a:lnTo>
                  <a:lnTo>
                    <a:pt x="265" y="245"/>
                  </a:lnTo>
                  <a:lnTo>
                    <a:pt x="281" y="233"/>
                  </a:lnTo>
                  <a:lnTo>
                    <a:pt x="281" y="233"/>
                  </a:lnTo>
                  <a:lnTo>
                    <a:pt x="285" y="231"/>
                  </a:lnTo>
                  <a:lnTo>
                    <a:pt x="285" y="229"/>
                  </a:lnTo>
                  <a:lnTo>
                    <a:pt x="285" y="220"/>
                  </a:lnTo>
                  <a:lnTo>
                    <a:pt x="278" y="215"/>
                  </a:lnTo>
                  <a:lnTo>
                    <a:pt x="269" y="204"/>
                  </a:lnTo>
                  <a:lnTo>
                    <a:pt x="276" y="200"/>
                  </a:lnTo>
                  <a:lnTo>
                    <a:pt x="269" y="189"/>
                  </a:lnTo>
                  <a:lnTo>
                    <a:pt x="258" y="196"/>
                  </a:lnTo>
                  <a:lnTo>
                    <a:pt x="258" y="196"/>
                  </a:lnTo>
                  <a:lnTo>
                    <a:pt x="249" y="189"/>
                  </a:lnTo>
                  <a:lnTo>
                    <a:pt x="249" y="189"/>
                  </a:lnTo>
                  <a:lnTo>
                    <a:pt x="247" y="186"/>
                  </a:lnTo>
                  <a:lnTo>
                    <a:pt x="243" y="180"/>
                  </a:lnTo>
                  <a:lnTo>
                    <a:pt x="241" y="173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4" y="166"/>
                  </a:lnTo>
                  <a:lnTo>
                    <a:pt x="230" y="166"/>
                  </a:lnTo>
                  <a:lnTo>
                    <a:pt x="227" y="166"/>
                  </a:lnTo>
                  <a:lnTo>
                    <a:pt x="221" y="167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20" y="164"/>
                  </a:lnTo>
                  <a:lnTo>
                    <a:pt x="216" y="160"/>
                  </a:lnTo>
                  <a:lnTo>
                    <a:pt x="214" y="156"/>
                  </a:lnTo>
                  <a:lnTo>
                    <a:pt x="209" y="151"/>
                  </a:lnTo>
                  <a:lnTo>
                    <a:pt x="209" y="151"/>
                  </a:lnTo>
                  <a:lnTo>
                    <a:pt x="205" y="147"/>
                  </a:lnTo>
                  <a:lnTo>
                    <a:pt x="201" y="142"/>
                  </a:lnTo>
                  <a:lnTo>
                    <a:pt x="192" y="129"/>
                  </a:lnTo>
                  <a:lnTo>
                    <a:pt x="192" y="129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78" y="129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4" y="126"/>
                  </a:lnTo>
                  <a:lnTo>
                    <a:pt x="172" y="122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67" y="109"/>
                  </a:lnTo>
                  <a:lnTo>
                    <a:pt x="161" y="106"/>
                  </a:lnTo>
                  <a:lnTo>
                    <a:pt x="158" y="102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2" y="87"/>
                  </a:lnTo>
                  <a:lnTo>
                    <a:pt x="151" y="86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41" y="76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0" y="62"/>
                  </a:lnTo>
                  <a:lnTo>
                    <a:pt x="141" y="57"/>
                  </a:lnTo>
                  <a:lnTo>
                    <a:pt x="145" y="51"/>
                  </a:lnTo>
                  <a:lnTo>
                    <a:pt x="147" y="44"/>
                  </a:lnTo>
                  <a:lnTo>
                    <a:pt x="147" y="44"/>
                  </a:lnTo>
                  <a:lnTo>
                    <a:pt x="151" y="38"/>
                  </a:lnTo>
                  <a:lnTo>
                    <a:pt x="154" y="35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6" y="18"/>
                  </a:lnTo>
                  <a:lnTo>
                    <a:pt x="154" y="13"/>
                  </a:lnTo>
                  <a:lnTo>
                    <a:pt x="152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3" y="4"/>
                  </a:lnTo>
                  <a:lnTo>
                    <a:pt x="138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05" y="11"/>
                  </a:lnTo>
                  <a:lnTo>
                    <a:pt x="102" y="9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1" y="0"/>
                  </a:lnTo>
                  <a:lnTo>
                    <a:pt x="87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63" y="13"/>
                  </a:lnTo>
                  <a:lnTo>
                    <a:pt x="58" y="17"/>
                  </a:lnTo>
                  <a:lnTo>
                    <a:pt x="56" y="18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2" y="26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7" y="37"/>
                  </a:lnTo>
                  <a:lnTo>
                    <a:pt x="47" y="38"/>
                  </a:lnTo>
                  <a:lnTo>
                    <a:pt x="45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2"/>
                  </a:lnTo>
                  <a:lnTo>
                    <a:pt x="32" y="44"/>
                  </a:lnTo>
                  <a:lnTo>
                    <a:pt x="29" y="46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16" y="40"/>
                  </a:lnTo>
                  <a:lnTo>
                    <a:pt x="13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3" y="46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0" name="Freeform 32">
              <a:extLst>
                <a:ext uri="{FF2B5EF4-FFF2-40B4-BE49-F238E27FC236}">
                  <a16:creationId xmlns:a16="http://schemas.microsoft.com/office/drawing/2014/main" id="{F4DABDD5-9DD3-5D49-8D00-C7475B209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5780" y="3933874"/>
              <a:ext cx="337453" cy="210298"/>
            </a:xfrm>
            <a:custGeom>
              <a:avLst/>
              <a:gdLst>
                <a:gd name="T0" fmla="*/ 189 w 233"/>
                <a:gd name="T1" fmla="*/ 23 h 147"/>
                <a:gd name="T2" fmla="*/ 182 w 233"/>
                <a:gd name="T3" fmla="*/ 13 h 147"/>
                <a:gd name="T4" fmla="*/ 165 w 233"/>
                <a:gd name="T5" fmla="*/ 20 h 147"/>
                <a:gd name="T6" fmla="*/ 155 w 233"/>
                <a:gd name="T7" fmla="*/ 20 h 147"/>
                <a:gd name="T8" fmla="*/ 138 w 233"/>
                <a:gd name="T9" fmla="*/ 13 h 147"/>
                <a:gd name="T10" fmla="*/ 136 w 233"/>
                <a:gd name="T11" fmla="*/ 2 h 147"/>
                <a:gd name="T12" fmla="*/ 124 w 233"/>
                <a:gd name="T13" fmla="*/ 2 h 147"/>
                <a:gd name="T14" fmla="*/ 116 w 233"/>
                <a:gd name="T15" fmla="*/ 7 h 147"/>
                <a:gd name="T16" fmla="*/ 106 w 233"/>
                <a:gd name="T17" fmla="*/ 11 h 147"/>
                <a:gd name="T18" fmla="*/ 91 w 233"/>
                <a:gd name="T19" fmla="*/ 13 h 147"/>
                <a:gd name="T20" fmla="*/ 86 w 233"/>
                <a:gd name="T21" fmla="*/ 20 h 147"/>
                <a:gd name="T22" fmla="*/ 78 w 233"/>
                <a:gd name="T23" fmla="*/ 23 h 147"/>
                <a:gd name="T24" fmla="*/ 73 w 233"/>
                <a:gd name="T25" fmla="*/ 25 h 147"/>
                <a:gd name="T26" fmla="*/ 69 w 233"/>
                <a:gd name="T27" fmla="*/ 33 h 147"/>
                <a:gd name="T28" fmla="*/ 51 w 233"/>
                <a:gd name="T29" fmla="*/ 40 h 147"/>
                <a:gd name="T30" fmla="*/ 31 w 233"/>
                <a:gd name="T31" fmla="*/ 40 h 147"/>
                <a:gd name="T32" fmla="*/ 22 w 233"/>
                <a:gd name="T33" fmla="*/ 45 h 147"/>
                <a:gd name="T34" fmla="*/ 7 w 233"/>
                <a:gd name="T35" fmla="*/ 47 h 147"/>
                <a:gd name="T36" fmla="*/ 2 w 233"/>
                <a:gd name="T37" fmla="*/ 45 h 147"/>
                <a:gd name="T38" fmla="*/ 2 w 233"/>
                <a:gd name="T39" fmla="*/ 49 h 147"/>
                <a:gd name="T40" fmla="*/ 2 w 233"/>
                <a:gd name="T41" fmla="*/ 62 h 147"/>
                <a:gd name="T42" fmla="*/ 13 w 233"/>
                <a:gd name="T43" fmla="*/ 65 h 147"/>
                <a:gd name="T44" fmla="*/ 2 w 233"/>
                <a:gd name="T45" fmla="*/ 72 h 147"/>
                <a:gd name="T46" fmla="*/ 7 w 233"/>
                <a:gd name="T47" fmla="*/ 78 h 147"/>
                <a:gd name="T48" fmla="*/ 20 w 233"/>
                <a:gd name="T49" fmla="*/ 89 h 147"/>
                <a:gd name="T50" fmla="*/ 31 w 233"/>
                <a:gd name="T51" fmla="*/ 92 h 147"/>
                <a:gd name="T52" fmla="*/ 31 w 233"/>
                <a:gd name="T53" fmla="*/ 116 h 147"/>
                <a:gd name="T54" fmla="*/ 38 w 233"/>
                <a:gd name="T55" fmla="*/ 131 h 147"/>
                <a:gd name="T56" fmla="*/ 40 w 233"/>
                <a:gd name="T57" fmla="*/ 138 h 147"/>
                <a:gd name="T58" fmla="*/ 49 w 233"/>
                <a:gd name="T59" fmla="*/ 140 h 147"/>
                <a:gd name="T60" fmla="*/ 57 w 233"/>
                <a:gd name="T61" fmla="*/ 134 h 147"/>
                <a:gd name="T62" fmla="*/ 69 w 233"/>
                <a:gd name="T63" fmla="*/ 138 h 147"/>
                <a:gd name="T64" fmla="*/ 78 w 233"/>
                <a:gd name="T65" fmla="*/ 132 h 147"/>
                <a:gd name="T66" fmla="*/ 84 w 233"/>
                <a:gd name="T67" fmla="*/ 138 h 147"/>
                <a:gd name="T68" fmla="*/ 78 w 233"/>
                <a:gd name="T69" fmla="*/ 143 h 147"/>
                <a:gd name="T70" fmla="*/ 89 w 233"/>
                <a:gd name="T71" fmla="*/ 147 h 147"/>
                <a:gd name="T72" fmla="*/ 93 w 233"/>
                <a:gd name="T73" fmla="*/ 143 h 147"/>
                <a:gd name="T74" fmla="*/ 100 w 233"/>
                <a:gd name="T75" fmla="*/ 140 h 147"/>
                <a:gd name="T76" fmla="*/ 111 w 233"/>
                <a:gd name="T77" fmla="*/ 138 h 147"/>
                <a:gd name="T78" fmla="*/ 111 w 233"/>
                <a:gd name="T79" fmla="*/ 136 h 147"/>
                <a:gd name="T80" fmla="*/ 111 w 233"/>
                <a:gd name="T81" fmla="*/ 123 h 147"/>
                <a:gd name="T82" fmla="*/ 120 w 233"/>
                <a:gd name="T83" fmla="*/ 118 h 147"/>
                <a:gd name="T84" fmla="*/ 131 w 233"/>
                <a:gd name="T85" fmla="*/ 112 h 147"/>
                <a:gd name="T86" fmla="*/ 131 w 233"/>
                <a:gd name="T87" fmla="*/ 98 h 147"/>
                <a:gd name="T88" fmla="*/ 136 w 233"/>
                <a:gd name="T89" fmla="*/ 94 h 147"/>
                <a:gd name="T90" fmla="*/ 136 w 233"/>
                <a:gd name="T91" fmla="*/ 83 h 147"/>
                <a:gd name="T92" fmla="*/ 144 w 233"/>
                <a:gd name="T93" fmla="*/ 85 h 147"/>
                <a:gd name="T94" fmla="*/ 155 w 233"/>
                <a:gd name="T95" fmla="*/ 76 h 147"/>
                <a:gd name="T96" fmla="*/ 165 w 233"/>
                <a:gd name="T97" fmla="*/ 83 h 147"/>
                <a:gd name="T98" fmla="*/ 175 w 233"/>
                <a:gd name="T99" fmla="*/ 87 h 147"/>
                <a:gd name="T100" fmla="*/ 182 w 233"/>
                <a:gd name="T101" fmla="*/ 83 h 147"/>
                <a:gd name="T102" fmla="*/ 191 w 233"/>
                <a:gd name="T103" fmla="*/ 72 h 147"/>
                <a:gd name="T104" fmla="*/ 211 w 233"/>
                <a:gd name="T105" fmla="*/ 82 h 147"/>
                <a:gd name="T106" fmla="*/ 233 w 233"/>
                <a:gd name="T107" fmla="*/ 72 h 147"/>
                <a:gd name="T108" fmla="*/ 198 w 233"/>
                <a:gd name="T109" fmla="*/ 33 h 147"/>
                <a:gd name="T110" fmla="*/ 191 w 233"/>
                <a:gd name="T111" fmla="*/ 31 h 147"/>
                <a:gd name="T112" fmla="*/ 191 w 233"/>
                <a:gd name="T113" fmla="*/ 31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3" h="147">
                  <a:moveTo>
                    <a:pt x="191" y="31"/>
                  </a:moveTo>
                  <a:lnTo>
                    <a:pt x="191" y="31"/>
                  </a:lnTo>
                  <a:lnTo>
                    <a:pt x="189" y="23"/>
                  </a:lnTo>
                  <a:lnTo>
                    <a:pt x="189" y="23"/>
                  </a:lnTo>
                  <a:lnTo>
                    <a:pt x="187" y="18"/>
                  </a:lnTo>
                  <a:lnTo>
                    <a:pt x="185" y="14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0" y="14"/>
                  </a:lnTo>
                  <a:lnTo>
                    <a:pt x="175" y="18"/>
                  </a:lnTo>
                  <a:lnTo>
                    <a:pt x="169" y="20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5" y="20"/>
                  </a:lnTo>
                  <a:lnTo>
                    <a:pt x="155" y="20"/>
                  </a:lnTo>
                  <a:lnTo>
                    <a:pt x="144" y="18"/>
                  </a:lnTo>
                  <a:lnTo>
                    <a:pt x="138" y="14"/>
                  </a:lnTo>
                  <a:lnTo>
                    <a:pt x="138" y="13"/>
                  </a:lnTo>
                  <a:lnTo>
                    <a:pt x="138" y="11"/>
                  </a:lnTo>
                  <a:lnTo>
                    <a:pt x="138" y="11"/>
                  </a:lnTo>
                  <a:lnTo>
                    <a:pt x="138" y="3"/>
                  </a:lnTo>
                  <a:lnTo>
                    <a:pt x="136" y="2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27" y="0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0" y="3"/>
                  </a:lnTo>
                  <a:lnTo>
                    <a:pt x="118" y="5"/>
                  </a:lnTo>
                  <a:lnTo>
                    <a:pt x="116" y="7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0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1" y="13"/>
                  </a:lnTo>
                  <a:lnTo>
                    <a:pt x="89" y="14"/>
                  </a:lnTo>
                  <a:lnTo>
                    <a:pt x="89" y="18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2" y="23"/>
                  </a:lnTo>
                  <a:lnTo>
                    <a:pt x="80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7"/>
                  </a:lnTo>
                  <a:lnTo>
                    <a:pt x="73" y="29"/>
                  </a:lnTo>
                  <a:lnTo>
                    <a:pt x="69" y="33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55" y="40"/>
                  </a:lnTo>
                  <a:lnTo>
                    <a:pt x="51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37" y="36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27" y="42"/>
                  </a:lnTo>
                  <a:lnTo>
                    <a:pt x="24" y="43"/>
                  </a:lnTo>
                  <a:lnTo>
                    <a:pt x="22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3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7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7" y="63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7" y="7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5" y="89"/>
                  </a:lnTo>
                  <a:lnTo>
                    <a:pt x="20" y="89"/>
                  </a:lnTo>
                  <a:lnTo>
                    <a:pt x="24" y="89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6"/>
                  </a:lnTo>
                  <a:lnTo>
                    <a:pt x="31" y="103"/>
                  </a:lnTo>
                  <a:lnTo>
                    <a:pt x="31" y="116"/>
                  </a:lnTo>
                  <a:lnTo>
                    <a:pt x="31" y="116"/>
                  </a:lnTo>
                  <a:lnTo>
                    <a:pt x="31" y="120"/>
                  </a:lnTo>
                  <a:lnTo>
                    <a:pt x="33" y="125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6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38"/>
                  </a:lnTo>
                  <a:lnTo>
                    <a:pt x="53" y="136"/>
                  </a:lnTo>
                  <a:lnTo>
                    <a:pt x="57" y="134"/>
                  </a:lnTo>
                  <a:lnTo>
                    <a:pt x="58" y="136"/>
                  </a:lnTo>
                  <a:lnTo>
                    <a:pt x="62" y="13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3" y="134"/>
                  </a:lnTo>
                  <a:lnTo>
                    <a:pt x="76" y="134"/>
                  </a:lnTo>
                  <a:lnTo>
                    <a:pt x="78" y="132"/>
                  </a:lnTo>
                  <a:lnTo>
                    <a:pt x="78" y="132"/>
                  </a:lnTo>
                  <a:lnTo>
                    <a:pt x="82" y="134"/>
                  </a:lnTo>
                  <a:lnTo>
                    <a:pt x="84" y="136"/>
                  </a:lnTo>
                  <a:lnTo>
                    <a:pt x="84" y="136"/>
                  </a:lnTo>
                  <a:lnTo>
                    <a:pt x="84" y="138"/>
                  </a:lnTo>
                  <a:lnTo>
                    <a:pt x="84" y="138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78" y="143"/>
                  </a:lnTo>
                  <a:lnTo>
                    <a:pt x="80" y="143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93" y="143"/>
                  </a:lnTo>
                  <a:lnTo>
                    <a:pt x="96" y="140"/>
                  </a:lnTo>
                  <a:lnTo>
                    <a:pt x="96" y="140"/>
                  </a:lnTo>
                  <a:lnTo>
                    <a:pt x="100" y="140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0"/>
                  </a:lnTo>
                  <a:lnTo>
                    <a:pt x="106" y="138"/>
                  </a:lnTo>
                  <a:lnTo>
                    <a:pt x="111" y="138"/>
                  </a:lnTo>
                  <a:lnTo>
                    <a:pt x="111" y="138"/>
                  </a:lnTo>
                  <a:lnTo>
                    <a:pt x="111" y="138"/>
                  </a:lnTo>
                  <a:lnTo>
                    <a:pt x="113" y="138"/>
                  </a:lnTo>
                  <a:lnTo>
                    <a:pt x="111" y="136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5"/>
                  </a:lnTo>
                  <a:lnTo>
                    <a:pt x="111" y="123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6" y="118"/>
                  </a:lnTo>
                  <a:lnTo>
                    <a:pt x="120" y="118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7" y="116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05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3" y="96"/>
                  </a:lnTo>
                  <a:lnTo>
                    <a:pt x="135" y="96"/>
                  </a:lnTo>
                  <a:lnTo>
                    <a:pt x="136" y="94"/>
                  </a:lnTo>
                  <a:lnTo>
                    <a:pt x="136" y="94"/>
                  </a:lnTo>
                  <a:lnTo>
                    <a:pt x="138" y="92"/>
                  </a:lnTo>
                  <a:lnTo>
                    <a:pt x="136" y="89"/>
                  </a:lnTo>
                  <a:lnTo>
                    <a:pt x="136" y="87"/>
                  </a:lnTo>
                  <a:lnTo>
                    <a:pt x="136" y="83"/>
                  </a:lnTo>
                  <a:lnTo>
                    <a:pt x="136" y="83"/>
                  </a:lnTo>
                  <a:lnTo>
                    <a:pt x="138" y="83"/>
                  </a:lnTo>
                  <a:lnTo>
                    <a:pt x="140" y="83"/>
                  </a:lnTo>
                  <a:lnTo>
                    <a:pt x="144" y="85"/>
                  </a:lnTo>
                  <a:lnTo>
                    <a:pt x="144" y="85"/>
                  </a:lnTo>
                  <a:lnTo>
                    <a:pt x="146" y="85"/>
                  </a:lnTo>
                  <a:lnTo>
                    <a:pt x="149" y="82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8" y="76"/>
                  </a:lnTo>
                  <a:lnTo>
                    <a:pt x="162" y="82"/>
                  </a:lnTo>
                  <a:lnTo>
                    <a:pt x="165" y="83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73" y="85"/>
                  </a:lnTo>
                  <a:lnTo>
                    <a:pt x="175" y="87"/>
                  </a:lnTo>
                  <a:lnTo>
                    <a:pt x="176" y="89"/>
                  </a:lnTo>
                  <a:lnTo>
                    <a:pt x="176" y="89"/>
                  </a:lnTo>
                  <a:lnTo>
                    <a:pt x="180" y="89"/>
                  </a:lnTo>
                  <a:lnTo>
                    <a:pt x="182" y="83"/>
                  </a:lnTo>
                  <a:lnTo>
                    <a:pt x="185" y="83"/>
                  </a:lnTo>
                  <a:lnTo>
                    <a:pt x="189" y="82"/>
                  </a:lnTo>
                  <a:lnTo>
                    <a:pt x="189" y="76"/>
                  </a:lnTo>
                  <a:lnTo>
                    <a:pt x="191" y="72"/>
                  </a:lnTo>
                  <a:lnTo>
                    <a:pt x="200" y="71"/>
                  </a:lnTo>
                  <a:lnTo>
                    <a:pt x="200" y="71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5" y="83"/>
                  </a:lnTo>
                  <a:lnTo>
                    <a:pt x="218" y="82"/>
                  </a:lnTo>
                  <a:lnTo>
                    <a:pt x="224" y="78"/>
                  </a:lnTo>
                  <a:lnTo>
                    <a:pt x="233" y="72"/>
                  </a:lnTo>
                  <a:lnTo>
                    <a:pt x="211" y="43"/>
                  </a:lnTo>
                  <a:lnTo>
                    <a:pt x="209" y="40"/>
                  </a:lnTo>
                  <a:lnTo>
                    <a:pt x="198" y="33"/>
                  </a:lnTo>
                  <a:lnTo>
                    <a:pt x="198" y="33"/>
                  </a:lnTo>
                  <a:lnTo>
                    <a:pt x="196" y="33"/>
                  </a:lnTo>
                  <a:lnTo>
                    <a:pt x="191" y="33"/>
                  </a:lnTo>
                  <a:lnTo>
                    <a:pt x="191" y="33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lnTo>
                    <a:pt x="191" y="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1" name="Freeform 33">
              <a:extLst>
                <a:ext uri="{FF2B5EF4-FFF2-40B4-BE49-F238E27FC236}">
                  <a16:creationId xmlns:a16="http://schemas.microsoft.com/office/drawing/2014/main" id="{059B438E-89DF-844F-8320-CFAE1690C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536" y="3925290"/>
              <a:ext cx="194072" cy="161657"/>
            </a:xfrm>
            <a:custGeom>
              <a:avLst/>
              <a:gdLst>
                <a:gd name="T0" fmla="*/ 94 w 134"/>
                <a:gd name="T1" fmla="*/ 104 h 113"/>
                <a:gd name="T2" fmla="*/ 98 w 134"/>
                <a:gd name="T3" fmla="*/ 104 h 113"/>
                <a:gd name="T4" fmla="*/ 98 w 134"/>
                <a:gd name="T5" fmla="*/ 100 h 113"/>
                <a:gd name="T6" fmla="*/ 94 w 134"/>
                <a:gd name="T7" fmla="*/ 98 h 113"/>
                <a:gd name="T8" fmla="*/ 101 w 134"/>
                <a:gd name="T9" fmla="*/ 97 h 113"/>
                <a:gd name="T10" fmla="*/ 107 w 134"/>
                <a:gd name="T11" fmla="*/ 97 h 113"/>
                <a:gd name="T12" fmla="*/ 114 w 134"/>
                <a:gd name="T13" fmla="*/ 93 h 113"/>
                <a:gd name="T14" fmla="*/ 119 w 134"/>
                <a:gd name="T15" fmla="*/ 93 h 113"/>
                <a:gd name="T16" fmla="*/ 121 w 134"/>
                <a:gd name="T17" fmla="*/ 89 h 113"/>
                <a:gd name="T18" fmla="*/ 121 w 134"/>
                <a:gd name="T19" fmla="*/ 78 h 113"/>
                <a:gd name="T20" fmla="*/ 123 w 134"/>
                <a:gd name="T21" fmla="*/ 78 h 113"/>
                <a:gd name="T22" fmla="*/ 132 w 134"/>
                <a:gd name="T23" fmla="*/ 75 h 113"/>
                <a:gd name="T24" fmla="*/ 132 w 134"/>
                <a:gd name="T25" fmla="*/ 71 h 113"/>
                <a:gd name="T26" fmla="*/ 123 w 134"/>
                <a:gd name="T27" fmla="*/ 68 h 113"/>
                <a:gd name="T28" fmla="*/ 123 w 134"/>
                <a:gd name="T29" fmla="*/ 58 h 113"/>
                <a:gd name="T30" fmla="*/ 123 w 134"/>
                <a:gd name="T31" fmla="*/ 53 h 113"/>
                <a:gd name="T32" fmla="*/ 123 w 134"/>
                <a:gd name="T33" fmla="*/ 49 h 113"/>
                <a:gd name="T34" fmla="*/ 118 w 134"/>
                <a:gd name="T35" fmla="*/ 40 h 113"/>
                <a:gd name="T36" fmla="*/ 114 w 134"/>
                <a:gd name="T37" fmla="*/ 35 h 113"/>
                <a:gd name="T38" fmla="*/ 114 w 134"/>
                <a:gd name="T39" fmla="*/ 35 h 113"/>
                <a:gd name="T40" fmla="*/ 114 w 134"/>
                <a:gd name="T41" fmla="*/ 31 h 113"/>
                <a:gd name="T42" fmla="*/ 112 w 134"/>
                <a:gd name="T43" fmla="*/ 26 h 113"/>
                <a:gd name="T44" fmla="*/ 107 w 134"/>
                <a:gd name="T45" fmla="*/ 26 h 113"/>
                <a:gd name="T46" fmla="*/ 107 w 134"/>
                <a:gd name="T47" fmla="*/ 20 h 113"/>
                <a:gd name="T48" fmla="*/ 103 w 134"/>
                <a:gd name="T49" fmla="*/ 13 h 113"/>
                <a:gd name="T50" fmla="*/ 99 w 134"/>
                <a:gd name="T51" fmla="*/ 13 h 113"/>
                <a:gd name="T52" fmla="*/ 90 w 134"/>
                <a:gd name="T53" fmla="*/ 6 h 113"/>
                <a:gd name="T54" fmla="*/ 87 w 134"/>
                <a:gd name="T55" fmla="*/ 8 h 113"/>
                <a:gd name="T56" fmla="*/ 81 w 134"/>
                <a:gd name="T57" fmla="*/ 9 h 113"/>
                <a:gd name="T58" fmla="*/ 78 w 134"/>
                <a:gd name="T59" fmla="*/ 6 h 113"/>
                <a:gd name="T60" fmla="*/ 72 w 134"/>
                <a:gd name="T61" fmla="*/ 6 h 113"/>
                <a:gd name="T62" fmla="*/ 61 w 134"/>
                <a:gd name="T63" fmla="*/ 8 h 113"/>
                <a:gd name="T64" fmla="*/ 56 w 134"/>
                <a:gd name="T65" fmla="*/ 6 h 113"/>
                <a:gd name="T66" fmla="*/ 49 w 134"/>
                <a:gd name="T67" fmla="*/ 0 h 113"/>
                <a:gd name="T68" fmla="*/ 45 w 134"/>
                <a:gd name="T69" fmla="*/ 4 h 113"/>
                <a:gd name="T70" fmla="*/ 36 w 134"/>
                <a:gd name="T71" fmla="*/ 9 h 113"/>
                <a:gd name="T72" fmla="*/ 34 w 134"/>
                <a:gd name="T73" fmla="*/ 9 h 113"/>
                <a:gd name="T74" fmla="*/ 29 w 134"/>
                <a:gd name="T75" fmla="*/ 8 h 113"/>
                <a:gd name="T76" fmla="*/ 29 w 134"/>
                <a:gd name="T77" fmla="*/ 8 h 113"/>
                <a:gd name="T78" fmla="*/ 20 w 134"/>
                <a:gd name="T79" fmla="*/ 17 h 113"/>
                <a:gd name="T80" fmla="*/ 18 w 134"/>
                <a:gd name="T81" fmla="*/ 24 h 113"/>
                <a:gd name="T82" fmla="*/ 12 w 134"/>
                <a:gd name="T83" fmla="*/ 26 h 113"/>
                <a:gd name="T84" fmla="*/ 10 w 134"/>
                <a:gd name="T85" fmla="*/ 29 h 113"/>
                <a:gd name="T86" fmla="*/ 3 w 134"/>
                <a:gd name="T87" fmla="*/ 37 h 113"/>
                <a:gd name="T88" fmla="*/ 0 w 134"/>
                <a:gd name="T89" fmla="*/ 46 h 113"/>
                <a:gd name="T90" fmla="*/ 9 w 134"/>
                <a:gd name="T91" fmla="*/ 55 h 113"/>
                <a:gd name="T92" fmla="*/ 16 w 134"/>
                <a:gd name="T93" fmla="*/ 53 h 113"/>
                <a:gd name="T94" fmla="*/ 23 w 134"/>
                <a:gd name="T95" fmla="*/ 58 h 113"/>
                <a:gd name="T96" fmla="*/ 18 w 134"/>
                <a:gd name="T97" fmla="*/ 68 h 113"/>
                <a:gd name="T98" fmla="*/ 25 w 134"/>
                <a:gd name="T99" fmla="*/ 77 h 113"/>
                <a:gd name="T100" fmla="*/ 36 w 134"/>
                <a:gd name="T101" fmla="*/ 80 h 113"/>
                <a:gd name="T102" fmla="*/ 45 w 134"/>
                <a:gd name="T103" fmla="*/ 88 h 113"/>
                <a:gd name="T104" fmla="*/ 41 w 134"/>
                <a:gd name="T105" fmla="*/ 91 h 113"/>
                <a:gd name="T106" fmla="*/ 49 w 134"/>
                <a:gd name="T107" fmla="*/ 97 h 113"/>
                <a:gd name="T108" fmla="*/ 56 w 134"/>
                <a:gd name="T109" fmla="*/ 95 h 113"/>
                <a:gd name="T110" fmla="*/ 61 w 134"/>
                <a:gd name="T111" fmla="*/ 93 h 113"/>
                <a:gd name="T112" fmla="*/ 78 w 134"/>
                <a:gd name="T113" fmla="*/ 109 h 113"/>
                <a:gd name="T114" fmla="*/ 79 w 134"/>
                <a:gd name="T115" fmla="*/ 111 h 113"/>
                <a:gd name="T116" fmla="*/ 87 w 134"/>
                <a:gd name="T117" fmla="*/ 113 h 113"/>
                <a:gd name="T118" fmla="*/ 90 w 134"/>
                <a:gd name="T119" fmla="*/ 104 h 113"/>
                <a:gd name="T120" fmla="*/ 92 w 134"/>
                <a:gd name="T121" fmla="*/ 10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13">
                  <a:moveTo>
                    <a:pt x="92" y="104"/>
                  </a:moveTo>
                  <a:lnTo>
                    <a:pt x="92" y="104"/>
                  </a:lnTo>
                  <a:lnTo>
                    <a:pt x="94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0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6" y="97"/>
                  </a:lnTo>
                  <a:lnTo>
                    <a:pt x="98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3" y="98"/>
                  </a:lnTo>
                  <a:lnTo>
                    <a:pt x="107" y="97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4" y="93"/>
                  </a:lnTo>
                  <a:lnTo>
                    <a:pt x="116" y="93"/>
                  </a:lnTo>
                  <a:lnTo>
                    <a:pt x="116" y="95"/>
                  </a:lnTo>
                  <a:lnTo>
                    <a:pt x="119" y="93"/>
                  </a:lnTo>
                  <a:lnTo>
                    <a:pt x="119" y="93"/>
                  </a:lnTo>
                  <a:lnTo>
                    <a:pt x="121" y="91"/>
                  </a:lnTo>
                  <a:lnTo>
                    <a:pt x="121" y="89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2" y="73"/>
                  </a:lnTo>
                  <a:lnTo>
                    <a:pt x="134" y="71"/>
                  </a:lnTo>
                  <a:lnTo>
                    <a:pt x="132" y="71"/>
                  </a:lnTo>
                  <a:lnTo>
                    <a:pt x="128" y="69"/>
                  </a:lnTo>
                  <a:lnTo>
                    <a:pt x="123" y="68"/>
                  </a:lnTo>
                  <a:lnTo>
                    <a:pt x="123" y="68"/>
                  </a:lnTo>
                  <a:lnTo>
                    <a:pt x="121" y="62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3" y="53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49"/>
                  </a:lnTo>
                  <a:lnTo>
                    <a:pt x="123" y="49"/>
                  </a:lnTo>
                  <a:lnTo>
                    <a:pt x="119" y="46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6" y="37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3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0" y="26"/>
                  </a:lnTo>
                  <a:lnTo>
                    <a:pt x="107" y="26"/>
                  </a:lnTo>
                  <a:lnTo>
                    <a:pt x="107" y="24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19"/>
                  </a:lnTo>
                  <a:lnTo>
                    <a:pt x="107" y="17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8"/>
                  </a:lnTo>
                  <a:lnTo>
                    <a:pt x="79" y="6"/>
                  </a:lnTo>
                  <a:lnTo>
                    <a:pt x="78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2" y="6"/>
                  </a:lnTo>
                  <a:lnTo>
                    <a:pt x="70" y="6"/>
                  </a:lnTo>
                  <a:lnTo>
                    <a:pt x="67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8" y="6"/>
                  </a:lnTo>
                  <a:lnTo>
                    <a:pt x="56" y="6"/>
                  </a:lnTo>
                  <a:lnTo>
                    <a:pt x="52" y="4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6" y="9"/>
                  </a:lnTo>
                  <a:lnTo>
                    <a:pt x="36" y="11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0" y="8"/>
                  </a:lnTo>
                  <a:lnTo>
                    <a:pt x="30" y="6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5" y="13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9" y="55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20" y="57"/>
                  </a:lnTo>
                  <a:lnTo>
                    <a:pt x="23" y="58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18" y="68"/>
                  </a:lnTo>
                  <a:lnTo>
                    <a:pt x="16" y="75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6" y="80"/>
                  </a:lnTo>
                  <a:lnTo>
                    <a:pt x="39" y="82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1" y="91"/>
                  </a:lnTo>
                  <a:lnTo>
                    <a:pt x="45" y="95"/>
                  </a:lnTo>
                  <a:lnTo>
                    <a:pt x="47" y="97"/>
                  </a:lnTo>
                  <a:lnTo>
                    <a:pt x="49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6" y="95"/>
                  </a:lnTo>
                  <a:lnTo>
                    <a:pt x="58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7" y="95"/>
                  </a:lnTo>
                  <a:lnTo>
                    <a:pt x="72" y="102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87" y="113"/>
                  </a:lnTo>
                  <a:lnTo>
                    <a:pt x="87" y="113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2" name="Freeform 34">
              <a:extLst>
                <a:ext uri="{FF2B5EF4-FFF2-40B4-BE49-F238E27FC236}">
                  <a16:creationId xmlns:a16="http://schemas.microsoft.com/office/drawing/2014/main" id="{D3F28D79-D13F-1443-8E9A-829827DE2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713" y="3796536"/>
              <a:ext cx="312833" cy="197422"/>
            </a:xfrm>
            <a:custGeom>
              <a:avLst/>
              <a:gdLst>
                <a:gd name="T0" fmla="*/ 27 w 216"/>
                <a:gd name="T1" fmla="*/ 19 h 138"/>
                <a:gd name="T2" fmla="*/ 24 w 216"/>
                <a:gd name="T3" fmla="*/ 21 h 138"/>
                <a:gd name="T4" fmla="*/ 17 w 216"/>
                <a:gd name="T5" fmla="*/ 25 h 138"/>
                <a:gd name="T6" fmla="*/ 7 w 216"/>
                <a:gd name="T7" fmla="*/ 34 h 138"/>
                <a:gd name="T8" fmla="*/ 2 w 216"/>
                <a:gd name="T9" fmla="*/ 39 h 138"/>
                <a:gd name="T10" fmla="*/ 7 w 216"/>
                <a:gd name="T11" fmla="*/ 45 h 138"/>
                <a:gd name="T12" fmla="*/ 22 w 216"/>
                <a:gd name="T13" fmla="*/ 56 h 138"/>
                <a:gd name="T14" fmla="*/ 31 w 216"/>
                <a:gd name="T15" fmla="*/ 56 h 138"/>
                <a:gd name="T16" fmla="*/ 37 w 216"/>
                <a:gd name="T17" fmla="*/ 52 h 138"/>
                <a:gd name="T18" fmla="*/ 38 w 216"/>
                <a:gd name="T19" fmla="*/ 61 h 138"/>
                <a:gd name="T20" fmla="*/ 47 w 216"/>
                <a:gd name="T21" fmla="*/ 67 h 138"/>
                <a:gd name="T22" fmla="*/ 57 w 216"/>
                <a:gd name="T23" fmla="*/ 74 h 138"/>
                <a:gd name="T24" fmla="*/ 57 w 216"/>
                <a:gd name="T25" fmla="*/ 79 h 138"/>
                <a:gd name="T26" fmla="*/ 47 w 216"/>
                <a:gd name="T27" fmla="*/ 87 h 138"/>
                <a:gd name="T28" fmla="*/ 47 w 216"/>
                <a:gd name="T29" fmla="*/ 90 h 138"/>
                <a:gd name="T30" fmla="*/ 37 w 216"/>
                <a:gd name="T31" fmla="*/ 107 h 138"/>
                <a:gd name="T32" fmla="*/ 47 w 216"/>
                <a:gd name="T33" fmla="*/ 103 h 138"/>
                <a:gd name="T34" fmla="*/ 55 w 216"/>
                <a:gd name="T35" fmla="*/ 98 h 138"/>
                <a:gd name="T36" fmla="*/ 66 w 216"/>
                <a:gd name="T37" fmla="*/ 96 h 138"/>
                <a:gd name="T38" fmla="*/ 69 w 216"/>
                <a:gd name="T39" fmla="*/ 99 h 138"/>
                <a:gd name="T40" fmla="*/ 69 w 216"/>
                <a:gd name="T41" fmla="*/ 109 h 138"/>
                <a:gd name="T42" fmla="*/ 86 w 216"/>
                <a:gd name="T43" fmla="*/ 116 h 138"/>
                <a:gd name="T44" fmla="*/ 91 w 216"/>
                <a:gd name="T45" fmla="*/ 116 h 138"/>
                <a:gd name="T46" fmla="*/ 100 w 216"/>
                <a:gd name="T47" fmla="*/ 116 h 138"/>
                <a:gd name="T48" fmla="*/ 113 w 216"/>
                <a:gd name="T49" fmla="*/ 109 h 138"/>
                <a:gd name="T50" fmla="*/ 118 w 216"/>
                <a:gd name="T51" fmla="*/ 114 h 138"/>
                <a:gd name="T52" fmla="*/ 122 w 216"/>
                <a:gd name="T53" fmla="*/ 127 h 138"/>
                <a:gd name="T54" fmla="*/ 122 w 216"/>
                <a:gd name="T55" fmla="*/ 129 h 138"/>
                <a:gd name="T56" fmla="*/ 140 w 216"/>
                <a:gd name="T57" fmla="*/ 136 h 138"/>
                <a:gd name="T58" fmla="*/ 158 w 216"/>
                <a:gd name="T59" fmla="*/ 129 h 138"/>
                <a:gd name="T60" fmla="*/ 180 w 216"/>
                <a:gd name="T61" fmla="*/ 125 h 138"/>
                <a:gd name="T62" fmla="*/ 198 w 216"/>
                <a:gd name="T63" fmla="*/ 130 h 138"/>
                <a:gd name="T64" fmla="*/ 202 w 216"/>
                <a:gd name="T65" fmla="*/ 116 h 138"/>
                <a:gd name="T66" fmla="*/ 216 w 216"/>
                <a:gd name="T67" fmla="*/ 96 h 138"/>
                <a:gd name="T68" fmla="*/ 196 w 216"/>
                <a:gd name="T69" fmla="*/ 85 h 138"/>
                <a:gd name="T70" fmla="*/ 191 w 216"/>
                <a:gd name="T71" fmla="*/ 89 h 138"/>
                <a:gd name="T72" fmla="*/ 184 w 216"/>
                <a:gd name="T73" fmla="*/ 87 h 138"/>
                <a:gd name="T74" fmla="*/ 162 w 216"/>
                <a:gd name="T75" fmla="*/ 74 h 138"/>
                <a:gd name="T76" fmla="*/ 153 w 216"/>
                <a:gd name="T77" fmla="*/ 69 h 138"/>
                <a:gd name="T78" fmla="*/ 142 w 216"/>
                <a:gd name="T79" fmla="*/ 47 h 138"/>
                <a:gd name="T80" fmla="*/ 129 w 216"/>
                <a:gd name="T81" fmla="*/ 29 h 138"/>
                <a:gd name="T82" fmla="*/ 122 w 216"/>
                <a:gd name="T83" fmla="*/ 25 h 138"/>
                <a:gd name="T84" fmla="*/ 120 w 216"/>
                <a:gd name="T85" fmla="*/ 19 h 138"/>
                <a:gd name="T86" fmla="*/ 120 w 216"/>
                <a:gd name="T87" fmla="*/ 14 h 138"/>
                <a:gd name="T88" fmla="*/ 115 w 216"/>
                <a:gd name="T89" fmla="*/ 7 h 138"/>
                <a:gd name="T90" fmla="*/ 116 w 216"/>
                <a:gd name="T91" fmla="*/ 1 h 138"/>
                <a:gd name="T92" fmla="*/ 109 w 216"/>
                <a:gd name="T93" fmla="*/ 1 h 138"/>
                <a:gd name="T94" fmla="*/ 106 w 216"/>
                <a:gd name="T95" fmla="*/ 7 h 138"/>
                <a:gd name="T96" fmla="*/ 106 w 216"/>
                <a:gd name="T97" fmla="*/ 12 h 138"/>
                <a:gd name="T98" fmla="*/ 86 w 216"/>
                <a:gd name="T99" fmla="*/ 0 h 138"/>
                <a:gd name="T100" fmla="*/ 77 w 216"/>
                <a:gd name="T101" fmla="*/ 0 h 138"/>
                <a:gd name="T102" fmla="*/ 73 w 216"/>
                <a:gd name="T103" fmla="*/ 5 h 138"/>
                <a:gd name="T104" fmla="*/ 62 w 216"/>
                <a:gd name="T105" fmla="*/ 10 h 138"/>
                <a:gd name="T106" fmla="*/ 58 w 216"/>
                <a:gd name="T107" fmla="*/ 7 h 138"/>
                <a:gd name="T108" fmla="*/ 55 w 216"/>
                <a:gd name="T109" fmla="*/ 18 h 138"/>
                <a:gd name="T110" fmla="*/ 51 w 216"/>
                <a:gd name="T111" fmla="*/ 19 h 138"/>
                <a:gd name="T112" fmla="*/ 51 w 216"/>
                <a:gd name="T113" fmla="*/ 1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6" h="138">
                  <a:moveTo>
                    <a:pt x="51" y="19"/>
                  </a:moveTo>
                  <a:lnTo>
                    <a:pt x="51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4" y="21"/>
                  </a:lnTo>
                  <a:lnTo>
                    <a:pt x="20" y="23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1" y="29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9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7" y="45"/>
                  </a:lnTo>
                  <a:lnTo>
                    <a:pt x="11" y="49"/>
                  </a:lnTo>
                  <a:lnTo>
                    <a:pt x="20" y="56"/>
                  </a:lnTo>
                  <a:lnTo>
                    <a:pt x="22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31" y="56"/>
                  </a:lnTo>
                  <a:lnTo>
                    <a:pt x="33" y="52"/>
                  </a:lnTo>
                  <a:lnTo>
                    <a:pt x="35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8" y="61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51" y="72"/>
                  </a:lnTo>
                  <a:lnTo>
                    <a:pt x="57" y="74"/>
                  </a:lnTo>
                  <a:lnTo>
                    <a:pt x="57" y="76"/>
                  </a:lnTo>
                  <a:lnTo>
                    <a:pt x="57" y="78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1" y="83"/>
                  </a:lnTo>
                  <a:lnTo>
                    <a:pt x="47" y="87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6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44" y="105"/>
                  </a:lnTo>
                  <a:lnTo>
                    <a:pt x="44" y="105"/>
                  </a:lnTo>
                  <a:lnTo>
                    <a:pt x="47" y="103"/>
                  </a:lnTo>
                  <a:lnTo>
                    <a:pt x="49" y="101"/>
                  </a:lnTo>
                  <a:lnTo>
                    <a:pt x="51" y="99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8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7" y="98"/>
                  </a:lnTo>
                  <a:lnTo>
                    <a:pt x="69" y="99"/>
                  </a:lnTo>
                  <a:lnTo>
                    <a:pt x="69" y="107"/>
                  </a:lnTo>
                  <a:lnTo>
                    <a:pt x="69" y="107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5" y="114"/>
                  </a:lnTo>
                  <a:lnTo>
                    <a:pt x="86" y="116"/>
                  </a:lnTo>
                  <a:lnTo>
                    <a:pt x="86" y="116"/>
                  </a:lnTo>
                  <a:lnTo>
                    <a:pt x="89" y="116"/>
                  </a:lnTo>
                  <a:lnTo>
                    <a:pt x="91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6" y="114"/>
                  </a:lnTo>
                  <a:lnTo>
                    <a:pt x="111" y="110"/>
                  </a:lnTo>
                  <a:lnTo>
                    <a:pt x="113" y="109"/>
                  </a:lnTo>
                  <a:lnTo>
                    <a:pt x="113" y="109"/>
                  </a:lnTo>
                  <a:lnTo>
                    <a:pt x="116" y="110"/>
                  </a:lnTo>
                  <a:lnTo>
                    <a:pt x="118" y="114"/>
                  </a:lnTo>
                  <a:lnTo>
                    <a:pt x="120" y="119"/>
                  </a:lnTo>
                  <a:lnTo>
                    <a:pt x="120" y="119"/>
                  </a:lnTo>
                  <a:lnTo>
                    <a:pt x="122" y="127"/>
                  </a:lnTo>
                  <a:lnTo>
                    <a:pt x="122" y="127"/>
                  </a:lnTo>
                  <a:lnTo>
                    <a:pt x="122" y="129"/>
                  </a:lnTo>
                  <a:lnTo>
                    <a:pt x="122" y="129"/>
                  </a:lnTo>
                  <a:lnTo>
                    <a:pt x="127" y="129"/>
                  </a:lnTo>
                  <a:lnTo>
                    <a:pt x="129" y="129"/>
                  </a:lnTo>
                  <a:lnTo>
                    <a:pt x="140" y="136"/>
                  </a:lnTo>
                  <a:lnTo>
                    <a:pt x="142" y="138"/>
                  </a:lnTo>
                  <a:lnTo>
                    <a:pt x="155" y="129"/>
                  </a:lnTo>
                  <a:lnTo>
                    <a:pt x="158" y="129"/>
                  </a:lnTo>
                  <a:lnTo>
                    <a:pt x="167" y="125"/>
                  </a:lnTo>
                  <a:lnTo>
                    <a:pt x="176" y="129"/>
                  </a:lnTo>
                  <a:lnTo>
                    <a:pt x="180" y="125"/>
                  </a:lnTo>
                  <a:lnTo>
                    <a:pt x="184" y="129"/>
                  </a:lnTo>
                  <a:lnTo>
                    <a:pt x="191" y="125"/>
                  </a:lnTo>
                  <a:lnTo>
                    <a:pt x="198" y="130"/>
                  </a:lnTo>
                  <a:lnTo>
                    <a:pt x="202" y="121"/>
                  </a:lnTo>
                  <a:lnTo>
                    <a:pt x="202" y="118"/>
                  </a:lnTo>
                  <a:lnTo>
                    <a:pt x="202" y="116"/>
                  </a:lnTo>
                  <a:lnTo>
                    <a:pt x="209" y="107"/>
                  </a:lnTo>
                  <a:lnTo>
                    <a:pt x="204" y="103"/>
                  </a:lnTo>
                  <a:lnTo>
                    <a:pt x="216" y="96"/>
                  </a:lnTo>
                  <a:lnTo>
                    <a:pt x="205" y="87"/>
                  </a:lnTo>
                  <a:lnTo>
                    <a:pt x="200" y="83"/>
                  </a:lnTo>
                  <a:lnTo>
                    <a:pt x="196" y="85"/>
                  </a:lnTo>
                  <a:lnTo>
                    <a:pt x="193" y="89"/>
                  </a:lnTo>
                  <a:lnTo>
                    <a:pt x="193" y="89"/>
                  </a:lnTo>
                  <a:lnTo>
                    <a:pt x="191" y="89"/>
                  </a:lnTo>
                  <a:lnTo>
                    <a:pt x="189" y="87"/>
                  </a:lnTo>
                  <a:lnTo>
                    <a:pt x="184" y="87"/>
                  </a:lnTo>
                  <a:lnTo>
                    <a:pt x="184" y="87"/>
                  </a:lnTo>
                  <a:lnTo>
                    <a:pt x="176" y="83"/>
                  </a:lnTo>
                  <a:lnTo>
                    <a:pt x="171" y="79"/>
                  </a:lnTo>
                  <a:lnTo>
                    <a:pt x="162" y="74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3" y="69"/>
                  </a:lnTo>
                  <a:lnTo>
                    <a:pt x="151" y="65"/>
                  </a:lnTo>
                  <a:lnTo>
                    <a:pt x="147" y="59"/>
                  </a:lnTo>
                  <a:lnTo>
                    <a:pt x="142" y="47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29" y="29"/>
                  </a:lnTo>
                  <a:lnTo>
                    <a:pt x="127" y="25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0" y="23"/>
                  </a:lnTo>
                  <a:lnTo>
                    <a:pt x="120" y="21"/>
                  </a:lnTo>
                  <a:lnTo>
                    <a:pt x="120" y="19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4"/>
                  </a:lnTo>
                  <a:lnTo>
                    <a:pt x="116" y="14"/>
                  </a:lnTo>
                  <a:lnTo>
                    <a:pt x="115" y="10"/>
                  </a:lnTo>
                  <a:lnTo>
                    <a:pt x="115" y="7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6" y="1"/>
                  </a:lnTo>
                  <a:lnTo>
                    <a:pt x="115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6" y="7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96" y="1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5" y="1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69" y="5"/>
                  </a:lnTo>
                  <a:lnTo>
                    <a:pt x="66" y="7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5" y="18"/>
                  </a:lnTo>
                  <a:lnTo>
                    <a:pt x="53" y="18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3" name="Freeform 35">
              <a:extLst>
                <a:ext uri="{FF2B5EF4-FFF2-40B4-BE49-F238E27FC236}">
                  <a16:creationId xmlns:a16="http://schemas.microsoft.com/office/drawing/2014/main" id="{DFDADAD5-4182-9D43-AE1E-601A3C77E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17" y="3806550"/>
              <a:ext cx="141933" cy="194562"/>
            </a:xfrm>
            <a:custGeom>
              <a:avLst/>
              <a:gdLst>
                <a:gd name="T0" fmla="*/ 8 w 98"/>
                <a:gd name="T1" fmla="*/ 107 h 136"/>
                <a:gd name="T2" fmla="*/ 13 w 98"/>
                <a:gd name="T3" fmla="*/ 109 h 136"/>
                <a:gd name="T4" fmla="*/ 15 w 98"/>
                <a:gd name="T5" fmla="*/ 111 h 136"/>
                <a:gd name="T6" fmla="*/ 15 w 98"/>
                <a:gd name="T7" fmla="*/ 116 h 136"/>
                <a:gd name="T8" fmla="*/ 15 w 98"/>
                <a:gd name="T9" fmla="*/ 118 h 136"/>
                <a:gd name="T10" fmla="*/ 19 w 98"/>
                <a:gd name="T11" fmla="*/ 123 h 136"/>
                <a:gd name="T12" fmla="*/ 24 w 98"/>
                <a:gd name="T13" fmla="*/ 132 h 136"/>
                <a:gd name="T14" fmla="*/ 24 w 98"/>
                <a:gd name="T15" fmla="*/ 134 h 136"/>
                <a:gd name="T16" fmla="*/ 24 w 98"/>
                <a:gd name="T17" fmla="*/ 134 h 136"/>
                <a:gd name="T18" fmla="*/ 35 w 98"/>
                <a:gd name="T19" fmla="*/ 136 h 136"/>
                <a:gd name="T20" fmla="*/ 44 w 98"/>
                <a:gd name="T21" fmla="*/ 134 h 136"/>
                <a:gd name="T22" fmla="*/ 53 w 98"/>
                <a:gd name="T23" fmla="*/ 129 h 136"/>
                <a:gd name="T24" fmla="*/ 69 w 98"/>
                <a:gd name="T25" fmla="*/ 129 h 136"/>
                <a:gd name="T26" fmla="*/ 77 w 98"/>
                <a:gd name="T27" fmla="*/ 129 h 136"/>
                <a:gd name="T28" fmla="*/ 91 w 98"/>
                <a:gd name="T29" fmla="*/ 122 h 136"/>
                <a:gd name="T30" fmla="*/ 95 w 98"/>
                <a:gd name="T31" fmla="*/ 114 h 136"/>
                <a:gd name="T32" fmla="*/ 98 w 98"/>
                <a:gd name="T33" fmla="*/ 112 h 136"/>
                <a:gd name="T34" fmla="*/ 93 w 98"/>
                <a:gd name="T35" fmla="*/ 103 h 136"/>
                <a:gd name="T36" fmla="*/ 84 w 98"/>
                <a:gd name="T37" fmla="*/ 100 h 136"/>
                <a:gd name="T38" fmla="*/ 82 w 98"/>
                <a:gd name="T39" fmla="*/ 96 h 136"/>
                <a:gd name="T40" fmla="*/ 79 w 98"/>
                <a:gd name="T41" fmla="*/ 87 h 136"/>
                <a:gd name="T42" fmla="*/ 71 w 98"/>
                <a:gd name="T43" fmla="*/ 76 h 136"/>
                <a:gd name="T44" fmla="*/ 66 w 98"/>
                <a:gd name="T45" fmla="*/ 65 h 136"/>
                <a:gd name="T46" fmla="*/ 57 w 98"/>
                <a:gd name="T47" fmla="*/ 56 h 136"/>
                <a:gd name="T48" fmla="*/ 51 w 98"/>
                <a:gd name="T49" fmla="*/ 52 h 136"/>
                <a:gd name="T50" fmla="*/ 44 w 98"/>
                <a:gd name="T51" fmla="*/ 49 h 136"/>
                <a:gd name="T52" fmla="*/ 53 w 98"/>
                <a:gd name="T53" fmla="*/ 40 h 136"/>
                <a:gd name="T54" fmla="*/ 57 w 98"/>
                <a:gd name="T55" fmla="*/ 32 h 136"/>
                <a:gd name="T56" fmla="*/ 51 w 98"/>
                <a:gd name="T57" fmla="*/ 22 h 136"/>
                <a:gd name="T58" fmla="*/ 37 w 98"/>
                <a:gd name="T59" fmla="*/ 29 h 136"/>
                <a:gd name="T60" fmla="*/ 33 w 98"/>
                <a:gd name="T61" fmla="*/ 27 h 136"/>
                <a:gd name="T62" fmla="*/ 29 w 98"/>
                <a:gd name="T63" fmla="*/ 12 h 136"/>
                <a:gd name="T64" fmla="*/ 29 w 98"/>
                <a:gd name="T65" fmla="*/ 0 h 136"/>
                <a:gd name="T66" fmla="*/ 28 w 98"/>
                <a:gd name="T67" fmla="*/ 3 h 136"/>
                <a:gd name="T68" fmla="*/ 19 w 98"/>
                <a:gd name="T69" fmla="*/ 11 h 136"/>
                <a:gd name="T70" fmla="*/ 11 w 98"/>
                <a:gd name="T71" fmla="*/ 20 h 136"/>
                <a:gd name="T72" fmla="*/ 0 w 98"/>
                <a:gd name="T73" fmla="*/ 32 h 136"/>
                <a:gd name="T74" fmla="*/ 4 w 98"/>
                <a:gd name="T75" fmla="*/ 47 h 136"/>
                <a:gd name="T76" fmla="*/ 4 w 98"/>
                <a:gd name="T77" fmla="*/ 56 h 136"/>
                <a:gd name="T78" fmla="*/ 11 w 98"/>
                <a:gd name="T79" fmla="*/ 60 h 136"/>
                <a:gd name="T80" fmla="*/ 17 w 98"/>
                <a:gd name="T81" fmla="*/ 69 h 136"/>
                <a:gd name="T82" fmla="*/ 15 w 98"/>
                <a:gd name="T83" fmla="*/ 78 h 136"/>
                <a:gd name="T84" fmla="*/ 11 w 98"/>
                <a:gd name="T85" fmla="*/ 80 h 136"/>
                <a:gd name="T86" fmla="*/ 8 w 98"/>
                <a:gd name="T87" fmla="*/ 87 h 136"/>
                <a:gd name="T88" fmla="*/ 4 w 98"/>
                <a:gd name="T89" fmla="*/ 96 h 136"/>
                <a:gd name="T90" fmla="*/ 8 w 98"/>
                <a:gd name="T91" fmla="*/ 100 h 136"/>
                <a:gd name="T92" fmla="*/ 8 w 98"/>
                <a:gd name="T93" fmla="*/ 103 h 136"/>
                <a:gd name="T94" fmla="*/ 8 w 98"/>
                <a:gd name="T95" fmla="*/ 10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8" h="136">
                  <a:moveTo>
                    <a:pt x="8" y="103"/>
                  </a:moveTo>
                  <a:lnTo>
                    <a:pt x="8" y="103"/>
                  </a:lnTo>
                  <a:lnTo>
                    <a:pt x="8" y="107"/>
                  </a:lnTo>
                  <a:lnTo>
                    <a:pt x="8" y="109"/>
                  </a:lnTo>
                  <a:lnTo>
                    <a:pt x="11" y="109"/>
                  </a:lnTo>
                  <a:lnTo>
                    <a:pt x="13" y="109"/>
                  </a:lnTo>
                  <a:lnTo>
                    <a:pt x="13" y="109"/>
                  </a:lnTo>
                  <a:lnTo>
                    <a:pt x="15" y="111"/>
                  </a:lnTo>
                  <a:lnTo>
                    <a:pt x="15" y="111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6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7" y="120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20" y="129"/>
                  </a:lnTo>
                  <a:lnTo>
                    <a:pt x="24" y="132"/>
                  </a:lnTo>
                  <a:lnTo>
                    <a:pt x="28" y="132"/>
                  </a:lnTo>
                  <a:lnTo>
                    <a:pt x="28" y="13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9" y="136"/>
                  </a:lnTo>
                  <a:lnTo>
                    <a:pt x="29" y="136"/>
                  </a:lnTo>
                  <a:lnTo>
                    <a:pt x="35" y="136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44" y="134"/>
                  </a:lnTo>
                  <a:lnTo>
                    <a:pt x="46" y="132"/>
                  </a:lnTo>
                  <a:lnTo>
                    <a:pt x="49" y="131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9" y="125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73" y="129"/>
                  </a:lnTo>
                  <a:lnTo>
                    <a:pt x="77" y="129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91" y="122"/>
                  </a:lnTo>
                  <a:lnTo>
                    <a:pt x="95" y="118"/>
                  </a:lnTo>
                  <a:lnTo>
                    <a:pt x="95" y="116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5" y="107"/>
                  </a:lnTo>
                  <a:lnTo>
                    <a:pt x="93" y="103"/>
                  </a:lnTo>
                  <a:lnTo>
                    <a:pt x="91" y="102"/>
                  </a:lnTo>
                  <a:lnTo>
                    <a:pt x="91" y="102"/>
                  </a:lnTo>
                  <a:lnTo>
                    <a:pt x="84" y="100"/>
                  </a:lnTo>
                  <a:lnTo>
                    <a:pt x="82" y="100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4" y="94"/>
                  </a:lnTo>
                  <a:lnTo>
                    <a:pt x="82" y="92"/>
                  </a:lnTo>
                  <a:lnTo>
                    <a:pt x="79" y="87"/>
                  </a:lnTo>
                  <a:lnTo>
                    <a:pt x="79" y="87"/>
                  </a:lnTo>
                  <a:lnTo>
                    <a:pt x="75" y="82"/>
                  </a:lnTo>
                  <a:lnTo>
                    <a:pt x="71" y="76"/>
                  </a:lnTo>
                  <a:lnTo>
                    <a:pt x="69" y="71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4" y="60"/>
                  </a:lnTo>
                  <a:lnTo>
                    <a:pt x="60" y="58"/>
                  </a:lnTo>
                  <a:lnTo>
                    <a:pt x="57" y="56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1" y="52"/>
                  </a:lnTo>
                  <a:lnTo>
                    <a:pt x="46" y="52"/>
                  </a:lnTo>
                  <a:lnTo>
                    <a:pt x="44" y="51"/>
                  </a:lnTo>
                  <a:lnTo>
                    <a:pt x="44" y="49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53" y="40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3" y="29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5" y="29"/>
                  </a:lnTo>
                  <a:lnTo>
                    <a:pt x="33" y="27"/>
                  </a:lnTo>
                  <a:lnTo>
                    <a:pt x="29" y="18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8" y="7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8" y="3"/>
                  </a:lnTo>
                  <a:lnTo>
                    <a:pt x="24" y="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8" y="27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1" y="60"/>
                  </a:lnTo>
                  <a:lnTo>
                    <a:pt x="13" y="62"/>
                  </a:lnTo>
                  <a:lnTo>
                    <a:pt x="15" y="65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76"/>
                  </a:lnTo>
                  <a:lnTo>
                    <a:pt x="15" y="78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82"/>
                  </a:lnTo>
                  <a:lnTo>
                    <a:pt x="9" y="83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4" y="92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8" y="100"/>
                  </a:lnTo>
                  <a:lnTo>
                    <a:pt x="8" y="102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4" name="Freeform 36">
              <a:extLst>
                <a:ext uri="{FF2B5EF4-FFF2-40B4-BE49-F238E27FC236}">
                  <a16:creationId xmlns:a16="http://schemas.microsoft.com/office/drawing/2014/main" id="{3D466EED-F86A-AE4F-841A-E26FE0003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42" y="3546182"/>
              <a:ext cx="331660" cy="260369"/>
            </a:xfrm>
            <a:custGeom>
              <a:avLst/>
              <a:gdLst>
                <a:gd name="T0" fmla="*/ 92 w 229"/>
                <a:gd name="T1" fmla="*/ 129 h 182"/>
                <a:gd name="T2" fmla="*/ 100 w 229"/>
                <a:gd name="T3" fmla="*/ 125 h 182"/>
                <a:gd name="T4" fmla="*/ 103 w 229"/>
                <a:gd name="T5" fmla="*/ 131 h 182"/>
                <a:gd name="T6" fmla="*/ 103 w 229"/>
                <a:gd name="T7" fmla="*/ 140 h 182"/>
                <a:gd name="T8" fmla="*/ 123 w 229"/>
                <a:gd name="T9" fmla="*/ 153 h 182"/>
                <a:gd name="T10" fmla="*/ 143 w 229"/>
                <a:gd name="T11" fmla="*/ 156 h 182"/>
                <a:gd name="T12" fmla="*/ 151 w 229"/>
                <a:gd name="T13" fmla="*/ 160 h 182"/>
                <a:gd name="T14" fmla="*/ 160 w 229"/>
                <a:gd name="T15" fmla="*/ 167 h 182"/>
                <a:gd name="T16" fmla="*/ 161 w 229"/>
                <a:gd name="T17" fmla="*/ 182 h 182"/>
                <a:gd name="T18" fmla="*/ 163 w 229"/>
                <a:gd name="T19" fmla="*/ 176 h 182"/>
                <a:gd name="T20" fmla="*/ 176 w 229"/>
                <a:gd name="T21" fmla="*/ 171 h 182"/>
                <a:gd name="T22" fmla="*/ 183 w 229"/>
                <a:gd name="T23" fmla="*/ 165 h 182"/>
                <a:gd name="T24" fmla="*/ 185 w 229"/>
                <a:gd name="T25" fmla="*/ 162 h 182"/>
                <a:gd name="T26" fmla="*/ 185 w 229"/>
                <a:gd name="T27" fmla="*/ 153 h 182"/>
                <a:gd name="T28" fmla="*/ 192 w 229"/>
                <a:gd name="T29" fmla="*/ 133 h 182"/>
                <a:gd name="T30" fmla="*/ 198 w 229"/>
                <a:gd name="T31" fmla="*/ 124 h 182"/>
                <a:gd name="T32" fmla="*/ 207 w 229"/>
                <a:gd name="T33" fmla="*/ 124 h 182"/>
                <a:gd name="T34" fmla="*/ 211 w 229"/>
                <a:gd name="T35" fmla="*/ 115 h 182"/>
                <a:gd name="T36" fmla="*/ 216 w 229"/>
                <a:gd name="T37" fmla="*/ 113 h 182"/>
                <a:gd name="T38" fmla="*/ 227 w 229"/>
                <a:gd name="T39" fmla="*/ 104 h 182"/>
                <a:gd name="T40" fmla="*/ 229 w 229"/>
                <a:gd name="T41" fmla="*/ 91 h 182"/>
                <a:gd name="T42" fmla="*/ 223 w 229"/>
                <a:gd name="T43" fmla="*/ 87 h 182"/>
                <a:gd name="T44" fmla="*/ 205 w 229"/>
                <a:gd name="T45" fmla="*/ 82 h 182"/>
                <a:gd name="T46" fmla="*/ 189 w 229"/>
                <a:gd name="T47" fmla="*/ 69 h 182"/>
                <a:gd name="T48" fmla="*/ 172 w 229"/>
                <a:gd name="T49" fmla="*/ 64 h 182"/>
                <a:gd name="T50" fmla="*/ 165 w 229"/>
                <a:gd name="T51" fmla="*/ 56 h 182"/>
                <a:gd name="T52" fmla="*/ 156 w 229"/>
                <a:gd name="T53" fmla="*/ 51 h 182"/>
                <a:gd name="T54" fmla="*/ 151 w 229"/>
                <a:gd name="T55" fmla="*/ 36 h 182"/>
                <a:gd name="T56" fmla="*/ 141 w 229"/>
                <a:gd name="T57" fmla="*/ 36 h 182"/>
                <a:gd name="T58" fmla="*/ 127 w 229"/>
                <a:gd name="T59" fmla="*/ 36 h 182"/>
                <a:gd name="T60" fmla="*/ 114 w 229"/>
                <a:gd name="T61" fmla="*/ 42 h 182"/>
                <a:gd name="T62" fmla="*/ 107 w 229"/>
                <a:gd name="T63" fmla="*/ 36 h 182"/>
                <a:gd name="T64" fmla="*/ 91 w 229"/>
                <a:gd name="T65" fmla="*/ 29 h 182"/>
                <a:gd name="T66" fmla="*/ 71 w 229"/>
                <a:gd name="T67" fmla="*/ 22 h 182"/>
                <a:gd name="T68" fmla="*/ 53 w 229"/>
                <a:gd name="T69" fmla="*/ 6 h 182"/>
                <a:gd name="T70" fmla="*/ 42 w 229"/>
                <a:gd name="T71" fmla="*/ 2 h 182"/>
                <a:gd name="T72" fmla="*/ 33 w 229"/>
                <a:gd name="T73" fmla="*/ 9 h 182"/>
                <a:gd name="T74" fmla="*/ 25 w 229"/>
                <a:gd name="T75" fmla="*/ 26 h 182"/>
                <a:gd name="T76" fmla="*/ 23 w 229"/>
                <a:gd name="T77" fmla="*/ 33 h 182"/>
                <a:gd name="T78" fmla="*/ 7 w 229"/>
                <a:gd name="T79" fmla="*/ 42 h 182"/>
                <a:gd name="T80" fmla="*/ 2 w 229"/>
                <a:gd name="T81" fmla="*/ 51 h 182"/>
                <a:gd name="T82" fmla="*/ 7 w 229"/>
                <a:gd name="T83" fmla="*/ 55 h 182"/>
                <a:gd name="T84" fmla="*/ 7 w 229"/>
                <a:gd name="T85" fmla="*/ 64 h 182"/>
                <a:gd name="T86" fmla="*/ 14 w 229"/>
                <a:gd name="T87" fmla="*/ 71 h 182"/>
                <a:gd name="T88" fmla="*/ 18 w 229"/>
                <a:gd name="T89" fmla="*/ 78 h 182"/>
                <a:gd name="T90" fmla="*/ 36 w 229"/>
                <a:gd name="T91" fmla="*/ 96 h 182"/>
                <a:gd name="T92" fmla="*/ 51 w 229"/>
                <a:gd name="T93" fmla="*/ 98 h 182"/>
                <a:gd name="T94" fmla="*/ 58 w 229"/>
                <a:gd name="T95" fmla="*/ 107 h 182"/>
                <a:gd name="T96" fmla="*/ 63 w 229"/>
                <a:gd name="T97" fmla="*/ 124 h 182"/>
                <a:gd name="T98" fmla="*/ 71 w 229"/>
                <a:gd name="T99" fmla="*/ 131 h 182"/>
                <a:gd name="T100" fmla="*/ 74 w 229"/>
                <a:gd name="T101" fmla="*/ 131 h 182"/>
                <a:gd name="T102" fmla="*/ 85 w 229"/>
                <a:gd name="T103" fmla="*/ 12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182">
                  <a:moveTo>
                    <a:pt x="85" y="129"/>
                  </a:moveTo>
                  <a:lnTo>
                    <a:pt x="85" y="129"/>
                  </a:lnTo>
                  <a:lnTo>
                    <a:pt x="91" y="129"/>
                  </a:lnTo>
                  <a:lnTo>
                    <a:pt x="92" y="129"/>
                  </a:lnTo>
                  <a:lnTo>
                    <a:pt x="94" y="127"/>
                  </a:lnTo>
                  <a:lnTo>
                    <a:pt x="94" y="127"/>
                  </a:lnTo>
                  <a:lnTo>
                    <a:pt x="98" y="127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3" y="127"/>
                  </a:lnTo>
                  <a:lnTo>
                    <a:pt x="103" y="127"/>
                  </a:lnTo>
                  <a:lnTo>
                    <a:pt x="103" y="131"/>
                  </a:lnTo>
                  <a:lnTo>
                    <a:pt x="102" y="135"/>
                  </a:lnTo>
                  <a:lnTo>
                    <a:pt x="102" y="136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14" y="147"/>
                  </a:lnTo>
                  <a:lnTo>
                    <a:pt x="120" y="151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32" y="153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3" y="156"/>
                  </a:lnTo>
                  <a:lnTo>
                    <a:pt x="147" y="158"/>
                  </a:lnTo>
                  <a:lnTo>
                    <a:pt x="147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6" y="162"/>
                  </a:lnTo>
                  <a:lnTo>
                    <a:pt x="160" y="165"/>
                  </a:lnTo>
                  <a:lnTo>
                    <a:pt x="160" y="167"/>
                  </a:lnTo>
                  <a:lnTo>
                    <a:pt x="160" y="167"/>
                  </a:lnTo>
                  <a:lnTo>
                    <a:pt x="161" y="175"/>
                  </a:lnTo>
                  <a:lnTo>
                    <a:pt x="161" y="180"/>
                  </a:lnTo>
                  <a:lnTo>
                    <a:pt x="161" y="180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9" y="173"/>
                  </a:lnTo>
                  <a:lnTo>
                    <a:pt x="169" y="173"/>
                  </a:lnTo>
                  <a:lnTo>
                    <a:pt x="172" y="171"/>
                  </a:lnTo>
                  <a:lnTo>
                    <a:pt x="176" y="171"/>
                  </a:lnTo>
                  <a:lnTo>
                    <a:pt x="176" y="171"/>
                  </a:lnTo>
                  <a:lnTo>
                    <a:pt x="181" y="171"/>
                  </a:lnTo>
                  <a:lnTo>
                    <a:pt x="181" y="169"/>
                  </a:lnTo>
                  <a:lnTo>
                    <a:pt x="183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2"/>
                  </a:lnTo>
                  <a:lnTo>
                    <a:pt x="185" y="162"/>
                  </a:lnTo>
                  <a:lnTo>
                    <a:pt x="185" y="158"/>
                  </a:lnTo>
                  <a:lnTo>
                    <a:pt x="185" y="156"/>
                  </a:lnTo>
                  <a:lnTo>
                    <a:pt x="185" y="153"/>
                  </a:lnTo>
                  <a:lnTo>
                    <a:pt x="185" y="153"/>
                  </a:lnTo>
                  <a:lnTo>
                    <a:pt x="187" y="151"/>
                  </a:lnTo>
                  <a:lnTo>
                    <a:pt x="189" y="145"/>
                  </a:lnTo>
                  <a:lnTo>
                    <a:pt x="192" y="133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4" y="127"/>
                  </a:lnTo>
                  <a:lnTo>
                    <a:pt x="198" y="124"/>
                  </a:lnTo>
                  <a:lnTo>
                    <a:pt x="198" y="124"/>
                  </a:lnTo>
                  <a:lnTo>
                    <a:pt x="201" y="124"/>
                  </a:lnTo>
                  <a:lnTo>
                    <a:pt x="201" y="124"/>
                  </a:lnTo>
                  <a:lnTo>
                    <a:pt x="207" y="124"/>
                  </a:lnTo>
                  <a:lnTo>
                    <a:pt x="207" y="124"/>
                  </a:lnTo>
                  <a:lnTo>
                    <a:pt x="209" y="124"/>
                  </a:lnTo>
                  <a:lnTo>
                    <a:pt x="211" y="124"/>
                  </a:lnTo>
                  <a:lnTo>
                    <a:pt x="211" y="118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3"/>
                  </a:lnTo>
                  <a:lnTo>
                    <a:pt x="211" y="113"/>
                  </a:lnTo>
                  <a:lnTo>
                    <a:pt x="216" y="113"/>
                  </a:lnTo>
                  <a:lnTo>
                    <a:pt x="223" y="111"/>
                  </a:lnTo>
                  <a:lnTo>
                    <a:pt x="223" y="111"/>
                  </a:lnTo>
                  <a:lnTo>
                    <a:pt x="225" y="107"/>
                  </a:lnTo>
                  <a:lnTo>
                    <a:pt x="227" y="104"/>
                  </a:lnTo>
                  <a:lnTo>
                    <a:pt x="227" y="10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7" y="89"/>
                  </a:lnTo>
                  <a:lnTo>
                    <a:pt x="227" y="89"/>
                  </a:lnTo>
                  <a:lnTo>
                    <a:pt x="223" y="87"/>
                  </a:lnTo>
                  <a:lnTo>
                    <a:pt x="214" y="85"/>
                  </a:lnTo>
                  <a:lnTo>
                    <a:pt x="209" y="84"/>
                  </a:lnTo>
                  <a:lnTo>
                    <a:pt x="205" y="82"/>
                  </a:lnTo>
                  <a:lnTo>
                    <a:pt x="205" y="82"/>
                  </a:lnTo>
                  <a:lnTo>
                    <a:pt x="201" y="76"/>
                  </a:lnTo>
                  <a:lnTo>
                    <a:pt x="201" y="76"/>
                  </a:lnTo>
                  <a:lnTo>
                    <a:pt x="192" y="73"/>
                  </a:lnTo>
                  <a:lnTo>
                    <a:pt x="189" y="69"/>
                  </a:lnTo>
                  <a:lnTo>
                    <a:pt x="185" y="67"/>
                  </a:lnTo>
                  <a:lnTo>
                    <a:pt x="185" y="67"/>
                  </a:lnTo>
                  <a:lnTo>
                    <a:pt x="176" y="65"/>
                  </a:lnTo>
                  <a:lnTo>
                    <a:pt x="172" y="64"/>
                  </a:lnTo>
                  <a:lnTo>
                    <a:pt x="169" y="62"/>
                  </a:lnTo>
                  <a:lnTo>
                    <a:pt x="169" y="62"/>
                  </a:lnTo>
                  <a:lnTo>
                    <a:pt x="167" y="60"/>
                  </a:lnTo>
                  <a:lnTo>
                    <a:pt x="165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0" y="53"/>
                  </a:lnTo>
                  <a:lnTo>
                    <a:pt x="156" y="51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2" y="36"/>
                  </a:lnTo>
                  <a:lnTo>
                    <a:pt x="151" y="36"/>
                  </a:lnTo>
                  <a:lnTo>
                    <a:pt x="147" y="35"/>
                  </a:lnTo>
                  <a:lnTo>
                    <a:pt x="147" y="35"/>
                  </a:lnTo>
                  <a:lnTo>
                    <a:pt x="143" y="35"/>
                  </a:lnTo>
                  <a:lnTo>
                    <a:pt x="141" y="36"/>
                  </a:lnTo>
                  <a:lnTo>
                    <a:pt x="140" y="3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27" y="36"/>
                  </a:lnTo>
                  <a:lnTo>
                    <a:pt x="123" y="3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42"/>
                  </a:lnTo>
                  <a:lnTo>
                    <a:pt x="111" y="42"/>
                  </a:lnTo>
                  <a:lnTo>
                    <a:pt x="109" y="42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2" y="33"/>
                  </a:lnTo>
                  <a:lnTo>
                    <a:pt x="98" y="33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82" y="27"/>
                  </a:lnTo>
                  <a:lnTo>
                    <a:pt x="78" y="26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0" y="11"/>
                  </a:lnTo>
                  <a:lnTo>
                    <a:pt x="56" y="9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29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5" y="26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0" y="35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42"/>
                  </a:lnTo>
                  <a:lnTo>
                    <a:pt x="3" y="44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2" y="51"/>
                  </a:lnTo>
                  <a:lnTo>
                    <a:pt x="3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7" y="55"/>
                  </a:lnTo>
                  <a:lnTo>
                    <a:pt x="9" y="56"/>
                  </a:lnTo>
                  <a:lnTo>
                    <a:pt x="9" y="62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9" y="67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6" y="75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3" y="89"/>
                  </a:lnTo>
                  <a:lnTo>
                    <a:pt x="29" y="93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43" y="98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51" y="98"/>
                  </a:lnTo>
                  <a:lnTo>
                    <a:pt x="53" y="98"/>
                  </a:lnTo>
                  <a:lnTo>
                    <a:pt x="53" y="98"/>
                  </a:lnTo>
                  <a:lnTo>
                    <a:pt x="58" y="104"/>
                  </a:lnTo>
                  <a:lnTo>
                    <a:pt x="58" y="107"/>
                  </a:lnTo>
                  <a:lnTo>
                    <a:pt x="60" y="109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7" y="127"/>
                  </a:lnTo>
                  <a:lnTo>
                    <a:pt x="69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4" y="131"/>
                  </a:lnTo>
                  <a:lnTo>
                    <a:pt x="80" y="131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5" name="Freeform 37">
              <a:extLst>
                <a:ext uri="{FF2B5EF4-FFF2-40B4-BE49-F238E27FC236}">
                  <a16:creationId xmlns:a16="http://schemas.microsoft.com/office/drawing/2014/main" id="{B70395E6-0996-4940-BB5F-B4C1249FD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4469" y="3682089"/>
              <a:ext cx="175244" cy="168810"/>
            </a:xfrm>
            <a:custGeom>
              <a:avLst/>
              <a:gdLst>
                <a:gd name="T0" fmla="*/ 1 w 121"/>
                <a:gd name="T1" fmla="*/ 105 h 118"/>
                <a:gd name="T2" fmla="*/ 9 w 121"/>
                <a:gd name="T3" fmla="*/ 118 h 118"/>
                <a:gd name="T4" fmla="*/ 23 w 121"/>
                <a:gd name="T5" fmla="*/ 109 h 118"/>
                <a:gd name="T6" fmla="*/ 34 w 121"/>
                <a:gd name="T7" fmla="*/ 105 h 118"/>
                <a:gd name="T8" fmla="*/ 45 w 121"/>
                <a:gd name="T9" fmla="*/ 109 h 118"/>
                <a:gd name="T10" fmla="*/ 56 w 121"/>
                <a:gd name="T11" fmla="*/ 116 h 118"/>
                <a:gd name="T12" fmla="*/ 63 w 121"/>
                <a:gd name="T13" fmla="*/ 116 h 118"/>
                <a:gd name="T14" fmla="*/ 74 w 121"/>
                <a:gd name="T15" fmla="*/ 109 h 118"/>
                <a:gd name="T16" fmla="*/ 83 w 121"/>
                <a:gd name="T17" fmla="*/ 103 h 118"/>
                <a:gd name="T18" fmla="*/ 90 w 121"/>
                <a:gd name="T19" fmla="*/ 99 h 118"/>
                <a:gd name="T20" fmla="*/ 114 w 121"/>
                <a:gd name="T21" fmla="*/ 99 h 118"/>
                <a:gd name="T22" fmla="*/ 120 w 121"/>
                <a:gd name="T23" fmla="*/ 96 h 118"/>
                <a:gd name="T24" fmla="*/ 121 w 121"/>
                <a:gd name="T25" fmla="*/ 87 h 118"/>
                <a:gd name="T26" fmla="*/ 114 w 121"/>
                <a:gd name="T27" fmla="*/ 74 h 118"/>
                <a:gd name="T28" fmla="*/ 114 w 121"/>
                <a:gd name="T29" fmla="*/ 58 h 118"/>
                <a:gd name="T30" fmla="*/ 114 w 121"/>
                <a:gd name="T31" fmla="*/ 49 h 118"/>
                <a:gd name="T32" fmla="*/ 107 w 121"/>
                <a:gd name="T33" fmla="*/ 32 h 118"/>
                <a:gd name="T34" fmla="*/ 101 w 121"/>
                <a:gd name="T35" fmla="*/ 32 h 118"/>
                <a:gd name="T36" fmla="*/ 100 w 121"/>
                <a:gd name="T37" fmla="*/ 36 h 118"/>
                <a:gd name="T38" fmla="*/ 94 w 121"/>
                <a:gd name="T39" fmla="*/ 38 h 118"/>
                <a:gd name="T40" fmla="*/ 89 w 121"/>
                <a:gd name="T41" fmla="*/ 25 h 118"/>
                <a:gd name="T42" fmla="*/ 90 w 121"/>
                <a:gd name="T43" fmla="*/ 20 h 118"/>
                <a:gd name="T44" fmla="*/ 94 w 121"/>
                <a:gd name="T45" fmla="*/ 12 h 118"/>
                <a:gd name="T46" fmla="*/ 90 w 121"/>
                <a:gd name="T47" fmla="*/ 0 h 118"/>
                <a:gd name="T48" fmla="*/ 89 w 121"/>
                <a:gd name="T49" fmla="*/ 3 h 118"/>
                <a:gd name="T50" fmla="*/ 87 w 121"/>
                <a:gd name="T51" fmla="*/ 12 h 118"/>
                <a:gd name="T52" fmla="*/ 76 w 121"/>
                <a:gd name="T53" fmla="*/ 16 h 118"/>
                <a:gd name="T54" fmla="*/ 70 w 121"/>
                <a:gd name="T55" fmla="*/ 16 h 118"/>
                <a:gd name="T56" fmla="*/ 67 w 121"/>
                <a:gd name="T57" fmla="*/ 12 h 118"/>
                <a:gd name="T58" fmla="*/ 65 w 121"/>
                <a:gd name="T59" fmla="*/ 12 h 118"/>
                <a:gd name="T60" fmla="*/ 56 w 121"/>
                <a:gd name="T61" fmla="*/ 18 h 118"/>
                <a:gd name="T62" fmla="*/ 51 w 121"/>
                <a:gd name="T63" fmla="*/ 20 h 118"/>
                <a:gd name="T64" fmla="*/ 51 w 121"/>
                <a:gd name="T65" fmla="*/ 29 h 118"/>
                <a:gd name="T66" fmla="*/ 47 w 121"/>
                <a:gd name="T67" fmla="*/ 29 h 118"/>
                <a:gd name="T68" fmla="*/ 38 w 121"/>
                <a:gd name="T69" fmla="*/ 29 h 118"/>
                <a:gd name="T70" fmla="*/ 32 w 121"/>
                <a:gd name="T71" fmla="*/ 36 h 118"/>
                <a:gd name="T72" fmla="*/ 29 w 121"/>
                <a:gd name="T73" fmla="*/ 50 h 118"/>
                <a:gd name="T74" fmla="*/ 25 w 121"/>
                <a:gd name="T75" fmla="*/ 58 h 118"/>
                <a:gd name="T76" fmla="*/ 25 w 121"/>
                <a:gd name="T77" fmla="*/ 67 h 118"/>
                <a:gd name="T78" fmla="*/ 25 w 121"/>
                <a:gd name="T79" fmla="*/ 70 h 118"/>
                <a:gd name="T80" fmla="*/ 21 w 121"/>
                <a:gd name="T81" fmla="*/ 76 h 118"/>
                <a:gd name="T82" fmla="*/ 12 w 121"/>
                <a:gd name="T83" fmla="*/ 76 h 118"/>
                <a:gd name="T84" fmla="*/ 3 w 121"/>
                <a:gd name="T85" fmla="*/ 81 h 118"/>
                <a:gd name="T86" fmla="*/ 1 w 121"/>
                <a:gd name="T87" fmla="*/ 87 h 118"/>
                <a:gd name="T88" fmla="*/ 1 w 121"/>
                <a:gd name="T89" fmla="*/ 99 h 118"/>
                <a:gd name="T90" fmla="*/ 1 w 121"/>
                <a:gd name="T91" fmla="*/ 99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1" h="118">
                  <a:moveTo>
                    <a:pt x="1" y="99"/>
                  </a:moveTo>
                  <a:lnTo>
                    <a:pt x="1" y="99"/>
                  </a:lnTo>
                  <a:lnTo>
                    <a:pt x="1" y="105"/>
                  </a:lnTo>
                  <a:lnTo>
                    <a:pt x="5" y="114"/>
                  </a:lnTo>
                  <a:lnTo>
                    <a:pt x="7" y="116"/>
                  </a:lnTo>
                  <a:lnTo>
                    <a:pt x="9" y="118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31" y="105"/>
                  </a:lnTo>
                  <a:lnTo>
                    <a:pt x="34" y="105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45" y="109"/>
                  </a:lnTo>
                  <a:lnTo>
                    <a:pt x="49" y="114"/>
                  </a:lnTo>
                  <a:lnTo>
                    <a:pt x="54" y="116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63" y="116"/>
                  </a:lnTo>
                  <a:lnTo>
                    <a:pt x="63" y="116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4" y="109"/>
                  </a:lnTo>
                  <a:lnTo>
                    <a:pt x="80" y="105"/>
                  </a:lnTo>
                  <a:lnTo>
                    <a:pt x="80" y="105"/>
                  </a:lnTo>
                  <a:lnTo>
                    <a:pt x="83" y="103"/>
                  </a:lnTo>
                  <a:lnTo>
                    <a:pt x="87" y="101"/>
                  </a:lnTo>
                  <a:lnTo>
                    <a:pt x="87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114" y="99"/>
                  </a:lnTo>
                  <a:lnTo>
                    <a:pt x="114" y="99"/>
                  </a:lnTo>
                  <a:lnTo>
                    <a:pt x="116" y="98"/>
                  </a:lnTo>
                  <a:lnTo>
                    <a:pt x="118" y="98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18" y="81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4" y="58"/>
                  </a:lnTo>
                  <a:lnTo>
                    <a:pt x="114" y="52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43"/>
                  </a:lnTo>
                  <a:lnTo>
                    <a:pt x="110" y="4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30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0" y="36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2" y="32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90" y="20"/>
                  </a:lnTo>
                  <a:lnTo>
                    <a:pt x="92" y="16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3"/>
                  </a:lnTo>
                  <a:lnTo>
                    <a:pt x="92" y="1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89" y="3"/>
                  </a:lnTo>
                  <a:lnTo>
                    <a:pt x="87" y="7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5" y="16"/>
                  </a:lnTo>
                  <a:lnTo>
                    <a:pt x="83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7" y="12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5" y="12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56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3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4" y="32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29" y="50"/>
                  </a:lnTo>
                  <a:lnTo>
                    <a:pt x="27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61"/>
                  </a:lnTo>
                  <a:lnTo>
                    <a:pt x="25" y="63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3" y="70"/>
                  </a:lnTo>
                  <a:lnTo>
                    <a:pt x="21" y="74"/>
                  </a:lnTo>
                  <a:lnTo>
                    <a:pt x="21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0" y="94"/>
                  </a:lnTo>
                  <a:lnTo>
                    <a:pt x="1" y="98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6" name="Freeform 38">
              <a:extLst>
                <a:ext uri="{FF2B5EF4-FFF2-40B4-BE49-F238E27FC236}">
                  <a16:creationId xmlns:a16="http://schemas.microsoft.com/office/drawing/2014/main" id="{19820D46-9569-7044-8737-768387D683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912" y="4458903"/>
              <a:ext cx="160761" cy="267522"/>
            </a:xfrm>
            <a:custGeom>
              <a:avLst/>
              <a:gdLst>
                <a:gd name="T0" fmla="*/ 105 w 111"/>
                <a:gd name="T1" fmla="*/ 20 h 187"/>
                <a:gd name="T2" fmla="*/ 102 w 111"/>
                <a:gd name="T3" fmla="*/ 13 h 187"/>
                <a:gd name="T4" fmla="*/ 87 w 111"/>
                <a:gd name="T5" fmla="*/ 11 h 187"/>
                <a:gd name="T6" fmla="*/ 80 w 111"/>
                <a:gd name="T7" fmla="*/ 9 h 187"/>
                <a:gd name="T8" fmla="*/ 73 w 111"/>
                <a:gd name="T9" fmla="*/ 5 h 187"/>
                <a:gd name="T10" fmla="*/ 62 w 111"/>
                <a:gd name="T11" fmla="*/ 2 h 187"/>
                <a:gd name="T12" fmla="*/ 56 w 111"/>
                <a:gd name="T13" fmla="*/ 0 h 187"/>
                <a:gd name="T14" fmla="*/ 53 w 111"/>
                <a:gd name="T15" fmla="*/ 5 h 187"/>
                <a:gd name="T16" fmla="*/ 53 w 111"/>
                <a:gd name="T17" fmla="*/ 13 h 187"/>
                <a:gd name="T18" fmla="*/ 56 w 111"/>
                <a:gd name="T19" fmla="*/ 31 h 187"/>
                <a:gd name="T20" fmla="*/ 60 w 111"/>
                <a:gd name="T21" fmla="*/ 34 h 187"/>
                <a:gd name="T22" fmla="*/ 56 w 111"/>
                <a:gd name="T23" fmla="*/ 36 h 187"/>
                <a:gd name="T24" fmla="*/ 54 w 111"/>
                <a:gd name="T25" fmla="*/ 38 h 187"/>
                <a:gd name="T26" fmla="*/ 49 w 111"/>
                <a:gd name="T27" fmla="*/ 65 h 187"/>
                <a:gd name="T28" fmla="*/ 58 w 111"/>
                <a:gd name="T29" fmla="*/ 74 h 187"/>
                <a:gd name="T30" fmla="*/ 73 w 111"/>
                <a:gd name="T31" fmla="*/ 74 h 187"/>
                <a:gd name="T32" fmla="*/ 69 w 111"/>
                <a:gd name="T33" fmla="*/ 78 h 187"/>
                <a:gd name="T34" fmla="*/ 62 w 111"/>
                <a:gd name="T35" fmla="*/ 78 h 187"/>
                <a:gd name="T36" fmla="*/ 54 w 111"/>
                <a:gd name="T37" fmla="*/ 78 h 187"/>
                <a:gd name="T38" fmla="*/ 47 w 111"/>
                <a:gd name="T39" fmla="*/ 103 h 187"/>
                <a:gd name="T40" fmla="*/ 47 w 111"/>
                <a:gd name="T41" fmla="*/ 111 h 187"/>
                <a:gd name="T42" fmla="*/ 53 w 111"/>
                <a:gd name="T43" fmla="*/ 114 h 187"/>
                <a:gd name="T44" fmla="*/ 47 w 111"/>
                <a:gd name="T45" fmla="*/ 120 h 187"/>
                <a:gd name="T46" fmla="*/ 47 w 111"/>
                <a:gd name="T47" fmla="*/ 122 h 187"/>
                <a:gd name="T48" fmla="*/ 40 w 111"/>
                <a:gd name="T49" fmla="*/ 120 h 187"/>
                <a:gd name="T50" fmla="*/ 34 w 111"/>
                <a:gd name="T51" fmla="*/ 123 h 187"/>
                <a:gd name="T52" fmla="*/ 33 w 111"/>
                <a:gd name="T53" fmla="*/ 123 h 187"/>
                <a:gd name="T54" fmla="*/ 24 w 111"/>
                <a:gd name="T55" fmla="*/ 118 h 187"/>
                <a:gd name="T56" fmla="*/ 20 w 111"/>
                <a:gd name="T57" fmla="*/ 131 h 187"/>
                <a:gd name="T58" fmla="*/ 0 w 111"/>
                <a:gd name="T59" fmla="*/ 156 h 187"/>
                <a:gd name="T60" fmla="*/ 14 w 111"/>
                <a:gd name="T61" fmla="*/ 176 h 187"/>
                <a:gd name="T62" fmla="*/ 18 w 111"/>
                <a:gd name="T63" fmla="*/ 176 h 187"/>
                <a:gd name="T64" fmla="*/ 36 w 111"/>
                <a:gd name="T65" fmla="*/ 183 h 187"/>
                <a:gd name="T66" fmla="*/ 47 w 111"/>
                <a:gd name="T67" fmla="*/ 183 h 187"/>
                <a:gd name="T68" fmla="*/ 73 w 111"/>
                <a:gd name="T69" fmla="*/ 187 h 187"/>
                <a:gd name="T70" fmla="*/ 87 w 111"/>
                <a:gd name="T71" fmla="*/ 182 h 187"/>
                <a:gd name="T72" fmla="*/ 80 w 111"/>
                <a:gd name="T73" fmla="*/ 160 h 187"/>
                <a:gd name="T74" fmla="*/ 82 w 111"/>
                <a:gd name="T75" fmla="*/ 156 h 187"/>
                <a:gd name="T76" fmla="*/ 87 w 111"/>
                <a:gd name="T77" fmla="*/ 160 h 187"/>
                <a:gd name="T78" fmla="*/ 91 w 111"/>
                <a:gd name="T79" fmla="*/ 163 h 187"/>
                <a:gd name="T80" fmla="*/ 103 w 111"/>
                <a:gd name="T81" fmla="*/ 147 h 187"/>
                <a:gd name="T82" fmla="*/ 107 w 111"/>
                <a:gd name="T83" fmla="*/ 131 h 187"/>
                <a:gd name="T84" fmla="*/ 107 w 111"/>
                <a:gd name="T85" fmla="*/ 120 h 187"/>
                <a:gd name="T86" fmla="*/ 111 w 111"/>
                <a:gd name="T87" fmla="*/ 107 h 187"/>
                <a:gd name="T88" fmla="*/ 109 w 111"/>
                <a:gd name="T89" fmla="*/ 102 h 187"/>
                <a:gd name="T90" fmla="*/ 100 w 111"/>
                <a:gd name="T91" fmla="*/ 92 h 187"/>
                <a:gd name="T92" fmla="*/ 96 w 111"/>
                <a:gd name="T93" fmla="*/ 83 h 187"/>
                <a:gd name="T94" fmla="*/ 94 w 111"/>
                <a:gd name="T95" fmla="*/ 83 h 187"/>
                <a:gd name="T96" fmla="*/ 89 w 111"/>
                <a:gd name="T97" fmla="*/ 85 h 187"/>
                <a:gd name="T98" fmla="*/ 89 w 111"/>
                <a:gd name="T99" fmla="*/ 78 h 187"/>
                <a:gd name="T100" fmla="*/ 91 w 111"/>
                <a:gd name="T101" fmla="*/ 73 h 187"/>
                <a:gd name="T102" fmla="*/ 94 w 111"/>
                <a:gd name="T103" fmla="*/ 69 h 187"/>
                <a:gd name="T104" fmla="*/ 100 w 111"/>
                <a:gd name="T105" fmla="*/ 63 h 187"/>
                <a:gd name="T106" fmla="*/ 100 w 111"/>
                <a:gd name="T107" fmla="*/ 49 h 187"/>
                <a:gd name="T108" fmla="*/ 94 w 111"/>
                <a:gd name="T109" fmla="*/ 36 h 187"/>
                <a:gd name="T110" fmla="*/ 107 w 111"/>
                <a:gd name="T111" fmla="*/ 29 h 187"/>
                <a:gd name="T112" fmla="*/ 107 w 111"/>
                <a:gd name="T113" fmla="*/ 2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1" h="187">
                  <a:moveTo>
                    <a:pt x="107" y="29"/>
                  </a:moveTo>
                  <a:lnTo>
                    <a:pt x="107" y="29"/>
                  </a:lnTo>
                  <a:lnTo>
                    <a:pt x="105" y="20"/>
                  </a:lnTo>
                  <a:lnTo>
                    <a:pt x="103" y="16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98" y="9"/>
                  </a:lnTo>
                  <a:lnTo>
                    <a:pt x="96" y="9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3" y="5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4" y="2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13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6" y="31"/>
                  </a:lnTo>
                  <a:lnTo>
                    <a:pt x="58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3" y="51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53" y="71"/>
                  </a:lnTo>
                  <a:lnTo>
                    <a:pt x="53" y="73"/>
                  </a:lnTo>
                  <a:lnTo>
                    <a:pt x="58" y="74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73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5" y="78"/>
                  </a:lnTo>
                  <a:lnTo>
                    <a:pt x="62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3" y="82"/>
                  </a:lnTo>
                  <a:lnTo>
                    <a:pt x="49" y="91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7"/>
                  </a:lnTo>
                  <a:lnTo>
                    <a:pt x="47" y="111"/>
                  </a:lnTo>
                  <a:lnTo>
                    <a:pt x="53" y="112"/>
                  </a:lnTo>
                  <a:lnTo>
                    <a:pt x="53" y="112"/>
                  </a:lnTo>
                  <a:lnTo>
                    <a:pt x="53" y="114"/>
                  </a:lnTo>
                  <a:lnTo>
                    <a:pt x="53" y="116"/>
                  </a:lnTo>
                  <a:lnTo>
                    <a:pt x="49" y="118"/>
                  </a:lnTo>
                  <a:lnTo>
                    <a:pt x="47" y="120"/>
                  </a:lnTo>
                  <a:lnTo>
                    <a:pt x="47" y="120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45" y="122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6" y="122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3" y="123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4" y="118"/>
                  </a:lnTo>
                  <a:lnTo>
                    <a:pt x="20" y="118"/>
                  </a:lnTo>
                  <a:lnTo>
                    <a:pt x="16" y="118"/>
                  </a:lnTo>
                  <a:lnTo>
                    <a:pt x="20" y="131"/>
                  </a:lnTo>
                  <a:lnTo>
                    <a:pt x="18" y="134"/>
                  </a:lnTo>
                  <a:lnTo>
                    <a:pt x="25" y="143"/>
                  </a:lnTo>
                  <a:lnTo>
                    <a:pt x="0" y="156"/>
                  </a:lnTo>
                  <a:lnTo>
                    <a:pt x="14" y="165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22" y="178"/>
                  </a:lnTo>
                  <a:lnTo>
                    <a:pt x="31" y="180"/>
                  </a:lnTo>
                  <a:lnTo>
                    <a:pt x="36" y="183"/>
                  </a:lnTo>
                  <a:lnTo>
                    <a:pt x="40" y="183"/>
                  </a:lnTo>
                  <a:lnTo>
                    <a:pt x="40" y="183"/>
                  </a:lnTo>
                  <a:lnTo>
                    <a:pt x="47" y="183"/>
                  </a:lnTo>
                  <a:lnTo>
                    <a:pt x="56" y="185"/>
                  </a:lnTo>
                  <a:lnTo>
                    <a:pt x="73" y="187"/>
                  </a:lnTo>
                  <a:lnTo>
                    <a:pt x="73" y="187"/>
                  </a:lnTo>
                  <a:lnTo>
                    <a:pt x="78" y="187"/>
                  </a:lnTo>
                  <a:lnTo>
                    <a:pt x="83" y="185"/>
                  </a:lnTo>
                  <a:lnTo>
                    <a:pt x="87" y="182"/>
                  </a:lnTo>
                  <a:lnTo>
                    <a:pt x="87" y="182"/>
                  </a:lnTo>
                  <a:lnTo>
                    <a:pt x="83" y="169"/>
                  </a:lnTo>
                  <a:lnTo>
                    <a:pt x="80" y="160"/>
                  </a:lnTo>
                  <a:lnTo>
                    <a:pt x="80" y="156"/>
                  </a:lnTo>
                  <a:lnTo>
                    <a:pt x="82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7" y="160"/>
                  </a:lnTo>
                  <a:lnTo>
                    <a:pt x="89" y="162"/>
                  </a:lnTo>
                  <a:lnTo>
                    <a:pt x="91" y="163"/>
                  </a:lnTo>
                  <a:lnTo>
                    <a:pt x="91" y="163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3" y="147"/>
                  </a:lnTo>
                  <a:lnTo>
                    <a:pt x="107" y="136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9" y="112"/>
                  </a:lnTo>
                  <a:lnTo>
                    <a:pt x="111" y="107"/>
                  </a:lnTo>
                  <a:lnTo>
                    <a:pt x="109" y="105"/>
                  </a:lnTo>
                  <a:lnTo>
                    <a:pt x="109" y="105"/>
                  </a:lnTo>
                  <a:lnTo>
                    <a:pt x="109" y="102"/>
                  </a:lnTo>
                  <a:lnTo>
                    <a:pt x="105" y="98"/>
                  </a:lnTo>
                  <a:lnTo>
                    <a:pt x="102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8" y="85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89" y="82"/>
                  </a:lnTo>
                  <a:lnTo>
                    <a:pt x="89" y="78"/>
                  </a:lnTo>
                  <a:lnTo>
                    <a:pt x="89" y="78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3"/>
                  </a:lnTo>
                  <a:lnTo>
                    <a:pt x="91" y="71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8" y="69"/>
                  </a:lnTo>
                  <a:lnTo>
                    <a:pt x="98" y="69"/>
                  </a:lnTo>
                  <a:lnTo>
                    <a:pt x="100" y="63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0" y="49"/>
                  </a:lnTo>
                  <a:lnTo>
                    <a:pt x="96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107" y="31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7" name="Freeform 39">
              <a:extLst>
                <a:ext uri="{FF2B5EF4-FFF2-40B4-BE49-F238E27FC236}">
                  <a16:creationId xmlns:a16="http://schemas.microsoft.com/office/drawing/2014/main" id="{CFC3CAFF-451A-B34A-A0C2-14A4F8CBC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150" y="4666339"/>
              <a:ext cx="205658" cy="291842"/>
            </a:xfrm>
            <a:custGeom>
              <a:avLst/>
              <a:gdLst>
                <a:gd name="T0" fmla="*/ 124 w 142"/>
                <a:gd name="T1" fmla="*/ 15 h 204"/>
                <a:gd name="T2" fmla="*/ 109 w 142"/>
                <a:gd name="T3" fmla="*/ 0 h 204"/>
                <a:gd name="T4" fmla="*/ 85 w 142"/>
                <a:gd name="T5" fmla="*/ 2 h 204"/>
                <a:gd name="T6" fmla="*/ 76 w 142"/>
                <a:gd name="T7" fmla="*/ 15 h 204"/>
                <a:gd name="T8" fmla="*/ 76 w 142"/>
                <a:gd name="T9" fmla="*/ 24 h 204"/>
                <a:gd name="T10" fmla="*/ 71 w 142"/>
                <a:gd name="T11" fmla="*/ 38 h 204"/>
                <a:gd name="T12" fmla="*/ 76 w 142"/>
                <a:gd name="T13" fmla="*/ 51 h 204"/>
                <a:gd name="T14" fmla="*/ 78 w 142"/>
                <a:gd name="T15" fmla="*/ 55 h 204"/>
                <a:gd name="T16" fmla="*/ 93 w 142"/>
                <a:gd name="T17" fmla="*/ 58 h 204"/>
                <a:gd name="T18" fmla="*/ 89 w 142"/>
                <a:gd name="T19" fmla="*/ 71 h 204"/>
                <a:gd name="T20" fmla="*/ 76 w 142"/>
                <a:gd name="T21" fmla="*/ 73 h 204"/>
                <a:gd name="T22" fmla="*/ 62 w 142"/>
                <a:gd name="T23" fmla="*/ 86 h 204"/>
                <a:gd name="T24" fmla="*/ 58 w 142"/>
                <a:gd name="T25" fmla="*/ 95 h 204"/>
                <a:gd name="T26" fmla="*/ 51 w 142"/>
                <a:gd name="T27" fmla="*/ 96 h 204"/>
                <a:gd name="T28" fmla="*/ 44 w 142"/>
                <a:gd name="T29" fmla="*/ 93 h 204"/>
                <a:gd name="T30" fmla="*/ 38 w 142"/>
                <a:gd name="T31" fmla="*/ 95 h 204"/>
                <a:gd name="T32" fmla="*/ 27 w 142"/>
                <a:gd name="T33" fmla="*/ 96 h 204"/>
                <a:gd name="T34" fmla="*/ 13 w 142"/>
                <a:gd name="T35" fmla="*/ 98 h 204"/>
                <a:gd name="T36" fmla="*/ 7 w 142"/>
                <a:gd name="T37" fmla="*/ 100 h 204"/>
                <a:gd name="T38" fmla="*/ 0 w 142"/>
                <a:gd name="T39" fmla="*/ 100 h 204"/>
                <a:gd name="T40" fmla="*/ 9 w 142"/>
                <a:gd name="T41" fmla="*/ 131 h 204"/>
                <a:gd name="T42" fmla="*/ 18 w 142"/>
                <a:gd name="T43" fmla="*/ 153 h 204"/>
                <a:gd name="T44" fmla="*/ 16 w 142"/>
                <a:gd name="T45" fmla="*/ 167 h 204"/>
                <a:gd name="T46" fmla="*/ 16 w 142"/>
                <a:gd name="T47" fmla="*/ 182 h 204"/>
                <a:gd name="T48" fmla="*/ 22 w 142"/>
                <a:gd name="T49" fmla="*/ 196 h 204"/>
                <a:gd name="T50" fmla="*/ 29 w 142"/>
                <a:gd name="T51" fmla="*/ 204 h 204"/>
                <a:gd name="T52" fmla="*/ 42 w 142"/>
                <a:gd name="T53" fmla="*/ 200 h 204"/>
                <a:gd name="T54" fmla="*/ 71 w 142"/>
                <a:gd name="T55" fmla="*/ 202 h 204"/>
                <a:gd name="T56" fmla="*/ 71 w 142"/>
                <a:gd name="T57" fmla="*/ 195 h 204"/>
                <a:gd name="T58" fmla="*/ 76 w 142"/>
                <a:gd name="T59" fmla="*/ 178 h 204"/>
                <a:gd name="T60" fmla="*/ 76 w 142"/>
                <a:gd name="T61" fmla="*/ 155 h 204"/>
                <a:gd name="T62" fmla="*/ 78 w 142"/>
                <a:gd name="T63" fmla="*/ 140 h 204"/>
                <a:gd name="T64" fmla="*/ 84 w 142"/>
                <a:gd name="T65" fmla="*/ 127 h 204"/>
                <a:gd name="T66" fmla="*/ 89 w 142"/>
                <a:gd name="T67" fmla="*/ 118 h 204"/>
                <a:gd name="T68" fmla="*/ 98 w 142"/>
                <a:gd name="T69" fmla="*/ 113 h 204"/>
                <a:gd name="T70" fmla="*/ 113 w 142"/>
                <a:gd name="T71" fmla="*/ 100 h 204"/>
                <a:gd name="T72" fmla="*/ 122 w 142"/>
                <a:gd name="T73" fmla="*/ 76 h 204"/>
                <a:gd name="T74" fmla="*/ 124 w 142"/>
                <a:gd name="T75" fmla="*/ 60 h 204"/>
                <a:gd name="T76" fmla="*/ 129 w 142"/>
                <a:gd name="T77" fmla="*/ 49 h 204"/>
                <a:gd name="T78" fmla="*/ 142 w 142"/>
                <a:gd name="T79" fmla="*/ 49 h 204"/>
                <a:gd name="T80" fmla="*/ 138 w 142"/>
                <a:gd name="T81" fmla="*/ 42 h 204"/>
                <a:gd name="T82" fmla="*/ 125 w 142"/>
                <a:gd name="T83" fmla="*/ 20 h 204"/>
                <a:gd name="T84" fmla="*/ 125 w 142"/>
                <a:gd name="T85" fmla="*/ 2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2" h="204">
                  <a:moveTo>
                    <a:pt x="125" y="20"/>
                  </a:moveTo>
                  <a:lnTo>
                    <a:pt x="125" y="20"/>
                  </a:lnTo>
                  <a:lnTo>
                    <a:pt x="124" y="15"/>
                  </a:lnTo>
                  <a:lnTo>
                    <a:pt x="120" y="7"/>
                  </a:lnTo>
                  <a:lnTo>
                    <a:pt x="111" y="0"/>
                  </a:lnTo>
                  <a:lnTo>
                    <a:pt x="109" y="0"/>
                  </a:lnTo>
                  <a:lnTo>
                    <a:pt x="102" y="4"/>
                  </a:lnTo>
                  <a:lnTo>
                    <a:pt x="89" y="7"/>
                  </a:lnTo>
                  <a:lnTo>
                    <a:pt x="85" y="2"/>
                  </a:lnTo>
                  <a:lnTo>
                    <a:pt x="78" y="7"/>
                  </a:lnTo>
                  <a:lnTo>
                    <a:pt x="84" y="15"/>
                  </a:lnTo>
                  <a:lnTo>
                    <a:pt x="76" y="15"/>
                  </a:lnTo>
                  <a:lnTo>
                    <a:pt x="69" y="11"/>
                  </a:lnTo>
                  <a:lnTo>
                    <a:pt x="65" y="11"/>
                  </a:lnTo>
                  <a:lnTo>
                    <a:pt x="76" y="24"/>
                  </a:lnTo>
                  <a:lnTo>
                    <a:pt x="65" y="31"/>
                  </a:lnTo>
                  <a:lnTo>
                    <a:pt x="69" y="31"/>
                  </a:lnTo>
                  <a:lnTo>
                    <a:pt x="71" y="3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51"/>
                  </a:lnTo>
                  <a:lnTo>
                    <a:pt x="76" y="53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85" y="57"/>
                  </a:lnTo>
                  <a:lnTo>
                    <a:pt x="89" y="55"/>
                  </a:lnTo>
                  <a:lnTo>
                    <a:pt x="93" y="58"/>
                  </a:lnTo>
                  <a:lnTo>
                    <a:pt x="89" y="66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82" y="71"/>
                  </a:lnTo>
                  <a:lnTo>
                    <a:pt x="78" y="71"/>
                  </a:lnTo>
                  <a:lnTo>
                    <a:pt x="76" y="73"/>
                  </a:lnTo>
                  <a:lnTo>
                    <a:pt x="76" y="73"/>
                  </a:lnTo>
                  <a:lnTo>
                    <a:pt x="65" y="80"/>
                  </a:lnTo>
                  <a:lnTo>
                    <a:pt x="62" y="86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8" y="95"/>
                  </a:lnTo>
                  <a:lnTo>
                    <a:pt x="56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49" y="93"/>
                  </a:lnTo>
                  <a:lnTo>
                    <a:pt x="47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2" y="93"/>
                  </a:lnTo>
                  <a:lnTo>
                    <a:pt x="38" y="95"/>
                  </a:lnTo>
                  <a:lnTo>
                    <a:pt x="35" y="96"/>
                  </a:lnTo>
                  <a:lnTo>
                    <a:pt x="35" y="96"/>
                  </a:lnTo>
                  <a:lnTo>
                    <a:pt x="27" y="96"/>
                  </a:lnTo>
                  <a:lnTo>
                    <a:pt x="20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4" y="100"/>
                  </a:lnTo>
                  <a:lnTo>
                    <a:pt x="2" y="10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4" y="116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16" y="142"/>
                  </a:lnTo>
                  <a:lnTo>
                    <a:pt x="18" y="153"/>
                  </a:lnTo>
                  <a:lnTo>
                    <a:pt x="18" y="153"/>
                  </a:lnTo>
                  <a:lnTo>
                    <a:pt x="18" y="158"/>
                  </a:lnTo>
                  <a:lnTo>
                    <a:pt x="16" y="167"/>
                  </a:lnTo>
                  <a:lnTo>
                    <a:pt x="15" y="175"/>
                  </a:lnTo>
                  <a:lnTo>
                    <a:pt x="15" y="180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8" y="189"/>
                  </a:lnTo>
                  <a:lnTo>
                    <a:pt x="22" y="196"/>
                  </a:lnTo>
                  <a:lnTo>
                    <a:pt x="27" y="202"/>
                  </a:lnTo>
                  <a:lnTo>
                    <a:pt x="27" y="204"/>
                  </a:lnTo>
                  <a:lnTo>
                    <a:pt x="29" y="204"/>
                  </a:lnTo>
                  <a:lnTo>
                    <a:pt x="29" y="204"/>
                  </a:lnTo>
                  <a:lnTo>
                    <a:pt x="36" y="202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56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3" y="187"/>
                  </a:lnTo>
                  <a:lnTo>
                    <a:pt x="73" y="182"/>
                  </a:lnTo>
                  <a:lnTo>
                    <a:pt x="76" y="178"/>
                  </a:lnTo>
                  <a:lnTo>
                    <a:pt x="76" y="173"/>
                  </a:lnTo>
                  <a:lnTo>
                    <a:pt x="76" y="173"/>
                  </a:lnTo>
                  <a:lnTo>
                    <a:pt x="76" y="155"/>
                  </a:lnTo>
                  <a:lnTo>
                    <a:pt x="78" y="146"/>
                  </a:lnTo>
                  <a:lnTo>
                    <a:pt x="78" y="142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82" y="136"/>
                  </a:lnTo>
                  <a:lnTo>
                    <a:pt x="84" y="127"/>
                  </a:lnTo>
                  <a:lnTo>
                    <a:pt x="85" y="122"/>
                  </a:lnTo>
                  <a:lnTo>
                    <a:pt x="89" y="120"/>
                  </a:lnTo>
                  <a:lnTo>
                    <a:pt x="89" y="118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98" y="113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13" y="100"/>
                  </a:lnTo>
                  <a:lnTo>
                    <a:pt x="116" y="93"/>
                  </a:lnTo>
                  <a:lnTo>
                    <a:pt x="120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69"/>
                  </a:lnTo>
                  <a:lnTo>
                    <a:pt x="124" y="60"/>
                  </a:lnTo>
                  <a:lnTo>
                    <a:pt x="125" y="53"/>
                  </a:lnTo>
                  <a:lnTo>
                    <a:pt x="129" y="51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134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0" y="44"/>
                  </a:lnTo>
                  <a:lnTo>
                    <a:pt x="138" y="42"/>
                  </a:lnTo>
                  <a:lnTo>
                    <a:pt x="138" y="42"/>
                  </a:lnTo>
                  <a:lnTo>
                    <a:pt x="133" y="31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8" name="Freeform 40">
              <a:extLst>
                <a:ext uri="{FF2B5EF4-FFF2-40B4-BE49-F238E27FC236}">
                  <a16:creationId xmlns:a16="http://schemas.microsoft.com/office/drawing/2014/main" id="{EE45631D-3224-524C-9A92-9935F8E6D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808" y="4198534"/>
              <a:ext cx="315729" cy="304717"/>
            </a:xfrm>
            <a:custGeom>
              <a:avLst/>
              <a:gdLst>
                <a:gd name="T0" fmla="*/ 218 w 218"/>
                <a:gd name="T1" fmla="*/ 162 h 213"/>
                <a:gd name="T2" fmla="*/ 207 w 218"/>
                <a:gd name="T3" fmla="*/ 138 h 213"/>
                <a:gd name="T4" fmla="*/ 183 w 218"/>
                <a:gd name="T5" fmla="*/ 113 h 213"/>
                <a:gd name="T6" fmla="*/ 178 w 218"/>
                <a:gd name="T7" fmla="*/ 109 h 213"/>
                <a:gd name="T8" fmla="*/ 187 w 218"/>
                <a:gd name="T9" fmla="*/ 100 h 213"/>
                <a:gd name="T10" fmla="*/ 192 w 218"/>
                <a:gd name="T11" fmla="*/ 84 h 213"/>
                <a:gd name="T12" fmla="*/ 180 w 218"/>
                <a:gd name="T13" fmla="*/ 64 h 213"/>
                <a:gd name="T14" fmla="*/ 172 w 218"/>
                <a:gd name="T15" fmla="*/ 58 h 213"/>
                <a:gd name="T16" fmla="*/ 170 w 218"/>
                <a:gd name="T17" fmla="*/ 51 h 213"/>
                <a:gd name="T18" fmla="*/ 149 w 218"/>
                <a:gd name="T19" fmla="*/ 46 h 213"/>
                <a:gd name="T20" fmla="*/ 143 w 218"/>
                <a:gd name="T21" fmla="*/ 22 h 213"/>
                <a:gd name="T22" fmla="*/ 130 w 218"/>
                <a:gd name="T23" fmla="*/ 9 h 213"/>
                <a:gd name="T24" fmla="*/ 121 w 218"/>
                <a:gd name="T25" fmla="*/ 2 h 213"/>
                <a:gd name="T26" fmla="*/ 105 w 218"/>
                <a:gd name="T27" fmla="*/ 2 h 213"/>
                <a:gd name="T28" fmla="*/ 94 w 218"/>
                <a:gd name="T29" fmla="*/ 0 h 213"/>
                <a:gd name="T30" fmla="*/ 92 w 218"/>
                <a:gd name="T31" fmla="*/ 11 h 213"/>
                <a:gd name="T32" fmla="*/ 85 w 218"/>
                <a:gd name="T33" fmla="*/ 15 h 213"/>
                <a:gd name="T34" fmla="*/ 81 w 218"/>
                <a:gd name="T35" fmla="*/ 24 h 213"/>
                <a:gd name="T36" fmla="*/ 71 w 218"/>
                <a:gd name="T37" fmla="*/ 24 h 213"/>
                <a:gd name="T38" fmla="*/ 71 w 218"/>
                <a:gd name="T39" fmla="*/ 36 h 213"/>
                <a:gd name="T40" fmla="*/ 71 w 218"/>
                <a:gd name="T41" fmla="*/ 58 h 213"/>
                <a:gd name="T42" fmla="*/ 49 w 218"/>
                <a:gd name="T43" fmla="*/ 75 h 213"/>
                <a:gd name="T44" fmla="*/ 49 w 218"/>
                <a:gd name="T45" fmla="*/ 89 h 213"/>
                <a:gd name="T46" fmla="*/ 52 w 218"/>
                <a:gd name="T47" fmla="*/ 98 h 213"/>
                <a:gd name="T48" fmla="*/ 38 w 218"/>
                <a:gd name="T49" fmla="*/ 115 h 213"/>
                <a:gd name="T50" fmla="*/ 23 w 218"/>
                <a:gd name="T51" fmla="*/ 109 h 213"/>
                <a:gd name="T52" fmla="*/ 12 w 218"/>
                <a:gd name="T53" fmla="*/ 109 h 213"/>
                <a:gd name="T54" fmla="*/ 9 w 218"/>
                <a:gd name="T55" fmla="*/ 109 h 213"/>
                <a:gd name="T56" fmla="*/ 5 w 218"/>
                <a:gd name="T57" fmla="*/ 113 h 213"/>
                <a:gd name="T58" fmla="*/ 0 w 218"/>
                <a:gd name="T59" fmla="*/ 116 h 213"/>
                <a:gd name="T60" fmla="*/ 3 w 218"/>
                <a:gd name="T61" fmla="*/ 120 h 213"/>
                <a:gd name="T62" fmla="*/ 9 w 218"/>
                <a:gd name="T63" fmla="*/ 138 h 213"/>
                <a:gd name="T64" fmla="*/ 2 w 218"/>
                <a:gd name="T65" fmla="*/ 153 h 213"/>
                <a:gd name="T66" fmla="*/ 3 w 218"/>
                <a:gd name="T67" fmla="*/ 158 h 213"/>
                <a:gd name="T68" fmla="*/ 5 w 218"/>
                <a:gd name="T69" fmla="*/ 171 h 213"/>
                <a:gd name="T70" fmla="*/ 12 w 218"/>
                <a:gd name="T71" fmla="*/ 180 h 213"/>
                <a:gd name="T72" fmla="*/ 25 w 218"/>
                <a:gd name="T73" fmla="*/ 175 h 213"/>
                <a:gd name="T74" fmla="*/ 38 w 218"/>
                <a:gd name="T75" fmla="*/ 176 h 213"/>
                <a:gd name="T76" fmla="*/ 41 w 218"/>
                <a:gd name="T77" fmla="*/ 175 h 213"/>
                <a:gd name="T78" fmla="*/ 51 w 218"/>
                <a:gd name="T79" fmla="*/ 182 h 213"/>
                <a:gd name="T80" fmla="*/ 54 w 218"/>
                <a:gd name="T81" fmla="*/ 176 h 213"/>
                <a:gd name="T82" fmla="*/ 63 w 218"/>
                <a:gd name="T83" fmla="*/ 171 h 213"/>
                <a:gd name="T84" fmla="*/ 63 w 218"/>
                <a:gd name="T85" fmla="*/ 182 h 213"/>
                <a:gd name="T86" fmla="*/ 65 w 218"/>
                <a:gd name="T87" fmla="*/ 189 h 213"/>
                <a:gd name="T88" fmla="*/ 71 w 218"/>
                <a:gd name="T89" fmla="*/ 189 h 213"/>
                <a:gd name="T90" fmla="*/ 80 w 218"/>
                <a:gd name="T91" fmla="*/ 187 h 213"/>
                <a:gd name="T92" fmla="*/ 87 w 218"/>
                <a:gd name="T93" fmla="*/ 182 h 213"/>
                <a:gd name="T94" fmla="*/ 96 w 218"/>
                <a:gd name="T95" fmla="*/ 187 h 213"/>
                <a:gd name="T96" fmla="*/ 107 w 218"/>
                <a:gd name="T97" fmla="*/ 191 h 213"/>
                <a:gd name="T98" fmla="*/ 123 w 218"/>
                <a:gd name="T99" fmla="*/ 191 h 213"/>
                <a:gd name="T100" fmla="*/ 130 w 218"/>
                <a:gd name="T101" fmla="*/ 198 h 213"/>
                <a:gd name="T102" fmla="*/ 136 w 218"/>
                <a:gd name="T103" fmla="*/ 213 h 213"/>
                <a:gd name="T104" fmla="*/ 149 w 218"/>
                <a:gd name="T105" fmla="*/ 209 h 213"/>
                <a:gd name="T106" fmla="*/ 165 w 218"/>
                <a:gd name="T107" fmla="*/ 205 h 213"/>
                <a:gd name="T108" fmla="*/ 163 w 218"/>
                <a:gd name="T109" fmla="*/ 193 h 213"/>
                <a:gd name="T110" fmla="*/ 176 w 218"/>
                <a:gd name="T111" fmla="*/ 187 h 213"/>
                <a:gd name="T112" fmla="*/ 190 w 218"/>
                <a:gd name="T113" fmla="*/ 176 h 213"/>
                <a:gd name="T114" fmla="*/ 207 w 218"/>
                <a:gd name="T115" fmla="*/ 178 h 213"/>
                <a:gd name="T116" fmla="*/ 214 w 218"/>
                <a:gd name="T117" fmla="*/ 171 h 213"/>
                <a:gd name="T118" fmla="*/ 218 w 218"/>
                <a:gd name="T119" fmla="*/ 16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8" h="213">
                  <a:moveTo>
                    <a:pt x="218" y="164"/>
                  </a:moveTo>
                  <a:lnTo>
                    <a:pt x="218" y="164"/>
                  </a:lnTo>
                  <a:lnTo>
                    <a:pt x="218" y="164"/>
                  </a:lnTo>
                  <a:lnTo>
                    <a:pt x="218" y="162"/>
                  </a:lnTo>
                  <a:lnTo>
                    <a:pt x="218" y="158"/>
                  </a:lnTo>
                  <a:lnTo>
                    <a:pt x="214" y="153"/>
                  </a:lnTo>
                  <a:lnTo>
                    <a:pt x="214" y="138"/>
                  </a:lnTo>
                  <a:lnTo>
                    <a:pt x="207" y="138"/>
                  </a:lnTo>
                  <a:lnTo>
                    <a:pt x="196" y="133"/>
                  </a:lnTo>
                  <a:lnTo>
                    <a:pt x="199" y="126"/>
                  </a:lnTo>
                  <a:lnTo>
                    <a:pt x="192" y="116"/>
                  </a:lnTo>
                  <a:lnTo>
                    <a:pt x="183" y="113"/>
                  </a:lnTo>
                  <a:lnTo>
                    <a:pt x="183" y="113"/>
                  </a:lnTo>
                  <a:lnTo>
                    <a:pt x="180" y="113"/>
                  </a:lnTo>
                  <a:lnTo>
                    <a:pt x="178" y="109"/>
                  </a:lnTo>
                  <a:lnTo>
                    <a:pt x="178" y="109"/>
                  </a:lnTo>
                  <a:lnTo>
                    <a:pt x="180" y="107"/>
                  </a:lnTo>
                  <a:lnTo>
                    <a:pt x="180" y="107"/>
                  </a:lnTo>
                  <a:lnTo>
                    <a:pt x="185" y="106"/>
                  </a:lnTo>
                  <a:lnTo>
                    <a:pt x="187" y="100"/>
                  </a:lnTo>
                  <a:lnTo>
                    <a:pt x="190" y="95"/>
                  </a:lnTo>
                  <a:lnTo>
                    <a:pt x="190" y="95"/>
                  </a:lnTo>
                  <a:lnTo>
                    <a:pt x="192" y="89"/>
                  </a:lnTo>
                  <a:lnTo>
                    <a:pt x="192" y="84"/>
                  </a:lnTo>
                  <a:lnTo>
                    <a:pt x="190" y="76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0" y="64"/>
                  </a:lnTo>
                  <a:lnTo>
                    <a:pt x="178" y="64"/>
                  </a:lnTo>
                  <a:lnTo>
                    <a:pt x="174" y="60"/>
                  </a:lnTo>
                  <a:lnTo>
                    <a:pt x="174" y="60"/>
                  </a:lnTo>
                  <a:lnTo>
                    <a:pt x="172" y="58"/>
                  </a:lnTo>
                  <a:lnTo>
                    <a:pt x="170" y="58"/>
                  </a:lnTo>
                  <a:lnTo>
                    <a:pt x="169" y="56"/>
                  </a:lnTo>
                  <a:lnTo>
                    <a:pt x="170" y="51"/>
                  </a:lnTo>
                  <a:lnTo>
                    <a:pt x="170" y="51"/>
                  </a:lnTo>
                  <a:lnTo>
                    <a:pt x="160" y="49"/>
                  </a:lnTo>
                  <a:lnTo>
                    <a:pt x="152" y="47"/>
                  </a:lnTo>
                  <a:lnTo>
                    <a:pt x="150" y="47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3" y="22"/>
                  </a:lnTo>
                  <a:lnTo>
                    <a:pt x="136" y="15"/>
                  </a:lnTo>
                  <a:lnTo>
                    <a:pt x="136" y="15"/>
                  </a:lnTo>
                  <a:lnTo>
                    <a:pt x="134" y="11"/>
                  </a:lnTo>
                  <a:lnTo>
                    <a:pt x="130" y="9"/>
                  </a:lnTo>
                  <a:lnTo>
                    <a:pt x="129" y="6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1" y="2"/>
                  </a:lnTo>
                  <a:lnTo>
                    <a:pt x="118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5" y="2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6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22"/>
                  </a:lnTo>
                  <a:lnTo>
                    <a:pt x="81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9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49"/>
                  </a:lnTo>
                  <a:lnTo>
                    <a:pt x="72" y="55"/>
                  </a:lnTo>
                  <a:lnTo>
                    <a:pt x="72" y="58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58" y="67"/>
                  </a:lnTo>
                  <a:lnTo>
                    <a:pt x="51" y="71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9" y="84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51" y="93"/>
                  </a:lnTo>
                  <a:lnTo>
                    <a:pt x="51" y="95"/>
                  </a:lnTo>
                  <a:lnTo>
                    <a:pt x="52" y="98"/>
                  </a:lnTo>
                  <a:lnTo>
                    <a:pt x="52" y="100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1" y="113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0" y="107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9" y="109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2" y="115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2" y="116"/>
                  </a:lnTo>
                  <a:lnTo>
                    <a:pt x="2" y="116"/>
                  </a:lnTo>
                  <a:lnTo>
                    <a:pt x="3" y="120"/>
                  </a:lnTo>
                  <a:lnTo>
                    <a:pt x="5" y="126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9" y="138"/>
                  </a:lnTo>
                  <a:lnTo>
                    <a:pt x="7" y="142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2" y="153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3" y="158"/>
                  </a:lnTo>
                  <a:lnTo>
                    <a:pt x="3" y="162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11" y="176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23" y="175"/>
                  </a:lnTo>
                  <a:lnTo>
                    <a:pt x="23" y="175"/>
                  </a:lnTo>
                  <a:lnTo>
                    <a:pt x="25" y="175"/>
                  </a:lnTo>
                  <a:lnTo>
                    <a:pt x="27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8" y="176"/>
                  </a:lnTo>
                  <a:lnTo>
                    <a:pt x="40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7" y="178"/>
                  </a:lnTo>
                  <a:lnTo>
                    <a:pt x="49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2" y="182"/>
                  </a:lnTo>
                  <a:lnTo>
                    <a:pt x="54" y="180"/>
                  </a:lnTo>
                  <a:lnTo>
                    <a:pt x="54" y="176"/>
                  </a:lnTo>
                  <a:lnTo>
                    <a:pt x="54" y="176"/>
                  </a:lnTo>
                  <a:lnTo>
                    <a:pt x="58" y="173"/>
                  </a:lnTo>
                  <a:lnTo>
                    <a:pt x="61" y="173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5" y="173"/>
                  </a:lnTo>
                  <a:lnTo>
                    <a:pt x="65" y="175"/>
                  </a:lnTo>
                  <a:lnTo>
                    <a:pt x="65" y="178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1" y="184"/>
                  </a:lnTo>
                  <a:lnTo>
                    <a:pt x="61" y="187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7" y="191"/>
                  </a:lnTo>
                  <a:lnTo>
                    <a:pt x="71" y="189"/>
                  </a:lnTo>
                  <a:lnTo>
                    <a:pt x="74" y="189"/>
                  </a:lnTo>
                  <a:lnTo>
                    <a:pt x="74" y="187"/>
                  </a:lnTo>
                  <a:lnTo>
                    <a:pt x="74" y="187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81" y="184"/>
                  </a:lnTo>
                  <a:lnTo>
                    <a:pt x="83" y="182"/>
                  </a:lnTo>
                  <a:lnTo>
                    <a:pt x="87" y="182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7" y="191"/>
                  </a:lnTo>
                  <a:lnTo>
                    <a:pt x="110" y="191"/>
                  </a:lnTo>
                  <a:lnTo>
                    <a:pt x="114" y="193"/>
                  </a:lnTo>
                  <a:lnTo>
                    <a:pt x="114" y="193"/>
                  </a:lnTo>
                  <a:lnTo>
                    <a:pt x="123" y="191"/>
                  </a:lnTo>
                  <a:lnTo>
                    <a:pt x="125" y="191"/>
                  </a:lnTo>
                  <a:lnTo>
                    <a:pt x="129" y="195"/>
                  </a:lnTo>
                  <a:lnTo>
                    <a:pt x="129" y="195"/>
                  </a:lnTo>
                  <a:lnTo>
                    <a:pt x="130" y="198"/>
                  </a:lnTo>
                  <a:lnTo>
                    <a:pt x="132" y="202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6" y="213"/>
                  </a:lnTo>
                  <a:lnTo>
                    <a:pt x="136" y="213"/>
                  </a:lnTo>
                  <a:lnTo>
                    <a:pt x="145" y="211"/>
                  </a:lnTo>
                  <a:lnTo>
                    <a:pt x="149" y="209"/>
                  </a:lnTo>
                  <a:lnTo>
                    <a:pt x="149" y="209"/>
                  </a:lnTo>
                  <a:lnTo>
                    <a:pt x="156" y="211"/>
                  </a:lnTo>
                  <a:lnTo>
                    <a:pt x="160" y="211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7" y="204"/>
                  </a:lnTo>
                  <a:lnTo>
                    <a:pt x="167" y="202"/>
                  </a:lnTo>
                  <a:lnTo>
                    <a:pt x="167" y="196"/>
                  </a:lnTo>
                  <a:lnTo>
                    <a:pt x="163" y="193"/>
                  </a:lnTo>
                  <a:lnTo>
                    <a:pt x="163" y="193"/>
                  </a:lnTo>
                  <a:lnTo>
                    <a:pt x="170" y="191"/>
                  </a:lnTo>
                  <a:lnTo>
                    <a:pt x="172" y="189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83" y="180"/>
                  </a:lnTo>
                  <a:lnTo>
                    <a:pt x="187" y="178"/>
                  </a:lnTo>
                  <a:lnTo>
                    <a:pt x="190" y="176"/>
                  </a:lnTo>
                  <a:lnTo>
                    <a:pt x="190" y="176"/>
                  </a:lnTo>
                  <a:lnTo>
                    <a:pt x="196" y="178"/>
                  </a:lnTo>
                  <a:lnTo>
                    <a:pt x="201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10" y="175"/>
                  </a:lnTo>
                  <a:lnTo>
                    <a:pt x="214" y="171"/>
                  </a:lnTo>
                  <a:lnTo>
                    <a:pt x="214" y="171"/>
                  </a:lnTo>
                  <a:lnTo>
                    <a:pt x="218" y="169"/>
                  </a:lnTo>
                  <a:lnTo>
                    <a:pt x="218" y="169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9" name="Freeform 41">
              <a:extLst>
                <a:ext uri="{FF2B5EF4-FFF2-40B4-BE49-F238E27FC236}">
                  <a16:creationId xmlns:a16="http://schemas.microsoft.com/office/drawing/2014/main" id="{38D7565D-E005-AD46-9324-24C264FC46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708" y="4179937"/>
              <a:ext cx="304143" cy="330468"/>
            </a:xfrm>
            <a:custGeom>
              <a:avLst/>
              <a:gdLst>
                <a:gd name="T0" fmla="*/ 210 w 210"/>
                <a:gd name="T1" fmla="*/ 195 h 231"/>
                <a:gd name="T2" fmla="*/ 203 w 210"/>
                <a:gd name="T3" fmla="*/ 188 h 231"/>
                <a:gd name="T4" fmla="*/ 203 w 210"/>
                <a:gd name="T5" fmla="*/ 175 h 231"/>
                <a:gd name="T6" fmla="*/ 198 w 210"/>
                <a:gd name="T7" fmla="*/ 162 h 231"/>
                <a:gd name="T8" fmla="*/ 187 w 210"/>
                <a:gd name="T9" fmla="*/ 139 h 231"/>
                <a:gd name="T10" fmla="*/ 187 w 210"/>
                <a:gd name="T11" fmla="*/ 124 h 231"/>
                <a:gd name="T12" fmla="*/ 185 w 210"/>
                <a:gd name="T13" fmla="*/ 113 h 231"/>
                <a:gd name="T14" fmla="*/ 187 w 210"/>
                <a:gd name="T15" fmla="*/ 108 h 231"/>
                <a:gd name="T16" fmla="*/ 172 w 210"/>
                <a:gd name="T17" fmla="*/ 102 h 231"/>
                <a:gd name="T18" fmla="*/ 156 w 210"/>
                <a:gd name="T19" fmla="*/ 99 h 231"/>
                <a:gd name="T20" fmla="*/ 149 w 210"/>
                <a:gd name="T21" fmla="*/ 86 h 231"/>
                <a:gd name="T22" fmla="*/ 145 w 210"/>
                <a:gd name="T23" fmla="*/ 82 h 231"/>
                <a:gd name="T24" fmla="*/ 136 w 210"/>
                <a:gd name="T25" fmla="*/ 69 h 231"/>
                <a:gd name="T26" fmla="*/ 123 w 210"/>
                <a:gd name="T27" fmla="*/ 71 h 231"/>
                <a:gd name="T28" fmla="*/ 116 w 210"/>
                <a:gd name="T29" fmla="*/ 66 h 231"/>
                <a:gd name="T30" fmla="*/ 112 w 210"/>
                <a:gd name="T31" fmla="*/ 60 h 231"/>
                <a:gd name="T32" fmla="*/ 94 w 210"/>
                <a:gd name="T33" fmla="*/ 48 h 231"/>
                <a:gd name="T34" fmla="*/ 92 w 210"/>
                <a:gd name="T35" fmla="*/ 37 h 231"/>
                <a:gd name="T36" fmla="*/ 85 w 210"/>
                <a:gd name="T37" fmla="*/ 31 h 231"/>
                <a:gd name="T38" fmla="*/ 74 w 210"/>
                <a:gd name="T39" fmla="*/ 28 h 231"/>
                <a:gd name="T40" fmla="*/ 63 w 210"/>
                <a:gd name="T41" fmla="*/ 15 h 231"/>
                <a:gd name="T42" fmla="*/ 58 w 210"/>
                <a:gd name="T43" fmla="*/ 4 h 231"/>
                <a:gd name="T44" fmla="*/ 47 w 210"/>
                <a:gd name="T45" fmla="*/ 0 h 231"/>
                <a:gd name="T46" fmla="*/ 16 w 210"/>
                <a:gd name="T47" fmla="*/ 13 h 231"/>
                <a:gd name="T48" fmla="*/ 9 w 210"/>
                <a:gd name="T49" fmla="*/ 10 h 231"/>
                <a:gd name="T50" fmla="*/ 7 w 210"/>
                <a:gd name="T51" fmla="*/ 28 h 231"/>
                <a:gd name="T52" fmla="*/ 2 w 210"/>
                <a:gd name="T53" fmla="*/ 37 h 231"/>
                <a:gd name="T54" fmla="*/ 2 w 210"/>
                <a:gd name="T55" fmla="*/ 59 h 231"/>
                <a:gd name="T56" fmla="*/ 13 w 210"/>
                <a:gd name="T57" fmla="*/ 62 h 231"/>
                <a:gd name="T58" fmla="*/ 23 w 210"/>
                <a:gd name="T59" fmla="*/ 71 h 231"/>
                <a:gd name="T60" fmla="*/ 31 w 210"/>
                <a:gd name="T61" fmla="*/ 77 h 231"/>
                <a:gd name="T62" fmla="*/ 43 w 210"/>
                <a:gd name="T63" fmla="*/ 89 h 231"/>
                <a:gd name="T64" fmla="*/ 43 w 210"/>
                <a:gd name="T65" fmla="*/ 108 h 231"/>
                <a:gd name="T66" fmla="*/ 33 w 210"/>
                <a:gd name="T67" fmla="*/ 120 h 231"/>
                <a:gd name="T68" fmla="*/ 36 w 210"/>
                <a:gd name="T69" fmla="*/ 126 h 231"/>
                <a:gd name="T70" fmla="*/ 60 w 210"/>
                <a:gd name="T71" fmla="*/ 151 h 231"/>
                <a:gd name="T72" fmla="*/ 71 w 210"/>
                <a:gd name="T73" fmla="*/ 171 h 231"/>
                <a:gd name="T74" fmla="*/ 71 w 210"/>
                <a:gd name="T75" fmla="*/ 177 h 231"/>
                <a:gd name="T76" fmla="*/ 78 w 210"/>
                <a:gd name="T77" fmla="*/ 182 h 231"/>
                <a:gd name="T78" fmla="*/ 82 w 210"/>
                <a:gd name="T79" fmla="*/ 191 h 231"/>
                <a:gd name="T80" fmla="*/ 74 w 210"/>
                <a:gd name="T81" fmla="*/ 215 h 231"/>
                <a:gd name="T82" fmla="*/ 80 w 210"/>
                <a:gd name="T83" fmla="*/ 228 h 231"/>
                <a:gd name="T84" fmla="*/ 91 w 210"/>
                <a:gd name="T85" fmla="*/ 231 h 231"/>
                <a:gd name="T86" fmla="*/ 94 w 210"/>
                <a:gd name="T87" fmla="*/ 229 h 231"/>
                <a:gd name="T88" fmla="*/ 109 w 210"/>
                <a:gd name="T89" fmla="*/ 208 h 231"/>
                <a:gd name="T90" fmla="*/ 116 w 210"/>
                <a:gd name="T91" fmla="*/ 206 h 231"/>
                <a:gd name="T92" fmla="*/ 129 w 210"/>
                <a:gd name="T93" fmla="*/ 209 h 231"/>
                <a:gd name="T94" fmla="*/ 136 w 210"/>
                <a:gd name="T95" fmla="*/ 211 h 231"/>
                <a:gd name="T96" fmla="*/ 149 w 210"/>
                <a:gd name="T97" fmla="*/ 204 h 231"/>
                <a:gd name="T98" fmla="*/ 171 w 210"/>
                <a:gd name="T99" fmla="*/ 211 h 231"/>
                <a:gd name="T100" fmla="*/ 192 w 210"/>
                <a:gd name="T101" fmla="*/ 211 h 231"/>
                <a:gd name="T102" fmla="*/ 198 w 210"/>
                <a:gd name="T103" fmla="*/ 211 h 231"/>
                <a:gd name="T104" fmla="*/ 200 w 210"/>
                <a:gd name="T105" fmla="*/ 211 h 231"/>
                <a:gd name="T106" fmla="*/ 209 w 210"/>
                <a:gd name="T107" fmla="*/ 20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0" h="231">
                  <a:moveTo>
                    <a:pt x="209" y="202"/>
                  </a:moveTo>
                  <a:lnTo>
                    <a:pt x="209" y="202"/>
                  </a:lnTo>
                  <a:lnTo>
                    <a:pt x="210" y="200"/>
                  </a:lnTo>
                  <a:lnTo>
                    <a:pt x="210" y="195"/>
                  </a:lnTo>
                  <a:lnTo>
                    <a:pt x="207" y="193"/>
                  </a:lnTo>
                  <a:lnTo>
                    <a:pt x="207" y="193"/>
                  </a:lnTo>
                  <a:lnTo>
                    <a:pt x="205" y="191"/>
                  </a:lnTo>
                  <a:lnTo>
                    <a:pt x="203" y="188"/>
                  </a:lnTo>
                  <a:lnTo>
                    <a:pt x="203" y="184"/>
                  </a:lnTo>
                  <a:lnTo>
                    <a:pt x="203" y="180"/>
                  </a:lnTo>
                  <a:lnTo>
                    <a:pt x="203" y="180"/>
                  </a:lnTo>
                  <a:lnTo>
                    <a:pt x="203" y="175"/>
                  </a:lnTo>
                  <a:lnTo>
                    <a:pt x="200" y="171"/>
                  </a:lnTo>
                  <a:lnTo>
                    <a:pt x="198" y="166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96" y="153"/>
                  </a:lnTo>
                  <a:lnTo>
                    <a:pt x="194" y="148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3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4"/>
                  </a:lnTo>
                  <a:lnTo>
                    <a:pt x="187" y="122"/>
                  </a:lnTo>
                  <a:lnTo>
                    <a:pt x="185" y="115"/>
                  </a:lnTo>
                  <a:lnTo>
                    <a:pt x="185" y="115"/>
                  </a:lnTo>
                  <a:lnTo>
                    <a:pt x="185" y="113"/>
                  </a:lnTo>
                  <a:lnTo>
                    <a:pt x="187" y="109"/>
                  </a:lnTo>
                  <a:lnTo>
                    <a:pt x="187" y="109"/>
                  </a:lnTo>
                  <a:lnTo>
                    <a:pt x="187" y="108"/>
                  </a:lnTo>
                  <a:lnTo>
                    <a:pt x="187" y="108"/>
                  </a:lnTo>
                  <a:lnTo>
                    <a:pt x="185" y="108"/>
                  </a:lnTo>
                  <a:lnTo>
                    <a:pt x="185" y="108"/>
                  </a:lnTo>
                  <a:lnTo>
                    <a:pt x="178" y="104"/>
                  </a:lnTo>
                  <a:lnTo>
                    <a:pt x="172" y="102"/>
                  </a:lnTo>
                  <a:lnTo>
                    <a:pt x="172" y="102"/>
                  </a:lnTo>
                  <a:lnTo>
                    <a:pt x="161" y="100"/>
                  </a:lnTo>
                  <a:lnTo>
                    <a:pt x="161" y="100"/>
                  </a:lnTo>
                  <a:lnTo>
                    <a:pt x="156" y="99"/>
                  </a:lnTo>
                  <a:lnTo>
                    <a:pt x="152" y="93"/>
                  </a:lnTo>
                  <a:lnTo>
                    <a:pt x="151" y="89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2"/>
                  </a:lnTo>
                  <a:lnTo>
                    <a:pt x="147" y="82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77"/>
                  </a:lnTo>
                  <a:lnTo>
                    <a:pt x="141" y="71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32" y="69"/>
                  </a:lnTo>
                  <a:lnTo>
                    <a:pt x="132" y="69"/>
                  </a:lnTo>
                  <a:lnTo>
                    <a:pt x="123" y="71"/>
                  </a:lnTo>
                  <a:lnTo>
                    <a:pt x="120" y="71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6"/>
                  </a:lnTo>
                  <a:lnTo>
                    <a:pt x="116" y="62"/>
                  </a:lnTo>
                  <a:lnTo>
                    <a:pt x="116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07" y="5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7"/>
                  </a:lnTo>
                  <a:lnTo>
                    <a:pt x="91" y="35"/>
                  </a:lnTo>
                  <a:lnTo>
                    <a:pt x="89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2" y="35"/>
                  </a:lnTo>
                  <a:lnTo>
                    <a:pt x="80" y="35"/>
                  </a:lnTo>
                  <a:lnTo>
                    <a:pt x="74" y="31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1" y="24"/>
                  </a:lnTo>
                  <a:lnTo>
                    <a:pt x="71" y="20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8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0" y="2"/>
                  </a:lnTo>
                  <a:lnTo>
                    <a:pt x="31" y="6"/>
                  </a:lnTo>
                  <a:lnTo>
                    <a:pt x="23" y="10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1" y="13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9" y="24"/>
                  </a:lnTo>
                  <a:lnTo>
                    <a:pt x="7" y="28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3" y="60"/>
                  </a:lnTo>
                  <a:lnTo>
                    <a:pt x="5" y="60"/>
                  </a:lnTo>
                  <a:lnTo>
                    <a:pt x="13" y="62"/>
                  </a:lnTo>
                  <a:lnTo>
                    <a:pt x="23" y="64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31" y="77"/>
                  </a:lnTo>
                  <a:lnTo>
                    <a:pt x="33" y="77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3" y="89"/>
                  </a:lnTo>
                  <a:lnTo>
                    <a:pt x="45" y="97"/>
                  </a:lnTo>
                  <a:lnTo>
                    <a:pt x="45" y="102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0" y="113"/>
                  </a:lnTo>
                  <a:lnTo>
                    <a:pt x="38" y="119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3" y="126"/>
                  </a:lnTo>
                  <a:lnTo>
                    <a:pt x="36" y="126"/>
                  </a:lnTo>
                  <a:lnTo>
                    <a:pt x="45" y="129"/>
                  </a:lnTo>
                  <a:lnTo>
                    <a:pt x="52" y="139"/>
                  </a:lnTo>
                  <a:lnTo>
                    <a:pt x="49" y="146"/>
                  </a:lnTo>
                  <a:lnTo>
                    <a:pt x="60" y="151"/>
                  </a:lnTo>
                  <a:lnTo>
                    <a:pt x="67" y="151"/>
                  </a:lnTo>
                  <a:lnTo>
                    <a:pt x="67" y="166"/>
                  </a:lnTo>
                  <a:lnTo>
                    <a:pt x="71" y="171"/>
                  </a:lnTo>
                  <a:lnTo>
                    <a:pt x="71" y="171"/>
                  </a:lnTo>
                  <a:lnTo>
                    <a:pt x="71" y="175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82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80" y="184"/>
                  </a:lnTo>
                  <a:lnTo>
                    <a:pt x="82" y="188"/>
                  </a:lnTo>
                  <a:lnTo>
                    <a:pt x="82" y="191"/>
                  </a:lnTo>
                  <a:lnTo>
                    <a:pt x="82" y="197"/>
                  </a:lnTo>
                  <a:lnTo>
                    <a:pt x="82" y="197"/>
                  </a:lnTo>
                  <a:lnTo>
                    <a:pt x="78" y="209"/>
                  </a:lnTo>
                  <a:lnTo>
                    <a:pt x="74" y="215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80" y="226"/>
                  </a:lnTo>
                  <a:lnTo>
                    <a:pt x="80" y="228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5" y="229"/>
                  </a:lnTo>
                  <a:lnTo>
                    <a:pt x="91" y="231"/>
                  </a:lnTo>
                  <a:lnTo>
                    <a:pt x="94" y="231"/>
                  </a:lnTo>
                  <a:lnTo>
                    <a:pt x="94" y="231"/>
                  </a:lnTo>
                  <a:lnTo>
                    <a:pt x="94" y="229"/>
                  </a:lnTo>
                  <a:lnTo>
                    <a:pt x="94" y="229"/>
                  </a:lnTo>
                  <a:lnTo>
                    <a:pt x="96" y="226"/>
                  </a:lnTo>
                  <a:lnTo>
                    <a:pt x="102" y="218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11" y="204"/>
                  </a:lnTo>
                  <a:lnTo>
                    <a:pt x="111" y="204"/>
                  </a:lnTo>
                  <a:lnTo>
                    <a:pt x="112" y="204"/>
                  </a:lnTo>
                  <a:lnTo>
                    <a:pt x="116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5" y="208"/>
                  </a:lnTo>
                  <a:lnTo>
                    <a:pt x="129" y="209"/>
                  </a:lnTo>
                  <a:lnTo>
                    <a:pt x="134" y="211"/>
                  </a:lnTo>
                  <a:lnTo>
                    <a:pt x="134" y="211"/>
                  </a:lnTo>
                  <a:lnTo>
                    <a:pt x="136" y="211"/>
                  </a:lnTo>
                  <a:lnTo>
                    <a:pt x="136" y="211"/>
                  </a:lnTo>
                  <a:lnTo>
                    <a:pt x="141" y="208"/>
                  </a:lnTo>
                  <a:lnTo>
                    <a:pt x="141" y="206"/>
                  </a:lnTo>
                  <a:lnTo>
                    <a:pt x="145" y="204"/>
                  </a:lnTo>
                  <a:lnTo>
                    <a:pt x="149" y="204"/>
                  </a:lnTo>
                  <a:lnTo>
                    <a:pt x="149" y="204"/>
                  </a:lnTo>
                  <a:lnTo>
                    <a:pt x="156" y="206"/>
                  </a:lnTo>
                  <a:lnTo>
                    <a:pt x="156" y="206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6" y="211"/>
                  </a:lnTo>
                  <a:lnTo>
                    <a:pt x="183" y="211"/>
                  </a:lnTo>
                  <a:lnTo>
                    <a:pt x="192" y="211"/>
                  </a:lnTo>
                  <a:lnTo>
                    <a:pt x="192" y="211"/>
                  </a:lnTo>
                  <a:lnTo>
                    <a:pt x="194" y="209"/>
                  </a:lnTo>
                  <a:lnTo>
                    <a:pt x="196" y="211"/>
                  </a:lnTo>
                  <a:lnTo>
                    <a:pt x="198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lnTo>
                    <a:pt x="209" y="2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0" name="Freeform 42">
              <a:extLst>
                <a:ext uri="{FF2B5EF4-FFF2-40B4-BE49-F238E27FC236}">
                  <a16:creationId xmlns:a16="http://schemas.microsoft.com/office/drawing/2014/main" id="{5C16D8C6-7D74-8247-AD2F-B5F778561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3975" y="4252897"/>
              <a:ext cx="212900" cy="286120"/>
            </a:xfrm>
            <a:custGeom>
              <a:avLst/>
              <a:gdLst>
                <a:gd name="T0" fmla="*/ 65 w 147"/>
                <a:gd name="T1" fmla="*/ 198 h 200"/>
                <a:gd name="T2" fmla="*/ 79 w 147"/>
                <a:gd name="T3" fmla="*/ 200 h 200"/>
                <a:gd name="T4" fmla="*/ 87 w 147"/>
                <a:gd name="T5" fmla="*/ 195 h 200"/>
                <a:gd name="T6" fmla="*/ 92 w 147"/>
                <a:gd name="T7" fmla="*/ 178 h 200"/>
                <a:gd name="T8" fmla="*/ 105 w 147"/>
                <a:gd name="T9" fmla="*/ 177 h 200"/>
                <a:gd name="T10" fmla="*/ 107 w 147"/>
                <a:gd name="T11" fmla="*/ 162 h 200"/>
                <a:gd name="T12" fmla="*/ 107 w 147"/>
                <a:gd name="T13" fmla="*/ 146 h 200"/>
                <a:gd name="T14" fmla="*/ 118 w 147"/>
                <a:gd name="T15" fmla="*/ 131 h 200"/>
                <a:gd name="T16" fmla="*/ 127 w 147"/>
                <a:gd name="T17" fmla="*/ 133 h 200"/>
                <a:gd name="T18" fmla="*/ 134 w 147"/>
                <a:gd name="T19" fmla="*/ 133 h 200"/>
                <a:gd name="T20" fmla="*/ 143 w 147"/>
                <a:gd name="T21" fmla="*/ 133 h 200"/>
                <a:gd name="T22" fmla="*/ 143 w 147"/>
                <a:gd name="T23" fmla="*/ 120 h 200"/>
                <a:gd name="T24" fmla="*/ 143 w 147"/>
                <a:gd name="T25" fmla="*/ 113 h 200"/>
                <a:gd name="T26" fmla="*/ 147 w 147"/>
                <a:gd name="T27" fmla="*/ 107 h 200"/>
                <a:gd name="T28" fmla="*/ 134 w 147"/>
                <a:gd name="T29" fmla="*/ 95 h 200"/>
                <a:gd name="T30" fmla="*/ 138 w 147"/>
                <a:gd name="T31" fmla="*/ 78 h 200"/>
                <a:gd name="T32" fmla="*/ 143 w 147"/>
                <a:gd name="T33" fmla="*/ 71 h 200"/>
                <a:gd name="T34" fmla="*/ 147 w 147"/>
                <a:gd name="T35" fmla="*/ 58 h 200"/>
                <a:gd name="T36" fmla="*/ 127 w 147"/>
                <a:gd name="T37" fmla="*/ 46 h 200"/>
                <a:gd name="T38" fmla="*/ 116 w 147"/>
                <a:gd name="T39" fmla="*/ 35 h 200"/>
                <a:gd name="T40" fmla="*/ 110 w 147"/>
                <a:gd name="T41" fmla="*/ 15 h 200"/>
                <a:gd name="T42" fmla="*/ 107 w 147"/>
                <a:gd name="T43" fmla="*/ 22 h 200"/>
                <a:gd name="T44" fmla="*/ 101 w 147"/>
                <a:gd name="T45" fmla="*/ 17 h 200"/>
                <a:gd name="T46" fmla="*/ 89 w 147"/>
                <a:gd name="T47" fmla="*/ 6 h 200"/>
                <a:gd name="T48" fmla="*/ 83 w 147"/>
                <a:gd name="T49" fmla="*/ 15 h 200"/>
                <a:gd name="T50" fmla="*/ 85 w 147"/>
                <a:gd name="T51" fmla="*/ 31 h 200"/>
                <a:gd name="T52" fmla="*/ 87 w 147"/>
                <a:gd name="T53" fmla="*/ 40 h 200"/>
                <a:gd name="T54" fmla="*/ 65 w 147"/>
                <a:gd name="T55" fmla="*/ 28 h 200"/>
                <a:gd name="T56" fmla="*/ 45 w 147"/>
                <a:gd name="T57" fmla="*/ 29 h 200"/>
                <a:gd name="T58" fmla="*/ 36 w 147"/>
                <a:gd name="T59" fmla="*/ 33 h 200"/>
                <a:gd name="T60" fmla="*/ 19 w 147"/>
                <a:gd name="T61" fmla="*/ 26 h 200"/>
                <a:gd name="T62" fmla="*/ 12 w 147"/>
                <a:gd name="T63" fmla="*/ 11 h 200"/>
                <a:gd name="T64" fmla="*/ 1 w 147"/>
                <a:gd name="T65" fmla="*/ 11 h 200"/>
                <a:gd name="T66" fmla="*/ 0 w 147"/>
                <a:gd name="T67" fmla="*/ 48 h 200"/>
                <a:gd name="T68" fmla="*/ 3 w 147"/>
                <a:gd name="T69" fmla="*/ 64 h 200"/>
                <a:gd name="T70" fmla="*/ 9 w 147"/>
                <a:gd name="T71" fmla="*/ 102 h 200"/>
                <a:gd name="T72" fmla="*/ 9 w 147"/>
                <a:gd name="T73" fmla="*/ 138 h 200"/>
                <a:gd name="T74" fmla="*/ 3 w 147"/>
                <a:gd name="T75" fmla="*/ 167 h 200"/>
                <a:gd name="T76" fmla="*/ 5 w 147"/>
                <a:gd name="T77" fmla="*/ 175 h 200"/>
                <a:gd name="T78" fmla="*/ 16 w 147"/>
                <a:gd name="T79" fmla="*/ 178 h 200"/>
                <a:gd name="T80" fmla="*/ 25 w 147"/>
                <a:gd name="T81" fmla="*/ 195 h 200"/>
                <a:gd name="T82" fmla="*/ 49 w 147"/>
                <a:gd name="T83" fmla="*/ 184 h 200"/>
                <a:gd name="T84" fmla="*/ 58 w 147"/>
                <a:gd name="T85" fmla="*/ 180 h 200"/>
                <a:gd name="T86" fmla="*/ 25 w 147"/>
                <a:gd name="T87" fmla="*/ 173 h 200"/>
                <a:gd name="T88" fmla="*/ 19 w 147"/>
                <a:gd name="T89" fmla="*/ 153 h 200"/>
                <a:gd name="T90" fmla="*/ 29 w 147"/>
                <a:gd name="T91" fmla="*/ 146 h 200"/>
                <a:gd name="T92" fmla="*/ 34 w 147"/>
                <a:gd name="T93" fmla="*/ 151 h 200"/>
                <a:gd name="T94" fmla="*/ 39 w 147"/>
                <a:gd name="T95" fmla="*/ 146 h 200"/>
                <a:gd name="T96" fmla="*/ 50 w 147"/>
                <a:gd name="T97" fmla="*/ 137 h 200"/>
                <a:gd name="T98" fmla="*/ 61 w 147"/>
                <a:gd name="T99" fmla="*/ 129 h 200"/>
                <a:gd name="T100" fmla="*/ 65 w 147"/>
                <a:gd name="T101" fmla="*/ 118 h 200"/>
                <a:gd name="T102" fmla="*/ 58 w 147"/>
                <a:gd name="T103" fmla="*/ 113 h 200"/>
                <a:gd name="T104" fmla="*/ 43 w 147"/>
                <a:gd name="T105" fmla="*/ 107 h 200"/>
                <a:gd name="T106" fmla="*/ 36 w 147"/>
                <a:gd name="T107" fmla="*/ 84 h 200"/>
                <a:gd name="T108" fmla="*/ 45 w 147"/>
                <a:gd name="T109" fmla="*/ 89 h 200"/>
                <a:gd name="T110" fmla="*/ 50 w 147"/>
                <a:gd name="T111" fmla="*/ 104 h 200"/>
                <a:gd name="T112" fmla="*/ 65 w 147"/>
                <a:gd name="T113" fmla="*/ 102 h 200"/>
                <a:gd name="T114" fmla="*/ 78 w 147"/>
                <a:gd name="T115" fmla="*/ 124 h 200"/>
                <a:gd name="T116" fmla="*/ 74 w 147"/>
                <a:gd name="T117" fmla="*/ 151 h 200"/>
                <a:gd name="T118" fmla="*/ 65 w 147"/>
                <a:gd name="T119" fmla="*/ 146 h 200"/>
                <a:gd name="T120" fmla="*/ 50 w 147"/>
                <a:gd name="T121" fmla="*/ 160 h 200"/>
                <a:gd name="T122" fmla="*/ 32 w 147"/>
                <a:gd name="T123" fmla="*/ 173 h 200"/>
                <a:gd name="T124" fmla="*/ 25 w 147"/>
                <a:gd name="T125" fmla="*/ 1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7" h="200">
                  <a:moveTo>
                    <a:pt x="58" y="180"/>
                  </a:moveTo>
                  <a:lnTo>
                    <a:pt x="58" y="180"/>
                  </a:lnTo>
                  <a:lnTo>
                    <a:pt x="59" y="184"/>
                  </a:lnTo>
                  <a:lnTo>
                    <a:pt x="61" y="187"/>
                  </a:lnTo>
                  <a:lnTo>
                    <a:pt x="65" y="198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9" y="200"/>
                  </a:lnTo>
                  <a:lnTo>
                    <a:pt x="79" y="200"/>
                  </a:lnTo>
                  <a:lnTo>
                    <a:pt x="79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3" y="198"/>
                  </a:lnTo>
                  <a:lnTo>
                    <a:pt x="83" y="193"/>
                  </a:lnTo>
                  <a:lnTo>
                    <a:pt x="87" y="195"/>
                  </a:lnTo>
                  <a:lnTo>
                    <a:pt x="92" y="193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6" y="177"/>
                  </a:lnTo>
                  <a:lnTo>
                    <a:pt x="98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5" y="177"/>
                  </a:lnTo>
                  <a:lnTo>
                    <a:pt x="107" y="177"/>
                  </a:lnTo>
                  <a:lnTo>
                    <a:pt x="107" y="173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2"/>
                  </a:lnTo>
                  <a:lnTo>
                    <a:pt x="108" y="158"/>
                  </a:lnTo>
                  <a:lnTo>
                    <a:pt x="110" y="157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7" y="146"/>
                  </a:lnTo>
                  <a:lnTo>
                    <a:pt x="108" y="140"/>
                  </a:lnTo>
                  <a:lnTo>
                    <a:pt x="108" y="140"/>
                  </a:lnTo>
                  <a:lnTo>
                    <a:pt x="110" y="137"/>
                  </a:lnTo>
                  <a:lnTo>
                    <a:pt x="116" y="133"/>
                  </a:lnTo>
                  <a:lnTo>
                    <a:pt x="118" y="131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23" y="126"/>
                  </a:lnTo>
                  <a:lnTo>
                    <a:pt x="125" y="131"/>
                  </a:lnTo>
                  <a:lnTo>
                    <a:pt x="127" y="133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34" y="133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39" y="131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3" y="131"/>
                  </a:lnTo>
                  <a:lnTo>
                    <a:pt x="143" y="126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18"/>
                  </a:lnTo>
                  <a:lnTo>
                    <a:pt x="143" y="117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3" y="113"/>
                  </a:lnTo>
                  <a:lnTo>
                    <a:pt x="147" y="111"/>
                  </a:lnTo>
                  <a:lnTo>
                    <a:pt x="147" y="109"/>
                  </a:lnTo>
                  <a:lnTo>
                    <a:pt x="147" y="107"/>
                  </a:lnTo>
                  <a:lnTo>
                    <a:pt x="147" y="107"/>
                  </a:lnTo>
                  <a:lnTo>
                    <a:pt x="145" y="107"/>
                  </a:lnTo>
                  <a:lnTo>
                    <a:pt x="143" y="102"/>
                  </a:lnTo>
                  <a:lnTo>
                    <a:pt x="139" y="100"/>
                  </a:lnTo>
                  <a:lnTo>
                    <a:pt x="139" y="100"/>
                  </a:lnTo>
                  <a:lnTo>
                    <a:pt x="134" y="95"/>
                  </a:lnTo>
                  <a:lnTo>
                    <a:pt x="132" y="91"/>
                  </a:lnTo>
                  <a:lnTo>
                    <a:pt x="132" y="89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8" y="78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9" y="73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5" y="69"/>
                  </a:lnTo>
                  <a:lnTo>
                    <a:pt x="147" y="68"/>
                  </a:lnTo>
                  <a:lnTo>
                    <a:pt x="147" y="62"/>
                  </a:lnTo>
                  <a:lnTo>
                    <a:pt x="147" y="58"/>
                  </a:lnTo>
                  <a:lnTo>
                    <a:pt x="147" y="58"/>
                  </a:lnTo>
                  <a:lnTo>
                    <a:pt x="139" y="51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7" y="46"/>
                  </a:lnTo>
                  <a:lnTo>
                    <a:pt x="123" y="46"/>
                  </a:lnTo>
                  <a:lnTo>
                    <a:pt x="119" y="42"/>
                  </a:lnTo>
                  <a:lnTo>
                    <a:pt x="119" y="42"/>
                  </a:lnTo>
                  <a:lnTo>
                    <a:pt x="116" y="37"/>
                  </a:lnTo>
                  <a:lnTo>
                    <a:pt x="116" y="35"/>
                  </a:lnTo>
                  <a:lnTo>
                    <a:pt x="121" y="33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6" y="17"/>
                  </a:lnTo>
                  <a:lnTo>
                    <a:pt x="110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7" y="17"/>
                  </a:lnTo>
                  <a:lnTo>
                    <a:pt x="107" y="20"/>
                  </a:lnTo>
                  <a:lnTo>
                    <a:pt x="107" y="22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5" y="20"/>
                  </a:lnTo>
                  <a:lnTo>
                    <a:pt x="101" y="17"/>
                  </a:lnTo>
                  <a:lnTo>
                    <a:pt x="99" y="11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2" y="8"/>
                  </a:lnTo>
                  <a:lnTo>
                    <a:pt x="89" y="6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5" y="8"/>
                  </a:lnTo>
                  <a:lnTo>
                    <a:pt x="83" y="9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5" y="18"/>
                  </a:lnTo>
                  <a:lnTo>
                    <a:pt x="85" y="26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9" y="37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3" y="38"/>
                  </a:lnTo>
                  <a:lnTo>
                    <a:pt x="78" y="33"/>
                  </a:lnTo>
                  <a:lnTo>
                    <a:pt x="70" y="29"/>
                  </a:lnTo>
                  <a:lnTo>
                    <a:pt x="67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59" y="28"/>
                  </a:lnTo>
                  <a:lnTo>
                    <a:pt x="56" y="29"/>
                  </a:lnTo>
                  <a:lnTo>
                    <a:pt x="50" y="31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31"/>
                  </a:lnTo>
                  <a:lnTo>
                    <a:pt x="39" y="31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7" y="31"/>
                  </a:lnTo>
                  <a:lnTo>
                    <a:pt x="23" y="29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6" y="17"/>
                  </a:lnTo>
                  <a:lnTo>
                    <a:pt x="16" y="13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7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7"/>
                  </a:lnTo>
                  <a:lnTo>
                    <a:pt x="1" y="22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0" y="58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3" y="64"/>
                  </a:lnTo>
                  <a:lnTo>
                    <a:pt x="3" y="71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5" y="91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12" y="107"/>
                  </a:lnTo>
                  <a:lnTo>
                    <a:pt x="12" y="113"/>
                  </a:lnTo>
                  <a:lnTo>
                    <a:pt x="12" y="124"/>
                  </a:lnTo>
                  <a:lnTo>
                    <a:pt x="9" y="138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58"/>
                  </a:lnTo>
                  <a:lnTo>
                    <a:pt x="5" y="164"/>
                  </a:lnTo>
                  <a:lnTo>
                    <a:pt x="3" y="167"/>
                  </a:lnTo>
                  <a:lnTo>
                    <a:pt x="3" y="167"/>
                  </a:lnTo>
                  <a:lnTo>
                    <a:pt x="3" y="173"/>
                  </a:lnTo>
                  <a:lnTo>
                    <a:pt x="3" y="175"/>
                  </a:lnTo>
                  <a:lnTo>
                    <a:pt x="5" y="175"/>
                  </a:lnTo>
                  <a:lnTo>
                    <a:pt x="5" y="175"/>
                  </a:lnTo>
                  <a:lnTo>
                    <a:pt x="7" y="175"/>
                  </a:lnTo>
                  <a:lnTo>
                    <a:pt x="12" y="175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6" y="178"/>
                  </a:lnTo>
                  <a:lnTo>
                    <a:pt x="19" y="184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25" y="195"/>
                  </a:lnTo>
                  <a:lnTo>
                    <a:pt x="36" y="187"/>
                  </a:lnTo>
                  <a:lnTo>
                    <a:pt x="39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9" y="184"/>
                  </a:lnTo>
                  <a:lnTo>
                    <a:pt x="54" y="184"/>
                  </a:lnTo>
                  <a:lnTo>
                    <a:pt x="56" y="182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close/>
                  <a:moveTo>
                    <a:pt x="25" y="175"/>
                  </a:moveTo>
                  <a:lnTo>
                    <a:pt x="25" y="175"/>
                  </a:lnTo>
                  <a:lnTo>
                    <a:pt x="25" y="173"/>
                  </a:lnTo>
                  <a:lnTo>
                    <a:pt x="25" y="167"/>
                  </a:lnTo>
                  <a:lnTo>
                    <a:pt x="25" y="164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19" y="153"/>
                  </a:lnTo>
                  <a:lnTo>
                    <a:pt x="19" y="151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5" y="149"/>
                  </a:lnTo>
                  <a:lnTo>
                    <a:pt x="29" y="146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9" y="146"/>
                  </a:lnTo>
                  <a:lnTo>
                    <a:pt x="41" y="144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7" y="137"/>
                  </a:lnTo>
                  <a:lnTo>
                    <a:pt x="50" y="137"/>
                  </a:lnTo>
                  <a:lnTo>
                    <a:pt x="56" y="137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3"/>
                  </a:lnTo>
                  <a:lnTo>
                    <a:pt x="61" y="129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5" y="118"/>
                  </a:lnTo>
                  <a:lnTo>
                    <a:pt x="65" y="118"/>
                  </a:lnTo>
                  <a:lnTo>
                    <a:pt x="61" y="111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8" y="113"/>
                  </a:lnTo>
                  <a:lnTo>
                    <a:pt x="54" y="117"/>
                  </a:lnTo>
                  <a:lnTo>
                    <a:pt x="54" y="118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43" y="107"/>
                  </a:lnTo>
                  <a:lnTo>
                    <a:pt x="39" y="100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41" y="84"/>
                  </a:lnTo>
                  <a:lnTo>
                    <a:pt x="45" y="89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8"/>
                  </a:lnTo>
                  <a:lnTo>
                    <a:pt x="49" y="100"/>
                  </a:lnTo>
                  <a:lnTo>
                    <a:pt x="50" y="104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9" y="102"/>
                  </a:lnTo>
                  <a:lnTo>
                    <a:pt x="65" y="102"/>
                  </a:lnTo>
                  <a:lnTo>
                    <a:pt x="65" y="102"/>
                  </a:lnTo>
                  <a:lnTo>
                    <a:pt x="67" y="107"/>
                  </a:lnTo>
                  <a:lnTo>
                    <a:pt x="67" y="107"/>
                  </a:lnTo>
                  <a:lnTo>
                    <a:pt x="76" y="118"/>
                  </a:lnTo>
                  <a:lnTo>
                    <a:pt x="78" y="124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78" y="142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0" y="151"/>
                  </a:lnTo>
                  <a:lnTo>
                    <a:pt x="69" y="149"/>
                  </a:lnTo>
                  <a:lnTo>
                    <a:pt x="67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59" y="153"/>
                  </a:lnTo>
                  <a:lnTo>
                    <a:pt x="56" y="157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45" y="162"/>
                  </a:lnTo>
                  <a:lnTo>
                    <a:pt x="39" y="166"/>
                  </a:lnTo>
                  <a:lnTo>
                    <a:pt x="39" y="166"/>
                  </a:lnTo>
                  <a:lnTo>
                    <a:pt x="32" y="173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lnTo>
                    <a:pt x="25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1" name="Freeform 43">
              <a:extLst>
                <a:ext uri="{FF2B5EF4-FFF2-40B4-BE49-F238E27FC236}">
                  <a16:creationId xmlns:a16="http://schemas.microsoft.com/office/drawing/2014/main" id="{DA9E4C08-3CAC-934C-AAFC-6AC92DBA9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08" y="4666339"/>
              <a:ext cx="107174" cy="78683"/>
            </a:xfrm>
            <a:custGeom>
              <a:avLst/>
              <a:gdLst>
                <a:gd name="T0" fmla="*/ 38 w 74"/>
                <a:gd name="T1" fmla="*/ 53 h 55"/>
                <a:gd name="T2" fmla="*/ 47 w 74"/>
                <a:gd name="T3" fmla="*/ 53 h 55"/>
                <a:gd name="T4" fmla="*/ 49 w 74"/>
                <a:gd name="T5" fmla="*/ 51 h 55"/>
                <a:gd name="T6" fmla="*/ 49 w 74"/>
                <a:gd name="T7" fmla="*/ 42 h 55"/>
                <a:gd name="T8" fmla="*/ 47 w 74"/>
                <a:gd name="T9" fmla="*/ 33 h 55"/>
                <a:gd name="T10" fmla="*/ 49 w 74"/>
                <a:gd name="T11" fmla="*/ 29 h 55"/>
                <a:gd name="T12" fmla="*/ 56 w 74"/>
                <a:gd name="T13" fmla="*/ 27 h 55"/>
                <a:gd name="T14" fmla="*/ 59 w 74"/>
                <a:gd name="T15" fmla="*/ 27 h 55"/>
                <a:gd name="T16" fmla="*/ 63 w 74"/>
                <a:gd name="T17" fmla="*/ 27 h 55"/>
                <a:gd name="T18" fmla="*/ 65 w 74"/>
                <a:gd name="T19" fmla="*/ 27 h 55"/>
                <a:gd name="T20" fmla="*/ 74 w 74"/>
                <a:gd name="T21" fmla="*/ 18 h 55"/>
                <a:gd name="T22" fmla="*/ 70 w 74"/>
                <a:gd name="T23" fmla="*/ 11 h 55"/>
                <a:gd name="T24" fmla="*/ 63 w 74"/>
                <a:gd name="T25" fmla="*/ 2 h 55"/>
                <a:gd name="T26" fmla="*/ 61 w 74"/>
                <a:gd name="T27" fmla="*/ 2 h 55"/>
                <a:gd name="T28" fmla="*/ 61 w 74"/>
                <a:gd name="T29" fmla="*/ 0 h 55"/>
                <a:gd name="T30" fmla="*/ 56 w 74"/>
                <a:gd name="T31" fmla="*/ 4 h 55"/>
                <a:gd name="T32" fmla="*/ 56 w 74"/>
                <a:gd name="T33" fmla="*/ 9 h 55"/>
                <a:gd name="T34" fmla="*/ 54 w 74"/>
                <a:gd name="T35" fmla="*/ 17 h 55"/>
                <a:gd name="T36" fmla="*/ 50 w 74"/>
                <a:gd name="T37" fmla="*/ 18 h 55"/>
                <a:gd name="T38" fmla="*/ 41 w 74"/>
                <a:gd name="T39" fmla="*/ 15 h 55"/>
                <a:gd name="T40" fmla="*/ 32 w 74"/>
                <a:gd name="T41" fmla="*/ 9 h 55"/>
                <a:gd name="T42" fmla="*/ 27 w 74"/>
                <a:gd name="T43" fmla="*/ 7 h 55"/>
                <a:gd name="T44" fmla="*/ 14 w 74"/>
                <a:gd name="T45" fmla="*/ 9 h 55"/>
                <a:gd name="T46" fmla="*/ 5 w 74"/>
                <a:gd name="T47" fmla="*/ 11 h 55"/>
                <a:gd name="T48" fmla="*/ 9 w 74"/>
                <a:gd name="T49" fmla="*/ 24 h 55"/>
                <a:gd name="T50" fmla="*/ 5 w 74"/>
                <a:gd name="T51" fmla="*/ 27 h 55"/>
                <a:gd name="T52" fmla="*/ 0 w 74"/>
                <a:gd name="T53" fmla="*/ 29 h 55"/>
                <a:gd name="T54" fmla="*/ 1 w 74"/>
                <a:gd name="T55" fmla="*/ 35 h 55"/>
                <a:gd name="T56" fmla="*/ 9 w 74"/>
                <a:gd name="T57" fmla="*/ 38 h 55"/>
                <a:gd name="T58" fmla="*/ 12 w 74"/>
                <a:gd name="T59" fmla="*/ 40 h 55"/>
                <a:gd name="T60" fmla="*/ 20 w 74"/>
                <a:gd name="T61" fmla="*/ 46 h 55"/>
                <a:gd name="T62" fmla="*/ 21 w 74"/>
                <a:gd name="T63" fmla="*/ 49 h 55"/>
                <a:gd name="T64" fmla="*/ 30 w 74"/>
                <a:gd name="T65" fmla="*/ 53 h 55"/>
                <a:gd name="T66" fmla="*/ 34 w 74"/>
                <a:gd name="T67" fmla="*/ 53 h 55"/>
                <a:gd name="T68" fmla="*/ 38 w 74"/>
                <a:gd name="T69" fmla="*/ 53 h 55"/>
                <a:gd name="T70" fmla="*/ 38 w 74"/>
                <a:gd name="T71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" h="55">
                  <a:moveTo>
                    <a:pt x="38" y="53"/>
                  </a:moveTo>
                  <a:lnTo>
                    <a:pt x="38" y="53"/>
                  </a:lnTo>
                  <a:lnTo>
                    <a:pt x="41" y="55"/>
                  </a:lnTo>
                  <a:lnTo>
                    <a:pt x="47" y="53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46"/>
                  </a:lnTo>
                  <a:lnTo>
                    <a:pt x="49" y="42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9" y="29"/>
                  </a:lnTo>
                  <a:lnTo>
                    <a:pt x="52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70" y="22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0" y="11"/>
                  </a:lnTo>
                  <a:lnTo>
                    <a:pt x="69" y="7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8" y="2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9"/>
                  </a:lnTo>
                  <a:lnTo>
                    <a:pt x="56" y="15"/>
                  </a:lnTo>
                  <a:lnTo>
                    <a:pt x="54" y="17"/>
                  </a:lnTo>
                  <a:lnTo>
                    <a:pt x="52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1" y="15"/>
                  </a:lnTo>
                  <a:lnTo>
                    <a:pt x="38" y="11"/>
                  </a:lnTo>
                  <a:lnTo>
                    <a:pt x="32" y="9"/>
                  </a:lnTo>
                  <a:lnTo>
                    <a:pt x="29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14" y="9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9" y="18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5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35"/>
                  </a:lnTo>
                  <a:lnTo>
                    <a:pt x="5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2" y="40"/>
                  </a:lnTo>
                  <a:lnTo>
                    <a:pt x="16" y="44"/>
                  </a:lnTo>
                  <a:lnTo>
                    <a:pt x="20" y="46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9" y="51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4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2" name="Freeform 44">
              <a:extLst>
                <a:ext uri="{FF2B5EF4-FFF2-40B4-BE49-F238E27FC236}">
                  <a16:creationId xmlns:a16="http://schemas.microsoft.com/office/drawing/2014/main" id="{6A9F113F-3B6C-CE43-B965-81CF2A427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739" y="4026863"/>
              <a:ext cx="210003" cy="210298"/>
            </a:xfrm>
            <a:custGeom>
              <a:avLst/>
              <a:gdLst>
                <a:gd name="T0" fmla="*/ 21 w 145"/>
                <a:gd name="T1" fmla="*/ 144 h 147"/>
                <a:gd name="T2" fmla="*/ 30 w 145"/>
                <a:gd name="T3" fmla="*/ 147 h 147"/>
                <a:gd name="T4" fmla="*/ 47 w 145"/>
                <a:gd name="T5" fmla="*/ 144 h 147"/>
                <a:gd name="T6" fmla="*/ 56 w 145"/>
                <a:gd name="T7" fmla="*/ 144 h 147"/>
                <a:gd name="T8" fmla="*/ 61 w 145"/>
                <a:gd name="T9" fmla="*/ 144 h 147"/>
                <a:gd name="T10" fmla="*/ 70 w 145"/>
                <a:gd name="T11" fmla="*/ 144 h 147"/>
                <a:gd name="T12" fmla="*/ 72 w 145"/>
                <a:gd name="T13" fmla="*/ 138 h 147"/>
                <a:gd name="T14" fmla="*/ 80 w 145"/>
                <a:gd name="T15" fmla="*/ 133 h 147"/>
                <a:gd name="T16" fmla="*/ 83 w 145"/>
                <a:gd name="T17" fmla="*/ 131 h 147"/>
                <a:gd name="T18" fmla="*/ 83 w 145"/>
                <a:gd name="T19" fmla="*/ 120 h 147"/>
                <a:gd name="T20" fmla="*/ 89 w 145"/>
                <a:gd name="T21" fmla="*/ 120 h 147"/>
                <a:gd name="T22" fmla="*/ 99 w 145"/>
                <a:gd name="T23" fmla="*/ 122 h 147"/>
                <a:gd name="T24" fmla="*/ 114 w 145"/>
                <a:gd name="T25" fmla="*/ 124 h 147"/>
                <a:gd name="T26" fmla="*/ 119 w 145"/>
                <a:gd name="T27" fmla="*/ 129 h 147"/>
                <a:gd name="T28" fmla="*/ 125 w 145"/>
                <a:gd name="T29" fmla="*/ 135 h 147"/>
                <a:gd name="T30" fmla="*/ 136 w 145"/>
                <a:gd name="T31" fmla="*/ 144 h 147"/>
                <a:gd name="T32" fmla="*/ 138 w 145"/>
                <a:gd name="T33" fmla="*/ 144 h 147"/>
                <a:gd name="T34" fmla="*/ 143 w 145"/>
                <a:gd name="T35" fmla="*/ 135 h 147"/>
                <a:gd name="T36" fmla="*/ 143 w 145"/>
                <a:gd name="T37" fmla="*/ 126 h 147"/>
                <a:gd name="T38" fmla="*/ 141 w 145"/>
                <a:gd name="T39" fmla="*/ 115 h 147"/>
                <a:gd name="T40" fmla="*/ 138 w 145"/>
                <a:gd name="T41" fmla="*/ 107 h 147"/>
                <a:gd name="T42" fmla="*/ 134 w 145"/>
                <a:gd name="T43" fmla="*/ 102 h 147"/>
                <a:gd name="T44" fmla="*/ 127 w 145"/>
                <a:gd name="T45" fmla="*/ 89 h 147"/>
                <a:gd name="T46" fmla="*/ 116 w 145"/>
                <a:gd name="T47" fmla="*/ 78 h 147"/>
                <a:gd name="T48" fmla="*/ 118 w 145"/>
                <a:gd name="T49" fmla="*/ 62 h 147"/>
                <a:gd name="T50" fmla="*/ 116 w 145"/>
                <a:gd name="T51" fmla="*/ 58 h 147"/>
                <a:gd name="T52" fmla="*/ 103 w 145"/>
                <a:gd name="T53" fmla="*/ 46 h 147"/>
                <a:gd name="T54" fmla="*/ 98 w 145"/>
                <a:gd name="T55" fmla="*/ 31 h 147"/>
                <a:gd name="T56" fmla="*/ 92 w 145"/>
                <a:gd name="T57" fmla="*/ 24 h 147"/>
                <a:gd name="T58" fmla="*/ 89 w 145"/>
                <a:gd name="T59" fmla="*/ 22 h 147"/>
                <a:gd name="T60" fmla="*/ 89 w 145"/>
                <a:gd name="T61" fmla="*/ 7 h 147"/>
                <a:gd name="T62" fmla="*/ 83 w 145"/>
                <a:gd name="T63" fmla="*/ 4 h 147"/>
                <a:gd name="T64" fmla="*/ 72 w 145"/>
                <a:gd name="T65" fmla="*/ 0 h 147"/>
                <a:gd name="T66" fmla="*/ 70 w 145"/>
                <a:gd name="T67" fmla="*/ 0 h 147"/>
                <a:gd name="T68" fmla="*/ 69 w 145"/>
                <a:gd name="T69" fmla="*/ 11 h 147"/>
                <a:gd name="T70" fmla="*/ 60 w 145"/>
                <a:gd name="T71" fmla="*/ 11 h 147"/>
                <a:gd name="T72" fmla="*/ 47 w 145"/>
                <a:gd name="T73" fmla="*/ 24 h 147"/>
                <a:gd name="T74" fmla="*/ 43 w 145"/>
                <a:gd name="T75" fmla="*/ 27 h 147"/>
                <a:gd name="T76" fmla="*/ 43 w 145"/>
                <a:gd name="T77" fmla="*/ 31 h 147"/>
                <a:gd name="T78" fmla="*/ 36 w 145"/>
                <a:gd name="T79" fmla="*/ 31 h 147"/>
                <a:gd name="T80" fmla="*/ 36 w 145"/>
                <a:gd name="T81" fmla="*/ 38 h 147"/>
                <a:gd name="T82" fmla="*/ 41 w 145"/>
                <a:gd name="T83" fmla="*/ 42 h 147"/>
                <a:gd name="T84" fmla="*/ 36 w 145"/>
                <a:gd name="T85" fmla="*/ 47 h 147"/>
                <a:gd name="T86" fmla="*/ 30 w 145"/>
                <a:gd name="T87" fmla="*/ 55 h 147"/>
                <a:gd name="T88" fmla="*/ 29 w 145"/>
                <a:gd name="T89" fmla="*/ 66 h 147"/>
                <a:gd name="T90" fmla="*/ 23 w 145"/>
                <a:gd name="T91" fmla="*/ 71 h 147"/>
                <a:gd name="T92" fmla="*/ 16 w 145"/>
                <a:gd name="T93" fmla="*/ 78 h 147"/>
                <a:gd name="T94" fmla="*/ 14 w 145"/>
                <a:gd name="T95" fmla="*/ 89 h 147"/>
                <a:gd name="T96" fmla="*/ 0 w 145"/>
                <a:gd name="T97" fmla="*/ 93 h 147"/>
                <a:gd name="T98" fmla="*/ 0 w 145"/>
                <a:gd name="T99" fmla="*/ 95 h 147"/>
                <a:gd name="T100" fmla="*/ 1 w 145"/>
                <a:gd name="T101" fmla="*/ 107 h 147"/>
                <a:gd name="T102" fmla="*/ 1 w 145"/>
                <a:gd name="T103" fmla="*/ 115 h 147"/>
                <a:gd name="T104" fmla="*/ 5 w 145"/>
                <a:gd name="T105" fmla="*/ 120 h 147"/>
                <a:gd name="T106" fmla="*/ 10 w 145"/>
                <a:gd name="T107" fmla="*/ 127 h 147"/>
                <a:gd name="T108" fmla="*/ 9 w 145"/>
                <a:gd name="T109" fmla="*/ 129 h 147"/>
                <a:gd name="T110" fmla="*/ 16 w 145"/>
                <a:gd name="T111" fmla="*/ 135 h 147"/>
                <a:gd name="T112" fmla="*/ 18 w 145"/>
                <a:gd name="T113" fmla="*/ 13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5" h="147">
                  <a:moveTo>
                    <a:pt x="18" y="138"/>
                  </a:moveTo>
                  <a:lnTo>
                    <a:pt x="18" y="138"/>
                  </a:lnTo>
                  <a:lnTo>
                    <a:pt x="21" y="144"/>
                  </a:lnTo>
                  <a:lnTo>
                    <a:pt x="27" y="146"/>
                  </a:lnTo>
                  <a:lnTo>
                    <a:pt x="27" y="146"/>
                  </a:lnTo>
                  <a:lnTo>
                    <a:pt x="30" y="147"/>
                  </a:lnTo>
                  <a:lnTo>
                    <a:pt x="34" y="147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50" y="144"/>
                  </a:lnTo>
                  <a:lnTo>
                    <a:pt x="54" y="144"/>
                  </a:lnTo>
                  <a:lnTo>
                    <a:pt x="56" y="144"/>
                  </a:lnTo>
                  <a:lnTo>
                    <a:pt x="60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70" y="144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4" y="135"/>
                  </a:lnTo>
                  <a:lnTo>
                    <a:pt x="76" y="135"/>
                  </a:lnTo>
                  <a:lnTo>
                    <a:pt x="80" y="133"/>
                  </a:lnTo>
                  <a:lnTo>
                    <a:pt x="81" y="131"/>
                  </a:lnTo>
                  <a:lnTo>
                    <a:pt x="81" y="131"/>
                  </a:lnTo>
                  <a:lnTo>
                    <a:pt x="83" y="131"/>
                  </a:lnTo>
                  <a:lnTo>
                    <a:pt x="83" y="129"/>
                  </a:lnTo>
                  <a:lnTo>
                    <a:pt x="83" y="126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20"/>
                  </a:lnTo>
                  <a:lnTo>
                    <a:pt x="89" y="120"/>
                  </a:lnTo>
                  <a:lnTo>
                    <a:pt x="94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107" y="122"/>
                  </a:lnTo>
                  <a:lnTo>
                    <a:pt x="110" y="12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8" y="126"/>
                  </a:lnTo>
                  <a:lnTo>
                    <a:pt x="119" y="129"/>
                  </a:lnTo>
                  <a:lnTo>
                    <a:pt x="123" y="131"/>
                  </a:lnTo>
                  <a:lnTo>
                    <a:pt x="125" y="135"/>
                  </a:lnTo>
                  <a:lnTo>
                    <a:pt x="125" y="135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3" y="135"/>
                  </a:lnTo>
                  <a:lnTo>
                    <a:pt x="145" y="131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5" y="117"/>
                  </a:lnTo>
                  <a:lnTo>
                    <a:pt x="145" y="117"/>
                  </a:lnTo>
                  <a:lnTo>
                    <a:pt x="141" y="115"/>
                  </a:lnTo>
                  <a:lnTo>
                    <a:pt x="139" y="111"/>
                  </a:lnTo>
                  <a:lnTo>
                    <a:pt x="139" y="111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4" y="106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2" y="95"/>
                  </a:lnTo>
                  <a:lnTo>
                    <a:pt x="127" y="89"/>
                  </a:lnTo>
                  <a:lnTo>
                    <a:pt x="127" y="89"/>
                  </a:lnTo>
                  <a:lnTo>
                    <a:pt x="123" y="82"/>
                  </a:lnTo>
                  <a:lnTo>
                    <a:pt x="116" y="78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03" y="46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8" y="31"/>
                  </a:lnTo>
                  <a:lnTo>
                    <a:pt x="96" y="27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9" y="22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89" y="7"/>
                  </a:lnTo>
                  <a:lnTo>
                    <a:pt x="85" y="7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78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6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0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3" y="27"/>
                  </a:lnTo>
                  <a:lnTo>
                    <a:pt x="43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36" y="31"/>
                  </a:lnTo>
                  <a:lnTo>
                    <a:pt x="36" y="33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40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36" y="47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0" y="55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9" y="66"/>
                  </a:lnTo>
                  <a:lnTo>
                    <a:pt x="27" y="69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0" y="73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4" y="82"/>
                  </a:lnTo>
                  <a:lnTo>
                    <a:pt x="14" y="86"/>
                  </a:lnTo>
                  <a:lnTo>
                    <a:pt x="14" y="89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102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5" y="120"/>
                  </a:lnTo>
                  <a:lnTo>
                    <a:pt x="7" y="122"/>
                  </a:lnTo>
                  <a:lnTo>
                    <a:pt x="10" y="126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9" y="129"/>
                  </a:lnTo>
                  <a:lnTo>
                    <a:pt x="9" y="129"/>
                  </a:lnTo>
                  <a:lnTo>
                    <a:pt x="14" y="131"/>
                  </a:lnTo>
                  <a:lnTo>
                    <a:pt x="16" y="133"/>
                  </a:lnTo>
                  <a:lnTo>
                    <a:pt x="16" y="135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3" name="Freeform 45">
              <a:extLst>
                <a:ext uri="{FF2B5EF4-FFF2-40B4-BE49-F238E27FC236}">
                  <a16:creationId xmlns:a16="http://schemas.microsoft.com/office/drawing/2014/main" id="{49D1DB5B-CBFD-2344-BEE2-F3C8A96C7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807" y="3876650"/>
              <a:ext cx="159313" cy="194562"/>
            </a:xfrm>
            <a:custGeom>
              <a:avLst/>
              <a:gdLst>
                <a:gd name="T0" fmla="*/ 18 w 110"/>
                <a:gd name="T1" fmla="*/ 69 h 136"/>
                <a:gd name="T2" fmla="*/ 31 w 110"/>
                <a:gd name="T3" fmla="*/ 73 h 136"/>
                <a:gd name="T4" fmla="*/ 36 w 110"/>
                <a:gd name="T5" fmla="*/ 83 h 136"/>
                <a:gd name="T6" fmla="*/ 40 w 110"/>
                <a:gd name="T7" fmla="*/ 89 h 136"/>
                <a:gd name="T8" fmla="*/ 49 w 110"/>
                <a:gd name="T9" fmla="*/ 92 h 136"/>
                <a:gd name="T10" fmla="*/ 67 w 110"/>
                <a:gd name="T11" fmla="*/ 102 h 136"/>
                <a:gd name="T12" fmla="*/ 76 w 110"/>
                <a:gd name="T13" fmla="*/ 109 h 136"/>
                <a:gd name="T14" fmla="*/ 81 w 110"/>
                <a:gd name="T15" fmla="*/ 116 h 136"/>
                <a:gd name="T16" fmla="*/ 83 w 110"/>
                <a:gd name="T17" fmla="*/ 136 h 136"/>
                <a:gd name="T18" fmla="*/ 87 w 110"/>
                <a:gd name="T19" fmla="*/ 129 h 136"/>
                <a:gd name="T20" fmla="*/ 96 w 110"/>
                <a:gd name="T21" fmla="*/ 116 h 136"/>
                <a:gd name="T22" fmla="*/ 103 w 110"/>
                <a:gd name="T23" fmla="*/ 116 h 136"/>
                <a:gd name="T24" fmla="*/ 109 w 110"/>
                <a:gd name="T25" fmla="*/ 116 h 136"/>
                <a:gd name="T26" fmla="*/ 110 w 110"/>
                <a:gd name="T27" fmla="*/ 105 h 136"/>
                <a:gd name="T28" fmla="*/ 103 w 110"/>
                <a:gd name="T29" fmla="*/ 103 h 136"/>
                <a:gd name="T30" fmla="*/ 100 w 110"/>
                <a:gd name="T31" fmla="*/ 94 h 136"/>
                <a:gd name="T32" fmla="*/ 100 w 110"/>
                <a:gd name="T33" fmla="*/ 89 h 136"/>
                <a:gd name="T34" fmla="*/ 96 w 110"/>
                <a:gd name="T35" fmla="*/ 83 h 136"/>
                <a:gd name="T36" fmla="*/ 94 w 110"/>
                <a:gd name="T37" fmla="*/ 74 h 136"/>
                <a:gd name="T38" fmla="*/ 89 w 110"/>
                <a:gd name="T39" fmla="*/ 54 h 136"/>
                <a:gd name="T40" fmla="*/ 89 w 110"/>
                <a:gd name="T41" fmla="*/ 43 h 136"/>
                <a:gd name="T42" fmla="*/ 87 w 110"/>
                <a:gd name="T43" fmla="*/ 38 h 136"/>
                <a:gd name="T44" fmla="*/ 76 w 110"/>
                <a:gd name="T45" fmla="*/ 29 h 136"/>
                <a:gd name="T46" fmla="*/ 76 w 110"/>
                <a:gd name="T47" fmla="*/ 23 h 136"/>
                <a:gd name="T48" fmla="*/ 78 w 110"/>
                <a:gd name="T49" fmla="*/ 20 h 136"/>
                <a:gd name="T50" fmla="*/ 67 w 110"/>
                <a:gd name="T51" fmla="*/ 7 h 136"/>
                <a:gd name="T52" fmla="*/ 60 w 110"/>
                <a:gd name="T53" fmla="*/ 7 h 136"/>
                <a:gd name="T54" fmla="*/ 56 w 110"/>
                <a:gd name="T55" fmla="*/ 7 h 136"/>
                <a:gd name="T56" fmla="*/ 54 w 110"/>
                <a:gd name="T57" fmla="*/ 3 h 136"/>
                <a:gd name="T58" fmla="*/ 52 w 110"/>
                <a:gd name="T59" fmla="*/ 3 h 136"/>
                <a:gd name="T60" fmla="*/ 45 w 110"/>
                <a:gd name="T61" fmla="*/ 5 h 136"/>
                <a:gd name="T62" fmla="*/ 36 w 110"/>
                <a:gd name="T63" fmla="*/ 0 h 136"/>
                <a:gd name="T64" fmla="*/ 32 w 110"/>
                <a:gd name="T65" fmla="*/ 0 h 136"/>
                <a:gd name="T66" fmla="*/ 32 w 110"/>
                <a:gd name="T67" fmla="*/ 5 h 136"/>
                <a:gd name="T68" fmla="*/ 31 w 110"/>
                <a:gd name="T69" fmla="*/ 9 h 136"/>
                <a:gd name="T70" fmla="*/ 21 w 110"/>
                <a:gd name="T71" fmla="*/ 7 h 136"/>
                <a:gd name="T72" fmla="*/ 14 w 110"/>
                <a:gd name="T73" fmla="*/ 11 h 136"/>
                <a:gd name="T74" fmla="*/ 11 w 110"/>
                <a:gd name="T75" fmla="*/ 16 h 136"/>
                <a:gd name="T76" fmla="*/ 3 w 110"/>
                <a:gd name="T77" fmla="*/ 16 h 136"/>
                <a:gd name="T78" fmla="*/ 3 w 110"/>
                <a:gd name="T79" fmla="*/ 22 h 136"/>
                <a:gd name="T80" fmla="*/ 9 w 110"/>
                <a:gd name="T81" fmla="*/ 31 h 136"/>
                <a:gd name="T82" fmla="*/ 9 w 110"/>
                <a:gd name="T83" fmla="*/ 34 h 136"/>
                <a:gd name="T84" fmla="*/ 16 w 110"/>
                <a:gd name="T85" fmla="*/ 43 h 136"/>
                <a:gd name="T86" fmla="*/ 12 w 110"/>
                <a:gd name="T87" fmla="*/ 51 h 136"/>
                <a:gd name="T88" fmla="*/ 12 w 110"/>
                <a:gd name="T89" fmla="*/ 54 h 136"/>
                <a:gd name="T90" fmla="*/ 12 w 110"/>
                <a:gd name="T91" fmla="*/ 60 h 136"/>
                <a:gd name="T92" fmla="*/ 11 w 110"/>
                <a:gd name="T93" fmla="*/ 62 h 136"/>
                <a:gd name="T94" fmla="*/ 12 w 110"/>
                <a:gd name="T95" fmla="*/ 6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0" h="136">
                  <a:moveTo>
                    <a:pt x="12" y="69"/>
                  </a:moveTo>
                  <a:lnTo>
                    <a:pt x="12" y="69"/>
                  </a:lnTo>
                  <a:lnTo>
                    <a:pt x="18" y="69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31" y="73"/>
                  </a:lnTo>
                  <a:lnTo>
                    <a:pt x="32" y="74"/>
                  </a:lnTo>
                  <a:lnTo>
                    <a:pt x="34" y="80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7"/>
                  </a:lnTo>
                  <a:lnTo>
                    <a:pt x="40" y="89"/>
                  </a:lnTo>
                  <a:lnTo>
                    <a:pt x="45" y="91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54" y="92"/>
                  </a:lnTo>
                  <a:lnTo>
                    <a:pt x="60" y="96"/>
                  </a:lnTo>
                  <a:lnTo>
                    <a:pt x="67" y="102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6" y="109"/>
                  </a:lnTo>
                  <a:lnTo>
                    <a:pt x="80" y="112"/>
                  </a:lnTo>
                  <a:lnTo>
                    <a:pt x="81" y="116"/>
                  </a:lnTo>
                  <a:lnTo>
                    <a:pt x="81" y="116"/>
                  </a:lnTo>
                  <a:lnTo>
                    <a:pt x="81" y="134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7" y="129"/>
                  </a:lnTo>
                  <a:lnTo>
                    <a:pt x="87" y="129"/>
                  </a:lnTo>
                  <a:lnTo>
                    <a:pt x="87" y="129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3" y="116"/>
                  </a:lnTo>
                  <a:lnTo>
                    <a:pt x="105" y="116"/>
                  </a:lnTo>
                  <a:lnTo>
                    <a:pt x="109" y="116"/>
                  </a:lnTo>
                  <a:lnTo>
                    <a:pt x="109" y="116"/>
                  </a:lnTo>
                  <a:lnTo>
                    <a:pt x="110" y="111"/>
                  </a:lnTo>
                  <a:lnTo>
                    <a:pt x="110" y="105"/>
                  </a:lnTo>
                  <a:lnTo>
                    <a:pt x="110" y="105"/>
                  </a:lnTo>
                  <a:lnTo>
                    <a:pt x="109" y="105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1" y="102"/>
                  </a:lnTo>
                  <a:lnTo>
                    <a:pt x="101" y="100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100" y="89"/>
                  </a:lnTo>
                  <a:lnTo>
                    <a:pt x="96" y="83"/>
                  </a:lnTo>
                  <a:lnTo>
                    <a:pt x="94" y="82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4" y="69"/>
                  </a:lnTo>
                  <a:lnTo>
                    <a:pt x="92" y="63"/>
                  </a:lnTo>
                  <a:lnTo>
                    <a:pt x="89" y="54"/>
                  </a:lnTo>
                  <a:lnTo>
                    <a:pt x="89" y="54"/>
                  </a:lnTo>
                  <a:lnTo>
                    <a:pt x="89" y="47"/>
                  </a:lnTo>
                  <a:lnTo>
                    <a:pt x="89" y="43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78" y="33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4" y="27"/>
                  </a:lnTo>
                  <a:lnTo>
                    <a:pt x="76" y="23"/>
                  </a:lnTo>
                  <a:lnTo>
                    <a:pt x="76" y="22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6" y="16"/>
                  </a:lnTo>
                  <a:lnTo>
                    <a:pt x="72" y="11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3" y="7"/>
                  </a:lnTo>
                  <a:lnTo>
                    <a:pt x="60" y="7"/>
                  </a:lnTo>
                  <a:lnTo>
                    <a:pt x="58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49" y="7"/>
                  </a:lnTo>
                  <a:lnTo>
                    <a:pt x="47" y="7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5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27" y="9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2" y="13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3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7" y="29"/>
                  </a:lnTo>
                  <a:lnTo>
                    <a:pt x="9" y="31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12" y="38"/>
                  </a:lnTo>
                  <a:lnTo>
                    <a:pt x="16" y="40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7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8"/>
                  </a:lnTo>
                  <a:lnTo>
                    <a:pt x="12" y="60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3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4" name="Freeform 46">
              <a:extLst>
                <a:ext uri="{FF2B5EF4-FFF2-40B4-BE49-F238E27FC236}">
                  <a16:creationId xmlns:a16="http://schemas.microsoft.com/office/drawing/2014/main" id="{6130EAEF-CA9A-804C-A77A-4B0CD0E86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876" y="3965347"/>
              <a:ext cx="136140" cy="194562"/>
            </a:xfrm>
            <a:custGeom>
              <a:avLst/>
              <a:gdLst>
                <a:gd name="T0" fmla="*/ 71 w 94"/>
                <a:gd name="T1" fmla="*/ 116 h 136"/>
                <a:gd name="T2" fmla="*/ 78 w 94"/>
                <a:gd name="T3" fmla="*/ 112 h 136"/>
                <a:gd name="T4" fmla="*/ 81 w 94"/>
                <a:gd name="T5" fmla="*/ 105 h 136"/>
                <a:gd name="T6" fmla="*/ 83 w 94"/>
                <a:gd name="T7" fmla="*/ 92 h 136"/>
                <a:gd name="T8" fmla="*/ 92 w 94"/>
                <a:gd name="T9" fmla="*/ 89 h 136"/>
                <a:gd name="T10" fmla="*/ 89 w 94"/>
                <a:gd name="T11" fmla="*/ 83 h 136"/>
                <a:gd name="T12" fmla="*/ 87 w 94"/>
                <a:gd name="T13" fmla="*/ 76 h 136"/>
                <a:gd name="T14" fmla="*/ 92 w 94"/>
                <a:gd name="T15" fmla="*/ 74 h 136"/>
                <a:gd name="T16" fmla="*/ 92 w 94"/>
                <a:gd name="T17" fmla="*/ 72 h 136"/>
                <a:gd name="T18" fmla="*/ 91 w 94"/>
                <a:gd name="T19" fmla="*/ 50 h 136"/>
                <a:gd name="T20" fmla="*/ 81 w 94"/>
                <a:gd name="T21" fmla="*/ 43 h 136"/>
                <a:gd name="T22" fmla="*/ 65 w 94"/>
                <a:gd name="T23" fmla="*/ 30 h 136"/>
                <a:gd name="T24" fmla="*/ 56 w 94"/>
                <a:gd name="T25" fmla="*/ 29 h 136"/>
                <a:gd name="T26" fmla="*/ 47 w 94"/>
                <a:gd name="T27" fmla="*/ 21 h 136"/>
                <a:gd name="T28" fmla="*/ 43 w 94"/>
                <a:gd name="T29" fmla="*/ 12 h 136"/>
                <a:gd name="T30" fmla="*/ 38 w 94"/>
                <a:gd name="T31" fmla="*/ 11 h 136"/>
                <a:gd name="T32" fmla="*/ 23 w 94"/>
                <a:gd name="T33" fmla="*/ 1 h 136"/>
                <a:gd name="T34" fmla="*/ 20 w 94"/>
                <a:gd name="T35" fmla="*/ 1 h 136"/>
                <a:gd name="T36" fmla="*/ 18 w 94"/>
                <a:gd name="T37" fmla="*/ 7 h 136"/>
                <a:gd name="T38" fmla="*/ 7 w 94"/>
                <a:gd name="T39" fmla="*/ 7 h 136"/>
                <a:gd name="T40" fmla="*/ 3 w 94"/>
                <a:gd name="T41" fmla="*/ 11 h 136"/>
                <a:gd name="T42" fmla="*/ 0 w 94"/>
                <a:gd name="T43" fmla="*/ 20 h 136"/>
                <a:gd name="T44" fmla="*/ 2 w 94"/>
                <a:gd name="T45" fmla="*/ 25 h 136"/>
                <a:gd name="T46" fmla="*/ 7 w 94"/>
                <a:gd name="T47" fmla="*/ 27 h 136"/>
                <a:gd name="T48" fmla="*/ 14 w 94"/>
                <a:gd name="T49" fmla="*/ 34 h 136"/>
                <a:gd name="T50" fmla="*/ 11 w 94"/>
                <a:gd name="T51" fmla="*/ 45 h 136"/>
                <a:gd name="T52" fmla="*/ 14 w 94"/>
                <a:gd name="T53" fmla="*/ 50 h 136"/>
                <a:gd name="T54" fmla="*/ 18 w 94"/>
                <a:gd name="T55" fmla="*/ 56 h 136"/>
                <a:gd name="T56" fmla="*/ 31 w 94"/>
                <a:gd name="T57" fmla="*/ 67 h 136"/>
                <a:gd name="T58" fmla="*/ 40 w 94"/>
                <a:gd name="T59" fmla="*/ 69 h 136"/>
                <a:gd name="T60" fmla="*/ 40 w 94"/>
                <a:gd name="T61" fmla="*/ 74 h 136"/>
                <a:gd name="T62" fmla="*/ 36 w 94"/>
                <a:gd name="T63" fmla="*/ 83 h 136"/>
                <a:gd name="T64" fmla="*/ 31 w 94"/>
                <a:gd name="T65" fmla="*/ 85 h 136"/>
                <a:gd name="T66" fmla="*/ 31 w 94"/>
                <a:gd name="T67" fmla="*/ 98 h 136"/>
                <a:gd name="T68" fmla="*/ 32 w 94"/>
                <a:gd name="T69" fmla="*/ 105 h 136"/>
                <a:gd name="T70" fmla="*/ 38 w 94"/>
                <a:gd name="T71" fmla="*/ 105 h 136"/>
                <a:gd name="T72" fmla="*/ 42 w 94"/>
                <a:gd name="T73" fmla="*/ 105 h 136"/>
                <a:gd name="T74" fmla="*/ 42 w 94"/>
                <a:gd name="T75" fmla="*/ 112 h 136"/>
                <a:gd name="T76" fmla="*/ 43 w 94"/>
                <a:gd name="T77" fmla="*/ 114 h 136"/>
                <a:gd name="T78" fmla="*/ 45 w 94"/>
                <a:gd name="T79" fmla="*/ 121 h 136"/>
                <a:gd name="T80" fmla="*/ 45 w 94"/>
                <a:gd name="T81" fmla="*/ 130 h 136"/>
                <a:gd name="T82" fmla="*/ 49 w 94"/>
                <a:gd name="T83" fmla="*/ 134 h 136"/>
                <a:gd name="T84" fmla="*/ 51 w 94"/>
                <a:gd name="T85" fmla="*/ 136 h 136"/>
                <a:gd name="T86" fmla="*/ 65 w 94"/>
                <a:gd name="T87" fmla="*/ 132 h 136"/>
                <a:gd name="T88" fmla="*/ 67 w 94"/>
                <a:gd name="T89" fmla="*/ 121 h 136"/>
                <a:gd name="T90" fmla="*/ 67 w 94"/>
                <a:gd name="T91" fmla="*/ 12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136">
                  <a:moveTo>
                    <a:pt x="67" y="121"/>
                  </a:moveTo>
                  <a:lnTo>
                    <a:pt x="67" y="121"/>
                  </a:lnTo>
                  <a:lnTo>
                    <a:pt x="71" y="116"/>
                  </a:lnTo>
                  <a:lnTo>
                    <a:pt x="74" y="114"/>
                  </a:lnTo>
                  <a:lnTo>
                    <a:pt x="74" y="114"/>
                  </a:lnTo>
                  <a:lnTo>
                    <a:pt x="78" y="112"/>
                  </a:lnTo>
                  <a:lnTo>
                    <a:pt x="80" y="109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98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7" y="90"/>
                  </a:lnTo>
                  <a:lnTo>
                    <a:pt x="92" y="89"/>
                  </a:lnTo>
                  <a:lnTo>
                    <a:pt x="92" y="89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89" y="83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76"/>
                  </a:lnTo>
                  <a:lnTo>
                    <a:pt x="87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4" y="74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1" y="50"/>
                  </a:lnTo>
                  <a:lnTo>
                    <a:pt x="87" y="47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78" y="40"/>
                  </a:lnTo>
                  <a:lnTo>
                    <a:pt x="71" y="34"/>
                  </a:lnTo>
                  <a:lnTo>
                    <a:pt x="65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6" y="29"/>
                  </a:lnTo>
                  <a:lnTo>
                    <a:pt x="51" y="27"/>
                  </a:lnTo>
                  <a:lnTo>
                    <a:pt x="49" y="25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5" y="18"/>
                  </a:lnTo>
                  <a:lnTo>
                    <a:pt x="43" y="12"/>
                  </a:lnTo>
                  <a:lnTo>
                    <a:pt x="42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29" y="7"/>
                  </a:lnTo>
                  <a:lnTo>
                    <a:pt x="23" y="7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1"/>
                  </a:lnTo>
                  <a:lnTo>
                    <a:pt x="20" y="3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1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3" y="11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11" y="30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4" y="47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4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23" y="61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8" y="67"/>
                  </a:lnTo>
                  <a:lnTo>
                    <a:pt x="40" y="69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4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6" y="83"/>
                  </a:lnTo>
                  <a:lnTo>
                    <a:pt x="32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92"/>
                  </a:lnTo>
                  <a:lnTo>
                    <a:pt x="31" y="98"/>
                  </a:lnTo>
                  <a:lnTo>
                    <a:pt x="31" y="98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0" y="103"/>
                  </a:lnTo>
                  <a:lnTo>
                    <a:pt x="42" y="105"/>
                  </a:lnTo>
                  <a:lnTo>
                    <a:pt x="42" y="105"/>
                  </a:lnTo>
                  <a:lnTo>
                    <a:pt x="42" y="107"/>
                  </a:lnTo>
                  <a:lnTo>
                    <a:pt x="42" y="109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43" y="114"/>
                  </a:lnTo>
                  <a:lnTo>
                    <a:pt x="43" y="116"/>
                  </a:lnTo>
                  <a:lnTo>
                    <a:pt x="45" y="116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7"/>
                  </a:lnTo>
                  <a:lnTo>
                    <a:pt x="45" y="130"/>
                  </a:lnTo>
                  <a:lnTo>
                    <a:pt x="45" y="132"/>
                  </a:lnTo>
                  <a:lnTo>
                    <a:pt x="45" y="132"/>
                  </a:lnTo>
                  <a:lnTo>
                    <a:pt x="49" y="134"/>
                  </a:lnTo>
                  <a:lnTo>
                    <a:pt x="49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61" y="134"/>
                  </a:lnTo>
                  <a:lnTo>
                    <a:pt x="61" y="134"/>
                  </a:lnTo>
                  <a:lnTo>
                    <a:pt x="65" y="132"/>
                  </a:lnTo>
                  <a:lnTo>
                    <a:pt x="65" y="129"/>
                  </a:lnTo>
                  <a:lnTo>
                    <a:pt x="65" y="125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5" name="Freeform 47">
              <a:extLst>
                <a:ext uri="{FF2B5EF4-FFF2-40B4-BE49-F238E27FC236}">
                  <a16:creationId xmlns:a16="http://schemas.microsoft.com/office/drawing/2014/main" id="{29EF959B-E748-584C-9C1A-88A29B04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183" y="4510405"/>
              <a:ext cx="120209" cy="111587"/>
            </a:xfrm>
            <a:custGeom>
              <a:avLst/>
              <a:gdLst>
                <a:gd name="T0" fmla="*/ 64 w 83"/>
                <a:gd name="T1" fmla="*/ 67 h 78"/>
                <a:gd name="T2" fmla="*/ 65 w 83"/>
                <a:gd name="T3" fmla="*/ 62 h 78"/>
                <a:gd name="T4" fmla="*/ 67 w 83"/>
                <a:gd name="T5" fmla="*/ 58 h 78"/>
                <a:gd name="T6" fmla="*/ 64 w 83"/>
                <a:gd name="T7" fmla="*/ 49 h 78"/>
                <a:gd name="T8" fmla="*/ 64 w 83"/>
                <a:gd name="T9" fmla="*/ 44 h 78"/>
                <a:gd name="T10" fmla="*/ 67 w 83"/>
                <a:gd name="T11" fmla="*/ 42 h 78"/>
                <a:gd name="T12" fmla="*/ 80 w 83"/>
                <a:gd name="T13" fmla="*/ 44 h 78"/>
                <a:gd name="T14" fmla="*/ 82 w 83"/>
                <a:gd name="T15" fmla="*/ 42 h 78"/>
                <a:gd name="T16" fmla="*/ 82 w 83"/>
                <a:gd name="T17" fmla="*/ 40 h 78"/>
                <a:gd name="T18" fmla="*/ 78 w 83"/>
                <a:gd name="T19" fmla="*/ 38 h 78"/>
                <a:gd name="T20" fmla="*/ 74 w 83"/>
                <a:gd name="T21" fmla="*/ 37 h 78"/>
                <a:gd name="T22" fmla="*/ 74 w 83"/>
                <a:gd name="T23" fmla="*/ 29 h 78"/>
                <a:gd name="T24" fmla="*/ 73 w 83"/>
                <a:gd name="T25" fmla="*/ 24 h 78"/>
                <a:gd name="T26" fmla="*/ 73 w 83"/>
                <a:gd name="T27" fmla="*/ 24 h 78"/>
                <a:gd name="T28" fmla="*/ 71 w 83"/>
                <a:gd name="T29" fmla="*/ 20 h 78"/>
                <a:gd name="T30" fmla="*/ 67 w 83"/>
                <a:gd name="T31" fmla="*/ 13 h 78"/>
                <a:gd name="T32" fmla="*/ 58 w 83"/>
                <a:gd name="T33" fmla="*/ 13 h 78"/>
                <a:gd name="T34" fmla="*/ 58 w 83"/>
                <a:gd name="T35" fmla="*/ 18 h 78"/>
                <a:gd name="T36" fmla="*/ 56 w 83"/>
                <a:gd name="T37" fmla="*/ 20 h 78"/>
                <a:gd name="T38" fmla="*/ 54 w 83"/>
                <a:gd name="T39" fmla="*/ 20 h 78"/>
                <a:gd name="T40" fmla="*/ 40 w 83"/>
                <a:gd name="T41" fmla="*/ 20 h 78"/>
                <a:gd name="T42" fmla="*/ 40 w 83"/>
                <a:gd name="T43" fmla="*/ 18 h 78"/>
                <a:gd name="T44" fmla="*/ 34 w 83"/>
                <a:gd name="T45" fmla="*/ 4 h 78"/>
                <a:gd name="T46" fmla="*/ 33 w 83"/>
                <a:gd name="T47" fmla="*/ 0 h 78"/>
                <a:gd name="T48" fmla="*/ 29 w 83"/>
                <a:gd name="T49" fmla="*/ 4 h 78"/>
                <a:gd name="T50" fmla="*/ 20 w 83"/>
                <a:gd name="T51" fmla="*/ 6 h 78"/>
                <a:gd name="T52" fmla="*/ 14 w 83"/>
                <a:gd name="T53" fmla="*/ 6 h 78"/>
                <a:gd name="T54" fmla="*/ 0 w 83"/>
                <a:gd name="T55" fmla="*/ 15 h 78"/>
                <a:gd name="T56" fmla="*/ 2 w 83"/>
                <a:gd name="T57" fmla="*/ 20 h 78"/>
                <a:gd name="T58" fmla="*/ 2 w 83"/>
                <a:gd name="T59" fmla="*/ 24 h 78"/>
                <a:gd name="T60" fmla="*/ 11 w 83"/>
                <a:gd name="T61" fmla="*/ 38 h 78"/>
                <a:gd name="T62" fmla="*/ 11 w 83"/>
                <a:gd name="T63" fmla="*/ 42 h 78"/>
                <a:gd name="T64" fmla="*/ 11 w 83"/>
                <a:gd name="T65" fmla="*/ 49 h 78"/>
                <a:gd name="T66" fmla="*/ 13 w 83"/>
                <a:gd name="T67" fmla="*/ 55 h 78"/>
                <a:gd name="T68" fmla="*/ 22 w 83"/>
                <a:gd name="T69" fmla="*/ 66 h 78"/>
                <a:gd name="T70" fmla="*/ 24 w 83"/>
                <a:gd name="T71" fmla="*/ 67 h 78"/>
                <a:gd name="T72" fmla="*/ 33 w 83"/>
                <a:gd name="T73" fmla="*/ 76 h 78"/>
                <a:gd name="T74" fmla="*/ 34 w 83"/>
                <a:gd name="T75" fmla="*/ 78 h 78"/>
                <a:gd name="T76" fmla="*/ 42 w 83"/>
                <a:gd name="T77" fmla="*/ 69 h 78"/>
                <a:gd name="T78" fmla="*/ 51 w 83"/>
                <a:gd name="T79" fmla="*/ 67 h 78"/>
                <a:gd name="T80" fmla="*/ 64 w 83"/>
                <a:gd name="T81" fmla="*/ 67 h 78"/>
                <a:gd name="T82" fmla="*/ 64 w 83"/>
                <a:gd name="T83" fmla="*/ 67 h 78"/>
                <a:gd name="T84" fmla="*/ 64 w 83"/>
                <a:gd name="T85" fmla="*/ 6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78">
                  <a:moveTo>
                    <a:pt x="64" y="67"/>
                  </a:moveTo>
                  <a:lnTo>
                    <a:pt x="64" y="67"/>
                  </a:lnTo>
                  <a:lnTo>
                    <a:pt x="64" y="64"/>
                  </a:lnTo>
                  <a:lnTo>
                    <a:pt x="65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5" y="55"/>
                  </a:lnTo>
                  <a:lnTo>
                    <a:pt x="64" y="49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7" y="42"/>
                  </a:lnTo>
                  <a:lnTo>
                    <a:pt x="74" y="44"/>
                  </a:lnTo>
                  <a:lnTo>
                    <a:pt x="80" y="44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3" y="42"/>
                  </a:lnTo>
                  <a:lnTo>
                    <a:pt x="82" y="40"/>
                  </a:lnTo>
                  <a:lnTo>
                    <a:pt x="82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4" y="37"/>
                  </a:lnTo>
                  <a:lnTo>
                    <a:pt x="74" y="35"/>
                  </a:lnTo>
                  <a:lnTo>
                    <a:pt x="74" y="29"/>
                  </a:lnTo>
                  <a:lnTo>
                    <a:pt x="74" y="26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1" y="22"/>
                  </a:lnTo>
                  <a:lnTo>
                    <a:pt x="71" y="20"/>
                  </a:lnTo>
                  <a:lnTo>
                    <a:pt x="73" y="18"/>
                  </a:lnTo>
                  <a:lnTo>
                    <a:pt x="67" y="13"/>
                  </a:lnTo>
                  <a:lnTo>
                    <a:pt x="62" y="15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6" y="7"/>
                  </a:lnTo>
                  <a:lnTo>
                    <a:pt x="34" y="4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4" y="6"/>
                  </a:lnTo>
                  <a:lnTo>
                    <a:pt x="11" y="7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9" y="33"/>
                  </a:lnTo>
                  <a:lnTo>
                    <a:pt x="11" y="38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7"/>
                  </a:lnTo>
                  <a:lnTo>
                    <a:pt x="11" y="49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8" y="62"/>
                  </a:lnTo>
                  <a:lnTo>
                    <a:pt x="22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9" y="69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42" y="69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6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6" name="Freeform 48">
              <a:extLst>
                <a:ext uri="{FF2B5EF4-FFF2-40B4-BE49-F238E27FC236}">
                  <a16:creationId xmlns:a16="http://schemas.microsoft.com/office/drawing/2014/main" id="{D5CD5D71-E738-2945-8F99-B23F8DA06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78" y="4211409"/>
              <a:ext cx="291108" cy="320454"/>
            </a:xfrm>
            <a:custGeom>
              <a:avLst/>
              <a:gdLst>
                <a:gd name="T0" fmla="*/ 3 w 201"/>
                <a:gd name="T1" fmla="*/ 71 h 224"/>
                <a:gd name="T2" fmla="*/ 14 w 201"/>
                <a:gd name="T3" fmla="*/ 75 h 224"/>
                <a:gd name="T4" fmla="*/ 31 w 201"/>
                <a:gd name="T5" fmla="*/ 97 h 224"/>
                <a:gd name="T6" fmla="*/ 23 w 201"/>
                <a:gd name="T7" fmla="*/ 104 h 224"/>
                <a:gd name="T8" fmla="*/ 16 w 201"/>
                <a:gd name="T9" fmla="*/ 118 h 224"/>
                <a:gd name="T10" fmla="*/ 27 w 201"/>
                <a:gd name="T11" fmla="*/ 131 h 224"/>
                <a:gd name="T12" fmla="*/ 31 w 201"/>
                <a:gd name="T13" fmla="*/ 140 h 224"/>
                <a:gd name="T14" fmla="*/ 27 w 201"/>
                <a:gd name="T15" fmla="*/ 147 h 224"/>
                <a:gd name="T16" fmla="*/ 29 w 201"/>
                <a:gd name="T17" fmla="*/ 164 h 224"/>
                <a:gd name="T18" fmla="*/ 52 w 201"/>
                <a:gd name="T19" fmla="*/ 166 h 224"/>
                <a:gd name="T20" fmla="*/ 74 w 201"/>
                <a:gd name="T21" fmla="*/ 175 h 224"/>
                <a:gd name="T22" fmla="*/ 85 w 201"/>
                <a:gd name="T23" fmla="*/ 189 h 224"/>
                <a:gd name="T24" fmla="*/ 92 w 201"/>
                <a:gd name="T25" fmla="*/ 216 h 224"/>
                <a:gd name="T26" fmla="*/ 109 w 201"/>
                <a:gd name="T27" fmla="*/ 216 h 224"/>
                <a:gd name="T28" fmla="*/ 134 w 201"/>
                <a:gd name="T29" fmla="*/ 209 h 224"/>
                <a:gd name="T30" fmla="*/ 160 w 201"/>
                <a:gd name="T31" fmla="*/ 189 h 224"/>
                <a:gd name="T32" fmla="*/ 156 w 201"/>
                <a:gd name="T33" fmla="*/ 184 h 224"/>
                <a:gd name="T34" fmla="*/ 141 w 201"/>
                <a:gd name="T35" fmla="*/ 186 h 224"/>
                <a:gd name="T36" fmla="*/ 140 w 201"/>
                <a:gd name="T37" fmla="*/ 167 h 224"/>
                <a:gd name="T38" fmla="*/ 132 w 201"/>
                <a:gd name="T39" fmla="*/ 153 h 224"/>
                <a:gd name="T40" fmla="*/ 131 w 201"/>
                <a:gd name="T41" fmla="*/ 144 h 224"/>
                <a:gd name="T42" fmla="*/ 138 w 201"/>
                <a:gd name="T43" fmla="*/ 122 h 224"/>
                <a:gd name="T44" fmla="*/ 131 w 201"/>
                <a:gd name="T45" fmla="*/ 107 h 224"/>
                <a:gd name="T46" fmla="*/ 132 w 201"/>
                <a:gd name="T47" fmla="*/ 106 h 224"/>
                <a:gd name="T48" fmla="*/ 138 w 201"/>
                <a:gd name="T49" fmla="*/ 100 h 224"/>
                <a:gd name="T50" fmla="*/ 145 w 201"/>
                <a:gd name="T51" fmla="*/ 97 h 224"/>
                <a:gd name="T52" fmla="*/ 160 w 201"/>
                <a:gd name="T53" fmla="*/ 104 h 224"/>
                <a:gd name="T54" fmla="*/ 181 w 201"/>
                <a:gd name="T55" fmla="*/ 91 h 224"/>
                <a:gd name="T56" fmla="*/ 178 w 201"/>
                <a:gd name="T57" fmla="*/ 80 h 224"/>
                <a:gd name="T58" fmla="*/ 180 w 201"/>
                <a:gd name="T59" fmla="*/ 62 h 224"/>
                <a:gd name="T60" fmla="*/ 201 w 201"/>
                <a:gd name="T61" fmla="*/ 46 h 224"/>
                <a:gd name="T62" fmla="*/ 200 w 201"/>
                <a:gd name="T63" fmla="*/ 15 h 224"/>
                <a:gd name="T64" fmla="*/ 187 w 201"/>
                <a:gd name="T65" fmla="*/ 15 h 224"/>
                <a:gd name="T66" fmla="*/ 167 w 201"/>
                <a:gd name="T67" fmla="*/ 17 h 224"/>
                <a:gd name="T68" fmla="*/ 156 w 201"/>
                <a:gd name="T69" fmla="*/ 4 h 224"/>
                <a:gd name="T70" fmla="*/ 141 w 201"/>
                <a:gd name="T71" fmla="*/ 2 h 224"/>
                <a:gd name="T72" fmla="*/ 134 w 201"/>
                <a:gd name="T73" fmla="*/ 13 h 224"/>
                <a:gd name="T74" fmla="*/ 114 w 201"/>
                <a:gd name="T75" fmla="*/ 17 h 224"/>
                <a:gd name="T76" fmla="*/ 120 w 201"/>
                <a:gd name="T77" fmla="*/ 20 h 224"/>
                <a:gd name="T78" fmla="*/ 107 w 201"/>
                <a:gd name="T79" fmla="*/ 18 h 224"/>
                <a:gd name="T80" fmla="*/ 98 w 201"/>
                <a:gd name="T81" fmla="*/ 29 h 224"/>
                <a:gd name="T82" fmla="*/ 92 w 201"/>
                <a:gd name="T83" fmla="*/ 35 h 224"/>
                <a:gd name="T84" fmla="*/ 92 w 201"/>
                <a:gd name="T85" fmla="*/ 42 h 224"/>
                <a:gd name="T86" fmla="*/ 87 w 201"/>
                <a:gd name="T87" fmla="*/ 42 h 224"/>
                <a:gd name="T88" fmla="*/ 69 w 201"/>
                <a:gd name="T89" fmla="*/ 47 h 224"/>
                <a:gd name="T90" fmla="*/ 54 w 201"/>
                <a:gd name="T91" fmla="*/ 33 h 224"/>
                <a:gd name="T92" fmla="*/ 42 w 201"/>
                <a:gd name="T93" fmla="*/ 22 h 224"/>
                <a:gd name="T94" fmla="*/ 31 w 201"/>
                <a:gd name="T95" fmla="*/ 18 h 224"/>
                <a:gd name="T96" fmla="*/ 14 w 201"/>
                <a:gd name="T97" fmla="*/ 20 h 224"/>
                <a:gd name="T98" fmla="*/ 3 w 201"/>
                <a:gd name="T99" fmla="*/ 29 h 224"/>
                <a:gd name="T100" fmla="*/ 23 w 201"/>
                <a:gd name="T101" fmla="*/ 46 h 224"/>
                <a:gd name="T102" fmla="*/ 27 w 201"/>
                <a:gd name="T103" fmla="*/ 60 h 224"/>
                <a:gd name="T104" fmla="*/ 5 w 201"/>
                <a:gd name="T105" fmla="*/ 49 h 224"/>
                <a:gd name="T106" fmla="*/ 0 w 201"/>
                <a:gd name="T107" fmla="*/ 6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1" h="224">
                  <a:moveTo>
                    <a:pt x="0" y="64"/>
                  </a:moveTo>
                  <a:lnTo>
                    <a:pt x="0" y="64"/>
                  </a:lnTo>
                  <a:lnTo>
                    <a:pt x="0" y="66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7" y="75"/>
                  </a:lnTo>
                  <a:lnTo>
                    <a:pt x="11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23" y="80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91"/>
                  </a:lnTo>
                  <a:lnTo>
                    <a:pt x="31" y="97"/>
                  </a:lnTo>
                  <a:lnTo>
                    <a:pt x="29" y="98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3" y="102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2" y="10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6" y="118"/>
                  </a:lnTo>
                  <a:lnTo>
                    <a:pt x="16" y="120"/>
                  </a:lnTo>
                  <a:lnTo>
                    <a:pt x="18" y="124"/>
                  </a:lnTo>
                  <a:lnTo>
                    <a:pt x="23" y="129"/>
                  </a:lnTo>
                  <a:lnTo>
                    <a:pt x="23" y="129"/>
                  </a:lnTo>
                  <a:lnTo>
                    <a:pt x="27" y="131"/>
                  </a:lnTo>
                  <a:lnTo>
                    <a:pt x="29" y="136"/>
                  </a:lnTo>
                  <a:lnTo>
                    <a:pt x="31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31" y="140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7" y="146"/>
                  </a:lnTo>
                  <a:lnTo>
                    <a:pt x="27" y="147"/>
                  </a:lnTo>
                  <a:lnTo>
                    <a:pt x="27" y="149"/>
                  </a:lnTo>
                  <a:lnTo>
                    <a:pt x="27" y="149"/>
                  </a:lnTo>
                  <a:lnTo>
                    <a:pt x="27" y="155"/>
                  </a:lnTo>
                  <a:lnTo>
                    <a:pt x="27" y="160"/>
                  </a:lnTo>
                  <a:lnTo>
                    <a:pt x="29" y="164"/>
                  </a:lnTo>
                  <a:lnTo>
                    <a:pt x="29" y="164"/>
                  </a:lnTo>
                  <a:lnTo>
                    <a:pt x="34" y="166"/>
                  </a:lnTo>
                  <a:lnTo>
                    <a:pt x="36" y="167"/>
                  </a:lnTo>
                  <a:lnTo>
                    <a:pt x="45" y="162"/>
                  </a:lnTo>
                  <a:lnTo>
                    <a:pt x="52" y="166"/>
                  </a:lnTo>
                  <a:lnTo>
                    <a:pt x="60" y="169"/>
                  </a:lnTo>
                  <a:lnTo>
                    <a:pt x="69" y="160"/>
                  </a:lnTo>
                  <a:lnTo>
                    <a:pt x="69" y="160"/>
                  </a:lnTo>
                  <a:lnTo>
                    <a:pt x="71" y="164"/>
                  </a:lnTo>
                  <a:lnTo>
                    <a:pt x="74" y="175"/>
                  </a:lnTo>
                  <a:lnTo>
                    <a:pt x="74" y="175"/>
                  </a:lnTo>
                  <a:lnTo>
                    <a:pt x="76" y="180"/>
                  </a:lnTo>
                  <a:lnTo>
                    <a:pt x="80" y="184"/>
                  </a:lnTo>
                  <a:lnTo>
                    <a:pt x="85" y="189"/>
                  </a:lnTo>
                  <a:lnTo>
                    <a:pt x="85" y="189"/>
                  </a:lnTo>
                  <a:lnTo>
                    <a:pt x="85" y="202"/>
                  </a:lnTo>
                  <a:lnTo>
                    <a:pt x="89" y="207"/>
                  </a:lnTo>
                  <a:lnTo>
                    <a:pt x="89" y="213"/>
                  </a:lnTo>
                  <a:lnTo>
                    <a:pt x="89" y="213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8" y="216"/>
                  </a:lnTo>
                  <a:lnTo>
                    <a:pt x="103" y="216"/>
                  </a:lnTo>
                  <a:lnTo>
                    <a:pt x="103" y="224"/>
                  </a:lnTo>
                  <a:lnTo>
                    <a:pt x="109" y="216"/>
                  </a:lnTo>
                  <a:lnTo>
                    <a:pt x="114" y="209"/>
                  </a:lnTo>
                  <a:lnTo>
                    <a:pt x="127" y="207"/>
                  </a:lnTo>
                  <a:lnTo>
                    <a:pt x="127" y="207"/>
                  </a:lnTo>
                  <a:lnTo>
                    <a:pt x="134" y="209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8" y="206"/>
                  </a:lnTo>
                  <a:lnTo>
                    <a:pt x="149" y="202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61" y="189"/>
                  </a:lnTo>
                  <a:lnTo>
                    <a:pt x="161" y="186"/>
                  </a:lnTo>
                  <a:lnTo>
                    <a:pt x="160" y="184"/>
                  </a:lnTo>
                  <a:lnTo>
                    <a:pt x="160" y="184"/>
                  </a:lnTo>
                  <a:lnTo>
                    <a:pt x="156" y="184"/>
                  </a:lnTo>
                  <a:lnTo>
                    <a:pt x="150" y="186"/>
                  </a:lnTo>
                  <a:lnTo>
                    <a:pt x="150" y="186"/>
                  </a:lnTo>
                  <a:lnTo>
                    <a:pt x="147" y="186"/>
                  </a:lnTo>
                  <a:lnTo>
                    <a:pt x="145" y="186"/>
                  </a:lnTo>
                  <a:lnTo>
                    <a:pt x="141" y="186"/>
                  </a:lnTo>
                  <a:lnTo>
                    <a:pt x="140" y="182"/>
                  </a:lnTo>
                  <a:lnTo>
                    <a:pt x="141" y="171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0" y="167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3"/>
                  </a:lnTo>
                  <a:lnTo>
                    <a:pt x="132" y="149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1" y="147"/>
                  </a:lnTo>
                  <a:lnTo>
                    <a:pt x="131" y="144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6" y="133"/>
                  </a:lnTo>
                  <a:lnTo>
                    <a:pt x="138" y="129"/>
                  </a:lnTo>
                  <a:lnTo>
                    <a:pt x="138" y="122"/>
                  </a:lnTo>
                  <a:lnTo>
                    <a:pt x="138" y="122"/>
                  </a:lnTo>
                  <a:lnTo>
                    <a:pt x="134" y="117"/>
                  </a:lnTo>
                  <a:lnTo>
                    <a:pt x="132" y="111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29" y="107"/>
                  </a:lnTo>
                  <a:lnTo>
                    <a:pt x="129" y="107"/>
                  </a:lnTo>
                  <a:lnTo>
                    <a:pt x="131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6" y="100"/>
                  </a:lnTo>
                  <a:lnTo>
                    <a:pt x="136" y="100"/>
                  </a:lnTo>
                  <a:lnTo>
                    <a:pt x="138" y="100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1" y="102"/>
                  </a:lnTo>
                  <a:lnTo>
                    <a:pt x="141" y="100"/>
                  </a:lnTo>
                  <a:lnTo>
                    <a:pt x="145" y="97"/>
                  </a:lnTo>
                  <a:lnTo>
                    <a:pt x="145" y="97"/>
                  </a:lnTo>
                  <a:lnTo>
                    <a:pt x="149" y="98"/>
                  </a:lnTo>
                  <a:lnTo>
                    <a:pt x="152" y="100"/>
                  </a:lnTo>
                  <a:lnTo>
                    <a:pt x="152" y="100"/>
                  </a:lnTo>
                  <a:lnTo>
                    <a:pt x="160" y="104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1" y="91"/>
                  </a:lnTo>
                  <a:lnTo>
                    <a:pt x="181" y="89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78" y="75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80" y="62"/>
                  </a:lnTo>
                  <a:lnTo>
                    <a:pt x="187" y="58"/>
                  </a:lnTo>
                  <a:lnTo>
                    <a:pt x="200" y="49"/>
                  </a:lnTo>
                  <a:lnTo>
                    <a:pt x="200" y="49"/>
                  </a:lnTo>
                  <a:lnTo>
                    <a:pt x="201" y="49"/>
                  </a:lnTo>
                  <a:lnTo>
                    <a:pt x="201" y="46"/>
                  </a:lnTo>
                  <a:lnTo>
                    <a:pt x="201" y="40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0"/>
                  </a:lnTo>
                  <a:lnTo>
                    <a:pt x="200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4" y="15"/>
                  </a:lnTo>
                  <a:lnTo>
                    <a:pt x="190" y="15"/>
                  </a:lnTo>
                  <a:lnTo>
                    <a:pt x="187" y="15"/>
                  </a:lnTo>
                  <a:lnTo>
                    <a:pt x="187" y="15"/>
                  </a:lnTo>
                  <a:lnTo>
                    <a:pt x="174" y="18"/>
                  </a:lnTo>
                  <a:lnTo>
                    <a:pt x="170" y="18"/>
                  </a:lnTo>
                  <a:lnTo>
                    <a:pt x="167" y="17"/>
                  </a:lnTo>
                  <a:lnTo>
                    <a:pt x="167" y="17"/>
                  </a:lnTo>
                  <a:lnTo>
                    <a:pt x="161" y="15"/>
                  </a:lnTo>
                  <a:lnTo>
                    <a:pt x="158" y="9"/>
                  </a:lnTo>
                  <a:lnTo>
                    <a:pt x="158" y="9"/>
                  </a:lnTo>
                  <a:lnTo>
                    <a:pt x="156" y="6"/>
                  </a:lnTo>
                  <a:lnTo>
                    <a:pt x="156" y="4"/>
                  </a:lnTo>
                  <a:lnTo>
                    <a:pt x="154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5" y="2"/>
                  </a:lnTo>
                  <a:lnTo>
                    <a:pt x="141" y="2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38" y="9"/>
                  </a:lnTo>
                  <a:lnTo>
                    <a:pt x="138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27" y="9"/>
                  </a:lnTo>
                  <a:lnTo>
                    <a:pt x="120" y="6"/>
                  </a:lnTo>
                  <a:lnTo>
                    <a:pt x="114" y="17"/>
                  </a:lnTo>
                  <a:lnTo>
                    <a:pt x="114" y="17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16" y="22"/>
                  </a:lnTo>
                  <a:lnTo>
                    <a:pt x="114" y="20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07" y="18"/>
                  </a:lnTo>
                  <a:lnTo>
                    <a:pt x="103" y="20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8" y="26"/>
                  </a:lnTo>
                  <a:lnTo>
                    <a:pt x="98" y="29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4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3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2" y="46"/>
                  </a:lnTo>
                  <a:lnTo>
                    <a:pt x="69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3" y="40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1" y="26"/>
                  </a:lnTo>
                  <a:lnTo>
                    <a:pt x="51" y="24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2" y="22"/>
                  </a:lnTo>
                  <a:lnTo>
                    <a:pt x="38" y="24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1" y="18"/>
                  </a:lnTo>
                  <a:lnTo>
                    <a:pt x="29" y="1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16" y="18"/>
                  </a:lnTo>
                  <a:lnTo>
                    <a:pt x="14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4"/>
                  </a:lnTo>
                  <a:lnTo>
                    <a:pt x="7" y="26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9" y="37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23" y="46"/>
                  </a:lnTo>
                  <a:lnTo>
                    <a:pt x="27" y="51"/>
                  </a:lnTo>
                  <a:lnTo>
                    <a:pt x="29" y="57"/>
                  </a:lnTo>
                  <a:lnTo>
                    <a:pt x="29" y="58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3" y="60"/>
                  </a:lnTo>
                  <a:lnTo>
                    <a:pt x="18" y="60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5" y="49"/>
                  </a:lnTo>
                  <a:lnTo>
                    <a:pt x="5" y="6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7" name="Freeform 49">
              <a:extLst>
                <a:ext uri="{FF2B5EF4-FFF2-40B4-BE49-F238E27FC236}">
                  <a16:creationId xmlns:a16="http://schemas.microsoft.com/office/drawing/2014/main" id="{991678F2-522C-FD4F-889A-0CCCC7786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425" y="4606254"/>
              <a:ext cx="108622" cy="85836"/>
            </a:xfrm>
            <a:custGeom>
              <a:avLst/>
              <a:gdLst>
                <a:gd name="T0" fmla="*/ 60 w 75"/>
                <a:gd name="T1" fmla="*/ 60 h 60"/>
                <a:gd name="T2" fmla="*/ 64 w 75"/>
                <a:gd name="T3" fmla="*/ 59 h 60"/>
                <a:gd name="T4" fmla="*/ 66 w 75"/>
                <a:gd name="T5" fmla="*/ 51 h 60"/>
                <a:gd name="T6" fmla="*/ 66 w 75"/>
                <a:gd name="T7" fmla="*/ 46 h 60"/>
                <a:gd name="T8" fmla="*/ 71 w 75"/>
                <a:gd name="T9" fmla="*/ 42 h 60"/>
                <a:gd name="T10" fmla="*/ 75 w 75"/>
                <a:gd name="T11" fmla="*/ 40 h 60"/>
                <a:gd name="T12" fmla="*/ 75 w 75"/>
                <a:gd name="T13" fmla="*/ 40 h 60"/>
                <a:gd name="T14" fmla="*/ 75 w 75"/>
                <a:gd name="T15" fmla="*/ 39 h 60"/>
                <a:gd name="T16" fmla="*/ 69 w 75"/>
                <a:gd name="T17" fmla="*/ 31 h 60"/>
                <a:gd name="T18" fmla="*/ 68 w 75"/>
                <a:gd name="T19" fmla="*/ 28 h 60"/>
                <a:gd name="T20" fmla="*/ 57 w 75"/>
                <a:gd name="T21" fmla="*/ 24 h 60"/>
                <a:gd name="T22" fmla="*/ 51 w 75"/>
                <a:gd name="T23" fmla="*/ 22 h 60"/>
                <a:gd name="T24" fmla="*/ 48 w 75"/>
                <a:gd name="T25" fmla="*/ 8 h 60"/>
                <a:gd name="T26" fmla="*/ 46 w 75"/>
                <a:gd name="T27" fmla="*/ 4 h 60"/>
                <a:gd name="T28" fmla="*/ 31 w 75"/>
                <a:gd name="T29" fmla="*/ 0 h 60"/>
                <a:gd name="T30" fmla="*/ 30 w 75"/>
                <a:gd name="T31" fmla="*/ 0 h 60"/>
                <a:gd name="T32" fmla="*/ 30 w 75"/>
                <a:gd name="T33" fmla="*/ 0 h 60"/>
                <a:gd name="T34" fmla="*/ 17 w 75"/>
                <a:gd name="T35" fmla="*/ 0 h 60"/>
                <a:gd name="T36" fmla="*/ 8 w 75"/>
                <a:gd name="T37" fmla="*/ 2 h 60"/>
                <a:gd name="T38" fmla="*/ 0 w 75"/>
                <a:gd name="T39" fmla="*/ 11 h 60"/>
                <a:gd name="T40" fmla="*/ 2 w 75"/>
                <a:gd name="T41" fmla="*/ 17 h 60"/>
                <a:gd name="T42" fmla="*/ 2 w 75"/>
                <a:gd name="T43" fmla="*/ 19 h 60"/>
                <a:gd name="T44" fmla="*/ 6 w 75"/>
                <a:gd name="T45" fmla="*/ 20 h 60"/>
                <a:gd name="T46" fmla="*/ 8 w 75"/>
                <a:gd name="T47" fmla="*/ 28 h 60"/>
                <a:gd name="T48" fmla="*/ 8 w 75"/>
                <a:gd name="T49" fmla="*/ 37 h 60"/>
                <a:gd name="T50" fmla="*/ 10 w 75"/>
                <a:gd name="T51" fmla="*/ 49 h 60"/>
                <a:gd name="T52" fmla="*/ 15 w 75"/>
                <a:gd name="T53" fmla="*/ 53 h 60"/>
                <a:gd name="T54" fmla="*/ 24 w 75"/>
                <a:gd name="T55" fmla="*/ 51 h 60"/>
                <a:gd name="T56" fmla="*/ 37 w 75"/>
                <a:gd name="T57" fmla="*/ 49 h 60"/>
                <a:gd name="T58" fmla="*/ 42 w 75"/>
                <a:gd name="T59" fmla="*/ 51 h 60"/>
                <a:gd name="T60" fmla="*/ 51 w 75"/>
                <a:gd name="T61" fmla="*/ 57 h 60"/>
                <a:gd name="T62" fmla="*/ 60 w 75"/>
                <a:gd name="T63" fmla="*/ 60 h 60"/>
                <a:gd name="T64" fmla="*/ 60 w 75"/>
                <a:gd name="T6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60">
                  <a:moveTo>
                    <a:pt x="60" y="60"/>
                  </a:moveTo>
                  <a:lnTo>
                    <a:pt x="60" y="60"/>
                  </a:lnTo>
                  <a:lnTo>
                    <a:pt x="62" y="60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6" y="51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8" y="44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39"/>
                  </a:lnTo>
                  <a:lnTo>
                    <a:pt x="71" y="35"/>
                  </a:lnTo>
                  <a:lnTo>
                    <a:pt x="69" y="31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0" y="28"/>
                  </a:lnTo>
                  <a:lnTo>
                    <a:pt x="57" y="24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48" y="15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6" y="4"/>
                  </a:lnTo>
                  <a:lnTo>
                    <a:pt x="42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3"/>
                  </a:lnTo>
                  <a:lnTo>
                    <a:pt x="8" y="37"/>
                  </a:lnTo>
                  <a:lnTo>
                    <a:pt x="10" y="44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24" y="51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9" y="49"/>
                  </a:lnTo>
                  <a:lnTo>
                    <a:pt x="42" y="51"/>
                  </a:lnTo>
                  <a:lnTo>
                    <a:pt x="48" y="53"/>
                  </a:lnTo>
                  <a:lnTo>
                    <a:pt x="51" y="57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8" name="Freeform 50">
              <a:extLst>
                <a:ext uri="{FF2B5EF4-FFF2-40B4-BE49-F238E27FC236}">
                  <a16:creationId xmlns:a16="http://schemas.microsoft.com/office/drawing/2014/main" id="{80CAE63A-6143-594E-9CEF-35D19F76F9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78" y="4440305"/>
              <a:ext cx="289660" cy="296133"/>
            </a:xfrm>
            <a:custGeom>
              <a:avLst/>
              <a:gdLst>
                <a:gd name="T0" fmla="*/ 145 w 200"/>
                <a:gd name="T1" fmla="*/ 147 h 207"/>
                <a:gd name="T2" fmla="*/ 147 w 200"/>
                <a:gd name="T3" fmla="*/ 131 h 207"/>
                <a:gd name="T4" fmla="*/ 160 w 200"/>
                <a:gd name="T5" fmla="*/ 136 h 207"/>
                <a:gd name="T6" fmla="*/ 163 w 200"/>
                <a:gd name="T7" fmla="*/ 135 h 207"/>
                <a:gd name="T8" fmla="*/ 172 w 200"/>
                <a:gd name="T9" fmla="*/ 135 h 207"/>
                <a:gd name="T10" fmla="*/ 174 w 200"/>
                <a:gd name="T11" fmla="*/ 133 h 207"/>
                <a:gd name="T12" fmla="*/ 180 w 200"/>
                <a:gd name="T13" fmla="*/ 125 h 207"/>
                <a:gd name="T14" fmla="*/ 174 w 200"/>
                <a:gd name="T15" fmla="*/ 116 h 207"/>
                <a:gd name="T16" fmla="*/ 181 w 200"/>
                <a:gd name="T17" fmla="*/ 91 h 207"/>
                <a:gd name="T18" fmla="*/ 192 w 200"/>
                <a:gd name="T19" fmla="*/ 91 h 207"/>
                <a:gd name="T20" fmla="*/ 200 w 200"/>
                <a:gd name="T21" fmla="*/ 89 h 207"/>
                <a:gd name="T22" fmla="*/ 185 w 200"/>
                <a:gd name="T23" fmla="*/ 87 h 207"/>
                <a:gd name="T24" fmla="*/ 176 w 200"/>
                <a:gd name="T25" fmla="*/ 78 h 207"/>
                <a:gd name="T26" fmla="*/ 183 w 200"/>
                <a:gd name="T27" fmla="*/ 49 h 207"/>
                <a:gd name="T28" fmla="*/ 187 w 200"/>
                <a:gd name="T29" fmla="*/ 47 h 207"/>
                <a:gd name="T30" fmla="*/ 181 w 200"/>
                <a:gd name="T31" fmla="*/ 40 h 207"/>
                <a:gd name="T32" fmla="*/ 180 w 200"/>
                <a:gd name="T33" fmla="*/ 20 h 207"/>
                <a:gd name="T34" fmla="*/ 174 w 200"/>
                <a:gd name="T35" fmla="*/ 18 h 207"/>
                <a:gd name="T36" fmla="*/ 165 w 200"/>
                <a:gd name="T37" fmla="*/ 20 h 207"/>
                <a:gd name="T38" fmla="*/ 161 w 200"/>
                <a:gd name="T39" fmla="*/ 15 h 207"/>
                <a:gd name="T40" fmla="*/ 165 w 200"/>
                <a:gd name="T41" fmla="*/ 6 h 207"/>
                <a:gd name="T42" fmla="*/ 161 w 200"/>
                <a:gd name="T43" fmla="*/ 4 h 207"/>
                <a:gd name="T44" fmla="*/ 154 w 200"/>
                <a:gd name="T45" fmla="*/ 11 h 207"/>
                <a:gd name="T46" fmla="*/ 149 w 200"/>
                <a:gd name="T47" fmla="*/ 13 h 207"/>
                <a:gd name="T48" fmla="*/ 141 w 200"/>
                <a:gd name="T49" fmla="*/ 6 h 207"/>
                <a:gd name="T50" fmla="*/ 132 w 200"/>
                <a:gd name="T51" fmla="*/ 6 h 207"/>
                <a:gd name="T52" fmla="*/ 123 w 200"/>
                <a:gd name="T53" fmla="*/ 6 h 207"/>
                <a:gd name="T54" fmla="*/ 112 w 200"/>
                <a:gd name="T55" fmla="*/ 26 h 207"/>
                <a:gd name="T56" fmla="*/ 121 w 200"/>
                <a:gd name="T57" fmla="*/ 26 h 207"/>
                <a:gd name="T58" fmla="*/ 132 w 200"/>
                <a:gd name="T59" fmla="*/ 26 h 207"/>
                <a:gd name="T60" fmla="*/ 120 w 200"/>
                <a:gd name="T61" fmla="*/ 42 h 207"/>
                <a:gd name="T62" fmla="*/ 105 w 200"/>
                <a:gd name="T63" fmla="*/ 49 h 207"/>
                <a:gd name="T64" fmla="*/ 74 w 200"/>
                <a:gd name="T65" fmla="*/ 64 h 207"/>
                <a:gd name="T66" fmla="*/ 63 w 200"/>
                <a:gd name="T67" fmla="*/ 56 h 207"/>
                <a:gd name="T68" fmla="*/ 60 w 200"/>
                <a:gd name="T69" fmla="*/ 47 h 207"/>
                <a:gd name="T70" fmla="*/ 51 w 200"/>
                <a:gd name="T71" fmla="*/ 24 h 207"/>
                <a:gd name="T72" fmla="*/ 42 w 200"/>
                <a:gd name="T73" fmla="*/ 4 h 207"/>
                <a:gd name="T74" fmla="*/ 16 w 200"/>
                <a:gd name="T75" fmla="*/ 2 h 207"/>
                <a:gd name="T76" fmla="*/ 0 w 200"/>
                <a:gd name="T77" fmla="*/ 4 h 207"/>
                <a:gd name="T78" fmla="*/ 5 w 200"/>
                <a:gd name="T79" fmla="*/ 7 h 207"/>
                <a:gd name="T80" fmla="*/ 14 w 200"/>
                <a:gd name="T81" fmla="*/ 20 h 207"/>
                <a:gd name="T82" fmla="*/ 22 w 200"/>
                <a:gd name="T83" fmla="*/ 27 h 207"/>
                <a:gd name="T84" fmla="*/ 31 w 200"/>
                <a:gd name="T85" fmla="*/ 33 h 207"/>
                <a:gd name="T86" fmla="*/ 47 w 200"/>
                <a:gd name="T87" fmla="*/ 42 h 207"/>
                <a:gd name="T88" fmla="*/ 60 w 200"/>
                <a:gd name="T89" fmla="*/ 71 h 207"/>
                <a:gd name="T90" fmla="*/ 56 w 200"/>
                <a:gd name="T91" fmla="*/ 87 h 207"/>
                <a:gd name="T92" fmla="*/ 58 w 200"/>
                <a:gd name="T93" fmla="*/ 109 h 207"/>
                <a:gd name="T94" fmla="*/ 71 w 200"/>
                <a:gd name="T95" fmla="*/ 151 h 207"/>
                <a:gd name="T96" fmla="*/ 69 w 200"/>
                <a:gd name="T97" fmla="*/ 158 h 207"/>
                <a:gd name="T98" fmla="*/ 83 w 200"/>
                <a:gd name="T99" fmla="*/ 178 h 207"/>
                <a:gd name="T100" fmla="*/ 96 w 200"/>
                <a:gd name="T101" fmla="*/ 200 h 207"/>
                <a:gd name="T102" fmla="*/ 103 w 200"/>
                <a:gd name="T103" fmla="*/ 207 h 207"/>
                <a:gd name="T104" fmla="*/ 120 w 200"/>
                <a:gd name="T105" fmla="*/ 200 h 207"/>
                <a:gd name="T106" fmla="*/ 141 w 200"/>
                <a:gd name="T107" fmla="*/ 17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0" h="207">
                  <a:moveTo>
                    <a:pt x="141" y="178"/>
                  </a:moveTo>
                  <a:lnTo>
                    <a:pt x="127" y="169"/>
                  </a:lnTo>
                  <a:lnTo>
                    <a:pt x="152" y="156"/>
                  </a:lnTo>
                  <a:lnTo>
                    <a:pt x="145" y="147"/>
                  </a:lnTo>
                  <a:lnTo>
                    <a:pt x="147" y="144"/>
                  </a:lnTo>
                  <a:lnTo>
                    <a:pt x="143" y="131"/>
                  </a:lnTo>
                  <a:lnTo>
                    <a:pt x="143" y="131"/>
                  </a:lnTo>
                  <a:lnTo>
                    <a:pt x="147" y="131"/>
                  </a:lnTo>
                  <a:lnTo>
                    <a:pt x="151" y="131"/>
                  </a:lnTo>
                  <a:lnTo>
                    <a:pt x="154" y="135"/>
                  </a:lnTo>
                  <a:lnTo>
                    <a:pt x="154" y="135"/>
                  </a:lnTo>
                  <a:lnTo>
                    <a:pt x="160" y="136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61" y="136"/>
                  </a:lnTo>
                  <a:lnTo>
                    <a:pt x="163" y="135"/>
                  </a:lnTo>
                  <a:lnTo>
                    <a:pt x="165" y="133"/>
                  </a:lnTo>
                  <a:lnTo>
                    <a:pt x="167" y="133"/>
                  </a:lnTo>
                  <a:lnTo>
                    <a:pt x="167" y="133"/>
                  </a:lnTo>
                  <a:lnTo>
                    <a:pt x="172" y="135"/>
                  </a:lnTo>
                  <a:lnTo>
                    <a:pt x="174" y="135"/>
                  </a:lnTo>
                  <a:lnTo>
                    <a:pt x="174" y="135"/>
                  </a:lnTo>
                  <a:lnTo>
                    <a:pt x="174" y="133"/>
                  </a:lnTo>
                  <a:lnTo>
                    <a:pt x="174" y="133"/>
                  </a:lnTo>
                  <a:lnTo>
                    <a:pt x="176" y="131"/>
                  </a:lnTo>
                  <a:lnTo>
                    <a:pt x="180" y="129"/>
                  </a:lnTo>
                  <a:lnTo>
                    <a:pt x="180" y="127"/>
                  </a:lnTo>
                  <a:lnTo>
                    <a:pt x="180" y="125"/>
                  </a:lnTo>
                  <a:lnTo>
                    <a:pt x="180" y="125"/>
                  </a:lnTo>
                  <a:lnTo>
                    <a:pt x="174" y="124"/>
                  </a:lnTo>
                  <a:lnTo>
                    <a:pt x="174" y="120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6" y="104"/>
                  </a:lnTo>
                  <a:lnTo>
                    <a:pt x="180" y="95"/>
                  </a:lnTo>
                  <a:lnTo>
                    <a:pt x="181" y="91"/>
                  </a:lnTo>
                  <a:lnTo>
                    <a:pt x="181" y="91"/>
                  </a:lnTo>
                  <a:lnTo>
                    <a:pt x="183" y="91"/>
                  </a:lnTo>
                  <a:lnTo>
                    <a:pt x="189" y="91"/>
                  </a:lnTo>
                  <a:lnTo>
                    <a:pt x="192" y="91"/>
                  </a:lnTo>
                  <a:lnTo>
                    <a:pt x="196" y="91"/>
                  </a:lnTo>
                  <a:lnTo>
                    <a:pt x="196" y="91"/>
                  </a:lnTo>
                  <a:lnTo>
                    <a:pt x="200" y="91"/>
                  </a:lnTo>
                  <a:lnTo>
                    <a:pt x="200" y="89"/>
                  </a:lnTo>
                  <a:lnTo>
                    <a:pt x="200" y="87"/>
                  </a:lnTo>
                  <a:lnTo>
                    <a:pt x="196" y="87"/>
                  </a:lnTo>
                  <a:lnTo>
                    <a:pt x="196" y="87"/>
                  </a:lnTo>
                  <a:lnTo>
                    <a:pt x="185" y="87"/>
                  </a:lnTo>
                  <a:lnTo>
                    <a:pt x="180" y="86"/>
                  </a:lnTo>
                  <a:lnTo>
                    <a:pt x="180" y="84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80" y="64"/>
                  </a:lnTo>
                  <a:lnTo>
                    <a:pt x="181" y="51"/>
                  </a:lnTo>
                  <a:lnTo>
                    <a:pt x="181" y="51"/>
                  </a:lnTo>
                  <a:lnTo>
                    <a:pt x="183" y="49"/>
                  </a:lnTo>
                  <a:lnTo>
                    <a:pt x="183" y="49"/>
                  </a:lnTo>
                  <a:lnTo>
                    <a:pt x="187" y="49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6"/>
                  </a:lnTo>
                  <a:lnTo>
                    <a:pt x="185" y="46"/>
                  </a:lnTo>
                  <a:lnTo>
                    <a:pt x="183" y="44"/>
                  </a:lnTo>
                  <a:lnTo>
                    <a:pt x="181" y="40"/>
                  </a:lnTo>
                  <a:lnTo>
                    <a:pt x="181" y="40"/>
                  </a:lnTo>
                  <a:lnTo>
                    <a:pt x="180" y="26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74" y="18"/>
                  </a:lnTo>
                  <a:lnTo>
                    <a:pt x="174" y="20"/>
                  </a:lnTo>
                  <a:lnTo>
                    <a:pt x="171" y="20"/>
                  </a:lnTo>
                  <a:lnTo>
                    <a:pt x="167" y="22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1" y="18"/>
                  </a:lnTo>
                  <a:lnTo>
                    <a:pt x="161" y="15"/>
                  </a:lnTo>
                  <a:lnTo>
                    <a:pt x="163" y="13"/>
                  </a:lnTo>
                  <a:lnTo>
                    <a:pt x="163" y="13"/>
                  </a:lnTo>
                  <a:lnTo>
                    <a:pt x="165" y="9"/>
                  </a:lnTo>
                  <a:lnTo>
                    <a:pt x="165" y="6"/>
                  </a:lnTo>
                  <a:lnTo>
                    <a:pt x="165" y="4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1" y="4"/>
                  </a:lnTo>
                  <a:lnTo>
                    <a:pt x="158" y="4"/>
                  </a:lnTo>
                  <a:lnTo>
                    <a:pt x="154" y="7"/>
                  </a:lnTo>
                  <a:lnTo>
                    <a:pt x="154" y="7"/>
                  </a:lnTo>
                  <a:lnTo>
                    <a:pt x="154" y="11"/>
                  </a:lnTo>
                  <a:lnTo>
                    <a:pt x="152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49" y="13"/>
                  </a:lnTo>
                  <a:lnTo>
                    <a:pt x="147" y="9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0" y="6"/>
                  </a:lnTo>
                  <a:lnTo>
                    <a:pt x="138" y="7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27" y="6"/>
                  </a:lnTo>
                  <a:lnTo>
                    <a:pt x="125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12" y="11"/>
                  </a:lnTo>
                  <a:lnTo>
                    <a:pt x="111" y="22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6" y="26"/>
                  </a:lnTo>
                  <a:lnTo>
                    <a:pt x="118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7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2" y="26"/>
                  </a:lnTo>
                  <a:lnTo>
                    <a:pt x="132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20" y="42"/>
                  </a:lnTo>
                  <a:lnTo>
                    <a:pt x="109" y="46"/>
                  </a:lnTo>
                  <a:lnTo>
                    <a:pt x="105" y="47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98" y="47"/>
                  </a:lnTo>
                  <a:lnTo>
                    <a:pt x="85" y="49"/>
                  </a:lnTo>
                  <a:lnTo>
                    <a:pt x="80" y="56"/>
                  </a:lnTo>
                  <a:lnTo>
                    <a:pt x="74" y="64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69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47"/>
                  </a:lnTo>
                  <a:lnTo>
                    <a:pt x="56" y="42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1" y="24"/>
                  </a:lnTo>
                  <a:lnTo>
                    <a:pt x="47" y="20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2" y="4"/>
                  </a:lnTo>
                  <a:lnTo>
                    <a:pt x="40" y="0"/>
                  </a:lnTo>
                  <a:lnTo>
                    <a:pt x="31" y="9"/>
                  </a:lnTo>
                  <a:lnTo>
                    <a:pt x="23" y="6"/>
                  </a:lnTo>
                  <a:lnTo>
                    <a:pt x="16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5" y="7"/>
                  </a:lnTo>
                  <a:lnTo>
                    <a:pt x="7" y="11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4" y="20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31" y="33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7" y="36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54" y="55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5"/>
                  </a:lnTo>
                  <a:lnTo>
                    <a:pt x="60" y="78"/>
                  </a:lnTo>
                  <a:lnTo>
                    <a:pt x="56" y="84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8"/>
                  </a:lnTo>
                  <a:lnTo>
                    <a:pt x="58" y="109"/>
                  </a:lnTo>
                  <a:lnTo>
                    <a:pt x="58" y="109"/>
                  </a:lnTo>
                  <a:lnTo>
                    <a:pt x="71" y="147"/>
                  </a:lnTo>
                  <a:lnTo>
                    <a:pt x="71" y="147"/>
                  </a:lnTo>
                  <a:lnTo>
                    <a:pt x="71" y="151"/>
                  </a:lnTo>
                  <a:lnTo>
                    <a:pt x="71" y="155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69" y="158"/>
                  </a:lnTo>
                  <a:lnTo>
                    <a:pt x="78" y="165"/>
                  </a:lnTo>
                  <a:lnTo>
                    <a:pt x="82" y="173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91" y="189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8" y="202"/>
                  </a:lnTo>
                  <a:lnTo>
                    <a:pt x="100" y="207"/>
                  </a:lnTo>
                  <a:lnTo>
                    <a:pt x="100" y="207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20" y="200"/>
                  </a:lnTo>
                  <a:lnTo>
                    <a:pt x="120" y="200"/>
                  </a:lnTo>
                  <a:lnTo>
                    <a:pt x="131" y="193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78"/>
                  </a:lnTo>
                  <a:lnTo>
                    <a:pt x="141" y="178"/>
                  </a:lnTo>
                  <a:lnTo>
                    <a:pt x="141" y="178"/>
                  </a:lnTo>
                  <a:lnTo>
                    <a:pt x="141" y="17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9" name="Freeform 51">
              <a:extLst>
                <a:ext uri="{FF2B5EF4-FFF2-40B4-BE49-F238E27FC236}">
                  <a16:creationId xmlns:a16="http://schemas.microsoft.com/office/drawing/2014/main" id="{76BD3F63-826F-3247-843D-E9B15540B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553" y="4662048"/>
              <a:ext cx="776288" cy="510724"/>
            </a:xfrm>
            <a:custGeom>
              <a:avLst/>
              <a:gdLst>
                <a:gd name="T0" fmla="*/ 520 w 536"/>
                <a:gd name="T1" fmla="*/ 308 h 357"/>
                <a:gd name="T2" fmla="*/ 502 w 536"/>
                <a:gd name="T3" fmla="*/ 276 h 357"/>
                <a:gd name="T4" fmla="*/ 480 w 536"/>
                <a:gd name="T5" fmla="*/ 270 h 357"/>
                <a:gd name="T6" fmla="*/ 462 w 536"/>
                <a:gd name="T7" fmla="*/ 268 h 357"/>
                <a:gd name="T8" fmla="*/ 458 w 536"/>
                <a:gd name="T9" fmla="*/ 254 h 357"/>
                <a:gd name="T10" fmla="*/ 456 w 536"/>
                <a:gd name="T11" fmla="*/ 247 h 357"/>
                <a:gd name="T12" fmla="*/ 456 w 536"/>
                <a:gd name="T13" fmla="*/ 230 h 357"/>
                <a:gd name="T14" fmla="*/ 471 w 536"/>
                <a:gd name="T15" fmla="*/ 223 h 357"/>
                <a:gd name="T16" fmla="*/ 458 w 536"/>
                <a:gd name="T17" fmla="*/ 208 h 357"/>
                <a:gd name="T18" fmla="*/ 480 w 536"/>
                <a:gd name="T19" fmla="*/ 192 h 357"/>
                <a:gd name="T20" fmla="*/ 485 w 536"/>
                <a:gd name="T21" fmla="*/ 172 h 357"/>
                <a:gd name="T22" fmla="*/ 507 w 536"/>
                <a:gd name="T23" fmla="*/ 150 h 357"/>
                <a:gd name="T24" fmla="*/ 496 w 536"/>
                <a:gd name="T25" fmla="*/ 139 h 357"/>
                <a:gd name="T26" fmla="*/ 500 w 536"/>
                <a:gd name="T27" fmla="*/ 127 h 357"/>
                <a:gd name="T28" fmla="*/ 536 w 536"/>
                <a:gd name="T29" fmla="*/ 123 h 357"/>
                <a:gd name="T30" fmla="*/ 527 w 536"/>
                <a:gd name="T31" fmla="*/ 99 h 357"/>
                <a:gd name="T32" fmla="*/ 504 w 536"/>
                <a:gd name="T33" fmla="*/ 69 h 357"/>
                <a:gd name="T34" fmla="*/ 487 w 536"/>
                <a:gd name="T35" fmla="*/ 85 h 357"/>
                <a:gd name="T36" fmla="*/ 471 w 536"/>
                <a:gd name="T37" fmla="*/ 103 h 357"/>
                <a:gd name="T38" fmla="*/ 451 w 536"/>
                <a:gd name="T39" fmla="*/ 119 h 357"/>
                <a:gd name="T40" fmla="*/ 427 w 536"/>
                <a:gd name="T41" fmla="*/ 127 h 357"/>
                <a:gd name="T42" fmla="*/ 415 w 536"/>
                <a:gd name="T43" fmla="*/ 130 h 357"/>
                <a:gd name="T44" fmla="*/ 396 w 536"/>
                <a:gd name="T45" fmla="*/ 109 h 357"/>
                <a:gd name="T46" fmla="*/ 382 w 536"/>
                <a:gd name="T47" fmla="*/ 114 h 357"/>
                <a:gd name="T48" fmla="*/ 369 w 536"/>
                <a:gd name="T49" fmla="*/ 96 h 357"/>
                <a:gd name="T50" fmla="*/ 375 w 536"/>
                <a:gd name="T51" fmla="*/ 69 h 357"/>
                <a:gd name="T52" fmla="*/ 400 w 536"/>
                <a:gd name="T53" fmla="*/ 21 h 357"/>
                <a:gd name="T54" fmla="*/ 396 w 536"/>
                <a:gd name="T55" fmla="*/ 7 h 357"/>
                <a:gd name="T56" fmla="*/ 387 w 536"/>
                <a:gd name="T57" fmla="*/ 0 h 357"/>
                <a:gd name="T58" fmla="*/ 360 w 536"/>
                <a:gd name="T59" fmla="*/ 16 h 357"/>
                <a:gd name="T60" fmla="*/ 329 w 536"/>
                <a:gd name="T61" fmla="*/ 27 h 357"/>
                <a:gd name="T62" fmla="*/ 291 w 536"/>
                <a:gd name="T63" fmla="*/ 56 h 357"/>
                <a:gd name="T64" fmla="*/ 267 w 536"/>
                <a:gd name="T65" fmla="*/ 58 h 357"/>
                <a:gd name="T66" fmla="*/ 249 w 536"/>
                <a:gd name="T67" fmla="*/ 74 h 357"/>
                <a:gd name="T68" fmla="*/ 235 w 536"/>
                <a:gd name="T69" fmla="*/ 72 h 357"/>
                <a:gd name="T70" fmla="*/ 224 w 536"/>
                <a:gd name="T71" fmla="*/ 79 h 357"/>
                <a:gd name="T72" fmla="*/ 209 w 536"/>
                <a:gd name="T73" fmla="*/ 85 h 357"/>
                <a:gd name="T74" fmla="*/ 198 w 536"/>
                <a:gd name="T75" fmla="*/ 79 h 357"/>
                <a:gd name="T76" fmla="*/ 184 w 536"/>
                <a:gd name="T77" fmla="*/ 83 h 357"/>
                <a:gd name="T78" fmla="*/ 158 w 536"/>
                <a:gd name="T79" fmla="*/ 87 h 357"/>
                <a:gd name="T80" fmla="*/ 144 w 536"/>
                <a:gd name="T81" fmla="*/ 79 h 357"/>
                <a:gd name="T82" fmla="*/ 111 w 536"/>
                <a:gd name="T83" fmla="*/ 76 h 357"/>
                <a:gd name="T84" fmla="*/ 89 w 536"/>
                <a:gd name="T85" fmla="*/ 78 h 357"/>
                <a:gd name="T86" fmla="*/ 66 w 536"/>
                <a:gd name="T87" fmla="*/ 74 h 357"/>
                <a:gd name="T88" fmla="*/ 46 w 536"/>
                <a:gd name="T89" fmla="*/ 67 h 357"/>
                <a:gd name="T90" fmla="*/ 24 w 536"/>
                <a:gd name="T91" fmla="*/ 69 h 357"/>
                <a:gd name="T92" fmla="*/ 30 w 536"/>
                <a:gd name="T93" fmla="*/ 109 h 357"/>
                <a:gd name="T94" fmla="*/ 102 w 536"/>
                <a:gd name="T95" fmla="*/ 176 h 357"/>
                <a:gd name="T96" fmla="*/ 120 w 536"/>
                <a:gd name="T97" fmla="*/ 241 h 357"/>
                <a:gd name="T98" fmla="*/ 195 w 536"/>
                <a:gd name="T99" fmla="*/ 221 h 357"/>
                <a:gd name="T100" fmla="*/ 237 w 536"/>
                <a:gd name="T101" fmla="*/ 219 h 357"/>
                <a:gd name="T102" fmla="*/ 277 w 536"/>
                <a:gd name="T103" fmla="*/ 243 h 357"/>
                <a:gd name="T104" fmla="*/ 346 w 536"/>
                <a:gd name="T105" fmla="*/ 312 h 357"/>
                <a:gd name="T106" fmla="*/ 360 w 536"/>
                <a:gd name="T107" fmla="*/ 330 h 357"/>
                <a:gd name="T108" fmla="*/ 376 w 536"/>
                <a:gd name="T109" fmla="*/ 356 h 357"/>
                <a:gd name="T110" fmla="*/ 404 w 536"/>
                <a:gd name="T111" fmla="*/ 352 h 357"/>
                <a:gd name="T112" fmla="*/ 438 w 536"/>
                <a:gd name="T113" fmla="*/ 348 h 357"/>
                <a:gd name="T114" fmla="*/ 471 w 536"/>
                <a:gd name="T115" fmla="*/ 350 h 357"/>
                <a:gd name="T116" fmla="*/ 500 w 536"/>
                <a:gd name="T117" fmla="*/ 356 h 357"/>
                <a:gd name="T118" fmla="*/ 516 w 536"/>
                <a:gd name="T119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36" h="357">
                  <a:moveTo>
                    <a:pt x="516" y="328"/>
                  </a:moveTo>
                  <a:lnTo>
                    <a:pt x="524" y="323"/>
                  </a:lnTo>
                  <a:lnTo>
                    <a:pt x="524" y="323"/>
                  </a:lnTo>
                  <a:lnTo>
                    <a:pt x="524" y="318"/>
                  </a:lnTo>
                  <a:lnTo>
                    <a:pt x="524" y="312"/>
                  </a:lnTo>
                  <a:lnTo>
                    <a:pt x="524" y="312"/>
                  </a:lnTo>
                  <a:lnTo>
                    <a:pt x="520" y="308"/>
                  </a:lnTo>
                  <a:lnTo>
                    <a:pt x="516" y="305"/>
                  </a:lnTo>
                  <a:lnTo>
                    <a:pt x="513" y="303"/>
                  </a:lnTo>
                  <a:lnTo>
                    <a:pt x="514" y="296"/>
                  </a:lnTo>
                  <a:lnTo>
                    <a:pt x="514" y="296"/>
                  </a:lnTo>
                  <a:lnTo>
                    <a:pt x="507" y="288"/>
                  </a:lnTo>
                  <a:lnTo>
                    <a:pt x="504" y="281"/>
                  </a:lnTo>
                  <a:lnTo>
                    <a:pt x="502" y="276"/>
                  </a:lnTo>
                  <a:lnTo>
                    <a:pt x="502" y="276"/>
                  </a:lnTo>
                  <a:lnTo>
                    <a:pt x="496" y="272"/>
                  </a:lnTo>
                  <a:lnTo>
                    <a:pt x="491" y="270"/>
                  </a:lnTo>
                  <a:lnTo>
                    <a:pt x="485" y="270"/>
                  </a:lnTo>
                  <a:lnTo>
                    <a:pt x="485" y="270"/>
                  </a:lnTo>
                  <a:lnTo>
                    <a:pt x="482" y="270"/>
                  </a:lnTo>
                  <a:lnTo>
                    <a:pt x="480" y="270"/>
                  </a:lnTo>
                  <a:lnTo>
                    <a:pt x="478" y="268"/>
                  </a:lnTo>
                  <a:lnTo>
                    <a:pt x="476" y="267"/>
                  </a:lnTo>
                  <a:lnTo>
                    <a:pt x="476" y="267"/>
                  </a:lnTo>
                  <a:lnTo>
                    <a:pt x="476" y="265"/>
                  </a:lnTo>
                  <a:lnTo>
                    <a:pt x="474" y="263"/>
                  </a:lnTo>
                  <a:lnTo>
                    <a:pt x="473" y="265"/>
                  </a:lnTo>
                  <a:lnTo>
                    <a:pt x="462" y="268"/>
                  </a:lnTo>
                  <a:lnTo>
                    <a:pt x="462" y="268"/>
                  </a:lnTo>
                  <a:lnTo>
                    <a:pt x="460" y="268"/>
                  </a:lnTo>
                  <a:lnTo>
                    <a:pt x="458" y="268"/>
                  </a:lnTo>
                  <a:lnTo>
                    <a:pt x="458" y="267"/>
                  </a:lnTo>
                  <a:lnTo>
                    <a:pt x="458" y="259"/>
                  </a:lnTo>
                  <a:lnTo>
                    <a:pt x="458" y="259"/>
                  </a:lnTo>
                  <a:lnTo>
                    <a:pt x="458" y="254"/>
                  </a:lnTo>
                  <a:lnTo>
                    <a:pt x="458" y="254"/>
                  </a:lnTo>
                  <a:lnTo>
                    <a:pt x="456" y="252"/>
                  </a:lnTo>
                  <a:lnTo>
                    <a:pt x="456" y="252"/>
                  </a:lnTo>
                  <a:lnTo>
                    <a:pt x="456" y="250"/>
                  </a:lnTo>
                  <a:lnTo>
                    <a:pt x="456" y="250"/>
                  </a:lnTo>
                  <a:lnTo>
                    <a:pt x="456" y="248"/>
                  </a:lnTo>
                  <a:lnTo>
                    <a:pt x="456" y="247"/>
                  </a:lnTo>
                  <a:lnTo>
                    <a:pt x="456" y="247"/>
                  </a:lnTo>
                  <a:lnTo>
                    <a:pt x="458" y="245"/>
                  </a:lnTo>
                  <a:lnTo>
                    <a:pt x="458" y="241"/>
                  </a:lnTo>
                  <a:lnTo>
                    <a:pt x="456" y="232"/>
                  </a:lnTo>
                  <a:lnTo>
                    <a:pt x="456" y="232"/>
                  </a:lnTo>
                  <a:lnTo>
                    <a:pt x="456" y="230"/>
                  </a:lnTo>
                  <a:lnTo>
                    <a:pt x="456" y="230"/>
                  </a:lnTo>
                  <a:lnTo>
                    <a:pt x="458" y="228"/>
                  </a:lnTo>
                  <a:lnTo>
                    <a:pt x="462" y="228"/>
                  </a:lnTo>
                  <a:lnTo>
                    <a:pt x="462" y="225"/>
                  </a:lnTo>
                  <a:lnTo>
                    <a:pt x="462" y="225"/>
                  </a:lnTo>
                  <a:lnTo>
                    <a:pt x="464" y="225"/>
                  </a:lnTo>
                  <a:lnTo>
                    <a:pt x="465" y="223"/>
                  </a:lnTo>
                  <a:lnTo>
                    <a:pt x="471" y="223"/>
                  </a:lnTo>
                  <a:lnTo>
                    <a:pt x="471" y="223"/>
                  </a:lnTo>
                  <a:lnTo>
                    <a:pt x="471" y="221"/>
                  </a:lnTo>
                  <a:lnTo>
                    <a:pt x="471" y="221"/>
                  </a:lnTo>
                  <a:lnTo>
                    <a:pt x="465" y="218"/>
                  </a:lnTo>
                  <a:lnTo>
                    <a:pt x="458" y="208"/>
                  </a:lnTo>
                  <a:lnTo>
                    <a:pt x="458" y="208"/>
                  </a:lnTo>
                  <a:lnTo>
                    <a:pt x="458" y="208"/>
                  </a:lnTo>
                  <a:lnTo>
                    <a:pt x="458" y="207"/>
                  </a:lnTo>
                  <a:lnTo>
                    <a:pt x="465" y="205"/>
                  </a:lnTo>
                  <a:lnTo>
                    <a:pt x="465" y="205"/>
                  </a:lnTo>
                  <a:lnTo>
                    <a:pt x="471" y="201"/>
                  </a:lnTo>
                  <a:lnTo>
                    <a:pt x="474" y="199"/>
                  </a:lnTo>
                  <a:lnTo>
                    <a:pt x="480" y="192"/>
                  </a:lnTo>
                  <a:lnTo>
                    <a:pt x="480" y="192"/>
                  </a:lnTo>
                  <a:lnTo>
                    <a:pt x="484" y="187"/>
                  </a:lnTo>
                  <a:lnTo>
                    <a:pt x="484" y="187"/>
                  </a:lnTo>
                  <a:lnTo>
                    <a:pt x="485" y="185"/>
                  </a:lnTo>
                  <a:lnTo>
                    <a:pt x="487" y="183"/>
                  </a:lnTo>
                  <a:lnTo>
                    <a:pt x="485" y="176"/>
                  </a:lnTo>
                  <a:lnTo>
                    <a:pt x="485" y="176"/>
                  </a:lnTo>
                  <a:lnTo>
                    <a:pt x="485" y="172"/>
                  </a:lnTo>
                  <a:lnTo>
                    <a:pt x="487" y="169"/>
                  </a:lnTo>
                  <a:lnTo>
                    <a:pt x="491" y="161"/>
                  </a:lnTo>
                  <a:lnTo>
                    <a:pt x="491" y="161"/>
                  </a:lnTo>
                  <a:lnTo>
                    <a:pt x="498" y="158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7" y="150"/>
                  </a:lnTo>
                  <a:lnTo>
                    <a:pt x="504" y="147"/>
                  </a:lnTo>
                  <a:lnTo>
                    <a:pt x="502" y="143"/>
                  </a:lnTo>
                  <a:lnTo>
                    <a:pt x="498" y="141"/>
                  </a:lnTo>
                  <a:lnTo>
                    <a:pt x="498" y="141"/>
                  </a:lnTo>
                  <a:lnTo>
                    <a:pt x="496" y="141"/>
                  </a:lnTo>
                  <a:lnTo>
                    <a:pt x="496" y="139"/>
                  </a:lnTo>
                  <a:lnTo>
                    <a:pt x="496" y="136"/>
                  </a:lnTo>
                  <a:lnTo>
                    <a:pt x="496" y="134"/>
                  </a:lnTo>
                  <a:lnTo>
                    <a:pt x="496" y="129"/>
                  </a:lnTo>
                  <a:lnTo>
                    <a:pt x="496" y="129"/>
                  </a:lnTo>
                  <a:lnTo>
                    <a:pt x="494" y="129"/>
                  </a:lnTo>
                  <a:lnTo>
                    <a:pt x="496" y="127"/>
                  </a:lnTo>
                  <a:lnTo>
                    <a:pt x="500" y="127"/>
                  </a:lnTo>
                  <a:lnTo>
                    <a:pt x="513" y="129"/>
                  </a:lnTo>
                  <a:lnTo>
                    <a:pt x="513" y="129"/>
                  </a:lnTo>
                  <a:lnTo>
                    <a:pt x="520" y="127"/>
                  </a:lnTo>
                  <a:lnTo>
                    <a:pt x="525" y="127"/>
                  </a:lnTo>
                  <a:lnTo>
                    <a:pt x="533" y="125"/>
                  </a:lnTo>
                  <a:lnTo>
                    <a:pt x="536" y="123"/>
                  </a:lnTo>
                  <a:lnTo>
                    <a:pt x="536" y="123"/>
                  </a:lnTo>
                  <a:lnTo>
                    <a:pt x="536" y="119"/>
                  </a:lnTo>
                  <a:lnTo>
                    <a:pt x="536" y="116"/>
                  </a:lnTo>
                  <a:lnTo>
                    <a:pt x="536" y="110"/>
                  </a:lnTo>
                  <a:lnTo>
                    <a:pt x="534" y="107"/>
                  </a:lnTo>
                  <a:lnTo>
                    <a:pt x="534" y="107"/>
                  </a:lnTo>
                  <a:lnTo>
                    <a:pt x="533" y="103"/>
                  </a:lnTo>
                  <a:lnTo>
                    <a:pt x="527" y="99"/>
                  </a:lnTo>
                  <a:lnTo>
                    <a:pt x="527" y="90"/>
                  </a:lnTo>
                  <a:lnTo>
                    <a:pt x="525" y="87"/>
                  </a:lnTo>
                  <a:lnTo>
                    <a:pt x="525" y="87"/>
                  </a:lnTo>
                  <a:lnTo>
                    <a:pt x="525" y="83"/>
                  </a:lnTo>
                  <a:lnTo>
                    <a:pt x="524" y="79"/>
                  </a:lnTo>
                  <a:lnTo>
                    <a:pt x="522" y="72"/>
                  </a:lnTo>
                  <a:lnTo>
                    <a:pt x="504" y="69"/>
                  </a:lnTo>
                  <a:lnTo>
                    <a:pt x="504" y="69"/>
                  </a:lnTo>
                  <a:lnTo>
                    <a:pt x="504" y="72"/>
                  </a:lnTo>
                  <a:lnTo>
                    <a:pt x="504" y="74"/>
                  </a:lnTo>
                  <a:lnTo>
                    <a:pt x="504" y="74"/>
                  </a:lnTo>
                  <a:lnTo>
                    <a:pt x="500" y="79"/>
                  </a:lnTo>
                  <a:lnTo>
                    <a:pt x="496" y="83"/>
                  </a:lnTo>
                  <a:lnTo>
                    <a:pt x="487" y="85"/>
                  </a:lnTo>
                  <a:lnTo>
                    <a:pt x="482" y="87"/>
                  </a:lnTo>
                  <a:lnTo>
                    <a:pt x="482" y="87"/>
                  </a:lnTo>
                  <a:lnTo>
                    <a:pt x="471" y="99"/>
                  </a:lnTo>
                  <a:lnTo>
                    <a:pt x="471" y="99"/>
                  </a:lnTo>
                  <a:lnTo>
                    <a:pt x="469" y="99"/>
                  </a:lnTo>
                  <a:lnTo>
                    <a:pt x="469" y="103"/>
                  </a:lnTo>
                  <a:lnTo>
                    <a:pt x="471" y="103"/>
                  </a:lnTo>
                  <a:lnTo>
                    <a:pt x="471" y="103"/>
                  </a:lnTo>
                  <a:lnTo>
                    <a:pt x="473" y="103"/>
                  </a:lnTo>
                  <a:lnTo>
                    <a:pt x="473" y="105"/>
                  </a:lnTo>
                  <a:lnTo>
                    <a:pt x="471" y="107"/>
                  </a:lnTo>
                  <a:lnTo>
                    <a:pt x="462" y="110"/>
                  </a:lnTo>
                  <a:lnTo>
                    <a:pt x="462" y="110"/>
                  </a:lnTo>
                  <a:lnTo>
                    <a:pt x="451" y="119"/>
                  </a:lnTo>
                  <a:lnTo>
                    <a:pt x="438" y="123"/>
                  </a:lnTo>
                  <a:lnTo>
                    <a:pt x="435" y="127"/>
                  </a:lnTo>
                  <a:lnTo>
                    <a:pt x="435" y="127"/>
                  </a:lnTo>
                  <a:lnTo>
                    <a:pt x="435" y="127"/>
                  </a:lnTo>
                  <a:lnTo>
                    <a:pt x="431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7" y="127"/>
                  </a:lnTo>
                  <a:lnTo>
                    <a:pt x="422" y="127"/>
                  </a:lnTo>
                  <a:lnTo>
                    <a:pt x="418" y="130"/>
                  </a:lnTo>
                  <a:lnTo>
                    <a:pt x="415" y="130"/>
                  </a:lnTo>
                  <a:lnTo>
                    <a:pt x="415" y="130"/>
                  </a:lnTo>
                  <a:lnTo>
                    <a:pt x="415" y="130"/>
                  </a:lnTo>
                  <a:lnTo>
                    <a:pt x="413" y="130"/>
                  </a:lnTo>
                  <a:lnTo>
                    <a:pt x="413" y="125"/>
                  </a:lnTo>
                  <a:lnTo>
                    <a:pt x="409" y="116"/>
                  </a:lnTo>
                  <a:lnTo>
                    <a:pt x="409" y="116"/>
                  </a:lnTo>
                  <a:lnTo>
                    <a:pt x="407" y="110"/>
                  </a:lnTo>
                  <a:lnTo>
                    <a:pt x="402" y="109"/>
                  </a:lnTo>
                  <a:lnTo>
                    <a:pt x="396" y="109"/>
                  </a:lnTo>
                  <a:lnTo>
                    <a:pt x="395" y="109"/>
                  </a:lnTo>
                  <a:lnTo>
                    <a:pt x="395" y="109"/>
                  </a:lnTo>
                  <a:lnTo>
                    <a:pt x="389" y="110"/>
                  </a:lnTo>
                  <a:lnTo>
                    <a:pt x="387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2" y="114"/>
                  </a:lnTo>
                  <a:lnTo>
                    <a:pt x="378" y="114"/>
                  </a:lnTo>
                  <a:lnTo>
                    <a:pt x="371" y="116"/>
                  </a:lnTo>
                  <a:lnTo>
                    <a:pt x="371" y="116"/>
                  </a:lnTo>
                  <a:lnTo>
                    <a:pt x="369" y="116"/>
                  </a:lnTo>
                  <a:lnTo>
                    <a:pt x="369" y="114"/>
                  </a:lnTo>
                  <a:lnTo>
                    <a:pt x="369" y="107"/>
                  </a:lnTo>
                  <a:lnTo>
                    <a:pt x="369" y="96"/>
                  </a:lnTo>
                  <a:lnTo>
                    <a:pt x="369" y="96"/>
                  </a:lnTo>
                  <a:lnTo>
                    <a:pt x="371" y="90"/>
                  </a:lnTo>
                  <a:lnTo>
                    <a:pt x="375" y="87"/>
                  </a:lnTo>
                  <a:lnTo>
                    <a:pt x="380" y="83"/>
                  </a:lnTo>
                  <a:lnTo>
                    <a:pt x="380" y="83"/>
                  </a:lnTo>
                  <a:lnTo>
                    <a:pt x="375" y="69"/>
                  </a:lnTo>
                  <a:lnTo>
                    <a:pt x="375" y="69"/>
                  </a:lnTo>
                  <a:lnTo>
                    <a:pt x="376" y="65"/>
                  </a:lnTo>
                  <a:lnTo>
                    <a:pt x="382" y="58"/>
                  </a:lnTo>
                  <a:lnTo>
                    <a:pt x="391" y="45"/>
                  </a:lnTo>
                  <a:lnTo>
                    <a:pt x="391" y="36"/>
                  </a:lnTo>
                  <a:lnTo>
                    <a:pt x="396" y="30"/>
                  </a:lnTo>
                  <a:lnTo>
                    <a:pt x="396" y="21"/>
                  </a:lnTo>
                  <a:lnTo>
                    <a:pt x="400" y="21"/>
                  </a:lnTo>
                  <a:lnTo>
                    <a:pt x="400" y="16"/>
                  </a:lnTo>
                  <a:lnTo>
                    <a:pt x="407" y="10"/>
                  </a:lnTo>
                  <a:lnTo>
                    <a:pt x="407" y="10"/>
                  </a:lnTo>
                  <a:lnTo>
                    <a:pt x="404" y="10"/>
                  </a:lnTo>
                  <a:lnTo>
                    <a:pt x="400" y="7"/>
                  </a:lnTo>
                  <a:lnTo>
                    <a:pt x="396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3" y="5"/>
                  </a:lnTo>
                  <a:lnTo>
                    <a:pt x="393" y="3"/>
                  </a:lnTo>
                  <a:lnTo>
                    <a:pt x="389" y="1"/>
                  </a:lnTo>
                  <a:lnTo>
                    <a:pt x="389" y="1"/>
                  </a:lnTo>
                  <a:lnTo>
                    <a:pt x="389" y="0"/>
                  </a:lnTo>
                  <a:lnTo>
                    <a:pt x="387" y="0"/>
                  </a:lnTo>
                  <a:lnTo>
                    <a:pt x="382" y="1"/>
                  </a:lnTo>
                  <a:lnTo>
                    <a:pt x="378" y="5"/>
                  </a:lnTo>
                  <a:lnTo>
                    <a:pt x="376" y="7"/>
                  </a:lnTo>
                  <a:lnTo>
                    <a:pt x="376" y="7"/>
                  </a:lnTo>
                  <a:lnTo>
                    <a:pt x="373" y="10"/>
                  </a:lnTo>
                  <a:lnTo>
                    <a:pt x="367" y="12"/>
                  </a:lnTo>
                  <a:lnTo>
                    <a:pt x="360" y="16"/>
                  </a:lnTo>
                  <a:lnTo>
                    <a:pt x="355" y="20"/>
                  </a:lnTo>
                  <a:lnTo>
                    <a:pt x="355" y="20"/>
                  </a:lnTo>
                  <a:lnTo>
                    <a:pt x="349" y="21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35" y="25"/>
                  </a:lnTo>
                  <a:lnTo>
                    <a:pt x="329" y="27"/>
                  </a:lnTo>
                  <a:lnTo>
                    <a:pt x="329" y="27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1" y="47"/>
                  </a:lnTo>
                  <a:lnTo>
                    <a:pt x="291" y="49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1" y="58"/>
                  </a:lnTo>
                  <a:lnTo>
                    <a:pt x="291" y="58"/>
                  </a:lnTo>
                  <a:lnTo>
                    <a:pt x="287" y="58"/>
                  </a:lnTo>
                  <a:lnTo>
                    <a:pt x="287" y="60"/>
                  </a:lnTo>
                  <a:lnTo>
                    <a:pt x="278" y="60"/>
                  </a:lnTo>
                  <a:lnTo>
                    <a:pt x="267" y="58"/>
                  </a:lnTo>
                  <a:lnTo>
                    <a:pt x="267" y="58"/>
                  </a:lnTo>
                  <a:lnTo>
                    <a:pt x="258" y="61"/>
                  </a:lnTo>
                  <a:lnTo>
                    <a:pt x="253" y="63"/>
                  </a:lnTo>
                  <a:lnTo>
                    <a:pt x="253" y="63"/>
                  </a:lnTo>
                  <a:lnTo>
                    <a:pt x="251" y="65"/>
                  </a:lnTo>
                  <a:lnTo>
                    <a:pt x="251" y="69"/>
                  </a:lnTo>
                  <a:lnTo>
                    <a:pt x="251" y="72"/>
                  </a:lnTo>
                  <a:lnTo>
                    <a:pt x="249" y="74"/>
                  </a:lnTo>
                  <a:lnTo>
                    <a:pt x="249" y="74"/>
                  </a:lnTo>
                  <a:lnTo>
                    <a:pt x="247" y="74"/>
                  </a:lnTo>
                  <a:lnTo>
                    <a:pt x="244" y="72"/>
                  </a:lnTo>
                  <a:lnTo>
                    <a:pt x="242" y="72"/>
                  </a:lnTo>
                  <a:lnTo>
                    <a:pt x="237" y="72"/>
                  </a:lnTo>
                  <a:lnTo>
                    <a:pt x="237" y="72"/>
                  </a:lnTo>
                  <a:lnTo>
                    <a:pt x="235" y="72"/>
                  </a:lnTo>
                  <a:lnTo>
                    <a:pt x="233" y="76"/>
                  </a:lnTo>
                  <a:lnTo>
                    <a:pt x="233" y="78"/>
                  </a:lnTo>
                  <a:lnTo>
                    <a:pt x="233" y="78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6" y="79"/>
                  </a:lnTo>
                  <a:lnTo>
                    <a:pt x="224" y="79"/>
                  </a:lnTo>
                  <a:lnTo>
                    <a:pt x="224" y="79"/>
                  </a:lnTo>
                  <a:lnTo>
                    <a:pt x="220" y="81"/>
                  </a:lnTo>
                  <a:lnTo>
                    <a:pt x="217" y="83"/>
                  </a:lnTo>
                  <a:lnTo>
                    <a:pt x="217" y="83"/>
                  </a:lnTo>
                  <a:lnTo>
                    <a:pt x="213" y="85"/>
                  </a:lnTo>
                  <a:lnTo>
                    <a:pt x="211" y="87"/>
                  </a:lnTo>
                  <a:lnTo>
                    <a:pt x="209" y="85"/>
                  </a:lnTo>
                  <a:lnTo>
                    <a:pt x="209" y="85"/>
                  </a:lnTo>
                  <a:lnTo>
                    <a:pt x="207" y="83"/>
                  </a:lnTo>
                  <a:lnTo>
                    <a:pt x="206" y="81"/>
                  </a:lnTo>
                  <a:lnTo>
                    <a:pt x="202" y="79"/>
                  </a:lnTo>
                  <a:lnTo>
                    <a:pt x="200" y="79"/>
                  </a:lnTo>
                  <a:lnTo>
                    <a:pt x="200" y="79"/>
                  </a:lnTo>
                  <a:lnTo>
                    <a:pt x="198" y="79"/>
                  </a:lnTo>
                  <a:lnTo>
                    <a:pt x="195" y="81"/>
                  </a:lnTo>
                  <a:lnTo>
                    <a:pt x="193" y="83"/>
                  </a:lnTo>
                  <a:lnTo>
                    <a:pt x="191" y="83"/>
                  </a:lnTo>
                  <a:lnTo>
                    <a:pt x="191" y="83"/>
                  </a:lnTo>
                  <a:lnTo>
                    <a:pt x="188" y="83"/>
                  </a:lnTo>
                  <a:lnTo>
                    <a:pt x="186" y="83"/>
                  </a:lnTo>
                  <a:lnTo>
                    <a:pt x="184" y="83"/>
                  </a:lnTo>
                  <a:lnTo>
                    <a:pt x="182" y="83"/>
                  </a:lnTo>
                  <a:lnTo>
                    <a:pt x="182" y="83"/>
                  </a:lnTo>
                  <a:lnTo>
                    <a:pt x="175" y="83"/>
                  </a:lnTo>
                  <a:lnTo>
                    <a:pt x="168" y="87"/>
                  </a:lnTo>
                  <a:lnTo>
                    <a:pt x="168" y="87"/>
                  </a:lnTo>
                  <a:lnTo>
                    <a:pt x="162" y="87"/>
                  </a:lnTo>
                  <a:lnTo>
                    <a:pt x="158" y="87"/>
                  </a:lnTo>
                  <a:lnTo>
                    <a:pt x="158" y="87"/>
                  </a:lnTo>
                  <a:lnTo>
                    <a:pt x="157" y="89"/>
                  </a:lnTo>
                  <a:lnTo>
                    <a:pt x="157" y="89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48" y="83"/>
                  </a:lnTo>
                  <a:lnTo>
                    <a:pt x="144" y="79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29" y="72"/>
                  </a:lnTo>
                  <a:lnTo>
                    <a:pt x="124" y="72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11" y="76"/>
                  </a:lnTo>
                  <a:lnTo>
                    <a:pt x="106" y="76"/>
                  </a:lnTo>
                  <a:lnTo>
                    <a:pt x="102" y="76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5" y="72"/>
                  </a:lnTo>
                  <a:lnTo>
                    <a:pt x="95" y="74"/>
                  </a:lnTo>
                  <a:lnTo>
                    <a:pt x="89" y="78"/>
                  </a:lnTo>
                  <a:lnTo>
                    <a:pt x="89" y="78"/>
                  </a:lnTo>
                  <a:lnTo>
                    <a:pt x="88" y="79"/>
                  </a:lnTo>
                  <a:lnTo>
                    <a:pt x="82" y="78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69" y="72"/>
                  </a:lnTo>
                  <a:lnTo>
                    <a:pt x="66" y="74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9" y="76"/>
                  </a:lnTo>
                  <a:lnTo>
                    <a:pt x="57" y="76"/>
                  </a:lnTo>
                  <a:lnTo>
                    <a:pt x="55" y="74"/>
                  </a:lnTo>
                  <a:lnTo>
                    <a:pt x="49" y="69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4" y="65"/>
                  </a:lnTo>
                  <a:lnTo>
                    <a:pt x="40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0" y="67"/>
                  </a:lnTo>
                  <a:lnTo>
                    <a:pt x="24" y="69"/>
                  </a:lnTo>
                  <a:lnTo>
                    <a:pt x="19" y="72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6" y="79"/>
                  </a:lnTo>
                  <a:lnTo>
                    <a:pt x="0" y="83"/>
                  </a:lnTo>
                  <a:lnTo>
                    <a:pt x="4" y="96"/>
                  </a:lnTo>
                  <a:lnTo>
                    <a:pt x="30" y="109"/>
                  </a:lnTo>
                  <a:lnTo>
                    <a:pt x="24" y="123"/>
                  </a:lnTo>
                  <a:lnTo>
                    <a:pt x="30" y="130"/>
                  </a:lnTo>
                  <a:lnTo>
                    <a:pt x="55" y="118"/>
                  </a:lnTo>
                  <a:lnTo>
                    <a:pt x="75" y="143"/>
                  </a:lnTo>
                  <a:lnTo>
                    <a:pt x="86" y="136"/>
                  </a:lnTo>
                  <a:lnTo>
                    <a:pt x="95" y="152"/>
                  </a:lnTo>
                  <a:lnTo>
                    <a:pt x="102" y="176"/>
                  </a:lnTo>
                  <a:lnTo>
                    <a:pt x="108" y="190"/>
                  </a:lnTo>
                  <a:lnTo>
                    <a:pt x="100" y="192"/>
                  </a:lnTo>
                  <a:lnTo>
                    <a:pt x="102" y="201"/>
                  </a:lnTo>
                  <a:lnTo>
                    <a:pt x="102" y="212"/>
                  </a:lnTo>
                  <a:lnTo>
                    <a:pt x="115" y="221"/>
                  </a:lnTo>
                  <a:lnTo>
                    <a:pt x="120" y="241"/>
                  </a:lnTo>
                  <a:lnTo>
                    <a:pt x="120" y="241"/>
                  </a:lnTo>
                  <a:lnTo>
                    <a:pt x="144" y="230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71" y="221"/>
                  </a:lnTo>
                  <a:lnTo>
                    <a:pt x="180" y="221"/>
                  </a:lnTo>
                  <a:lnTo>
                    <a:pt x="195" y="221"/>
                  </a:lnTo>
                  <a:lnTo>
                    <a:pt x="195" y="221"/>
                  </a:lnTo>
                  <a:lnTo>
                    <a:pt x="202" y="221"/>
                  </a:lnTo>
                  <a:lnTo>
                    <a:pt x="209" y="221"/>
                  </a:lnTo>
                  <a:lnTo>
                    <a:pt x="217" y="223"/>
                  </a:lnTo>
                  <a:lnTo>
                    <a:pt x="222" y="223"/>
                  </a:lnTo>
                  <a:lnTo>
                    <a:pt x="222" y="223"/>
                  </a:lnTo>
                  <a:lnTo>
                    <a:pt x="231" y="221"/>
                  </a:lnTo>
                  <a:lnTo>
                    <a:pt x="237" y="219"/>
                  </a:lnTo>
                  <a:lnTo>
                    <a:pt x="244" y="219"/>
                  </a:lnTo>
                  <a:lnTo>
                    <a:pt x="244" y="219"/>
                  </a:lnTo>
                  <a:lnTo>
                    <a:pt x="255" y="223"/>
                  </a:lnTo>
                  <a:lnTo>
                    <a:pt x="262" y="225"/>
                  </a:lnTo>
                  <a:lnTo>
                    <a:pt x="267" y="228"/>
                  </a:lnTo>
                  <a:lnTo>
                    <a:pt x="267" y="228"/>
                  </a:lnTo>
                  <a:lnTo>
                    <a:pt x="277" y="243"/>
                  </a:lnTo>
                  <a:lnTo>
                    <a:pt x="291" y="252"/>
                  </a:lnTo>
                  <a:lnTo>
                    <a:pt x="291" y="252"/>
                  </a:lnTo>
                  <a:lnTo>
                    <a:pt x="307" y="268"/>
                  </a:lnTo>
                  <a:lnTo>
                    <a:pt x="318" y="288"/>
                  </a:lnTo>
                  <a:lnTo>
                    <a:pt x="318" y="288"/>
                  </a:lnTo>
                  <a:lnTo>
                    <a:pt x="333" y="301"/>
                  </a:lnTo>
                  <a:lnTo>
                    <a:pt x="346" y="312"/>
                  </a:lnTo>
                  <a:lnTo>
                    <a:pt x="346" y="312"/>
                  </a:lnTo>
                  <a:lnTo>
                    <a:pt x="351" y="323"/>
                  </a:lnTo>
                  <a:lnTo>
                    <a:pt x="353" y="328"/>
                  </a:lnTo>
                  <a:lnTo>
                    <a:pt x="356" y="328"/>
                  </a:lnTo>
                  <a:lnTo>
                    <a:pt x="356" y="330"/>
                  </a:lnTo>
                  <a:lnTo>
                    <a:pt x="356" y="330"/>
                  </a:lnTo>
                  <a:lnTo>
                    <a:pt x="360" y="330"/>
                  </a:lnTo>
                  <a:lnTo>
                    <a:pt x="362" y="332"/>
                  </a:lnTo>
                  <a:lnTo>
                    <a:pt x="366" y="332"/>
                  </a:lnTo>
                  <a:lnTo>
                    <a:pt x="367" y="336"/>
                  </a:lnTo>
                  <a:lnTo>
                    <a:pt x="367" y="336"/>
                  </a:lnTo>
                  <a:lnTo>
                    <a:pt x="371" y="348"/>
                  </a:lnTo>
                  <a:lnTo>
                    <a:pt x="373" y="352"/>
                  </a:lnTo>
                  <a:lnTo>
                    <a:pt x="376" y="356"/>
                  </a:lnTo>
                  <a:lnTo>
                    <a:pt x="376" y="356"/>
                  </a:lnTo>
                  <a:lnTo>
                    <a:pt x="389" y="356"/>
                  </a:lnTo>
                  <a:lnTo>
                    <a:pt x="396" y="356"/>
                  </a:lnTo>
                  <a:lnTo>
                    <a:pt x="402" y="356"/>
                  </a:lnTo>
                  <a:lnTo>
                    <a:pt x="402" y="356"/>
                  </a:lnTo>
                  <a:lnTo>
                    <a:pt x="404" y="354"/>
                  </a:lnTo>
                  <a:lnTo>
                    <a:pt x="404" y="352"/>
                  </a:lnTo>
                  <a:lnTo>
                    <a:pt x="404" y="350"/>
                  </a:lnTo>
                  <a:lnTo>
                    <a:pt x="404" y="348"/>
                  </a:lnTo>
                  <a:lnTo>
                    <a:pt x="407" y="348"/>
                  </a:lnTo>
                  <a:lnTo>
                    <a:pt x="418" y="348"/>
                  </a:lnTo>
                  <a:lnTo>
                    <a:pt x="418" y="348"/>
                  </a:lnTo>
                  <a:lnTo>
                    <a:pt x="435" y="348"/>
                  </a:lnTo>
                  <a:lnTo>
                    <a:pt x="438" y="348"/>
                  </a:lnTo>
                  <a:lnTo>
                    <a:pt x="442" y="348"/>
                  </a:lnTo>
                  <a:lnTo>
                    <a:pt x="442" y="348"/>
                  </a:lnTo>
                  <a:lnTo>
                    <a:pt x="445" y="347"/>
                  </a:lnTo>
                  <a:lnTo>
                    <a:pt x="454" y="347"/>
                  </a:lnTo>
                  <a:lnTo>
                    <a:pt x="464" y="348"/>
                  </a:lnTo>
                  <a:lnTo>
                    <a:pt x="464" y="348"/>
                  </a:lnTo>
                  <a:lnTo>
                    <a:pt x="471" y="350"/>
                  </a:lnTo>
                  <a:lnTo>
                    <a:pt x="476" y="354"/>
                  </a:lnTo>
                  <a:lnTo>
                    <a:pt x="482" y="356"/>
                  </a:lnTo>
                  <a:lnTo>
                    <a:pt x="485" y="357"/>
                  </a:lnTo>
                  <a:lnTo>
                    <a:pt x="487" y="357"/>
                  </a:lnTo>
                  <a:lnTo>
                    <a:pt x="487" y="357"/>
                  </a:lnTo>
                  <a:lnTo>
                    <a:pt x="494" y="356"/>
                  </a:lnTo>
                  <a:lnTo>
                    <a:pt x="500" y="356"/>
                  </a:lnTo>
                  <a:lnTo>
                    <a:pt x="504" y="354"/>
                  </a:lnTo>
                  <a:lnTo>
                    <a:pt x="505" y="352"/>
                  </a:lnTo>
                  <a:lnTo>
                    <a:pt x="505" y="352"/>
                  </a:lnTo>
                  <a:lnTo>
                    <a:pt x="516" y="338"/>
                  </a:lnTo>
                  <a:lnTo>
                    <a:pt x="516" y="338"/>
                  </a:lnTo>
                  <a:lnTo>
                    <a:pt x="516" y="336"/>
                  </a:lnTo>
                  <a:lnTo>
                    <a:pt x="516" y="332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lnTo>
                    <a:pt x="516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0" name="Freeform 52">
              <a:extLst>
                <a:ext uri="{FF2B5EF4-FFF2-40B4-BE49-F238E27FC236}">
                  <a16:creationId xmlns:a16="http://schemas.microsoft.com/office/drawing/2014/main" id="{A53B3C87-4259-F547-93B6-6174ED562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5360" y="5368763"/>
              <a:ext cx="52139" cy="51501"/>
            </a:xfrm>
            <a:custGeom>
              <a:avLst/>
              <a:gdLst>
                <a:gd name="T0" fmla="*/ 0 w 36"/>
                <a:gd name="T1" fmla="*/ 7 h 36"/>
                <a:gd name="T2" fmla="*/ 0 w 36"/>
                <a:gd name="T3" fmla="*/ 7 h 36"/>
                <a:gd name="T4" fmla="*/ 3 w 36"/>
                <a:gd name="T5" fmla="*/ 11 h 36"/>
                <a:gd name="T6" fmla="*/ 5 w 36"/>
                <a:gd name="T7" fmla="*/ 16 h 36"/>
                <a:gd name="T8" fmla="*/ 5 w 36"/>
                <a:gd name="T9" fmla="*/ 16 h 36"/>
                <a:gd name="T10" fmla="*/ 5 w 36"/>
                <a:gd name="T11" fmla="*/ 16 h 36"/>
                <a:gd name="T12" fmla="*/ 9 w 36"/>
                <a:gd name="T13" fmla="*/ 18 h 36"/>
                <a:gd name="T14" fmla="*/ 10 w 36"/>
                <a:gd name="T15" fmla="*/ 18 h 36"/>
                <a:gd name="T16" fmla="*/ 12 w 36"/>
                <a:gd name="T17" fmla="*/ 22 h 36"/>
                <a:gd name="T18" fmla="*/ 12 w 36"/>
                <a:gd name="T19" fmla="*/ 22 h 36"/>
                <a:gd name="T20" fmla="*/ 12 w 36"/>
                <a:gd name="T21" fmla="*/ 25 h 36"/>
                <a:gd name="T22" fmla="*/ 18 w 36"/>
                <a:gd name="T23" fmla="*/ 29 h 36"/>
                <a:gd name="T24" fmla="*/ 21 w 36"/>
                <a:gd name="T25" fmla="*/ 32 h 36"/>
                <a:gd name="T26" fmla="*/ 25 w 36"/>
                <a:gd name="T27" fmla="*/ 36 h 36"/>
                <a:gd name="T28" fmla="*/ 25 w 36"/>
                <a:gd name="T29" fmla="*/ 36 h 36"/>
                <a:gd name="T30" fmla="*/ 29 w 36"/>
                <a:gd name="T31" fmla="*/ 36 h 36"/>
                <a:gd name="T32" fmla="*/ 29 w 36"/>
                <a:gd name="T33" fmla="*/ 32 h 36"/>
                <a:gd name="T34" fmla="*/ 32 w 36"/>
                <a:gd name="T35" fmla="*/ 25 h 36"/>
                <a:gd name="T36" fmla="*/ 32 w 36"/>
                <a:gd name="T37" fmla="*/ 25 h 36"/>
                <a:gd name="T38" fmla="*/ 36 w 36"/>
                <a:gd name="T39" fmla="*/ 18 h 36"/>
                <a:gd name="T40" fmla="*/ 32 w 36"/>
                <a:gd name="T41" fmla="*/ 11 h 36"/>
                <a:gd name="T42" fmla="*/ 32 w 36"/>
                <a:gd name="T43" fmla="*/ 11 h 36"/>
                <a:gd name="T44" fmla="*/ 32 w 36"/>
                <a:gd name="T45" fmla="*/ 0 h 36"/>
                <a:gd name="T46" fmla="*/ 32 w 36"/>
                <a:gd name="T47" fmla="*/ 0 h 36"/>
                <a:gd name="T48" fmla="*/ 27 w 36"/>
                <a:gd name="T49" fmla="*/ 2 h 36"/>
                <a:gd name="T50" fmla="*/ 20 w 36"/>
                <a:gd name="T51" fmla="*/ 2 h 36"/>
                <a:gd name="T52" fmla="*/ 20 w 36"/>
                <a:gd name="T53" fmla="*/ 2 h 36"/>
                <a:gd name="T54" fmla="*/ 9 w 36"/>
                <a:gd name="T55" fmla="*/ 2 h 36"/>
                <a:gd name="T56" fmla="*/ 1 w 36"/>
                <a:gd name="T57" fmla="*/ 2 h 36"/>
                <a:gd name="T58" fmla="*/ 1 w 36"/>
                <a:gd name="T59" fmla="*/ 2 h 36"/>
                <a:gd name="T60" fmla="*/ 1 w 36"/>
                <a:gd name="T61" fmla="*/ 5 h 36"/>
                <a:gd name="T62" fmla="*/ 0 w 36"/>
                <a:gd name="T63" fmla="*/ 7 h 36"/>
                <a:gd name="T64" fmla="*/ 0 w 36"/>
                <a:gd name="T65" fmla="*/ 7 h 36"/>
                <a:gd name="T66" fmla="*/ 0 w 36"/>
                <a:gd name="T67" fmla="*/ 7 h 36"/>
                <a:gd name="T68" fmla="*/ 0 w 36"/>
                <a:gd name="T69" fmla="*/ 7 h 36"/>
                <a:gd name="T70" fmla="*/ 0 w 36"/>
                <a:gd name="T71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6" h="36">
                  <a:moveTo>
                    <a:pt x="0" y="7"/>
                  </a:moveTo>
                  <a:lnTo>
                    <a:pt x="0" y="7"/>
                  </a:lnTo>
                  <a:lnTo>
                    <a:pt x="3" y="11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5"/>
                  </a:lnTo>
                  <a:lnTo>
                    <a:pt x="18" y="29"/>
                  </a:lnTo>
                  <a:lnTo>
                    <a:pt x="21" y="32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9" y="36"/>
                  </a:lnTo>
                  <a:lnTo>
                    <a:pt x="29" y="32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6" y="1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7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1" name="Freeform 53">
              <a:extLst>
                <a:ext uri="{FF2B5EF4-FFF2-40B4-BE49-F238E27FC236}">
                  <a16:creationId xmlns:a16="http://schemas.microsoft.com/office/drawing/2014/main" id="{9C2BA1B3-DA28-2546-A460-4488E3CFA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787" y="4692091"/>
              <a:ext cx="628561" cy="765370"/>
            </a:xfrm>
            <a:custGeom>
              <a:avLst/>
              <a:gdLst>
                <a:gd name="T0" fmla="*/ 400 w 434"/>
                <a:gd name="T1" fmla="*/ 115 h 535"/>
                <a:gd name="T2" fmla="*/ 314 w 434"/>
                <a:gd name="T3" fmla="*/ 62 h 535"/>
                <a:gd name="T4" fmla="*/ 296 w 434"/>
                <a:gd name="T5" fmla="*/ 40 h 535"/>
                <a:gd name="T6" fmla="*/ 258 w 434"/>
                <a:gd name="T7" fmla="*/ 4 h 535"/>
                <a:gd name="T8" fmla="*/ 231 w 434"/>
                <a:gd name="T9" fmla="*/ 9 h 535"/>
                <a:gd name="T10" fmla="*/ 231 w 434"/>
                <a:gd name="T11" fmla="*/ 17 h 535"/>
                <a:gd name="T12" fmla="*/ 231 w 434"/>
                <a:gd name="T13" fmla="*/ 33 h 535"/>
                <a:gd name="T14" fmla="*/ 231 w 434"/>
                <a:gd name="T15" fmla="*/ 48 h 535"/>
                <a:gd name="T16" fmla="*/ 249 w 434"/>
                <a:gd name="T17" fmla="*/ 58 h 535"/>
                <a:gd name="T18" fmla="*/ 249 w 434"/>
                <a:gd name="T19" fmla="*/ 75 h 535"/>
                <a:gd name="T20" fmla="*/ 244 w 434"/>
                <a:gd name="T21" fmla="*/ 82 h 535"/>
                <a:gd name="T22" fmla="*/ 227 w 434"/>
                <a:gd name="T23" fmla="*/ 95 h 535"/>
                <a:gd name="T24" fmla="*/ 200 w 434"/>
                <a:gd name="T25" fmla="*/ 89 h 535"/>
                <a:gd name="T26" fmla="*/ 195 w 434"/>
                <a:gd name="T27" fmla="*/ 104 h 535"/>
                <a:gd name="T28" fmla="*/ 204 w 434"/>
                <a:gd name="T29" fmla="*/ 118 h 535"/>
                <a:gd name="T30" fmla="*/ 222 w 434"/>
                <a:gd name="T31" fmla="*/ 171 h 535"/>
                <a:gd name="T32" fmla="*/ 253 w 434"/>
                <a:gd name="T33" fmla="*/ 182 h 535"/>
                <a:gd name="T34" fmla="*/ 249 w 434"/>
                <a:gd name="T35" fmla="*/ 211 h 535"/>
                <a:gd name="T36" fmla="*/ 222 w 434"/>
                <a:gd name="T37" fmla="*/ 227 h 535"/>
                <a:gd name="T38" fmla="*/ 193 w 434"/>
                <a:gd name="T39" fmla="*/ 266 h 535"/>
                <a:gd name="T40" fmla="*/ 182 w 434"/>
                <a:gd name="T41" fmla="*/ 291 h 535"/>
                <a:gd name="T42" fmla="*/ 196 w 434"/>
                <a:gd name="T43" fmla="*/ 313 h 535"/>
                <a:gd name="T44" fmla="*/ 186 w 434"/>
                <a:gd name="T45" fmla="*/ 333 h 535"/>
                <a:gd name="T46" fmla="*/ 167 w 434"/>
                <a:gd name="T47" fmla="*/ 344 h 535"/>
                <a:gd name="T48" fmla="*/ 147 w 434"/>
                <a:gd name="T49" fmla="*/ 355 h 535"/>
                <a:gd name="T50" fmla="*/ 133 w 434"/>
                <a:gd name="T51" fmla="*/ 356 h 535"/>
                <a:gd name="T52" fmla="*/ 118 w 434"/>
                <a:gd name="T53" fmla="*/ 380 h 535"/>
                <a:gd name="T54" fmla="*/ 97 w 434"/>
                <a:gd name="T55" fmla="*/ 406 h 535"/>
                <a:gd name="T56" fmla="*/ 77 w 434"/>
                <a:gd name="T57" fmla="*/ 406 h 535"/>
                <a:gd name="T58" fmla="*/ 47 w 434"/>
                <a:gd name="T59" fmla="*/ 420 h 535"/>
                <a:gd name="T60" fmla="*/ 27 w 434"/>
                <a:gd name="T61" fmla="*/ 416 h 535"/>
                <a:gd name="T62" fmla="*/ 18 w 434"/>
                <a:gd name="T63" fmla="*/ 433 h 535"/>
                <a:gd name="T64" fmla="*/ 20 w 434"/>
                <a:gd name="T65" fmla="*/ 440 h 535"/>
                <a:gd name="T66" fmla="*/ 13 w 434"/>
                <a:gd name="T67" fmla="*/ 460 h 535"/>
                <a:gd name="T68" fmla="*/ 31 w 434"/>
                <a:gd name="T69" fmla="*/ 471 h 535"/>
                <a:gd name="T70" fmla="*/ 9 w 434"/>
                <a:gd name="T71" fmla="*/ 480 h 535"/>
                <a:gd name="T72" fmla="*/ 2 w 434"/>
                <a:gd name="T73" fmla="*/ 498 h 535"/>
                <a:gd name="T74" fmla="*/ 9 w 434"/>
                <a:gd name="T75" fmla="*/ 509 h 535"/>
                <a:gd name="T76" fmla="*/ 31 w 434"/>
                <a:gd name="T77" fmla="*/ 527 h 535"/>
                <a:gd name="T78" fmla="*/ 64 w 434"/>
                <a:gd name="T79" fmla="*/ 531 h 535"/>
                <a:gd name="T80" fmla="*/ 111 w 434"/>
                <a:gd name="T81" fmla="*/ 531 h 535"/>
                <a:gd name="T82" fmla="*/ 158 w 434"/>
                <a:gd name="T83" fmla="*/ 509 h 535"/>
                <a:gd name="T84" fmla="*/ 187 w 434"/>
                <a:gd name="T85" fmla="*/ 495 h 535"/>
                <a:gd name="T86" fmla="*/ 233 w 434"/>
                <a:gd name="T87" fmla="*/ 451 h 535"/>
                <a:gd name="T88" fmla="*/ 269 w 434"/>
                <a:gd name="T89" fmla="*/ 458 h 535"/>
                <a:gd name="T90" fmla="*/ 294 w 434"/>
                <a:gd name="T91" fmla="*/ 447 h 535"/>
                <a:gd name="T92" fmla="*/ 334 w 434"/>
                <a:gd name="T93" fmla="*/ 458 h 535"/>
                <a:gd name="T94" fmla="*/ 374 w 434"/>
                <a:gd name="T95" fmla="*/ 444 h 535"/>
                <a:gd name="T96" fmla="*/ 402 w 434"/>
                <a:gd name="T97" fmla="*/ 413 h 535"/>
                <a:gd name="T98" fmla="*/ 394 w 434"/>
                <a:gd name="T99" fmla="*/ 407 h 535"/>
                <a:gd name="T100" fmla="*/ 402 w 434"/>
                <a:gd name="T101" fmla="*/ 358 h 535"/>
                <a:gd name="T102" fmla="*/ 418 w 434"/>
                <a:gd name="T103" fmla="*/ 307 h 535"/>
                <a:gd name="T104" fmla="*/ 413 w 434"/>
                <a:gd name="T105" fmla="*/ 289 h 535"/>
                <a:gd name="T106" fmla="*/ 396 w 434"/>
                <a:gd name="T107" fmla="*/ 277 h 535"/>
                <a:gd name="T108" fmla="*/ 391 w 434"/>
                <a:gd name="T109" fmla="*/ 269 h 535"/>
                <a:gd name="T110" fmla="*/ 416 w 434"/>
                <a:gd name="T111" fmla="*/ 233 h 535"/>
                <a:gd name="T112" fmla="*/ 416 w 434"/>
                <a:gd name="T113" fmla="*/ 191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4" h="535">
                  <a:moveTo>
                    <a:pt x="416" y="191"/>
                  </a:moveTo>
                  <a:lnTo>
                    <a:pt x="416" y="180"/>
                  </a:lnTo>
                  <a:lnTo>
                    <a:pt x="414" y="171"/>
                  </a:lnTo>
                  <a:lnTo>
                    <a:pt x="422" y="169"/>
                  </a:lnTo>
                  <a:lnTo>
                    <a:pt x="416" y="155"/>
                  </a:lnTo>
                  <a:lnTo>
                    <a:pt x="409" y="131"/>
                  </a:lnTo>
                  <a:lnTo>
                    <a:pt x="400" y="115"/>
                  </a:lnTo>
                  <a:lnTo>
                    <a:pt x="389" y="122"/>
                  </a:lnTo>
                  <a:lnTo>
                    <a:pt x="369" y="97"/>
                  </a:lnTo>
                  <a:lnTo>
                    <a:pt x="344" y="109"/>
                  </a:lnTo>
                  <a:lnTo>
                    <a:pt x="338" y="102"/>
                  </a:lnTo>
                  <a:lnTo>
                    <a:pt x="344" y="88"/>
                  </a:lnTo>
                  <a:lnTo>
                    <a:pt x="318" y="75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14" y="62"/>
                  </a:lnTo>
                  <a:lnTo>
                    <a:pt x="305" y="55"/>
                  </a:lnTo>
                  <a:lnTo>
                    <a:pt x="305" y="55"/>
                  </a:lnTo>
                  <a:lnTo>
                    <a:pt x="300" y="51"/>
                  </a:lnTo>
                  <a:lnTo>
                    <a:pt x="296" y="40"/>
                  </a:lnTo>
                  <a:lnTo>
                    <a:pt x="276" y="37"/>
                  </a:lnTo>
                  <a:lnTo>
                    <a:pt x="273" y="2"/>
                  </a:lnTo>
                  <a:lnTo>
                    <a:pt x="273" y="2"/>
                  </a:lnTo>
                  <a:lnTo>
                    <a:pt x="267" y="4"/>
                  </a:lnTo>
                  <a:lnTo>
                    <a:pt x="260" y="6"/>
                  </a:lnTo>
                  <a:lnTo>
                    <a:pt x="260" y="6"/>
                  </a:lnTo>
                  <a:lnTo>
                    <a:pt x="258" y="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2" y="0"/>
                  </a:lnTo>
                  <a:lnTo>
                    <a:pt x="242" y="0"/>
                  </a:lnTo>
                  <a:lnTo>
                    <a:pt x="238" y="0"/>
                  </a:lnTo>
                  <a:lnTo>
                    <a:pt x="235" y="2"/>
                  </a:lnTo>
                  <a:lnTo>
                    <a:pt x="231" y="9"/>
                  </a:lnTo>
                  <a:lnTo>
                    <a:pt x="231" y="9"/>
                  </a:lnTo>
                  <a:lnTo>
                    <a:pt x="229" y="9"/>
                  </a:lnTo>
                  <a:lnTo>
                    <a:pt x="229" y="11"/>
                  </a:lnTo>
                  <a:lnTo>
                    <a:pt x="231" y="13"/>
                  </a:lnTo>
                  <a:lnTo>
                    <a:pt x="231" y="13"/>
                  </a:lnTo>
                  <a:lnTo>
                    <a:pt x="233" y="17"/>
                  </a:lnTo>
                  <a:lnTo>
                    <a:pt x="231" y="17"/>
                  </a:lnTo>
                  <a:lnTo>
                    <a:pt x="229" y="17"/>
                  </a:lnTo>
                  <a:lnTo>
                    <a:pt x="229" y="17"/>
                  </a:lnTo>
                  <a:lnTo>
                    <a:pt x="229" y="20"/>
                  </a:lnTo>
                  <a:lnTo>
                    <a:pt x="231" y="24"/>
                  </a:lnTo>
                  <a:lnTo>
                    <a:pt x="233" y="31"/>
                  </a:lnTo>
                  <a:lnTo>
                    <a:pt x="233" y="31"/>
                  </a:lnTo>
                  <a:lnTo>
                    <a:pt x="231" y="33"/>
                  </a:lnTo>
                  <a:lnTo>
                    <a:pt x="231" y="35"/>
                  </a:lnTo>
                  <a:lnTo>
                    <a:pt x="227" y="37"/>
                  </a:lnTo>
                  <a:lnTo>
                    <a:pt x="227" y="37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42" y="62"/>
                  </a:lnTo>
                  <a:lnTo>
                    <a:pt x="242" y="62"/>
                  </a:lnTo>
                  <a:lnTo>
                    <a:pt x="245" y="58"/>
                  </a:lnTo>
                  <a:lnTo>
                    <a:pt x="247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62"/>
                  </a:lnTo>
                  <a:lnTo>
                    <a:pt x="249" y="66"/>
                  </a:lnTo>
                  <a:lnTo>
                    <a:pt x="249" y="66"/>
                  </a:lnTo>
                  <a:lnTo>
                    <a:pt x="249" y="66"/>
                  </a:lnTo>
                  <a:lnTo>
                    <a:pt x="249" y="69"/>
                  </a:lnTo>
                  <a:lnTo>
                    <a:pt x="249" y="75"/>
                  </a:lnTo>
                  <a:lnTo>
                    <a:pt x="249" y="75"/>
                  </a:lnTo>
                  <a:lnTo>
                    <a:pt x="251" y="77"/>
                  </a:lnTo>
                  <a:lnTo>
                    <a:pt x="251" y="78"/>
                  </a:lnTo>
                  <a:lnTo>
                    <a:pt x="249" y="82"/>
                  </a:lnTo>
                  <a:lnTo>
                    <a:pt x="249" y="82"/>
                  </a:lnTo>
                  <a:lnTo>
                    <a:pt x="249" y="84"/>
                  </a:lnTo>
                  <a:lnTo>
                    <a:pt x="247" y="82"/>
                  </a:lnTo>
                  <a:lnTo>
                    <a:pt x="244" y="82"/>
                  </a:lnTo>
                  <a:lnTo>
                    <a:pt x="244" y="82"/>
                  </a:lnTo>
                  <a:lnTo>
                    <a:pt x="238" y="86"/>
                  </a:lnTo>
                  <a:lnTo>
                    <a:pt x="238" y="86"/>
                  </a:lnTo>
                  <a:lnTo>
                    <a:pt x="235" y="89"/>
                  </a:lnTo>
                  <a:lnTo>
                    <a:pt x="233" y="93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16" y="95"/>
                  </a:lnTo>
                  <a:lnTo>
                    <a:pt x="211" y="97"/>
                  </a:lnTo>
                  <a:lnTo>
                    <a:pt x="211" y="97"/>
                  </a:lnTo>
                  <a:lnTo>
                    <a:pt x="205" y="93"/>
                  </a:lnTo>
                  <a:lnTo>
                    <a:pt x="202" y="89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6" y="89"/>
                  </a:lnTo>
                  <a:lnTo>
                    <a:pt x="196" y="89"/>
                  </a:lnTo>
                  <a:lnTo>
                    <a:pt x="195" y="95"/>
                  </a:lnTo>
                  <a:lnTo>
                    <a:pt x="195" y="97"/>
                  </a:lnTo>
                  <a:lnTo>
                    <a:pt x="195" y="100"/>
                  </a:lnTo>
                  <a:lnTo>
                    <a:pt x="195" y="100"/>
                  </a:lnTo>
                  <a:lnTo>
                    <a:pt x="195" y="104"/>
                  </a:lnTo>
                  <a:lnTo>
                    <a:pt x="193" y="106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3" y="109"/>
                  </a:lnTo>
                  <a:lnTo>
                    <a:pt x="196" y="115"/>
                  </a:lnTo>
                  <a:lnTo>
                    <a:pt x="204" y="118"/>
                  </a:lnTo>
                  <a:lnTo>
                    <a:pt x="202" y="118"/>
                  </a:lnTo>
                  <a:lnTo>
                    <a:pt x="202" y="118"/>
                  </a:lnTo>
                  <a:lnTo>
                    <a:pt x="204" y="129"/>
                  </a:lnTo>
                  <a:lnTo>
                    <a:pt x="204" y="129"/>
                  </a:lnTo>
                  <a:lnTo>
                    <a:pt x="213" y="155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33" y="171"/>
                  </a:lnTo>
                  <a:lnTo>
                    <a:pt x="233" y="171"/>
                  </a:lnTo>
                  <a:lnTo>
                    <a:pt x="235" y="171"/>
                  </a:lnTo>
                  <a:lnTo>
                    <a:pt x="238" y="171"/>
                  </a:lnTo>
                  <a:lnTo>
                    <a:pt x="249" y="178"/>
                  </a:lnTo>
                  <a:lnTo>
                    <a:pt x="249" y="178"/>
                  </a:lnTo>
                  <a:lnTo>
                    <a:pt x="253" y="182"/>
                  </a:lnTo>
                  <a:lnTo>
                    <a:pt x="255" y="186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202"/>
                  </a:lnTo>
                  <a:lnTo>
                    <a:pt x="256" y="206"/>
                  </a:lnTo>
                  <a:lnTo>
                    <a:pt x="253" y="209"/>
                  </a:lnTo>
                  <a:lnTo>
                    <a:pt x="249" y="211"/>
                  </a:lnTo>
                  <a:lnTo>
                    <a:pt x="249" y="211"/>
                  </a:lnTo>
                  <a:lnTo>
                    <a:pt x="245" y="215"/>
                  </a:lnTo>
                  <a:lnTo>
                    <a:pt x="242" y="218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25" y="224"/>
                  </a:lnTo>
                  <a:lnTo>
                    <a:pt x="222" y="227"/>
                  </a:lnTo>
                  <a:lnTo>
                    <a:pt x="215" y="233"/>
                  </a:lnTo>
                  <a:lnTo>
                    <a:pt x="211" y="242"/>
                  </a:lnTo>
                  <a:lnTo>
                    <a:pt x="211" y="242"/>
                  </a:lnTo>
                  <a:lnTo>
                    <a:pt x="207" y="247"/>
                  </a:lnTo>
                  <a:lnTo>
                    <a:pt x="204" y="253"/>
                  </a:lnTo>
                  <a:lnTo>
                    <a:pt x="193" y="266"/>
                  </a:lnTo>
                  <a:lnTo>
                    <a:pt x="193" y="266"/>
                  </a:lnTo>
                  <a:lnTo>
                    <a:pt x="182" y="271"/>
                  </a:lnTo>
                  <a:lnTo>
                    <a:pt x="176" y="275"/>
                  </a:lnTo>
                  <a:lnTo>
                    <a:pt x="176" y="277"/>
                  </a:lnTo>
                  <a:lnTo>
                    <a:pt x="176" y="277"/>
                  </a:lnTo>
                  <a:lnTo>
                    <a:pt x="176" y="286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4" y="295"/>
                  </a:lnTo>
                  <a:lnTo>
                    <a:pt x="187" y="297"/>
                  </a:lnTo>
                  <a:lnTo>
                    <a:pt x="193" y="302"/>
                  </a:lnTo>
                  <a:lnTo>
                    <a:pt x="193" y="302"/>
                  </a:lnTo>
                  <a:lnTo>
                    <a:pt x="195" y="304"/>
                  </a:lnTo>
                  <a:lnTo>
                    <a:pt x="196" y="306"/>
                  </a:lnTo>
                  <a:lnTo>
                    <a:pt x="196" y="313"/>
                  </a:lnTo>
                  <a:lnTo>
                    <a:pt x="196" y="313"/>
                  </a:lnTo>
                  <a:lnTo>
                    <a:pt x="195" y="324"/>
                  </a:lnTo>
                  <a:lnTo>
                    <a:pt x="195" y="327"/>
                  </a:lnTo>
                  <a:lnTo>
                    <a:pt x="193" y="329"/>
                  </a:lnTo>
                  <a:lnTo>
                    <a:pt x="193" y="329"/>
                  </a:lnTo>
                  <a:lnTo>
                    <a:pt x="189" y="331"/>
                  </a:lnTo>
                  <a:lnTo>
                    <a:pt x="186" y="333"/>
                  </a:lnTo>
                  <a:lnTo>
                    <a:pt x="182" y="335"/>
                  </a:lnTo>
                  <a:lnTo>
                    <a:pt x="180" y="338"/>
                  </a:lnTo>
                  <a:lnTo>
                    <a:pt x="180" y="338"/>
                  </a:lnTo>
                  <a:lnTo>
                    <a:pt x="176" y="338"/>
                  </a:lnTo>
                  <a:lnTo>
                    <a:pt x="175" y="340"/>
                  </a:lnTo>
                  <a:lnTo>
                    <a:pt x="167" y="344"/>
                  </a:lnTo>
                  <a:lnTo>
                    <a:pt x="167" y="344"/>
                  </a:lnTo>
                  <a:lnTo>
                    <a:pt x="166" y="344"/>
                  </a:lnTo>
                  <a:lnTo>
                    <a:pt x="164" y="347"/>
                  </a:lnTo>
                  <a:lnTo>
                    <a:pt x="160" y="349"/>
                  </a:lnTo>
                  <a:lnTo>
                    <a:pt x="158" y="351"/>
                  </a:lnTo>
                  <a:lnTo>
                    <a:pt x="158" y="351"/>
                  </a:lnTo>
                  <a:lnTo>
                    <a:pt x="151" y="353"/>
                  </a:lnTo>
                  <a:lnTo>
                    <a:pt x="147" y="355"/>
                  </a:lnTo>
                  <a:lnTo>
                    <a:pt x="146" y="356"/>
                  </a:lnTo>
                  <a:lnTo>
                    <a:pt x="146" y="356"/>
                  </a:lnTo>
                  <a:lnTo>
                    <a:pt x="142" y="358"/>
                  </a:lnTo>
                  <a:lnTo>
                    <a:pt x="140" y="358"/>
                  </a:lnTo>
                  <a:lnTo>
                    <a:pt x="135" y="356"/>
                  </a:lnTo>
                  <a:lnTo>
                    <a:pt x="135" y="356"/>
                  </a:lnTo>
                  <a:lnTo>
                    <a:pt x="133" y="356"/>
                  </a:lnTo>
                  <a:lnTo>
                    <a:pt x="129" y="360"/>
                  </a:lnTo>
                  <a:lnTo>
                    <a:pt x="127" y="366"/>
                  </a:lnTo>
                  <a:lnTo>
                    <a:pt x="126" y="369"/>
                  </a:lnTo>
                  <a:lnTo>
                    <a:pt x="126" y="369"/>
                  </a:lnTo>
                  <a:lnTo>
                    <a:pt x="126" y="371"/>
                  </a:lnTo>
                  <a:lnTo>
                    <a:pt x="122" y="376"/>
                  </a:lnTo>
                  <a:lnTo>
                    <a:pt x="118" y="380"/>
                  </a:lnTo>
                  <a:lnTo>
                    <a:pt x="118" y="380"/>
                  </a:lnTo>
                  <a:lnTo>
                    <a:pt x="109" y="387"/>
                  </a:lnTo>
                  <a:lnTo>
                    <a:pt x="98" y="395"/>
                  </a:lnTo>
                  <a:lnTo>
                    <a:pt x="98" y="395"/>
                  </a:lnTo>
                  <a:lnTo>
                    <a:pt x="97" y="398"/>
                  </a:lnTo>
                  <a:lnTo>
                    <a:pt x="97" y="400"/>
                  </a:lnTo>
                  <a:lnTo>
                    <a:pt x="97" y="406"/>
                  </a:lnTo>
                  <a:lnTo>
                    <a:pt x="97" y="407"/>
                  </a:lnTo>
                  <a:lnTo>
                    <a:pt x="97" y="407"/>
                  </a:lnTo>
                  <a:lnTo>
                    <a:pt x="93" y="409"/>
                  </a:lnTo>
                  <a:lnTo>
                    <a:pt x="91" y="409"/>
                  </a:lnTo>
                  <a:lnTo>
                    <a:pt x="86" y="407"/>
                  </a:lnTo>
                  <a:lnTo>
                    <a:pt x="82" y="406"/>
                  </a:lnTo>
                  <a:lnTo>
                    <a:pt x="77" y="406"/>
                  </a:lnTo>
                  <a:lnTo>
                    <a:pt x="77" y="406"/>
                  </a:lnTo>
                  <a:lnTo>
                    <a:pt x="69" y="406"/>
                  </a:lnTo>
                  <a:lnTo>
                    <a:pt x="64" y="409"/>
                  </a:lnTo>
                  <a:lnTo>
                    <a:pt x="57" y="415"/>
                  </a:lnTo>
                  <a:lnTo>
                    <a:pt x="57" y="415"/>
                  </a:lnTo>
                  <a:lnTo>
                    <a:pt x="51" y="418"/>
                  </a:lnTo>
                  <a:lnTo>
                    <a:pt x="47" y="420"/>
                  </a:lnTo>
                  <a:lnTo>
                    <a:pt x="46" y="420"/>
                  </a:lnTo>
                  <a:lnTo>
                    <a:pt x="46" y="420"/>
                  </a:lnTo>
                  <a:lnTo>
                    <a:pt x="40" y="416"/>
                  </a:lnTo>
                  <a:lnTo>
                    <a:pt x="37" y="416"/>
                  </a:lnTo>
                  <a:lnTo>
                    <a:pt x="37" y="416"/>
                  </a:lnTo>
                  <a:lnTo>
                    <a:pt x="37" y="416"/>
                  </a:lnTo>
                  <a:lnTo>
                    <a:pt x="27" y="416"/>
                  </a:lnTo>
                  <a:lnTo>
                    <a:pt x="22" y="416"/>
                  </a:lnTo>
                  <a:lnTo>
                    <a:pt x="22" y="416"/>
                  </a:lnTo>
                  <a:lnTo>
                    <a:pt x="18" y="420"/>
                  </a:lnTo>
                  <a:lnTo>
                    <a:pt x="18" y="422"/>
                  </a:lnTo>
                  <a:lnTo>
                    <a:pt x="18" y="431"/>
                  </a:lnTo>
                  <a:lnTo>
                    <a:pt x="18" y="431"/>
                  </a:lnTo>
                  <a:lnTo>
                    <a:pt x="18" y="433"/>
                  </a:lnTo>
                  <a:lnTo>
                    <a:pt x="18" y="435"/>
                  </a:lnTo>
                  <a:lnTo>
                    <a:pt x="22" y="435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4" y="438"/>
                  </a:lnTo>
                  <a:lnTo>
                    <a:pt x="22" y="440"/>
                  </a:lnTo>
                  <a:lnTo>
                    <a:pt x="20" y="440"/>
                  </a:lnTo>
                  <a:lnTo>
                    <a:pt x="17" y="444"/>
                  </a:lnTo>
                  <a:lnTo>
                    <a:pt x="15" y="447"/>
                  </a:lnTo>
                  <a:lnTo>
                    <a:pt x="15" y="447"/>
                  </a:lnTo>
                  <a:lnTo>
                    <a:pt x="9" y="458"/>
                  </a:lnTo>
                  <a:lnTo>
                    <a:pt x="9" y="458"/>
                  </a:lnTo>
                  <a:lnTo>
                    <a:pt x="9" y="458"/>
                  </a:lnTo>
                  <a:lnTo>
                    <a:pt x="13" y="460"/>
                  </a:lnTo>
                  <a:lnTo>
                    <a:pt x="20" y="464"/>
                  </a:lnTo>
                  <a:lnTo>
                    <a:pt x="31" y="469"/>
                  </a:lnTo>
                  <a:lnTo>
                    <a:pt x="31" y="469"/>
                  </a:lnTo>
                  <a:lnTo>
                    <a:pt x="35" y="469"/>
                  </a:lnTo>
                  <a:lnTo>
                    <a:pt x="31" y="469"/>
                  </a:lnTo>
                  <a:lnTo>
                    <a:pt x="31" y="471"/>
                  </a:lnTo>
                  <a:lnTo>
                    <a:pt x="31" y="471"/>
                  </a:lnTo>
                  <a:lnTo>
                    <a:pt x="27" y="473"/>
                  </a:lnTo>
                  <a:lnTo>
                    <a:pt x="26" y="475"/>
                  </a:lnTo>
                  <a:lnTo>
                    <a:pt x="18" y="475"/>
                  </a:lnTo>
                  <a:lnTo>
                    <a:pt x="18" y="475"/>
                  </a:lnTo>
                  <a:lnTo>
                    <a:pt x="15" y="475"/>
                  </a:lnTo>
                  <a:lnTo>
                    <a:pt x="13" y="476"/>
                  </a:lnTo>
                  <a:lnTo>
                    <a:pt x="9" y="480"/>
                  </a:lnTo>
                  <a:lnTo>
                    <a:pt x="9" y="480"/>
                  </a:lnTo>
                  <a:lnTo>
                    <a:pt x="6" y="484"/>
                  </a:lnTo>
                  <a:lnTo>
                    <a:pt x="2" y="491"/>
                  </a:lnTo>
                  <a:lnTo>
                    <a:pt x="2" y="491"/>
                  </a:lnTo>
                  <a:lnTo>
                    <a:pt x="0" y="493"/>
                  </a:lnTo>
                  <a:lnTo>
                    <a:pt x="2" y="495"/>
                  </a:lnTo>
                  <a:lnTo>
                    <a:pt x="2" y="498"/>
                  </a:lnTo>
                  <a:lnTo>
                    <a:pt x="2" y="498"/>
                  </a:lnTo>
                  <a:lnTo>
                    <a:pt x="0" y="502"/>
                  </a:lnTo>
                  <a:lnTo>
                    <a:pt x="0" y="502"/>
                  </a:lnTo>
                  <a:lnTo>
                    <a:pt x="4" y="502"/>
                  </a:lnTo>
                  <a:lnTo>
                    <a:pt x="8" y="505"/>
                  </a:lnTo>
                  <a:lnTo>
                    <a:pt x="8" y="505"/>
                  </a:lnTo>
                  <a:lnTo>
                    <a:pt x="9" y="509"/>
                  </a:lnTo>
                  <a:lnTo>
                    <a:pt x="9" y="513"/>
                  </a:lnTo>
                  <a:lnTo>
                    <a:pt x="13" y="516"/>
                  </a:lnTo>
                  <a:lnTo>
                    <a:pt x="15" y="518"/>
                  </a:lnTo>
                  <a:lnTo>
                    <a:pt x="15" y="518"/>
                  </a:lnTo>
                  <a:lnTo>
                    <a:pt x="26" y="524"/>
                  </a:lnTo>
                  <a:lnTo>
                    <a:pt x="26" y="524"/>
                  </a:lnTo>
                  <a:lnTo>
                    <a:pt x="31" y="527"/>
                  </a:lnTo>
                  <a:lnTo>
                    <a:pt x="37" y="531"/>
                  </a:lnTo>
                  <a:lnTo>
                    <a:pt x="42" y="531"/>
                  </a:lnTo>
                  <a:lnTo>
                    <a:pt x="42" y="531"/>
                  </a:lnTo>
                  <a:lnTo>
                    <a:pt x="57" y="531"/>
                  </a:lnTo>
                  <a:lnTo>
                    <a:pt x="60" y="527"/>
                  </a:lnTo>
                  <a:lnTo>
                    <a:pt x="64" y="531"/>
                  </a:lnTo>
                  <a:lnTo>
                    <a:pt x="64" y="531"/>
                  </a:lnTo>
                  <a:lnTo>
                    <a:pt x="80" y="535"/>
                  </a:lnTo>
                  <a:lnTo>
                    <a:pt x="87" y="535"/>
                  </a:lnTo>
                  <a:lnTo>
                    <a:pt x="93" y="535"/>
                  </a:lnTo>
                  <a:lnTo>
                    <a:pt x="93" y="535"/>
                  </a:lnTo>
                  <a:lnTo>
                    <a:pt x="102" y="533"/>
                  </a:lnTo>
                  <a:lnTo>
                    <a:pt x="107" y="533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22" y="524"/>
                  </a:lnTo>
                  <a:lnTo>
                    <a:pt x="129" y="520"/>
                  </a:lnTo>
                  <a:lnTo>
                    <a:pt x="133" y="518"/>
                  </a:lnTo>
                  <a:lnTo>
                    <a:pt x="133" y="518"/>
                  </a:lnTo>
                  <a:lnTo>
                    <a:pt x="149" y="515"/>
                  </a:lnTo>
                  <a:lnTo>
                    <a:pt x="158" y="509"/>
                  </a:lnTo>
                  <a:lnTo>
                    <a:pt x="166" y="505"/>
                  </a:lnTo>
                  <a:lnTo>
                    <a:pt x="166" y="505"/>
                  </a:lnTo>
                  <a:lnTo>
                    <a:pt x="169" y="502"/>
                  </a:lnTo>
                  <a:lnTo>
                    <a:pt x="175" y="500"/>
                  </a:lnTo>
                  <a:lnTo>
                    <a:pt x="182" y="498"/>
                  </a:lnTo>
                  <a:lnTo>
                    <a:pt x="187" y="495"/>
                  </a:lnTo>
                  <a:lnTo>
                    <a:pt x="187" y="495"/>
                  </a:lnTo>
                  <a:lnTo>
                    <a:pt x="193" y="491"/>
                  </a:lnTo>
                  <a:lnTo>
                    <a:pt x="200" y="482"/>
                  </a:lnTo>
                  <a:lnTo>
                    <a:pt x="204" y="475"/>
                  </a:lnTo>
                  <a:lnTo>
                    <a:pt x="211" y="467"/>
                  </a:lnTo>
                  <a:lnTo>
                    <a:pt x="211" y="467"/>
                  </a:lnTo>
                  <a:lnTo>
                    <a:pt x="225" y="455"/>
                  </a:lnTo>
                  <a:lnTo>
                    <a:pt x="233" y="451"/>
                  </a:lnTo>
                  <a:lnTo>
                    <a:pt x="238" y="447"/>
                  </a:lnTo>
                  <a:lnTo>
                    <a:pt x="238" y="447"/>
                  </a:lnTo>
                  <a:lnTo>
                    <a:pt x="245" y="449"/>
                  </a:lnTo>
                  <a:lnTo>
                    <a:pt x="253" y="453"/>
                  </a:lnTo>
                  <a:lnTo>
                    <a:pt x="260" y="456"/>
                  </a:lnTo>
                  <a:lnTo>
                    <a:pt x="269" y="458"/>
                  </a:lnTo>
                  <a:lnTo>
                    <a:pt x="269" y="458"/>
                  </a:lnTo>
                  <a:lnTo>
                    <a:pt x="274" y="458"/>
                  </a:lnTo>
                  <a:lnTo>
                    <a:pt x="280" y="458"/>
                  </a:lnTo>
                  <a:lnTo>
                    <a:pt x="285" y="456"/>
                  </a:lnTo>
                  <a:lnTo>
                    <a:pt x="291" y="451"/>
                  </a:lnTo>
                  <a:lnTo>
                    <a:pt x="291" y="451"/>
                  </a:lnTo>
                  <a:lnTo>
                    <a:pt x="293" y="449"/>
                  </a:lnTo>
                  <a:lnTo>
                    <a:pt x="294" y="447"/>
                  </a:lnTo>
                  <a:lnTo>
                    <a:pt x="296" y="447"/>
                  </a:lnTo>
                  <a:lnTo>
                    <a:pt x="300" y="447"/>
                  </a:lnTo>
                  <a:lnTo>
                    <a:pt x="309" y="447"/>
                  </a:lnTo>
                  <a:lnTo>
                    <a:pt x="314" y="451"/>
                  </a:lnTo>
                  <a:lnTo>
                    <a:pt x="314" y="451"/>
                  </a:lnTo>
                  <a:lnTo>
                    <a:pt x="322" y="455"/>
                  </a:lnTo>
                  <a:lnTo>
                    <a:pt x="334" y="458"/>
                  </a:lnTo>
                  <a:lnTo>
                    <a:pt x="344" y="458"/>
                  </a:lnTo>
                  <a:lnTo>
                    <a:pt x="354" y="458"/>
                  </a:lnTo>
                  <a:lnTo>
                    <a:pt x="354" y="458"/>
                  </a:lnTo>
                  <a:lnTo>
                    <a:pt x="360" y="456"/>
                  </a:lnTo>
                  <a:lnTo>
                    <a:pt x="363" y="453"/>
                  </a:lnTo>
                  <a:lnTo>
                    <a:pt x="374" y="444"/>
                  </a:lnTo>
                  <a:lnTo>
                    <a:pt x="374" y="444"/>
                  </a:lnTo>
                  <a:lnTo>
                    <a:pt x="378" y="438"/>
                  </a:lnTo>
                  <a:lnTo>
                    <a:pt x="385" y="435"/>
                  </a:lnTo>
                  <a:lnTo>
                    <a:pt x="393" y="429"/>
                  </a:lnTo>
                  <a:lnTo>
                    <a:pt x="398" y="422"/>
                  </a:lnTo>
                  <a:lnTo>
                    <a:pt x="398" y="422"/>
                  </a:lnTo>
                  <a:lnTo>
                    <a:pt x="400" y="416"/>
                  </a:lnTo>
                  <a:lnTo>
                    <a:pt x="402" y="413"/>
                  </a:lnTo>
                  <a:lnTo>
                    <a:pt x="402" y="407"/>
                  </a:lnTo>
                  <a:lnTo>
                    <a:pt x="402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396" y="406"/>
                  </a:lnTo>
                  <a:lnTo>
                    <a:pt x="394" y="407"/>
                  </a:lnTo>
                  <a:lnTo>
                    <a:pt x="393" y="407"/>
                  </a:lnTo>
                  <a:lnTo>
                    <a:pt x="393" y="402"/>
                  </a:lnTo>
                  <a:lnTo>
                    <a:pt x="393" y="402"/>
                  </a:lnTo>
                  <a:lnTo>
                    <a:pt x="396" y="393"/>
                  </a:lnTo>
                  <a:lnTo>
                    <a:pt x="396" y="393"/>
                  </a:lnTo>
                  <a:lnTo>
                    <a:pt x="402" y="358"/>
                  </a:lnTo>
                  <a:lnTo>
                    <a:pt x="402" y="358"/>
                  </a:lnTo>
                  <a:lnTo>
                    <a:pt x="403" y="344"/>
                  </a:lnTo>
                  <a:lnTo>
                    <a:pt x="405" y="331"/>
                  </a:lnTo>
                  <a:lnTo>
                    <a:pt x="409" y="324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14" y="315"/>
                  </a:lnTo>
                  <a:lnTo>
                    <a:pt x="418" y="307"/>
                  </a:lnTo>
                  <a:lnTo>
                    <a:pt x="420" y="302"/>
                  </a:lnTo>
                  <a:lnTo>
                    <a:pt x="420" y="297"/>
                  </a:lnTo>
                  <a:lnTo>
                    <a:pt x="420" y="295"/>
                  </a:lnTo>
                  <a:lnTo>
                    <a:pt x="420" y="295"/>
                  </a:lnTo>
                  <a:lnTo>
                    <a:pt x="416" y="291"/>
                  </a:lnTo>
                  <a:lnTo>
                    <a:pt x="414" y="291"/>
                  </a:lnTo>
                  <a:lnTo>
                    <a:pt x="413" y="289"/>
                  </a:lnTo>
                  <a:lnTo>
                    <a:pt x="413" y="287"/>
                  </a:lnTo>
                  <a:lnTo>
                    <a:pt x="413" y="287"/>
                  </a:lnTo>
                  <a:lnTo>
                    <a:pt x="413" y="284"/>
                  </a:lnTo>
                  <a:lnTo>
                    <a:pt x="400" y="277"/>
                  </a:lnTo>
                  <a:lnTo>
                    <a:pt x="400" y="277"/>
                  </a:lnTo>
                  <a:lnTo>
                    <a:pt x="396" y="277"/>
                  </a:lnTo>
                  <a:lnTo>
                    <a:pt x="396" y="277"/>
                  </a:lnTo>
                  <a:lnTo>
                    <a:pt x="394" y="277"/>
                  </a:lnTo>
                  <a:lnTo>
                    <a:pt x="393" y="277"/>
                  </a:lnTo>
                  <a:lnTo>
                    <a:pt x="389" y="277"/>
                  </a:lnTo>
                  <a:lnTo>
                    <a:pt x="389" y="275"/>
                  </a:lnTo>
                  <a:lnTo>
                    <a:pt x="389" y="275"/>
                  </a:lnTo>
                  <a:lnTo>
                    <a:pt x="391" y="269"/>
                  </a:lnTo>
                  <a:lnTo>
                    <a:pt x="391" y="269"/>
                  </a:lnTo>
                  <a:lnTo>
                    <a:pt x="394" y="260"/>
                  </a:lnTo>
                  <a:lnTo>
                    <a:pt x="396" y="253"/>
                  </a:lnTo>
                  <a:lnTo>
                    <a:pt x="396" y="253"/>
                  </a:lnTo>
                  <a:lnTo>
                    <a:pt x="403" y="246"/>
                  </a:lnTo>
                  <a:lnTo>
                    <a:pt x="411" y="238"/>
                  </a:lnTo>
                  <a:lnTo>
                    <a:pt x="416" y="233"/>
                  </a:lnTo>
                  <a:lnTo>
                    <a:pt x="416" y="233"/>
                  </a:lnTo>
                  <a:lnTo>
                    <a:pt x="418" y="231"/>
                  </a:lnTo>
                  <a:lnTo>
                    <a:pt x="422" y="227"/>
                  </a:lnTo>
                  <a:lnTo>
                    <a:pt x="433" y="222"/>
                  </a:lnTo>
                  <a:lnTo>
                    <a:pt x="433" y="222"/>
                  </a:lnTo>
                  <a:lnTo>
                    <a:pt x="434" y="220"/>
                  </a:lnTo>
                  <a:lnTo>
                    <a:pt x="429" y="200"/>
                  </a:lnTo>
                  <a:lnTo>
                    <a:pt x="416" y="191"/>
                  </a:lnTo>
                  <a:lnTo>
                    <a:pt x="416" y="191"/>
                  </a:lnTo>
                  <a:lnTo>
                    <a:pt x="416" y="191"/>
                  </a:lnTo>
                  <a:lnTo>
                    <a:pt x="416" y="1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2" name="Freeform 54">
              <a:extLst>
                <a:ext uri="{FF2B5EF4-FFF2-40B4-BE49-F238E27FC236}">
                  <a16:creationId xmlns:a16="http://schemas.microsoft.com/office/drawing/2014/main" id="{E25BDCB3-1F00-0C42-A183-1D5CF3DC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6944" y="5079782"/>
              <a:ext cx="215796" cy="153074"/>
            </a:xfrm>
            <a:custGeom>
              <a:avLst/>
              <a:gdLst>
                <a:gd name="T0" fmla="*/ 142 w 149"/>
                <a:gd name="T1" fmla="*/ 0 h 107"/>
                <a:gd name="T2" fmla="*/ 138 w 149"/>
                <a:gd name="T3" fmla="*/ 2 h 107"/>
                <a:gd name="T4" fmla="*/ 127 w 149"/>
                <a:gd name="T5" fmla="*/ 4 h 107"/>
                <a:gd name="T6" fmla="*/ 126 w 149"/>
                <a:gd name="T7" fmla="*/ 4 h 107"/>
                <a:gd name="T8" fmla="*/ 120 w 149"/>
                <a:gd name="T9" fmla="*/ 11 h 107"/>
                <a:gd name="T10" fmla="*/ 118 w 149"/>
                <a:gd name="T11" fmla="*/ 13 h 107"/>
                <a:gd name="T12" fmla="*/ 115 w 149"/>
                <a:gd name="T13" fmla="*/ 16 h 107"/>
                <a:gd name="T14" fmla="*/ 108 w 149"/>
                <a:gd name="T15" fmla="*/ 16 h 107"/>
                <a:gd name="T16" fmla="*/ 97 w 149"/>
                <a:gd name="T17" fmla="*/ 16 h 107"/>
                <a:gd name="T18" fmla="*/ 93 w 149"/>
                <a:gd name="T19" fmla="*/ 15 h 107"/>
                <a:gd name="T20" fmla="*/ 80 w 149"/>
                <a:gd name="T21" fmla="*/ 11 h 107"/>
                <a:gd name="T22" fmla="*/ 69 w 149"/>
                <a:gd name="T23" fmla="*/ 4 h 107"/>
                <a:gd name="T24" fmla="*/ 60 w 149"/>
                <a:gd name="T25" fmla="*/ 2 h 107"/>
                <a:gd name="T26" fmla="*/ 60 w 149"/>
                <a:gd name="T27" fmla="*/ 2 h 107"/>
                <a:gd name="T28" fmla="*/ 57 w 149"/>
                <a:gd name="T29" fmla="*/ 6 h 107"/>
                <a:gd name="T30" fmla="*/ 51 w 149"/>
                <a:gd name="T31" fmla="*/ 11 h 107"/>
                <a:gd name="T32" fmla="*/ 44 w 149"/>
                <a:gd name="T33" fmla="*/ 11 h 107"/>
                <a:gd name="T34" fmla="*/ 37 w 149"/>
                <a:gd name="T35" fmla="*/ 6 h 107"/>
                <a:gd name="T36" fmla="*/ 35 w 149"/>
                <a:gd name="T37" fmla="*/ 9 h 107"/>
                <a:gd name="T38" fmla="*/ 35 w 149"/>
                <a:gd name="T39" fmla="*/ 13 h 107"/>
                <a:gd name="T40" fmla="*/ 37 w 149"/>
                <a:gd name="T41" fmla="*/ 18 h 107"/>
                <a:gd name="T42" fmla="*/ 31 w 149"/>
                <a:gd name="T43" fmla="*/ 20 h 107"/>
                <a:gd name="T44" fmla="*/ 24 w 149"/>
                <a:gd name="T45" fmla="*/ 24 h 107"/>
                <a:gd name="T46" fmla="*/ 19 w 149"/>
                <a:gd name="T47" fmla="*/ 31 h 107"/>
                <a:gd name="T48" fmla="*/ 11 w 149"/>
                <a:gd name="T49" fmla="*/ 36 h 107"/>
                <a:gd name="T50" fmla="*/ 11 w 149"/>
                <a:gd name="T51" fmla="*/ 44 h 107"/>
                <a:gd name="T52" fmla="*/ 11 w 149"/>
                <a:gd name="T53" fmla="*/ 46 h 107"/>
                <a:gd name="T54" fmla="*/ 0 w 149"/>
                <a:gd name="T55" fmla="*/ 60 h 107"/>
                <a:gd name="T56" fmla="*/ 2 w 149"/>
                <a:gd name="T57" fmla="*/ 62 h 107"/>
                <a:gd name="T58" fmla="*/ 11 w 149"/>
                <a:gd name="T59" fmla="*/ 75 h 107"/>
                <a:gd name="T60" fmla="*/ 15 w 149"/>
                <a:gd name="T61" fmla="*/ 78 h 107"/>
                <a:gd name="T62" fmla="*/ 20 w 149"/>
                <a:gd name="T63" fmla="*/ 84 h 107"/>
                <a:gd name="T64" fmla="*/ 22 w 149"/>
                <a:gd name="T65" fmla="*/ 93 h 107"/>
                <a:gd name="T66" fmla="*/ 24 w 149"/>
                <a:gd name="T67" fmla="*/ 96 h 107"/>
                <a:gd name="T68" fmla="*/ 33 w 149"/>
                <a:gd name="T69" fmla="*/ 102 h 107"/>
                <a:gd name="T70" fmla="*/ 38 w 149"/>
                <a:gd name="T71" fmla="*/ 105 h 107"/>
                <a:gd name="T72" fmla="*/ 44 w 149"/>
                <a:gd name="T73" fmla="*/ 107 h 107"/>
                <a:gd name="T74" fmla="*/ 53 w 149"/>
                <a:gd name="T75" fmla="*/ 102 h 107"/>
                <a:gd name="T76" fmla="*/ 84 w 149"/>
                <a:gd name="T77" fmla="*/ 87 h 107"/>
                <a:gd name="T78" fmla="*/ 89 w 149"/>
                <a:gd name="T79" fmla="*/ 84 h 107"/>
                <a:gd name="T80" fmla="*/ 93 w 149"/>
                <a:gd name="T81" fmla="*/ 80 h 107"/>
                <a:gd name="T82" fmla="*/ 93 w 149"/>
                <a:gd name="T83" fmla="*/ 76 h 107"/>
                <a:gd name="T84" fmla="*/ 95 w 149"/>
                <a:gd name="T85" fmla="*/ 64 h 107"/>
                <a:gd name="T86" fmla="*/ 102 w 149"/>
                <a:gd name="T87" fmla="*/ 55 h 107"/>
                <a:gd name="T88" fmla="*/ 106 w 149"/>
                <a:gd name="T89" fmla="*/ 53 h 107"/>
                <a:gd name="T90" fmla="*/ 113 w 149"/>
                <a:gd name="T91" fmla="*/ 47 h 107"/>
                <a:gd name="T92" fmla="*/ 115 w 149"/>
                <a:gd name="T93" fmla="*/ 44 h 107"/>
                <a:gd name="T94" fmla="*/ 131 w 149"/>
                <a:gd name="T95" fmla="*/ 22 h 107"/>
                <a:gd name="T96" fmla="*/ 135 w 149"/>
                <a:gd name="T97" fmla="*/ 18 h 107"/>
                <a:gd name="T98" fmla="*/ 146 w 149"/>
                <a:gd name="T99" fmla="*/ 18 h 107"/>
                <a:gd name="T100" fmla="*/ 149 w 149"/>
                <a:gd name="T101" fmla="*/ 4 h 107"/>
                <a:gd name="T102" fmla="*/ 146 w 149"/>
                <a:gd name="T103" fmla="*/ 0 h 107"/>
                <a:gd name="T104" fmla="*/ 142 w 149"/>
                <a:gd name="T105" fmla="*/ 0 h 107"/>
                <a:gd name="T106" fmla="*/ 142 w 149"/>
                <a:gd name="T10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9" h="107">
                  <a:moveTo>
                    <a:pt x="142" y="0"/>
                  </a:moveTo>
                  <a:lnTo>
                    <a:pt x="142" y="0"/>
                  </a:lnTo>
                  <a:lnTo>
                    <a:pt x="142" y="0"/>
                  </a:lnTo>
                  <a:lnTo>
                    <a:pt x="138" y="2"/>
                  </a:lnTo>
                  <a:lnTo>
                    <a:pt x="135" y="2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6" y="4"/>
                  </a:lnTo>
                  <a:lnTo>
                    <a:pt x="122" y="6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18" y="13"/>
                  </a:lnTo>
                  <a:lnTo>
                    <a:pt x="117" y="15"/>
                  </a:lnTo>
                  <a:lnTo>
                    <a:pt x="115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2" y="16"/>
                  </a:lnTo>
                  <a:lnTo>
                    <a:pt x="97" y="16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89" y="13"/>
                  </a:lnTo>
                  <a:lnTo>
                    <a:pt x="80" y="11"/>
                  </a:lnTo>
                  <a:lnTo>
                    <a:pt x="73" y="6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57" y="6"/>
                  </a:lnTo>
                  <a:lnTo>
                    <a:pt x="55" y="9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44" y="11"/>
                  </a:lnTo>
                  <a:lnTo>
                    <a:pt x="40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24" y="24"/>
                  </a:lnTo>
                  <a:lnTo>
                    <a:pt x="20" y="26"/>
                  </a:lnTo>
                  <a:lnTo>
                    <a:pt x="19" y="31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40"/>
                  </a:lnTo>
                  <a:lnTo>
                    <a:pt x="11" y="44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8" y="69"/>
                  </a:lnTo>
                  <a:lnTo>
                    <a:pt x="11" y="75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9" y="80"/>
                  </a:lnTo>
                  <a:lnTo>
                    <a:pt x="20" y="84"/>
                  </a:lnTo>
                  <a:lnTo>
                    <a:pt x="22" y="87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4" y="96"/>
                  </a:lnTo>
                  <a:lnTo>
                    <a:pt x="29" y="100"/>
                  </a:lnTo>
                  <a:lnTo>
                    <a:pt x="33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42" y="107"/>
                  </a:lnTo>
                  <a:lnTo>
                    <a:pt x="44" y="107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69" y="96"/>
                  </a:lnTo>
                  <a:lnTo>
                    <a:pt x="84" y="87"/>
                  </a:lnTo>
                  <a:lnTo>
                    <a:pt x="84" y="87"/>
                  </a:lnTo>
                  <a:lnTo>
                    <a:pt x="89" y="84"/>
                  </a:lnTo>
                  <a:lnTo>
                    <a:pt x="93" y="84"/>
                  </a:lnTo>
                  <a:lnTo>
                    <a:pt x="93" y="80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3"/>
                  </a:lnTo>
                  <a:lnTo>
                    <a:pt x="95" y="64"/>
                  </a:lnTo>
                  <a:lnTo>
                    <a:pt x="98" y="58"/>
                  </a:lnTo>
                  <a:lnTo>
                    <a:pt x="102" y="55"/>
                  </a:lnTo>
                  <a:lnTo>
                    <a:pt x="102" y="55"/>
                  </a:lnTo>
                  <a:lnTo>
                    <a:pt x="106" y="53"/>
                  </a:lnTo>
                  <a:lnTo>
                    <a:pt x="108" y="47"/>
                  </a:lnTo>
                  <a:lnTo>
                    <a:pt x="113" y="47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22" y="31"/>
                  </a:lnTo>
                  <a:lnTo>
                    <a:pt x="131" y="22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40" y="16"/>
                  </a:lnTo>
                  <a:lnTo>
                    <a:pt x="146" y="18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7" y="2"/>
                  </a:lnTo>
                  <a:lnTo>
                    <a:pt x="146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3" name="Freeform 55">
              <a:extLst>
                <a:ext uri="{FF2B5EF4-FFF2-40B4-BE49-F238E27FC236}">
                  <a16:creationId xmlns:a16="http://schemas.microsoft.com/office/drawing/2014/main" id="{AC1B059C-3C02-9044-BDD7-A98AE5EE3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7705" y="4993947"/>
              <a:ext cx="286763" cy="620879"/>
            </a:xfrm>
            <a:custGeom>
              <a:avLst/>
              <a:gdLst>
                <a:gd name="T0" fmla="*/ 173 w 198"/>
                <a:gd name="T1" fmla="*/ 31 h 434"/>
                <a:gd name="T2" fmla="*/ 162 w 198"/>
                <a:gd name="T3" fmla="*/ 13 h 434"/>
                <a:gd name="T4" fmla="*/ 151 w 198"/>
                <a:gd name="T5" fmla="*/ 7 h 434"/>
                <a:gd name="T6" fmla="*/ 142 w 198"/>
                <a:gd name="T7" fmla="*/ 2 h 434"/>
                <a:gd name="T8" fmla="*/ 135 w 198"/>
                <a:gd name="T9" fmla="*/ 22 h 434"/>
                <a:gd name="T10" fmla="*/ 124 w 198"/>
                <a:gd name="T11" fmla="*/ 36 h 434"/>
                <a:gd name="T12" fmla="*/ 133 w 198"/>
                <a:gd name="T13" fmla="*/ 40 h 434"/>
                <a:gd name="T14" fmla="*/ 135 w 198"/>
                <a:gd name="T15" fmla="*/ 51 h 434"/>
                <a:gd name="T16" fmla="*/ 155 w 198"/>
                <a:gd name="T17" fmla="*/ 44 h 434"/>
                <a:gd name="T18" fmla="*/ 162 w 198"/>
                <a:gd name="T19" fmla="*/ 55 h 434"/>
                <a:gd name="T20" fmla="*/ 149 w 198"/>
                <a:gd name="T21" fmla="*/ 78 h 434"/>
                <a:gd name="T22" fmla="*/ 135 w 198"/>
                <a:gd name="T23" fmla="*/ 80 h 434"/>
                <a:gd name="T24" fmla="*/ 138 w 198"/>
                <a:gd name="T25" fmla="*/ 100 h 434"/>
                <a:gd name="T26" fmla="*/ 125 w 198"/>
                <a:gd name="T27" fmla="*/ 116 h 434"/>
                <a:gd name="T28" fmla="*/ 113 w 198"/>
                <a:gd name="T29" fmla="*/ 124 h 434"/>
                <a:gd name="T30" fmla="*/ 96 w 198"/>
                <a:gd name="T31" fmla="*/ 124 h 434"/>
                <a:gd name="T32" fmla="*/ 87 w 198"/>
                <a:gd name="T33" fmla="*/ 120 h 434"/>
                <a:gd name="T34" fmla="*/ 76 w 198"/>
                <a:gd name="T35" fmla="*/ 125 h 434"/>
                <a:gd name="T36" fmla="*/ 67 w 198"/>
                <a:gd name="T37" fmla="*/ 138 h 434"/>
                <a:gd name="T38" fmla="*/ 69 w 198"/>
                <a:gd name="T39" fmla="*/ 155 h 434"/>
                <a:gd name="T40" fmla="*/ 55 w 198"/>
                <a:gd name="T41" fmla="*/ 167 h 434"/>
                <a:gd name="T42" fmla="*/ 62 w 198"/>
                <a:gd name="T43" fmla="*/ 187 h 434"/>
                <a:gd name="T44" fmla="*/ 64 w 198"/>
                <a:gd name="T45" fmla="*/ 229 h 434"/>
                <a:gd name="T46" fmla="*/ 67 w 198"/>
                <a:gd name="T47" fmla="*/ 258 h 434"/>
                <a:gd name="T48" fmla="*/ 58 w 198"/>
                <a:gd name="T49" fmla="*/ 273 h 434"/>
                <a:gd name="T50" fmla="*/ 55 w 198"/>
                <a:gd name="T51" fmla="*/ 298 h 434"/>
                <a:gd name="T52" fmla="*/ 38 w 198"/>
                <a:gd name="T53" fmla="*/ 287 h 434"/>
                <a:gd name="T54" fmla="*/ 31 w 198"/>
                <a:gd name="T55" fmla="*/ 278 h 434"/>
                <a:gd name="T56" fmla="*/ 26 w 198"/>
                <a:gd name="T57" fmla="*/ 269 h 434"/>
                <a:gd name="T58" fmla="*/ 20 w 198"/>
                <a:gd name="T59" fmla="*/ 265 h 434"/>
                <a:gd name="T60" fmla="*/ 15 w 198"/>
                <a:gd name="T61" fmla="*/ 284 h 434"/>
                <a:gd name="T62" fmla="*/ 0 w 198"/>
                <a:gd name="T63" fmla="*/ 302 h 434"/>
                <a:gd name="T64" fmla="*/ 24 w 198"/>
                <a:gd name="T65" fmla="*/ 327 h 434"/>
                <a:gd name="T66" fmla="*/ 35 w 198"/>
                <a:gd name="T67" fmla="*/ 353 h 434"/>
                <a:gd name="T68" fmla="*/ 49 w 198"/>
                <a:gd name="T69" fmla="*/ 382 h 434"/>
                <a:gd name="T70" fmla="*/ 44 w 198"/>
                <a:gd name="T71" fmla="*/ 403 h 434"/>
                <a:gd name="T72" fmla="*/ 31 w 198"/>
                <a:gd name="T73" fmla="*/ 414 h 434"/>
                <a:gd name="T74" fmla="*/ 47 w 198"/>
                <a:gd name="T75" fmla="*/ 434 h 434"/>
                <a:gd name="T76" fmla="*/ 58 w 198"/>
                <a:gd name="T77" fmla="*/ 393 h 434"/>
                <a:gd name="T78" fmla="*/ 66 w 198"/>
                <a:gd name="T79" fmla="*/ 367 h 434"/>
                <a:gd name="T80" fmla="*/ 71 w 198"/>
                <a:gd name="T81" fmla="*/ 373 h 434"/>
                <a:gd name="T82" fmla="*/ 78 w 198"/>
                <a:gd name="T83" fmla="*/ 369 h 434"/>
                <a:gd name="T84" fmla="*/ 85 w 198"/>
                <a:gd name="T85" fmla="*/ 358 h 434"/>
                <a:gd name="T86" fmla="*/ 89 w 198"/>
                <a:gd name="T87" fmla="*/ 371 h 434"/>
                <a:gd name="T88" fmla="*/ 120 w 198"/>
                <a:gd name="T89" fmla="*/ 369 h 434"/>
                <a:gd name="T90" fmla="*/ 149 w 198"/>
                <a:gd name="T91" fmla="*/ 345 h 434"/>
                <a:gd name="T92" fmla="*/ 174 w 198"/>
                <a:gd name="T93" fmla="*/ 287 h 434"/>
                <a:gd name="T94" fmla="*/ 178 w 198"/>
                <a:gd name="T95" fmla="*/ 256 h 434"/>
                <a:gd name="T96" fmla="*/ 189 w 198"/>
                <a:gd name="T97" fmla="*/ 184 h 434"/>
                <a:gd name="T98" fmla="*/ 196 w 198"/>
                <a:gd name="T99" fmla="*/ 96 h 434"/>
                <a:gd name="T100" fmla="*/ 194 w 198"/>
                <a:gd name="T101" fmla="*/ 46 h 434"/>
                <a:gd name="T102" fmla="*/ 178 w 198"/>
                <a:gd name="T103" fmla="*/ 38 h 434"/>
                <a:gd name="T104" fmla="*/ 174 w 198"/>
                <a:gd name="T105" fmla="*/ 36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" h="434">
                  <a:moveTo>
                    <a:pt x="174" y="36"/>
                  </a:moveTo>
                  <a:lnTo>
                    <a:pt x="174" y="36"/>
                  </a:lnTo>
                  <a:lnTo>
                    <a:pt x="173" y="35"/>
                  </a:lnTo>
                  <a:lnTo>
                    <a:pt x="173" y="35"/>
                  </a:lnTo>
                  <a:lnTo>
                    <a:pt x="173" y="31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3" y="18"/>
                  </a:lnTo>
                  <a:lnTo>
                    <a:pt x="169" y="16"/>
                  </a:lnTo>
                  <a:lnTo>
                    <a:pt x="162" y="13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56" y="11"/>
                  </a:lnTo>
                  <a:lnTo>
                    <a:pt x="155" y="11"/>
                  </a:lnTo>
                  <a:lnTo>
                    <a:pt x="151" y="7"/>
                  </a:lnTo>
                  <a:lnTo>
                    <a:pt x="147" y="2"/>
                  </a:lnTo>
                  <a:lnTo>
                    <a:pt x="145" y="2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0" y="2"/>
                  </a:lnTo>
                  <a:lnTo>
                    <a:pt x="138" y="9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5" y="22"/>
                  </a:lnTo>
                  <a:lnTo>
                    <a:pt x="131" y="24"/>
                  </a:lnTo>
                  <a:lnTo>
                    <a:pt x="127" y="29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9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6" y="42"/>
                  </a:lnTo>
                  <a:lnTo>
                    <a:pt x="136" y="42"/>
                  </a:lnTo>
                  <a:lnTo>
                    <a:pt x="136" y="46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40" y="46"/>
                  </a:lnTo>
                  <a:lnTo>
                    <a:pt x="151" y="44"/>
                  </a:lnTo>
                  <a:lnTo>
                    <a:pt x="151" y="44"/>
                  </a:lnTo>
                  <a:lnTo>
                    <a:pt x="155" y="44"/>
                  </a:lnTo>
                  <a:lnTo>
                    <a:pt x="156" y="44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2" y="53"/>
                  </a:lnTo>
                  <a:lnTo>
                    <a:pt x="162" y="55"/>
                  </a:lnTo>
                  <a:lnTo>
                    <a:pt x="158" y="60"/>
                  </a:lnTo>
                  <a:lnTo>
                    <a:pt x="155" y="66"/>
                  </a:lnTo>
                  <a:lnTo>
                    <a:pt x="153" y="73"/>
                  </a:lnTo>
                  <a:lnTo>
                    <a:pt x="153" y="73"/>
                  </a:lnTo>
                  <a:lnTo>
                    <a:pt x="149" y="78"/>
                  </a:lnTo>
                  <a:lnTo>
                    <a:pt x="145" y="78"/>
                  </a:lnTo>
                  <a:lnTo>
                    <a:pt x="142" y="78"/>
                  </a:lnTo>
                  <a:lnTo>
                    <a:pt x="136" y="78"/>
                  </a:lnTo>
                  <a:lnTo>
                    <a:pt x="136" y="78"/>
                  </a:lnTo>
                  <a:lnTo>
                    <a:pt x="135" y="80"/>
                  </a:lnTo>
                  <a:lnTo>
                    <a:pt x="133" y="80"/>
                  </a:lnTo>
                  <a:lnTo>
                    <a:pt x="135" y="86"/>
                  </a:lnTo>
                  <a:lnTo>
                    <a:pt x="138" y="96"/>
                  </a:lnTo>
                  <a:lnTo>
                    <a:pt x="138" y="96"/>
                  </a:lnTo>
                  <a:lnTo>
                    <a:pt x="138" y="100"/>
                  </a:lnTo>
                  <a:lnTo>
                    <a:pt x="136" y="107"/>
                  </a:lnTo>
                  <a:lnTo>
                    <a:pt x="133" y="113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25" y="116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5" y="120"/>
                  </a:lnTo>
                  <a:lnTo>
                    <a:pt x="113" y="122"/>
                  </a:lnTo>
                  <a:lnTo>
                    <a:pt x="113" y="124"/>
                  </a:lnTo>
                  <a:lnTo>
                    <a:pt x="113" y="124"/>
                  </a:lnTo>
                  <a:lnTo>
                    <a:pt x="107" y="122"/>
                  </a:lnTo>
                  <a:lnTo>
                    <a:pt x="104" y="120"/>
                  </a:lnTo>
                  <a:lnTo>
                    <a:pt x="100" y="122"/>
                  </a:lnTo>
                  <a:lnTo>
                    <a:pt x="96" y="124"/>
                  </a:lnTo>
                  <a:lnTo>
                    <a:pt x="96" y="124"/>
                  </a:lnTo>
                  <a:lnTo>
                    <a:pt x="93" y="125"/>
                  </a:lnTo>
                  <a:lnTo>
                    <a:pt x="91" y="124"/>
                  </a:lnTo>
                  <a:lnTo>
                    <a:pt x="89" y="124"/>
                  </a:lnTo>
                  <a:lnTo>
                    <a:pt x="87" y="120"/>
                  </a:lnTo>
                  <a:lnTo>
                    <a:pt x="87" y="120"/>
                  </a:lnTo>
                  <a:lnTo>
                    <a:pt x="85" y="120"/>
                  </a:lnTo>
                  <a:lnTo>
                    <a:pt x="84" y="120"/>
                  </a:lnTo>
                  <a:lnTo>
                    <a:pt x="78" y="122"/>
                  </a:lnTo>
                  <a:lnTo>
                    <a:pt x="76" y="125"/>
                  </a:lnTo>
                  <a:lnTo>
                    <a:pt x="71" y="127"/>
                  </a:lnTo>
                  <a:lnTo>
                    <a:pt x="71" y="127"/>
                  </a:lnTo>
                  <a:lnTo>
                    <a:pt x="69" y="133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9" y="145"/>
                  </a:lnTo>
                  <a:lnTo>
                    <a:pt x="69" y="155"/>
                  </a:lnTo>
                  <a:lnTo>
                    <a:pt x="69" y="155"/>
                  </a:lnTo>
                  <a:lnTo>
                    <a:pt x="67" y="156"/>
                  </a:lnTo>
                  <a:lnTo>
                    <a:pt x="66" y="160"/>
                  </a:lnTo>
                  <a:lnTo>
                    <a:pt x="55" y="165"/>
                  </a:lnTo>
                  <a:lnTo>
                    <a:pt x="55" y="165"/>
                  </a:lnTo>
                  <a:lnTo>
                    <a:pt x="55" y="167"/>
                  </a:lnTo>
                  <a:lnTo>
                    <a:pt x="55" y="167"/>
                  </a:lnTo>
                  <a:lnTo>
                    <a:pt x="56" y="175"/>
                  </a:lnTo>
                  <a:lnTo>
                    <a:pt x="58" y="178"/>
                  </a:lnTo>
                  <a:lnTo>
                    <a:pt x="58" y="182"/>
                  </a:lnTo>
                  <a:lnTo>
                    <a:pt x="62" y="187"/>
                  </a:lnTo>
                  <a:lnTo>
                    <a:pt x="62" y="187"/>
                  </a:lnTo>
                  <a:lnTo>
                    <a:pt x="64" y="207"/>
                  </a:lnTo>
                  <a:lnTo>
                    <a:pt x="64" y="222"/>
                  </a:lnTo>
                  <a:lnTo>
                    <a:pt x="64" y="229"/>
                  </a:lnTo>
                  <a:lnTo>
                    <a:pt x="64" y="229"/>
                  </a:lnTo>
                  <a:lnTo>
                    <a:pt x="64" y="236"/>
                  </a:lnTo>
                  <a:lnTo>
                    <a:pt x="66" y="245"/>
                  </a:lnTo>
                  <a:lnTo>
                    <a:pt x="67" y="253"/>
                  </a:lnTo>
                  <a:lnTo>
                    <a:pt x="67" y="256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58" y="262"/>
                  </a:lnTo>
                  <a:lnTo>
                    <a:pt x="58" y="262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62" y="280"/>
                  </a:lnTo>
                  <a:lnTo>
                    <a:pt x="58" y="287"/>
                  </a:lnTo>
                  <a:lnTo>
                    <a:pt x="58" y="287"/>
                  </a:lnTo>
                  <a:lnTo>
                    <a:pt x="55" y="294"/>
                  </a:lnTo>
                  <a:lnTo>
                    <a:pt x="55" y="298"/>
                  </a:lnTo>
                  <a:lnTo>
                    <a:pt x="51" y="298"/>
                  </a:lnTo>
                  <a:lnTo>
                    <a:pt x="51" y="298"/>
                  </a:lnTo>
                  <a:lnTo>
                    <a:pt x="47" y="294"/>
                  </a:lnTo>
                  <a:lnTo>
                    <a:pt x="44" y="291"/>
                  </a:lnTo>
                  <a:lnTo>
                    <a:pt x="38" y="287"/>
                  </a:lnTo>
                  <a:lnTo>
                    <a:pt x="38" y="284"/>
                  </a:lnTo>
                  <a:lnTo>
                    <a:pt x="38" y="284"/>
                  </a:lnTo>
                  <a:lnTo>
                    <a:pt x="36" y="280"/>
                  </a:lnTo>
                  <a:lnTo>
                    <a:pt x="35" y="280"/>
                  </a:lnTo>
                  <a:lnTo>
                    <a:pt x="31" y="278"/>
                  </a:lnTo>
                  <a:lnTo>
                    <a:pt x="31" y="278"/>
                  </a:lnTo>
                  <a:lnTo>
                    <a:pt x="31" y="278"/>
                  </a:lnTo>
                  <a:lnTo>
                    <a:pt x="29" y="273"/>
                  </a:lnTo>
                  <a:lnTo>
                    <a:pt x="26" y="269"/>
                  </a:lnTo>
                  <a:lnTo>
                    <a:pt x="26" y="269"/>
                  </a:lnTo>
                  <a:lnTo>
                    <a:pt x="27" y="267"/>
                  </a:lnTo>
                  <a:lnTo>
                    <a:pt x="27" y="264"/>
                  </a:lnTo>
                  <a:lnTo>
                    <a:pt x="27" y="264"/>
                  </a:lnTo>
                  <a:lnTo>
                    <a:pt x="22" y="264"/>
                  </a:lnTo>
                  <a:lnTo>
                    <a:pt x="20" y="265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74"/>
                  </a:lnTo>
                  <a:lnTo>
                    <a:pt x="16" y="280"/>
                  </a:lnTo>
                  <a:lnTo>
                    <a:pt x="15" y="284"/>
                  </a:lnTo>
                  <a:lnTo>
                    <a:pt x="15" y="284"/>
                  </a:lnTo>
                  <a:lnTo>
                    <a:pt x="11" y="287"/>
                  </a:lnTo>
                  <a:lnTo>
                    <a:pt x="7" y="293"/>
                  </a:lnTo>
                  <a:lnTo>
                    <a:pt x="2" y="300"/>
                  </a:lnTo>
                  <a:lnTo>
                    <a:pt x="0" y="302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4" y="307"/>
                  </a:lnTo>
                  <a:lnTo>
                    <a:pt x="9" y="313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7" y="331"/>
                  </a:lnTo>
                  <a:lnTo>
                    <a:pt x="31" y="340"/>
                  </a:lnTo>
                  <a:lnTo>
                    <a:pt x="35" y="353"/>
                  </a:lnTo>
                  <a:lnTo>
                    <a:pt x="35" y="353"/>
                  </a:lnTo>
                  <a:lnTo>
                    <a:pt x="44" y="367"/>
                  </a:lnTo>
                  <a:lnTo>
                    <a:pt x="47" y="373"/>
                  </a:lnTo>
                  <a:lnTo>
                    <a:pt x="47" y="373"/>
                  </a:lnTo>
                  <a:lnTo>
                    <a:pt x="49" y="376"/>
                  </a:lnTo>
                  <a:lnTo>
                    <a:pt x="49" y="382"/>
                  </a:lnTo>
                  <a:lnTo>
                    <a:pt x="49" y="387"/>
                  </a:lnTo>
                  <a:lnTo>
                    <a:pt x="49" y="387"/>
                  </a:lnTo>
                  <a:lnTo>
                    <a:pt x="47" y="396"/>
                  </a:lnTo>
                  <a:lnTo>
                    <a:pt x="46" y="400"/>
                  </a:lnTo>
                  <a:lnTo>
                    <a:pt x="44" y="403"/>
                  </a:lnTo>
                  <a:lnTo>
                    <a:pt x="44" y="403"/>
                  </a:lnTo>
                  <a:lnTo>
                    <a:pt x="33" y="409"/>
                  </a:lnTo>
                  <a:lnTo>
                    <a:pt x="31" y="413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6" y="418"/>
                  </a:lnTo>
                  <a:lnTo>
                    <a:pt x="44" y="425"/>
                  </a:lnTo>
                  <a:lnTo>
                    <a:pt x="47" y="434"/>
                  </a:lnTo>
                  <a:lnTo>
                    <a:pt x="47" y="434"/>
                  </a:lnTo>
                  <a:lnTo>
                    <a:pt x="51" y="423"/>
                  </a:lnTo>
                  <a:lnTo>
                    <a:pt x="55" y="414"/>
                  </a:lnTo>
                  <a:lnTo>
                    <a:pt x="55" y="407"/>
                  </a:lnTo>
                  <a:lnTo>
                    <a:pt x="55" y="407"/>
                  </a:lnTo>
                  <a:lnTo>
                    <a:pt x="58" y="393"/>
                  </a:lnTo>
                  <a:lnTo>
                    <a:pt x="64" y="382"/>
                  </a:lnTo>
                  <a:lnTo>
                    <a:pt x="64" y="382"/>
                  </a:lnTo>
                  <a:lnTo>
                    <a:pt x="64" y="376"/>
                  </a:lnTo>
                  <a:lnTo>
                    <a:pt x="64" y="369"/>
                  </a:lnTo>
                  <a:lnTo>
                    <a:pt x="66" y="367"/>
                  </a:lnTo>
                  <a:lnTo>
                    <a:pt x="67" y="367"/>
                  </a:lnTo>
                  <a:lnTo>
                    <a:pt x="67" y="369"/>
                  </a:lnTo>
                  <a:lnTo>
                    <a:pt x="67" y="369"/>
                  </a:lnTo>
                  <a:lnTo>
                    <a:pt x="71" y="371"/>
                  </a:lnTo>
                  <a:lnTo>
                    <a:pt x="71" y="373"/>
                  </a:lnTo>
                  <a:lnTo>
                    <a:pt x="73" y="376"/>
                  </a:lnTo>
                  <a:lnTo>
                    <a:pt x="76" y="374"/>
                  </a:lnTo>
                  <a:lnTo>
                    <a:pt x="76" y="374"/>
                  </a:lnTo>
                  <a:lnTo>
                    <a:pt x="76" y="373"/>
                  </a:lnTo>
                  <a:lnTo>
                    <a:pt x="78" y="369"/>
                  </a:lnTo>
                  <a:lnTo>
                    <a:pt x="78" y="364"/>
                  </a:lnTo>
                  <a:lnTo>
                    <a:pt x="80" y="356"/>
                  </a:lnTo>
                  <a:lnTo>
                    <a:pt x="84" y="356"/>
                  </a:lnTo>
                  <a:lnTo>
                    <a:pt x="85" y="358"/>
                  </a:lnTo>
                  <a:lnTo>
                    <a:pt x="85" y="358"/>
                  </a:lnTo>
                  <a:lnTo>
                    <a:pt x="85" y="362"/>
                  </a:lnTo>
                  <a:lnTo>
                    <a:pt x="87" y="365"/>
                  </a:lnTo>
                  <a:lnTo>
                    <a:pt x="87" y="369"/>
                  </a:lnTo>
                  <a:lnTo>
                    <a:pt x="87" y="369"/>
                  </a:lnTo>
                  <a:lnTo>
                    <a:pt x="89" y="371"/>
                  </a:lnTo>
                  <a:lnTo>
                    <a:pt x="89" y="373"/>
                  </a:lnTo>
                  <a:lnTo>
                    <a:pt x="93" y="373"/>
                  </a:lnTo>
                  <a:lnTo>
                    <a:pt x="93" y="373"/>
                  </a:lnTo>
                  <a:lnTo>
                    <a:pt x="113" y="371"/>
                  </a:lnTo>
                  <a:lnTo>
                    <a:pt x="120" y="369"/>
                  </a:lnTo>
                  <a:lnTo>
                    <a:pt x="127" y="369"/>
                  </a:lnTo>
                  <a:lnTo>
                    <a:pt x="129" y="365"/>
                  </a:lnTo>
                  <a:lnTo>
                    <a:pt x="129" y="365"/>
                  </a:lnTo>
                  <a:lnTo>
                    <a:pt x="136" y="356"/>
                  </a:lnTo>
                  <a:lnTo>
                    <a:pt x="149" y="345"/>
                  </a:lnTo>
                  <a:lnTo>
                    <a:pt x="158" y="327"/>
                  </a:lnTo>
                  <a:lnTo>
                    <a:pt x="162" y="322"/>
                  </a:lnTo>
                  <a:lnTo>
                    <a:pt x="167" y="311"/>
                  </a:lnTo>
                  <a:lnTo>
                    <a:pt x="167" y="311"/>
                  </a:lnTo>
                  <a:lnTo>
                    <a:pt x="174" y="287"/>
                  </a:lnTo>
                  <a:lnTo>
                    <a:pt x="178" y="280"/>
                  </a:lnTo>
                  <a:lnTo>
                    <a:pt x="178" y="273"/>
                  </a:lnTo>
                  <a:lnTo>
                    <a:pt x="178" y="273"/>
                  </a:lnTo>
                  <a:lnTo>
                    <a:pt x="178" y="265"/>
                  </a:lnTo>
                  <a:lnTo>
                    <a:pt x="178" y="256"/>
                  </a:lnTo>
                  <a:lnTo>
                    <a:pt x="178" y="247"/>
                  </a:lnTo>
                  <a:lnTo>
                    <a:pt x="178" y="238"/>
                  </a:lnTo>
                  <a:lnTo>
                    <a:pt x="178" y="238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96" y="145"/>
                  </a:lnTo>
                  <a:lnTo>
                    <a:pt x="198" y="127"/>
                  </a:lnTo>
                  <a:lnTo>
                    <a:pt x="198" y="113"/>
                  </a:lnTo>
                  <a:lnTo>
                    <a:pt x="198" y="113"/>
                  </a:lnTo>
                  <a:lnTo>
                    <a:pt x="196" y="96"/>
                  </a:lnTo>
                  <a:lnTo>
                    <a:pt x="194" y="80"/>
                  </a:lnTo>
                  <a:lnTo>
                    <a:pt x="193" y="66"/>
                  </a:lnTo>
                  <a:lnTo>
                    <a:pt x="193" y="55"/>
                  </a:lnTo>
                  <a:lnTo>
                    <a:pt x="193" y="55"/>
                  </a:lnTo>
                  <a:lnTo>
                    <a:pt x="194" y="46"/>
                  </a:lnTo>
                  <a:lnTo>
                    <a:pt x="194" y="42"/>
                  </a:lnTo>
                  <a:lnTo>
                    <a:pt x="196" y="38"/>
                  </a:lnTo>
                  <a:lnTo>
                    <a:pt x="196" y="36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4" name="Freeform 56">
              <a:extLst>
                <a:ext uri="{FF2B5EF4-FFF2-40B4-BE49-F238E27FC236}">
                  <a16:creationId xmlns:a16="http://schemas.microsoft.com/office/drawing/2014/main" id="{74FB3F6B-A908-784D-A448-5C21F12D9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5713" y="4380220"/>
              <a:ext cx="395385" cy="463514"/>
            </a:xfrm>
            <a:custGeom>
              <a:avLst/>
              <a:gdLst>
                <a:gd name="T0" fmla="*/ 265 w 273"/>
                <a:gd name="T1" fmla="*/ 229 h 324"/>
                <a:gd name="T2" fmla="*/ 236 w 273"/>
                <a:gd name="T3" fmla="*/ 204 h 324"/>
                <a:gd name="T4" fmla="*/ 204 w 273"/>
                <a:gd name="T5" fmla="*/ 227 h 324"/>
                <a:gd name="T6" fmla="*/ 195 w 273"/>
                <a:gd name="T7" fmla="*/ 220 h 324"/>
                <a:gd name="T8" fmla="*/ 176 w 273"/>
                <a:gd name="T9" fmla="*/ 209 h 324"/>
                <a:gd name="T10" fmla="*/ 162 w 273"/>
                <a:gd name="T11" fmla="*/ 202 h 324"/>
                <a:gd name="T12" fmla="*/ 151 w 273"/>
                <a:gd name="T13" fmla="*/ 202 h 324"/>
                <a:gd name="T14" fmla="*/ 158 w 273"/>
                <a:gd name="T15" fmla="*/ 186 h 324"/>
                <a:gd name="T16" fmla="*/ 162 w 273"/>
                <a:gd name="T17" fmla="*/ 173 h 324"/>
                <a:gd name="T18" fmla="*/ 158 w 273"/>
                <a:gd name="T19" fmla="*/ 166 h 324"/>
                <a:gd name="T20" fmla="*/ 167 w 273"/>
                <a:gd name="T21" fmla="*/ 146 h 324"/>
                <a:gd name="T22" fmla="*/ 151 w 273"/>
                <a:gd name="T23" fmla="*/ 147 h 324"/>
                <a:gd name="T24" fmla="*/ 147 w 273"/>
                <a:gd name="T25" fmla="*/ 131 h 324"/>
                <a:gd name="T26" fmla="*/ 155 w 273"/>
                <a:gd name="T27" fmla="*/ 124 h 324"/>
                <a:gd name="T28" fmla="*/ 153 w 273"/>
                <a:gd name="T29" fmla="*/ 111 h 324"/>
                <a:gd name="T30" fmla="*/ 155 w 273"/>
                <a:gd name="T31" fmla="*/ 93 h 324"/>
                <a:gd name="T32" fmla="*/ 151 w 273"/>
                <a:gd name="T33" fmla="*/ 84 h 324"/>
                <a:gd name="T34" fmla="*/ 142 w 273"/>
                <a:gd name="T35" fmla="*/ 75 h 324"/>
                <a:gd name="T36" fmla="*/ 142 w 273"/>
                <a:gd name="T37" fmla="*/ 46 h 324"/>
                <a:gd name="T38" fmla="*/ 147 w 273"/>
                <a:gd name="T39" fmla="*/ 31 h 324"/>
                <a:gd name="T40" fmla="*/ 138 w 273"/>
                <a:gd name="T41" fmla="*/ 2 h 324"/>
                <a:gd name="T42" fmla="*/ 122 w 273"/>
                <a:gd name="T43" fmla="*/ 9 h 324"/>
                <a:gd name="T44" fmla="*/ 100 w 273"/>
                <a:gd name="T45" fmla="*/ 26 h 324"/>
                <a:gd name="T46" fmla="*/ 75 w 273"/>
                <a:gd name="T47" fmla="*/ 44 h 324"/>
                <a:gd name="T48" fmla="*/ 57 w 273"/>
                <a:gd name="T49" fmla="*/ 49 h 324"/>
                <a:gd name="T50" fmla="*/ 47 w 273"/>
                <a:gd name="T51" fmla="*/ 55 h 324"/>
                <a:gd name="T52" fmla="*/ 31 w 273"/>
                <a:gd name="T53" fmla="*/ 66 h 324"/>
                <a:gd name="T54" fmla="*/ 2 w 273"/>
                <a:gd name="T55" fmla="*/ 69 h 324"/>
                <a:gd name="T56" fmla="*/ 7 w 273"/>
                <a:gd name="T57" fmla="*/ 75 h 324"/>
                <a:gd name="T58" fmla="*/ 7 w 273"/>
                <a:gd name="T59" fmla="*/ 89 h 324"/>
                <a:gd name="T60" fmla="*/ 15 w 273"/>
                <a:gd name="T61" fmla="*/ 97 h 324"/>
                <a:gd name="T62" fmla="*/ 24 w 273"/>
                <a:gd name="T63" fmla="*/ 93 h 324"/>
                <a:gd name="T64" fmla="*/ 38 w 273"/>
                <a:gd name="T65" fmla="*/ 98 h 324"/>
                <a:gd name="T66" fmla="*/ 38 w 273"/>
                <a:gd name="T67" fmla="*/ 111 h 324"/>
                <a:gd name="T68" fmla="*/ 55 w 273"/>
                <a:gd name="T69" fmla="*/ 129 h 324"/>
                <a:gd name="T70" fmla="*/ 58 w 273"/>
                <a:gd name="T71" fmla="*/ 147 h 324"/>
                <a:gd name="T72" fmla="*/ 66 w 273"/>
                <a:gd name="T73" fmla="*/ 162 h 324"/>
                <a:gd name="T74" fmla="*/ 64 w 273"/>
                <a:gd name="T75" fmla="*/ 180 h 324"/>
                <a:gd name="T76" fmla="*/ 55 w 273"/>
                <a:gd name="T77" fmla="*/ 197 h 324"/>
                <a:gd name="T78" fmla="*/ 66 w 273"/>
                <a:gd name="T79" fmla="*/ 189 h 324"/>
                <a:gd name="T80" fmla="*/ 77 w 273"/>
                <a:gd name="T81" fmla="*/ 178 h 324"/>
                <a:gd name="T82" fmla="*/ 80 w 273"/>
                <a:gd name="T83" fmla="*/ 202 h 324"/>
                <a:gd name="T84" fmla="*/ 98 w 273"/>
                <a:gd name="T85" fmla="*/ 222 h 324"/>
                <a:gd name="T86" fmla="*/ 120 w 273"/>
                <a:gd name="T87" fmla="*/ 217 h 324"/>
                <a:gd name="T88" fmla="*/ 142 w 273"/>
                <a:gd name="T89" fmla="*/ 229 h 324"/>
                <a:gd name="T90" fmla="*/ 153 w 273"/>
                <a:gd name="T91" fmla="*/ 246 h 324"/>
                <a:gd name="T92" fmla="*/ 164 w 273"/>
                <a:gd name="T93" fmla="*/ 242 h 324"/>
                <a:gd name="T94" fmla="*/ 178 w 273"/>
                <a:gd name="T95" fmla="*/ 264 h 324"/>
                <a:gd name="T96" fmla="*/ 187 w 273"/>
                <a:gd name="T97" fmla="*/ 284 h 324"/>
                <a:gd name="T98" fmla="*/ 196 w 273"/>
                <a:gd name="T99" fmla="*/ 302 h 324"/>
                <a:gd name="T100" fmla="*/ 216 w 273"/>
                <a:gd name="T101" fmla="*/ 296 h 324"/>
                <a:gd name="T102" fmla="*/ 220 w 273"/>
                <a:gd name="T103" fmla="*/ 311 h 324"/>
                <a:gd name="T104" fmla="*/ 254 w 273"/>
                <a:gd name="T105" fmla="*/ 324 h 324"/>
                <a:gd name="T106" fmla="*/ 271 w 273"/>
                <a:gd name="T107" fmla="*/ 307 h 324"/>
                <a:gd name="T108" fmla="*/ 271 w 273"/>
                <a:gd name="T109" fmla="*/ 293 h 324"/>
                <a:gd name="T110" fmla="*/ 262 w 273"/>
                <a:gd name="T111" fmla="*/ 280 h 324"/>
                <a:gd name="T112" fmla="*/ 251 w 273"/>
                <a:gd name="T113" fmla="*/ 266 h 324"/>
                <a:gd name="T114" fmla="*/ 249 w 273"/>
                <a:gd name="T115" fmla="*/ 253 h 324"/>
                <a:gd name="T116" fmla="*/ 254 w 273"/>
                <a:gd name="T117" fmla="*/ 249 h 324"/>
                <a:gd name="T118" fmla="*/ 251 w 273"/>
                <a:gd name="T119" fmla="*/ 240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3" h="324">
                  <a:moveTo>
                    <a:pt x="251" y="240"/>
                  </a:moveTo>
                  <a:lnTo>
                    <a:pt x="251" y="240"/>
                  </a:lnTo>
                  <a:lnTo>
                    <a:pt x="253" y="238"/>
                  </a:lnTo>
                  <a:lnTo>
                    <a:pt x="256" y="235"/>
                  </a:lnTo>
                  <a:lnTo>
                    <a:pt x="264" y="235"/>
                  </a:lnTo>
                  <a:lnTo>
                    <a:pt x="265" y="229"/>
                  </a:lnTo>
                  <a:lnTo>
                    <a:pt x="258" y="218"/>
                  </a:lnTo>
                  <a:lnTo>
                    <a:pt x="251" y="217"/>
                  </a:lnTo>
                  <a:lnTo>
                    <a:pt x="249" y="213"/>
                  </a:lnTo>
                  <a:lnTo>
                    <a:pt x="245" y="211"/>
                  </a:lnTo>
                  <a:lnTo>
                    <a:pt x="238" y="218"/>
                  </a:lnTo>
                  <a:lnTo>
                    <a:pt x="236" y="204"/>
                  </a:lnTo>
                  <a:lnTo>
                    <a:pt x="233" y="207"/>
                  </a:lnTo>
                  <a:lnTo>
                    <a:pt x="233" y="207"/>
                  </a:lnTo>
                  <a:lnTo>
                    <a:pt x="224" y="227"/>
                  </a:lnTo>
                  <a:lnTo>
                    <a:pt x="224" y="211"/>
                  </a:lnTo>
                  <a:lnTo>
                    <a:pt x="215" y="218"/>
                  </a:lnTo>
                  <a:lnTo>
                    <a:pt x="204" y="227"/>
                  </a:lnTo>
                  <a:lnTo>
                    <a:pt x="204" y="227"/>
                  </a:lnTo>
                  <a:lnTo>
                    <a:pt x="200" y="227"/>
                  </a:lnTo>
                  <a:lnTo>
                    <a:pt x="195" y="224"/>
                  </a:lnTo>
                  <a:lnTo>
                    <a:pt x="195" y="222"/>
                  </a:lnTo>
                  <a:lnTo>
                    <a:pt x="195" y="220"/>
                  </a:lnTo>
                  <a:lnTo>
                    <a:pt x="195" y="220"/>
                  </a:lnTo>
                  <a:lnTo>
                    <a:pt x="191" y="215"/>
                  </a:lnTo>
                  <a:lnTo>
                    <a:pt x="187" y="211"/>
                  </a:lnTo>
                  <a:lnTo>
                    <a:pt x="182" y="204"/>
                  </a:lnTo>
                  <a:lnTo>
                    <a:pt x="182" y="204"/>
                  </a:lnTo>
                  <a:lnTo>
                    <a:pt x="178" y="207"/>
                  </a:lnTo>
                  <a:lnTo>
                    <a:pt x="176" y="209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67" y="207"/>
                  </a:lnTo>
                  <a:lnTo>
                    <a:pt x="162" y="204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0" y="200"/>
                  </a:lnTo>
                  <a:lnTo>
                    <a:pt x="158" y="198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3" y="198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200"/>
                  </a:lnTo>
                  <a:lnTo>
                    <a:pt x="151" y="200"/>
                  </a:lnTo>
                  <a:lnTo>
                    <a:pt x="153" y="193"/>
                  </a:lnTo>
                  <a:lnTo>
                    <a:pt x="155" y="189"/>
                  </a:lnTo>
                  <a:lnTo>
                    <a:pt x="158" y="186"/>
                  </a:lnTo>
                  <a:lnTo>
                    <a:pt x="158" y="186"/>
                  </a:lnTo>
                  <a:lnTo>
                    <a:pt x="160" y="180"/>
                  </a:lnTo>
                  <a:lnTo>
                    <a:pt x="162" y="178"/>
                  </a:lnTo>
                  <a:lnTo>
                    <a:pt x="162" y="175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58" y="171"/>
                  </a:lnTo>
                  <a:lnTo>
                    <a:pt x="158" y="169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58" y="166"/>
                  </a:lnTo>
                  <a:lnTo>
                    <a:pt x="162" y="160"/>
                  </a:lnTo>
                  <a:lnTo>
                    <a:pt x="164" y="158"/>
                  </a:lnTo>
                  <a:lnTo>
                    <a:pt x="169" y="153"/>
                  </a:lnTo>
                  <a:lnTo>
                    <a:pt x="169" y="153"/>
                  </a:lnTo>
                  <a:lnTo>
                    <a:pt x="169" y="147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7" y="144"/>
                  </a:lnTo>
                  <a:lnTo>
                    <a:pt x="162" y="144"/>
                  </a:lnTo>
                  <a:lnTo>
                    <a:pt x="156" y="146"/>
                  </a:lnTo>
                  <a:lnTo>
                    <a:pt x="153" y="147"/>
                  </a:lnTo>
                  <a:lnTo>
                    <a:pt x="151" y="147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2" y="138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31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53" y="126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3" y="118"/>
                  </a:lnTo>
                  <a:lnTo>
                    <a:pt x="153" y="115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3" y="106"/>
                  </a:lnTo>
                  <a:lnTo>
                    <a:pt x="155" y="102"/>
                  </a:lnTo>
                  <a:lnTo>
                    <a:pt x="155" y="98"/>
                  </a:lnTo>
                  <a:lnTo>
                    <a:pt x="155" y="95"/>
                  </a:lnTo>
                  <a:lnTo>
                    <a:pt x="155" y="95"/>
                  </a:lnTo>
                  <a:lnTo>
                    <a:pt x="155" y="93"/>
                  </a:lnTo>
                  <a:lnTo>
                    <a:pt x="153" y="91"/>
                  </a:lnTo>
                  <a:lnTo>
                    <a:pt x="151" y="89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49" y="86"/>
                  </a:lnTo>
                  <a:lnTo>
                    <a:pt x="151" y="84"/>
                  </a:lnTo>
                  <a:lnTo>
                    <a:pt x="151" y="78"/>
                  </a:lnTo>
                  <a:lnTo>
                    <a:pt x="151" y="78"/>
                  </a:lnTo>
                  <a:lnTo>
                    <a:pt x="149" y="78"/>
                  </a:lnTo>
                  <a:lnTo>
                    <a:pt x="147" y="75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42" y="71"/>
                  </a:lnTo>
                  <a:lnTo>
                    <a:pt x="146" y="64"/>
                  </a:lnTo>
                  <a:lnTo>
                    <a:pt x="146" y="57"/>
                  </a:lnTo>
                  <a:lnTo>
                    <a:pt x="146" y="51"/>
                  </a:lnTo>
                  <a:lnTo>
                    <a:pt x="146" y="51"/>
                  </a:lnTo>
                  <a:lnTo>
                    <a:pt x="142" y="46"/>
                  </a:lnTo>
                  <a:lnTo>
                    <a:pt x="142" y="42"/>
                  </a:lnTo>
                  <a:lnTo>
                    <a:pt x="146" y="37"/>
                  </a:lnTo>
                  <a:lnTo>
                    <a:pt x="146" y="37"/>
                  </a:lnTo>
                  <a:lnTo>
                    <a:pt x="147" y="35"/>
                  </a:lnTo>
                  <a:lnTo>
                    <a:pt x="147" y="35"/>
                  </a:lnTo>
                  <a:lnTo>
                    <a:pt x="147" y="31"/>
                  </a:lnTo>
                  <a:lnTo>
                    <a:pt x="147" y="31"/>
                  </a:lnTo>
                  <a:lnTo>
                    <a:pt x="142" y="26"/>
                  </a:lnTo>
                  <a:lnTo>
                    <a:pt x="142" y="18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1" y="2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2" y="9"/>
                  </a:lnTo>
                  <a:lnTo>
                    <a:pt x="118" y="13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06" y="22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6" y="28"/>
                  </a:lnTo>
                  <a:lnTo>
                    <a:pt x="95" y="31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0" y="42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67" y="44"/>
                  </a:lnTo>
                  <a:lnTo>
                    <a:pt x="64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7" y="49"/>
                  </a:lnTo>
                  <a:lnTo>
                    <a:pt x="55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9"/>
                  </a:lnTo>
                  <a:lnTo>
                    <a:pt x="47" y="51"/>
                  </a:lnTo>
                  <a:lnTo>
                    <a:pt x="47" y="55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38" y="62"/>
                  </a:lnTo>
                  <a:lnTo>
                    <a:pt x="35" y="64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27" y="68"/>
                  </a:lnTo>
                  <a:lnTo>
                    <a:pt x="20" y="66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6" y="66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4" y="71"/>
                  </a:lnTo>
                  <a:lnTo>
                    <a:pt x="7" y="73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11" y="84"/>
                  </a:lnTo>
                  <a:lnTo>
                    <a:pt x="11" y="86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7" y="89"/>
                  </a:lnTo>
                  <a:lnTo>
                    <a:pt x="7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11" y="93"/>
                  </a:lnTo>
                  <a:lnTo>
                    <a:pt x="13" y="95"/>
                  </a:lnTo>
                  <a:lnTo>
                    <a:pt x="15" y="97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22" y="95"/>
                  </a:lnTo>
                  <a:lnTo>
                    <a:pt x="24" y="93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31" y="95"/>
                  </a:lnTo>
                  <a:lnTo>
                    <a:pt x="35" y="97"/>
                  </a:lnTo>
                  <a:lnTo>
                    <a:pt x="37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42" y="102"/>
                  </a:lnTo>
                  <a:lnTo>
                    <a:pt x="38" y="106"/>
                  </a:lnTo>
                  <a:lnTo>
                    <a:pt x="38" y="109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42" y="118"/>
                  </a:lnTo>
                  <a:lnTo>
                    <a:pt x="44" y="120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53" y="129"/>
                  </a:lnTo>
                  <a:lnTo>
                    <a:pt x="55" y="129"/>
                  </a:lnTo>
                  <a:lnTo>
                    <a:pt x="57" y="133"/>
                  </a:lnTo>
                  <a:lnTo>
                    <a:pt x="57" y="133"/>
                  </a:lnTo>
                  <a:lnTo>
                    <a:pt x="58" y="135"/>
                  </a:lnTo>
                  <a:lnTo>
                    <a:pt x="58" y="140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8" y="149"/>
                  </a:lnTo>
                  <a:lnTo>
                    <a:pt x="58" y="153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4" y="160"/>
                  </a:lnTo>
                  <a:lnTo>
                    <a:pt x="66" y="162"/>
                  </a:lnTo>
                  <a:lnTo>
                    <a:pt x="64" y="169"/>
                  </a:lnTo>
                  <a:lnTo>
                    <a:pt x="64" y="169"/>
                  </a:lnTo>
                  <a:lnTo>
                    <a:pt x="62" y="173"/>
                  </a:lnTo>
                  <a:lnTo>
                    <a:pt x="62" y="175"/>
                  </a:lnTo>
                  <a:lnTo>
                    <a:pt x="64" y="180"/>
                  </a:lnTo>
                  <a:lnTo>
                    <a:pt x="64" y="180"/>
                  </a:lnTo>
                  <a:lnTo>
                    <a:pt x="64" y="182"/>
                  </a:lnTo>
                  <a:lnTo>
                    <a:pt x="58" y="187"/>
                  </a:lnTo>
                  <a:lnTo>
                    <a:pt x="57" y="193"/>
                  </a:lnTo>
                  <a:lnTo>
                    <a:pt x="55" y="195"/>
                  </a:lnTo>
                  <a:lnTo>
                    <a:pt x="55" y="195"/>
                  </a:lnTo>
                  <a:lnTo>
                    <a:pt x="55" y="197"/>
                  </a:lnTo>
                  <a:lnTo>
                    <a:pt x="57" y="198"/>
                  </a:lnTo>
                  <a:lnTo>
                    <a:pt x="58" y="200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6" y="189"/>
                  </a:lnTo>
                  <a:lnTo>
                    <a:pt x="69" y="186"/>
                  </a:lnTo>
                  <a:lnTo>
                    <a:pt x="71" y="180"/>
                  </a:lnTo>
                  <a:lnTo>
                    <a:pt x="71" y="180"/>
                  </a:lnTo>
                  <a:lnTo>
                    <a:pt x="73" y="178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80" y="186"/>
                  </a:lnTo>
                  <a:lnTo>
                    <a:pt x="80" y="193"/>
                  </a:lnTo>
                  <a:lnTo>
                    <a:pt x="80" y="202"/>
                  </a:lnTo>
                  <a:lnTo>
                    <a:pt x="80" y="202"/>
                  </a:lnTo>
                  <a:lnTo>
                    <a:pt x="80" y="211"/>
                  </a:lnTo>
                  <a:lnTo>
                    <a:pt x="86" y="215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93" y="222"/>
                  </a:lnTo>
                  <a:lnTo>
                    <a:pt x="98" y="222"/>
                  </a:lnTo>
                  <a:lnTo>
                    <a:pt x="106" y="222"/>
                  </a:lnTo>
                  <a:lnTo>
                    <a:pt x="107" y="220"/>
                  </a:lnTo>
                  <a:lnTo>
                    <a:pt x="107" y="220"/>
                  </a:lnTo>
                  <a:lnTo>
                    <a:pt x="111" y="218"/>
                  </a:lnTo>
                  <a:lnTo>
                    <a:pt x="115" y="217"/>
                  </a:lnTo>
                  <a:lnTo>
                    <a:pt x="120" y="217"/>
                  </a:lnTo>
                  <a:lnTo>
                    <a:pt x="126" y="217"/>
                  </a:lnTo>
                  <a:lnTo>
                    <a:pt x="126" y="217"/>
                  </a:lnTo>
                  <a:lnTo>
                    <a:pt x="129" y="220"/>
                  </a:lnTo>
                  <a:lnTo>
                    <a:pt x="135" y="224"/>
                  </a:lnTo>
                  <a:lnTo>
                    <a:pt x="135" y="224"/>
                  </a:lnTo>
                  <a:lnTo>
                    <a:pt x="142" y="229"/>
                  </a:lnTo>
                  <a:lnTo>
                    <a:pt x="142" y="233"/>
                  </a:lnTo>
                  <a:lnTo>
                    <a:pt x="146" y="235"/>
                  </a:lnTo>
                  <a:lnTo>
                    <a:pt x="146" y="235"/>
                  </a:lnTo>
                  <a:lnTo>
                    <a:pt x="147" y="238"/>
                  </a:lnTo>
                  <a:lnTo>
                    <a:pt x="151" y="242"/>
                  </a:lnTo>
                  <a:lnTo>
                    <a:pt x="153" y="246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60" y="242"/>
                  </a:lnTo>
                  <a:lnTo>
                    <a:pt x="162" y="242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78" y="255"/>
                  </a:lnTo>
                  <a:lnTo>
                    <a:pt x="178" y="255"/>
                  </a:lnTo>
                  <a:lnTo>
                    <a:pt x="180" y="255"/>
                  </a:lnTo>
                  <a:lnTo>
                    <a:pt x="180" y="258"/>
                  </a:lnTo>
                  <a:lnTo>
                    <a:pt x="178" y="264"/>
                  </a:lnTo>
                  <a:lnTo>
                    <a:pt x="178" y="264"/>
                  </a:lnTo>
                  <a:lnTo>
                    <a:pt x="176" y="273"/>
                  </a:lnTo>
                  <a:lnTo>
                    <a:pt x="176" y="276"/>
                  </a:lnTo>
                  <a:lnTo>
                    <a:pt x="178" y="276"/>
                  </a:lnTo>
                  <a:lnTo>
                    <a:pt x="178" y="276"/>
                  </a:lnTo>
                  <a:lnTo>
                    <a:pt x="187" y="284"/>
                  </a:lnTo>
                  <a:lnTo>
                    <a:pt x="191" y="291"/>
                  </a:lnTo>
                  <a:lnTo>
                    <a:pt x="193" y="295"/>
                  </a:lnTo>
                  <a:lnTo>
                    <a:pt x="193" y="295"/>
                  </a:lnTo>
                  <a:lnTo>
                    <a:pt x="195" y="298"/>
                  </a:lnTo>
                  <a:lnTo>
                    <a:pt x="195" y="300"/>
                  </a:lnTo>
                  <a:lnTo>
                    <a:pt x="196" y="302"/>
                  </a:lnTo>
                  <a:lnTo>
                    <a:pt x="200" y="304"/>
                  </a:lnTo>
                  <a:lnTo>
                    <a:pt x="200" y="304"/>
                  </a:lnTo>
                  <a:lnTo>
                    <a:pt x="202" y="302"/>
                  </a:lnTo>
                  <a:lnTo>
                    <a:pt x="205" y="300"/>
                  </a:lnTo>
                  <a:lnTo>
                    <a:pt x="213" y="298"/>
                  </a:lnTo>
                  <a:lnTo>
                    <a:pt x="216" y="296"/>
                  </a:lnTo>
                  <a:lnTo>
                    <a:pt x="216" y="296"/>
                  </a:lnTo>
                  <a:lnTo>
                    <a:pt x="216" y="298"/>
                  </a:lnTo>
                  <a:lnTo>
                    <a:pt x="218" y="300"/>
                  </a:lnTo>
                  <a:lnTo>
                    <a:pt x="220" y="304"/>
                  </a:lnTo>
                  <a:lnTo>
                    <a:pt x="220" y="307"/>
                  </a:lnTo>
                  <a:lnTo>
                    <a:pt x="220" y="311"/>
                  </a:lnTo>
                  <a:lnTo>
                    <a:pt x="222" y="313"/>
                  </a:lnTo>
                  <a:lnTo>
                    <a:pt x="222" y="313"/>
                  </a:lnTo>
                  <a:lnTo>
                    <a:pt x="238" y="320"/>
                  </a:lnTo>
                  <a:lnTo>
                    <a:pt x="249" y="322"/>
                  </a:lnTo>
                  <a:lnTo>
                    <a:pt x="254" y="324"/>
                  </a:lnTo>
                  <a:lnTo>
                    <a:pt x="254" y="324"/>
                  </a:lnTo>
                  <a:lnTo>
                    <a:pt x="256" y="322"/>
                  </a:lnTo>
                  <a:lnTo>
                    <a:pt x="262" y="316"/>
                  </a:lnTo>
                  <a:lnTo>
                    <a:pt x="265" y="313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71" y="307"/>
                  </a:lnTo>
                  <a:lnTo>
                    <a:pt x="273" y="306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3" y="300"/>
                  </a:lnTo>
                  <a:lnTo>
                    <a:pt x="273" y="296"/>
                  </a:lnTo>
                  <a:lnTo>
                    <a:pt x="271" y="293"/>
                  </a:lnTo>
                  <a:lnTo>
                    <a:pt x="271" y="293"/>
                  </a:lnTo>
                  <a:lnTo>
                    <a:pt x="264" y="291"/>
                  </a:lnTo>
                  <a:lnTo>
                    <a:pt x="262" y="287"/>
                  </a:lnTo>
                  <a:lnTo>
                    <a:pt x="260" y="284"/>
                  </a:lnTo>
                  <a:lnTo>
                    <a:pt x="260" y="284"/>
                  </a:lnTo>
                  <a:lnTo>
                    <a:pt x="262" y="280"/>
                  </a:lnTo>
                  <a:lnTo>
                    <a:pt x="262" y="276"/>
                  </a:lnTo>
                  <a:lnTo>
                    <a:pt x="260" y="276"/>
                  </a:lnTo>
                  <a:lnTo>
                    <a:pt x="260" y="276"/>
                  </a:lnTo>
                  <a:lnTo>
                    <a:pt x="254" y="271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1" y="266"/>
                  </a:lnTo>
                  <a:lnTo>
                    <a:pt x="258" y="262"/>
                  </a:lnTo>
                  <a:lnTo>
                    <a:pt x="258" y="262"/>
                  </a:lnTo>
                  <a:lnTo>
                    <a:pt x="253" y="257"/>
                  </a:lnTo>
                  <a:lnTo>
                    <a:pt x="249" y="253"/>
                  </a:lnTo>
                  <a:lnTo>
                    <a:pt x="249" y="253"/>
                  </a:lnTo>
                  <a:lnTo>
                    <a:pt x="249" y="251"/>
                  </a:lnTo>
                  <a:lnTo>
                    <a:pt x="249" y="251"/>
                  </a:lnTo>
                  <a:lnTo>
                    <a:pt x="251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1" y="242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lnTo>
                    <a:pt x="251" y="2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5" name="Freeform 57">
              <a:extLst>
                <a:ext uri="{FF2B5EF4-FFF2-40B4-BE49-F238E27FC236}">
                  <a16:creationId xmlns:a16="http://schemas.microsoft.com/office/drawing/2014/main" id="{BDFCB3DE-C308-A34A-A99E-0A1F632EC3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632" y="3398830"/>
              <a:ext cx="554698" cy="700993"/>
            </a:xfrm>
            <a:custGeom>
              <a:avLst/>
              <a:gdLst>
                <a:gd name="T0" fmla="*/ 350 w 383"/>
                <a:gd name="T1" fmla="*/ 85 h 490"/>
                <a:gd name="T2" fmla="*/ 303 w 383"/>
                <a:gd name="T3" fmla="*/ 45 h 490"/>
                <a:gd name="T4" fmla="*/ 267 w 383"/>
                <a:gd name="T5" fmla="*/ 7 h 490"/>
                <a:gd name="T6" fmla="*/ 241 w 383"/>
                <a:gd name="T7" fmla="*/ 12 h 490"/>
                <a:gd name="T8" fmla="*/ 210 w 383"/>
                <a:gd name="T9" fmla="*/ 23 h 490"/>
                <a:gd name="T10" fmla="*/ 185 w 383"/>
                <a:gd name="T11" fmla="*/ 34 h 490"/>
                <a:gd name="T12" fmla="*/ 147 w 383"/>
                <a:gd name="T13" fmla="*/ 39 h 490"/>
                <a:gd name="T14" fmla="*/ 116 w 383"/>
                <a:gd name="T15" fmla="*/ 34 h 490"/>
                <a:gd name="T16" fmla="*/ 107 w 383"/>
                <a:gd name="T17" fmla="*/ 69 h 490"/>
                <a:gd name="T18" fmla="*/ 65 w 383"/>
                <a:gd name="T19" fmla="*/ 101 h 490"/>
                <a:gd name="T20" fmla="*/ 71 w 383"/>
                <a:gd name="T21" fmla="*/ 109 h 490"/>
                <a:gd name="T22" fmla="*/ 63 w 383"/>
                <a:gd name="T23" fmla="*/ 130 h 490"/>
                <a:gd name="T24" fmla="*/ 71 w 383"/>
                <a:gd name="T25" fmla="*/ 136 h 490"/>
                <a:gd name="T26" fmla="*/ 80 w 383"/>
                <a:gd name="T27" fmla="*/ 156 h 490"/>
                <a:gd name="T28" fmla="*/ 74 w 383"/>
                <a:gd name="T29" fmla="*/ 174 h 490"/>
                <a:gd name="T30" fmla="*/ 92 w 383"/>
                <a:gd name="T31" fmla="*/ 179 h 490"/>
                <a:gd name="T32" fmla="*/ 100 w 383"/>
                <a:gd name="T33" fmla="*/ 201 h 490"/>
                <a:gd name="T34" fmla="*/ 83 w 383"/>
                <a:gd name="T35" fmla="*/ 219 h 490"/>
                <a:gd name="T36" fmla="*/ 74 w 383"/>
                <a:gd name="T37" fmla="*/ 234 h 490"/>
                <a:gd name="T38" fmla="*/ 71 w 383"/>
                <a:gd name="T39" fmla="*/ 243 h 490"/>
                <a:gd name="T40" fmla="*/ 60 w 383"/>
                <a:gd name="T41" fmla="*/ 239 h 490"/>
                <a:gd name="T42" fmla="*/ 49 w 383"/>
                <a:gd name="T43" fmla="*/ 250 h 490"/>
                <a:gd name="T44" fmla="*/ 34 w 383"/>
                <a:gd name="T45" fmla="*/ 259 h 490"/>
                <a:gd name="T46" fmla="*/ 23 w 383"/>
                <a:gd name="T47" fmla="*/ 265 h 490"/>
                <a:gd name="T48" fmla="*/ 32 w 383"/>
                <a:gd name="T49" fmla="*/ 276 h 490"/>
                <a:gd name="T50" fmla="*/ 31 w 383"/>
                <a:gd name="T51" fmla="*/ 292 h 490"/>
                <a:gd name="T52" fmla="*/ 9 w 383"/>
                <a:gd name="T53" fmla="*/ 299 h 490"/>
                <a:gd name="T54" fmla="*/ 3 w 383"/>
                <a:gd name="T55" fmla="*/ 317 h 490"/>
                <a:gd name="T56" fmla="*/ 5 w 383"/>
                <a:gd name="T57" fmla="*/ 343 h 490"/>
                <a:gd name="T58" fmla="*/ 31 w 383"/>
                <a:gd name="T59" fmla="*/ 379 h 490"/>
                <a:gd name="T60" fmla="*/ 47 w 383"/>
                <a:gd name="T61" fmla="*/ 416 h 490"/>
                <a:gd name="T62" fmla="*/ 89 w 383"/>
                <a:gd name="T63" fmla="*/ 403 h 490"/>
                <a:gd name="T64" fmla="*/ 116 w 383"/>
                <a:gd name="T65" fmla="*/ 456 h 490"/>
                <a:gd name="T66" fmla="*/ 190 w 383"/>
                <a:gd name="T67" fmla="*/ 486 h 490"/>
                <a:gd name="T68" fmla="*/ 207 w 383"/>
                <a:gd name="T69" fmla="*/ 466 h 490"/>
                <a:gd name="T70" fmla="*/ 227 w 383"/>
                <a:gd name="T71" fmla="*/ 461 h 490"/>
                <a:gd name="T72" fmla="*/ 218 w 383"/>
                <a:gd name="T73" fmla="*/ 439 h 490"/>
                <a:gd name="T74" fmla="*/ 252 w 383"/>
                <a:gd name="T75" fmla="*/ 419 h 490"/>
                <a:gd name="T76" fmla="*/ 263 w 383"/>
                <a:gd name="T77" fmla="*/ 405 h 490"/>
                <a:gd name="T78" fmla="*/ 290 w 383"/>
                <a:gd name="T79" fmla="*/ 407 h 490"/>
                <a:gd name="T80" fmla="*/ 281 w 383"/>
                <a:gd name="T81" fmla="*/ 428 h 490"/>
                <a:gd name="T82" fmla="*/ 301 w 383"/>
                <a:gd name="T83" fmla="*/ 416 h 490"/>
                <a:gd name="T84" fmla="*/ 316 w 383"/>
                <a:gd name="T85" fmla="*/ 403 h 490"/>
                <a:gd name="T86" fmla="*/ 319 w 383"/>
                <a:gd name="T87" fmla="*/ 377 h 490"/>
                <a:gd name="T88" fmla="*/ 337 w 383"/>
                <a:gd name="T89" fmla="*/ 367 h 490"/>
                <a:gd name="T90" fmla="*/ 350 w 383"/>
                <a:gd name="T91" fmla="*/ 345 h 490"/>
                <a:gd name="T92" fmla="*/ 339 w 383"/>
                <a:gd name="T93" fmla="*/ 337 h 490"/>
                <a:gd name="T94" fmla="*/ 318 w 383"/>
                <a:gd name="T95" fmla="*/ 352 h 490"/>
                <a:gd name="T96" fmla="*/ 303 w 383"/>
                <a:gd name="T97" fmla="*/ 312 h 490"/>
                <a:gd name="T98" fmla="*/ 298 w 383"/>
                <a:gd name="T99" fmla="*/ 263 h 490"/>
                <a:gd name="T100" fmla="*/ 296 w 383"/>
                <a:gd name="T101" fmla="*/ 239 h 490"/>
                <a:gd name="T102" fmla="*/ 290 w 383"/>
                <a:gd name="T103" fmla="*/ 210 h 490"/>
                <a:gd name="T104" fmla="*/ 305 w 383"/>
                <a:gd name="T105" fmla="*/ 181 h 490"/>
                <a:gd name="T106" fmla="*/ 314 w 383"/>
                <a:gd name="T107" fmla="*/ 167 h 490"/>
                <a:gd name="T108" fmla="*/ 328 w 383"/>
                <a:gd name="T109" fmla="*/ 167 h 490"/>
                <a:gd name="T110" fmla="*/ 332 w 383"/>
                <a:gd name="T111" fmla="*/ 152 h 490"/>
                <a:gd name="T112" fmla="*/ 370 w 383"/>
                <a:gd name="T113" fmla="*/ 179 h 490"/>
                <a:gd name="T114" fmla="*/ 381 w 383"/>
                <a:gd name="T115" fmla="*/ 190 h 490"/>
                <a:gd name="T116" fmla="*/ 376 w 383"/>
                <a:gd name="T117" fmla="*/ 130 h 490"/>
                <a:gd name="T118" fmla="*/ 359 w 383"/>
                <a:gd name="T119" fmla="*/ 103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83" h="490">
                  <a:moveTo>
                    <a:pt x="350" y="103"/>
                  </a:moveTo>
                  <a:lnTo>
                    <a:pt x="350" y="103"/>
                  </a:lnTo>
                  <a:lnTo>
                    <a:pt x="352" y="94"/>
                  </a:lnTo>
                  <a:lnTo>
                    <a:pt x="350" y="89"/>
                  </a:lnTo>
                  <a:lnTo>
                    <a:pt x="350" y="87"/>
                  </a:lnTo>
                  <a:lnTo>
                    <a:pt x="350" y="85"/>
                  </a:lnTo>
                  <a:lnTo>
                    <a:pt x="350" y="85"/>
                  </a:lnTo>
                  <a:lnTo>
                    <a:pt x="339" y="79"/>
                  </a:lnTo>
                  <a:lnTo>
                    <a:pt x="336" y="74"/>
                  </a:lnTo>
                  <a:lnTo>
                    <a:pt x="312" y="74"/>
                  </a:lnTo>
                  <a:lnTo>
                    <a:pt x="310" y="56"/>
                  </a:lnTo>
                  <a:lnTo>
                    <a:pt x="310" y="56"/>
                  </a:lnTo>
                  <a:lnTo>
                    <a:pt x="305" y="50"/>
                  </a:lnTo>
                  <a:lnTo>
                    <a:pt x="303" y="45"/>
                  </a:lnTo>
                  <a:lnTo>
                    <a:pt x="299" y="43"/>
                  </a:lnTo>
                  <a:lnTo>
                    <a:pt x="296" y="41"/>
                  </a:lnTo>
                  <a:lnTo>
                    <a:pt x="296" y="41"/>
                  </a:lnTo>
                  <a:lnTo>
                    <a:pt x="290" y="38"/>
                  </a:lnTo>
                  <a:lnTo>
                    <a:pt x="279" y="32"/>
                  </a:lnTo>
                  <a:lnTo>
                    <a:pt x="272" y="25"/>
                  </a:lnTo>
                  <a:lnTo>
                    <a:pt x="267" y="7"/>
                  </a:lnTo>
                  <a:lnTo>
                    <a:pt x="247" y="0"/>
                  </a:lnTo>
                  <a:lnTo>
                    <a:pt x="243" y="1"/>
                  </a:lnTo>
                  <a:lnTo>
                    <a:pt x="243" y="1"/>
                  </a:lnTo>
                  <a:lnTo>
                    <a:pt x="247" y="5"/>
                  </a:lnTo>
                  <a:lnTo>
                    <a:pt x="243" y="10"/>
                  </a:lnTo>
                  <a:lnTo>
                    <a:pt x="241" y="12"/>
                  </a:lnTo>
                  <a:lnTo>
                    <a:pt x="241" y="12"/>
                  </a:lnTo>
                  <a:lnTo>
                    <a:pt x="238" y="18"/>
                  </a:lnTo>
                  <a:lnTo>
                    <a:pt x="234" y="20"/>
                  </a:lnTo>
                  <a:lnTo>
                    <a:pt x="229" y="23"/>
                  </a:lnTo>
                  <a:lnTo>
                    <a:pt x="219" y="23"/>
                  </a:lnTo>
                  <a:lnTo>
                    <a:pt x="219" y="23"/>
                  </a:lnTo>
                  <a:lnTo>
                    <a:pt x="214" y="23"/>
                  </a:lnTo>
                  <a:lnTo>
                    <a:pt x="210" y="23"/>
                  </a:lnTo>
                  <a:lnTo>
                    <a:pt x="205" y="27"/>
                  </a:lnTo>
                  <a:lnTo>
                    <a:pt x="198" y="30"/>
                  </a:lnTo>
                  <a:lnTo>
                    <a:pt x="198" y="30"/>
                  </a:lnTo>
                  <a:lnTo>
                    <a:pt x="198" y="32"/>
                  </a:lnTo>
                  <a:lnTo>
                    <a:pt x="194" y="34"/>
                  </a:lnTo>
                  <a:lnTo>
                    <a:pt x="190" y="34"/>
                  </a:lnTo>
                  <a:lnTo>
                    <a:pt x="185" y="34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0" y="34"/>
                  </a:lnTo>
                  <a:lnTo>
                    <a:pt x="160" y="34"/>
                  </a:lnTo>
                  <a:lnTo>
                    <a:pt x="152" y="39"/>
                  </a:lnTo>
                  <a:lnTo>
                    <a:pt x="147" y="39"/>
                  </a:lnTo>
                  <a:lnTo>
                    <a:pt x="147" y="39"/>
                  </a:lnTo>
                  <a:lnTo>
                    <a:pt x="145" y="39"/>
                  </a:lnTo>
                  <a:lnTo>
                    <a:pt x="143" y="38"/>
                  </a:lnTo>
                  <a:lnTo>
                    <a:pt x="136" y="32"/>
                  </a:lnTo>
                  <a:lnTo>
                    <a:pt x="130" y="25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23" y="38"/>
                  </a:lnTo>
                  <a:lnTo>
                    <a:pt x="127" y="43"/>
                  </a:lnTo>
                  <a:lnTo>
                    <a:pt x="123" y="45"/>
                  </a:lnTo>
                  <a:lnTo>
                    <a:pt x="118" y="54"/>
                  </a:lnTo>
                  <a:lnTo>
                    <a:pt x="121" y="67"/>
                  </a:lnTo>
                  <a:lnTo>
                    <a:pt x="107" y="69"/>
                  </a:lnTo>
                  <a:lnTo>
                    <a:pt x="96" y="70"/>
                  </a:lnTo>
                  <a:lnTo>
                    <a:pt x="100" y="79"/>
                  </a:lnTo>
                  <a:lnTo>
                    <a:pt x="76" y="90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2" y="96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3" y="101"/>
                  </a:lnTo>
                  <a:lnTo>
                    <a:pt x="63" y="103"/>
                  </a:lnTo>
                  <a:lnTo>
                    <a:pt x="63" y="107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71" y="109"/>
                  </a:lnTo>
                  <a:lnTo>
                    <a:pt x="71" y="109"/>
                  </a:lnTo>
                  <a:lnTo>
                    <a:pt x="72" y="112"/>
                  </a:lnTo>
                  <a:lnTo>
                    <a:pt x="74" y="116"/>
                  </a:lnTo>
                  <a:lnTo>
                    <a:pt x="74" y="123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71" y="134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2" y="139"/>
                  </a:lnTo>
                  <a:lnTo>
                    <a:pt x="72" y="145"/>
                  </a:lnTo>
                  <a:lnTo>
                    <a:pt x="80" y="147"/>
                  </a:lnTo>
                  <a:lnTo>
                    <a:pt x="80" y="147"/>
                  </a:lnTo>
                  <a:lnTo>
                    <a:pt x="80" y="154"/>
                  </a:lnTo>
                  <a:lnTo>
                    <a:pt x="80" y="154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76" y="163"/>
                  </a:lnTo>
                  <a:lnTo>
                    <a:pt x="74" y="165"/>
                  </a:lnTo>
                  <a:lnTo>
                    <a:pt x="74" y="165"/>
                  </a:lnTo>
                  <a:lnTo>
                    <a:pt x="72" y="167"/>
                  </a:lnTo>
                  <a:lnTo>
                    <a:pt x="72" y="170"/>
                  </a:lnTo>
                  <a:lnTo>
                    <a:pt x="74" y="174"/>
                  </a:lnTo>
                  <a:lnTo>
                    <a:pt x="74" y="174"/>
                  </a:lnTo>
                  <a:lnTo>
                    <a:pt x="80" y="176"/>
                  </a:lnTo>
                  <a:lnTo>
                    <a:pt x="83" y="178"/>
                  </a:lnTo>
                  <a:lnTo>
                    <a:pt x="87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4" y="181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6" y="198"/>
                  </a:lnTo>
                  <a:lnTo>
                    <a:pt x="96" y="199"/>
                  </a:lnTo>
                  <a:lnTo>
                    <a:pt x="100" y="201"/>
                  </a:lnTo>
                  <a:lnTo>
                    <a:pt x="100" y="201"/>
                  </a:lnTo>
                  <a:lnTo>
                    <a:pt x="100" y="201"/>
                  </a:lnTo>
                  <a:lnTo>
                    <a:pt x="96" y="205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89" y="212"/>
                  </a:lnTo>
                  <a:lnTo>
                    <a:pt x="83" y="219"/>
                  </a:lnTo>
                  <a:lnTo>
                    <a:pt x="83" y="219"/>
                  </a:lnTo>
                  <a:lnTo>
                    <a:pt x="83" y="221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0" y="228"/>
                  </a:lnTo>
                  <a:lnTo>
                    <a:pt x="80" y="230"/>
                  </a:lnTo>
                  <a:lnTo>
                    <a:pt x="74" y="234"/>
                  </a:lnTo>
                  <a:lnTo>
                    <a:pt x="74" y="234"/>
                  </a:lnTo>
                  <a:lnTo>
                    <a:pt x="72" y="234"/>
                  </a:lnTo>
                  <a:lnTo>
                    <a:pt x="74" y="238"/>
                  </a:lnTo>
                  <a:lnTo>
                    <a:pt x="80" y="238"/>
                  </a:lnTo>
                  <a:lnTo>
                    <a:pt x="80" y="238"/>
                  </a:lnTo>
                  <a:lnTo>
                    <a:pt x="74" y="239"/>
                  </a:lnTo>
                  <a:lnTo>
                    <a:pt x="71" y="243"/>
                  </a:lnTo>
                  <a:lnTo>
                    <a:pt x="71" y="243"/>
                  </a:lnTo>
                  <a:lnTo>
                    <a:pt x="69" y="243"/>
                  </a:lnTo>
                  <a:lnTo>
                    <a:pt x="65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58" y="238"/>
                  </a:lnTo>
                  <a:lnTo>
                    <a:pt x="51" y="238"/>
                  </a:lnTo>
                  <a:lnTo>
                    <a:pt x="51" y="238"/>
                  </a:lnTo>
                  <a:lnTo>
                    <a:pt x="51" y="238"/>
                  </a:lnTo>
                  <a:lnTo>
                    <a:pt x="49" y="239"/>
                  </a:lnTo>
                  <a:lnTo>
                    <a:pt x="47" y="243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3" y="256"/>
                  </a:lnTo>
                  <a:lnTo>
                    <a:pt x="40" y="256"/>
                  </a:lnTo>
                  <a:lnTo>
                    <a:pt x="34" y="259"/>
                  </a:lnTo>
                  <a:lnTo>
                    <a:pt x="34" y="259"/>
                  </a:lnTo>
                  <a:lnTo>
                    <a:pt x="32" y="259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61"/>
                  </a:lnTo>
                  <a:lnTo>
                    <a:pt x="23" y="265"/>
                  </a:lnTo>
                  <a:lnTo>
                    <a:pt x="23" y="272"/>
                  </a:lnTo>
                  <a:lnTo>
                    <a:pt x="23" y="272"/>
                  </a:lnTo>
                  <a:lnTo>
                    <a:pt x="27" y="274"/>
                  </a:lnTo>
                  <a:lnTo>
                    <a:pt x="29" y="276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2" y="276"/>
                  </a:lnTo>
                  <a:lnTo>
                    <a:pt x="34" y="278"/>
                  </a:lnTo>
                  <a:lnTo>
                    <a:pt x="38" y="283"/>
                  </a:lnTo>
                  <a:lnTo>
                    <a:pt x="40" y="294"/>
                  </a:lnTo>
                  <a:lnTo>
                    <a:pt x="40" y="294"/>
                  </a:lnTo>
                  <a:lnTo>
                    <a:pt x="38" y="296"/>
                  </a:lnTo>
                  <a:lnTo>
                    <a:pt x="34" y="294"/>
                  </a:lnTo>
                  <a:lnTo>
                    <a:pt x="31" y="292"/>
                  </a:lnTo>
                  <a:lnTo>
                    <a:pt x="25" y="288"/>
                  </a:lnTo>
                  <a:lnTo>
                    <a:pt x="21" y="292"/>
                  </a:lnTo>
                  <a:lnTo>
                    <a:pt x="21" y="297"/>
                  </a:lnTo>
                  <a:lnTo>
                    <a:pt x="21" y="297"/>
                  </a:lnTo>
                  <a:lnTo>
                    <a:pt x="18" y="297"/>
                  </a:lnTo>
                  <a:lnTo>
                    <a:pt x="9" y="299"/>
                  </a:lnTo>
                  <a:lnTo>
                    <a:pt x="9" y="299"/>
                  </a:lnTo>
                  <a:lnTo>
                    <a:pt x="5" y="299"/>
                  </a:lnTo>
                  <a:lnTo>
                    <a:pt x="3" y="303"/>
                  </a:lnTo>
                  <a:lnTo>
                    <a:pt x="0" y="305"/>
                  </a:lnTo>
                  <a:lnTo>
                    <a:pt x="0" y="305"/>
                  </a:lnTo>
                  <a:lnTo>
                    <a:pt x="1" y="310"/>
                  </a:lnTo>
                  <a:lnTo>
                    <a:pt x="3" y="317"/>
                  </a:lnTo>
                  <a:lnTo>
                    <a:pt x="3" y="317"/>
                  </a:lnTo>
                  <a:lnTo>
                    <a:pt x="3" y="321"/>
                  </a:lnTo>
                  <a:lnTo>
                    <a:pt x="1" y="325"/>
                  </a:lnTo>
                  <a:lnTo>
                    <a:pt x="0" y="332"/>
                  </a:lnTo>
                  <a:lnTo>
                    <a:pt x="0" y="332"/>
                  </a:lnTo>
                  <a:lnTo>
                    <a:pt x="1" y="336"/>
                  </a:lnTo>
                  <a:lnTo>
                    <a:pt x="3" y="341"/>
                  </a:lnTo>
                  <a:lnTo>
                    <a:pt x="5" y="343"/>
                  </a:lnTo>
                  <a:lnTo>
                    <a:pt x="5" y="343"/>
                  </a:lnTo>
                  <a:lnTo>
                    <a:pt x="9" y="350"/>
                  </a:lnTo>
                  <a:lnTo>
                    <a:pt x="9" y="356"/>
                  </a:lnTo>
                  <a:lnTo>
                    <a:pt x="9" y="363"/>
                  </a:lnTo>
                  <a:lnTo>
                    <a:pt x="9" y="363"/>
                  </a:lnTo>
                  <a:lnTo>
                    <a:pt x="21" y="368"/>
                  </a:lnTo>
                  <a:lnTo>
                    <a:pt x="31" y="379"/>
                  </a:lnTo>
                  <a:lnTo>
                    <a:pt x="31" y="379"/>
                  </a:lnTo>
                  <a:lnTo>
                    <a:pt x="32" y="385"/>
                  </a:lnTo>
                  <a:lnTo>
                    <a:pt x="34" y="388"/>
                  </a:lnTo>
                  <a:lnTo>
                    <a:pt x="38" y="397"/>
                  </a:lnTo>
                  <a:lnTo>
                    <a:pt x="38" y="397"/>
                  </a:lnTo>
                  <a:lnTo>
                    <a:pt x="41" y="416"/>
                  </a:lnTo>
                  <a:lnTo>
                    <a:pt x="47" y="416"/>
                  </a:lnTo>
                  <a:lnTo>
                    <a:pt x="47" y="416"/>
                  </a:lnTo>
                  <a:lnTo>
                    <a:pt x="72" y="403"/>
                  </a:lnTo>
                  <a:lnTo>
                    <a:pt x="72" y="403"/>
                  </a:lnTo>
                  <a:lnTo>
                    <a:pt x="76" y="401"/>
                  </a:lnTo>
                  <a:lnTo>
                    <a:pt x="81" y="401"/>
                  </a:lnTo>
                  <a:lnTo>
                    <a:pt x="85" y="403"/>
                  </a:lnTo>
                  <a:lnTo>
                    <a:pt x="89" y="403"/>
                  </a:lnTo>
                  <a:lnTo>
                    <a:pt x="100" y="410"/>
                  </a:lnTo>
                  <a:lnTo>
                    <a:pt x="100" y="410"/>
                  </a:lnTo>
                  <a:lnTo>
                    <a:pt x="105" y="417"/>
                  </a:lnTo>
                  <a:lnTo>
                    <a:pt x="112" y="423"/>
                  </a:lnTo>
                  <a:lnTo>
                    <a:pt x="123" y="434"/>
                  </a:lnTo>
                  <a:lnTo>
                    <a:pt x="123" y="446"/>
                  </a:lnTo>
                  <a:lnTo>
                    <a:pt x="116" y="456"/>
                  </a:lnTo>
                  <a:lnTo>
                    <a:pt x="114" y="472"/>
                  </a:lnTo>
                  <a:lnTo>
                    <a:pt x="129" y="472"/>
                  </a:lnTo>
                  <a:lnTo>
                    <a:pt x="156" y="463"/>
                  </a:lnTo>
                  <a:lnTo>
                    <a:pt x="172" y="476"/>
                  </a:lnTo>
                  <a:lnTo>
                    <a:pt x="183" y="490"/>
                  </a:lnTo>
                  <a:lnTo>
                    <a:pt x="183" y="490"/>
                  </a:lnTo>
                  <a:lnTo>
                    <a:pt x="190" y="486"/>
                  </a:lnTo>
                  <a:lnTo>
                    <a:pt x="198" y="485"/>
                  </a:lnTo>
                  <a:lnTo>
                    <a:pt x="198" y="485"/>
                  </a:lnTo>
                  <a:lnTo>
                    <a:pt x="199" y="481"/>
                  </a:lnTo>
                  <a:lnTo>
                    <a:pt x="201" y="479"/>
                  </a:lnTo>
                  <a:lnTo>
                    <a:pt x="205" y="472"/>
                  </a:lnTo>
                  <a:lnTo>
                    <a:pt x="207" y="466"/>
                  </a:lnTo>
                  <a:lnTo>
                    <a:pt x="207" y="466"/>
                  </a:lnTo>
                  <a:lnTo>
                    <a:pt x="210" y="465"/>
                  </a:lnTo>
                  <a:lnTo>
                    <a:pt x="210" y="465"/>
                  </a:lnTo>
                  <a:lnTo>
                    <a:pt x="218" y="466"/>
                  </a:lnTo>
                  <a:lnTo>
                    <a:pt x="218" y="466"/>
                  </a:lnTo>
                  <a:lnTo>
                    <a:pt x="221" y="465"/>
                  </a:lnTo>
                  <a:lnTo>
                    <a:pt x="227" y="463"/>
                  </a:lnTo>
                  <a:lnTo>
                    <a:pt x="227" y="461"/>
                  </a:lnTo>
                  <a:lnTo>
                    <a:pt x="227" y="459"/>
                  </a:lnTo>
                  <a:lnTo>
                    <a:pt x="227" y="459"/>
                  </a:lnTo>
                  <a:lnTo>
                    <a:pt x="221" y="456"/>
                  </a:lnTo>
                  <a:lnTo>
                    <a:pt x="218" y="450"/>
                  </a:lnTo>
                  <a:lnTo>
                    <a:pt x="218" y="446"/>
                  </a:lnTo>
                  <a:lnTo>
                    <a:pt x="218" y="443"/>
                  </a:lnTo>
                  <a:lnTo>
                    <a:pt x="218" y="439"/>
                  </a:lnTo>
                  <a:lnTo>
                    <a:pt x="219" y="437"/>
                  </a:lnTo>
                  <a:lnTo>
                    <a:pt x="219" y="437"/>
                  </a:lnTo>
                  <a:lnTo>
                    <a:pt x="221" y="434"/>
                  </a:lnTo>
                  <a:lnTo>
                    <a:pt x="229" y="428"/>
                  </a:lnTo>
                  <a:lnTo>
                    <a:pt x="236" y="423"/>
                  </a:lnTo>
                  <a:lnTo>
                    <a:pt x="247" y="421"/>
                  </a:lnTo>
                  <a:lnTo>
                    <a:pt x="252" y="419"/>
                  </a:lnTo>
                  <a:lnTo>
                    <a:pt x="252" y="419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4"/>
                  </a:lnTo>
                  <a:lnTo>
                    <a:pt x="258" y="408"/>
                  </a:lnTo>
                  <a:lnTo>
                    <a:pt x="259" y="407"/>
                  </a:lnTo>
                  <a:lnTo>
                    <a:pt x="263" y="405"/>
                  </a:lnTo>
                  <a:lnTo>
                    <a:pt x="263" y="405"/>
                  </a:lnTo>
                  <a:lnTo>
                    <a:pt x="283" y="399"/>
                  </a:lnTo>
                  <a:lnTo>
                    <a:pt x="290" y="399"/>
                  </a:lnTo>
                  <a:lnTo>
                    <a:pt x="292" y="399"/>
                  </a:lnTo>
                  <a:lnTo>
                    <a:pt x="292" y="403"/>
                  </a:lnTo>
                  <a:lnTo>
                    <a:pt x="292" y="403"/>
                  </a:lnTo>
                  <a:lnTo>
                    <a:pt x="290" y="407"/>
                  </a:lnTo>
                  <a:lnTo>
                    <a:pt x="287" y="410"/>
                  </a:lnTo>
                  <a:lnTo>
                    <a:pt x="279" y="419"/>
                  </a:lnTo>
                  <a:lnTo>
                    <a:pt x="279" y="419"/>
                  </a:lnTo>
                  <a:lnTo>
                    <a:pt x="276" y="423"/>
                  </a:lnTo>
                  <a:lnTo>
                    <a:pt x="276" y="425"/>
                  </a:lnTo>
                  <a:lnTo>
                    <a:pt x="279" y="426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8" y="426"/>
                  </a:lnTo>
                  <a:lnTo>
                    <a:pt x="292" y="426"/>
                  </a:lnTo>
                  <a:lnTo>
                    <a:pt x="296" y="423"/>
                  </a:lnTo>
                  <a:lnTo>
                    <a:pt x="299" y="419"/>
                  </a:lnTo>
                  <a:lnTo>
                    <a:pt x="299" y="419"/>
                  </a:lnTo>
                  <a:lnTo>
                    <a:pt x="301" y="416"/>
                  </a:lnTo>
                  <a:lnTo>
                    <a:pt x="301" y="410"/>
                  </a:lnTo>
                  <a:lnTo>
                    <a:pt x="303" y="407"/>
                  </a:lnTo>
                  <a:lnTo>
                    <a:pt x="303" y="407"/>
                  </a:lnTo>
                  <a:lnTo>
                    <a:pt x="305" y="405"/>
                  </a:lnTo>
                  <a:lnTo>
                    <a:pt x="305" y="405"/>
                  </a:lnTo>
                  <a:lnTo>
                    <a:pt x="312" y="403"/>
                  </a:lnTo>
                  <a:lnTo>
                    <a:pt x="316" y="403"/>
                  </a:lnTo>
                  <a:lnTo>
                    <a:pt x="318" y="399"/>
                  </a:lnTo>
                  <a:lnTo>
                    <a:pt x="318" y="396"/>
                  </a:lnTo>
                  <a:lnTo>
                    <a:pt x="318" y="396"/>
                  </a:lnTo>
                  <a:lnTo>
                    <a:pt x="318" y="388"/>
                  </a:lnTo>
                  <a:lnTo>
                    <a:pt x="318" y="383"/>
                  </a:lnTo>
                  <a:lnTo>
                    <a:pt x="318" y="379"/>
                  </a:lnTo>
                  <a:lnTo>
                    <a:pt x="319" y="377"/>
                  </a:lnTo>
                  <a:lnTo>
                    <a:pt x="321" y="376"/>
                  </a:lnTo>
                  <a:lnTo>
                    <a:pt x="321" y="376"/>
                  </a:lnTo>
                  <a:lnTo>
                    <a:pt x="328" y="374"/>
                  </a:lnTo>
                  <a:lnTo>
                    <a:pt x="334" y="372"/>
                  </a:lnTo>
                  <a:lnTo>
                    <a:pt x="336" y="368"/>
                  </a:lnTo>
                  <a:lnTo>
                    <a:pt x="337" y="368"/>
                  </a:lnTo>
                  <a:lnTo>
                    <a:pt x="337" y="367"/>
                  </a:lnTo>
                  <a:lnTo>
                    <a:pt x="337" y="367"/>
                  </a:lnTo>
                  <a:lnTo>
                    <a:pt x="337" y="363"/>
                  </a:lnTo>
                  <a:lnTo>
                    <a:pt x="339" y="359"/>
                  </a:lnTo>
                  <a:lnTo>
                    <a:pt x="341" y="354"/>
                  </a:lnTo>
                  <a:lnTo>
                    <a:pt x="345" y="350"/>
                  </a:lnTo>
                  <a:lnTo>
                    <a:pt x="345" y="350"/>
                  </a:lnTo>
                  <a:lnTo>
                    <a:pt x="350" y="345"/>
                  </a:lnTo>
                  <a:lnTo>
                    <a:pt x="350" y="341"/>
                  </a:lnTo>
                  <a:lnTo>
                    <a:pt x="350" y="339"/>
                  </a:lnTo>
                  <a:lnTo>
                    <a:pt x="350" y="337"/>
                  </a:lnTo>
                  <a:lnTo>
                    <a:pt x="345" y="337"/>
                  </a:lnTo>
                  <a:lnTo>
                    <a:pt x="343" y="336"/>
                  </a:lnTo>
                  <a:lnTo>
                    <a:pt x="343" y="336"/>
                  </a:lnTo>
                  <a:lnTo>
                    <a:pt x="339" y="337"/>
                  </a:lnTo>
                  <a:lnTo>
                    <a:pt x="336" y="339"/>
                  </a:lnTo>
                  <a:lnTo>
                    <a:pt x="330" y="345"/>
                  </a:lnTo>
                  <a:lnTo>
                    <a:pt x="323" y="352"/>
                  </a:lnTo>
                  <a:lnTo>
                    <a:pt x="321" y="354"/>
                  </a:lnTo>
                  <a:lnTo>
                    <a:pt x="319" y="354"/>
                  </a:lnTo>
                  <a:lnTo>
                    <a:pt x="319" y="354"/>
                  </a:lnTo>
                  <a:lnTo>
                    <a:pt x="318" y="352"/>
                  </a:lnTo>
                  <a:lnTo>
                    <a:pt x="316" y="347"/>
                  </a:lnTo>
                  <a:lnTo>
                    <a:pt x="314" y="339"/>
                  </a:lnTo>
                  <a:lnTo>
                    <a:pt x="314" y="339"/>
                  </a:lnTo>
                  <a:lnTo>
                    <a:pt x="308" y="330"/>
                  </a:lnTo>
                  <a:lnTo>
                    <a:pt x="305" y="321"/>
                  </a:lnTo>
                  <a:lnTo>
                    <a:pt x="303" y="312"/>
                  </a:lnTo>
                  <a:lnTo>
                    <a:pt x="303" y="312"/>
                  </a:lnTo>
                  <a:lnTo>
                    <a:pt x="303" y="299"/>
                  </a:lnTo>
                  <a:lnTo>
                    <a:pt x="303" y="292"/>
                  </a:lnTo>
                  <a:lnTo>
                    <a:pt x="305" y="283"/>
                  </a:lnTo>
                  <a:lnTo>
                    <a:pt x="303" y="276"/>
                  </a:lnTo>
                  <a:lnTo>
                    <a:pt x="303" y="276"/>
                  </a:lnTo>
                  <a:lnTo>
                    <a:pt x="299" y="268"/>
                  </a:lnTo>
                  <a:lnTo>
                    <a:pt x="298" y="263"/>
                  </a:lnTo>
                  <a:lnTo>
                    <a:pt x="296" y="256"/>
                  </a:lnTo>
                  <a:lnTo>
                    <a:pt x="296" y="256"/>
                  </a:lnTo>
                  <a:lnTo>
                    <a:pt x="296" y="252"/>
                  </a:lnTo>
                  <a:lnTo>
                    <a:pt x="298" y="248"/>
                  </a:lnTo>
                  <a:lnTo>
                    <a:pt x="299" y="247"/>
                  </a:lnTo>
                  <a:lnTo>
                    <a:pt x="296" y="239"/>
                  </a:lnTo>
                  <a:lnTo>
                    <a:pt x="296" y="239"/>
                  </a:lnTo>
                  <a:lnTo>
                    <a:pt x="292" y="238"/>
                  </a:lnTo>
                  <a:lnTo>
                    <a:pt x="290" y="234"/>
                  </a:lnTo>
                  <a:lnTo>
                    <a:pt x="288" y="230"/>
                  </a:lnTo>
                  <a:lnTo>
                    <a:pt x="288" y="227"/>
                  </a:lnTo>
                  <a:lnTo>
                    <a:pt x="288" y="227"/>
                  </a:lnTo>
                  <a:lnTo>
                    <a:pt x="288" y="218"/>
                  </a:lnTo>
                  <a:lnTo>
                    <a:pt x="290" y="210"/>
                  </a:lnTo>
                  <a:lnTo>
                    <a:pt x="294" y="205"/>
                  </a:lnTo>
                  <a:lnTo>
                    <a:pt x="296" y="201"/>
                  </a:lnTo>
                  <a:lnTo>
                    <a:pt x="296" y="201"/>
                  </a:lnTo>
                  <a:lnTo>
                    <a:pt x="299" y="198"/>
                  </a:lnTo>
                  <a:lnTo>
                    <a:pt x="303" y="194"/>
                  </a:lnTo>
                  <a:lnTo>
                    <a:pt x="303" y="188"/>
                  </a:lnTo>
                  <a:lnTo>
                    <a:pt x="305" y="181"/>
                  </a:lnTo>
                  <a:lnTo>
                    <a:pt x="305" y="181"/>
                  </a:lnTo>
                  <a:lnTo>
                    <a:pt x="305" y="178"/>
                  </a:lnTo>
                  <a:lnTo>
                    <a:pt x="305" y="174"/>
                  </a:lnTo>
                  <a:lnTo>
                    <a:pt x="310" y="170"/>
                  </a:lnTo>
                  <a:lnTo>
                    <a:pt x="312" y="168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8" y="168"/>
                  </a:lnTo>
                  <a:lnTo>
                    <a:pt x="323" y="170"/>
                  </a:lnTo>
                  <a:lnTo>
                    <a:pt x="325" y="172"/>
                  </a:lnTo>
                  <a:lnTo>
                    <a:pt x="328" y="172"/>
                  </a:lnTo>
                  <a:lnTo>
                    <a:pt x="328" y="170"/>
                  </a:lnTo>
                  <a:lnTo>
                    <a:pt x="328" y="170"/>
                  </a:lnTo>
                  <a:lnTo>
                    <a:pt x="328" y="167"/>
                  </a:lnTo>
                  <a:lnTo>
                    <a:pt x="325" y="156"/>
                  </a:lnTo>
                  <a:lnTo>
                    <a:pt x="325" y="150"/>
                  </a:lnTo>
                  <a:lnTo>
                    <a:pt x="325" y="149"/>
                  </a:lnTo>
                  <a:lnTo>
                    <a:pt x="328" y="149"/>
                  </a:lnTo>
                  <a:lnTo>
                    <a:pt x="328" y="149"/>
                  </a:lnTo>
                  <a:lnTo>
                    <a:pt x="330" y="149"/>
                  </a:lnTo>
                  <a:lnTo>
                    <a:pt x="332" y="152"/>
                  </a:lnTo>
                  <a:lnTo>
                    <a:pt x="337" y="159"/>
                  </a:lnTo>
                  <a:lnTo>
                    <a:pt x="341" y="168"/>
                  </a:lnTo>
                  <a:lnTo>
                    <a:pt x="350" y="176"/>
                  </a:lnTo>
                  <a:lnTo>
                    <a:pt x="350" y="176"/>
                  </a:lnTo>
                  <a:lnTo>
                    <a:pt x="354" y="178"/>
                  </a:lnTo>
                  <a:lnTo>
                    <a:pt x="359" y="178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2" y="181"/>
                  </a:lnTo>
                  <a:lnTo>
                    <a:pt x="376" y="187"/>
                  </a:lnTo>
                  <a:lnTo>
                    <a:pt x="379" y="190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0"/>
                  </a:lnTo>
                  <a:lnTo>
                    <a:pt x="383" y="181"/>
                  </a:lnTo>
                  <a:lnTo>
                    <a:pt x="383" y="174"/>
                  </a:lnTo>
                  <a:lnTo>
                    <a:pt x="383" y="165"/>
                  </a:lnTo>
                  <a:lnTo>
                    <a:pt x="379" y="154"/>
                  </a:lnTo>
                  <a:lnTo>
                    <a:pt x="379" y="154"/>
                  </a:lnTo>
                  <a:lnTo>
                    <a:pt x="376" y="130"/>
                  </a:lnTo>
                  <a:lnTo>
                    <a:pt x="374" y="118"/>
                  </a:lnTo>
                  <a:lnTo>
                    <a:pt x="374" y="110"/>
                  </a:lnTo>
                  <a:lnTo>
                    <a:pt x="374" y="110"/>
                  </a:lnTo>
                  <a:lnTo>
                    <a:pt x="374" y="110"/>
                  </a:lnTo>
                  <a:lnTo>
                    <a:pt x="365" y="107"/>
                  </a:lnTo>
                  <a:lnTo>
                    <a:pt x="359" y="103"/>
                  </a:lnTo>
                  <a:lnTo>
                    <a:pt x="359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lnTo>
                    <a:pt x="350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6" name="Freeform 58">
              <a:extLst>
                <a:ext uri="{FF2B5EF4-FFF2-40B4-BE49-F238E27FC236}">
                  <a16:creationId xmlns:a16="http://schemas.microsoft.com/office/drawing/2014/main" id="{C102D1FB-E027-4442-92E3-62CBC16166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7146" y="3972500"/>
              <a:ext cx="744425" cy="1257495"/>
            </a:xfrm>
            <a:custGeom>
              <a:avLst/>
              <a:gdLst>
                <a:gd name="T0" fmla="*/ 240 w 514"/>
                <a:gd name="T1" fmla="*/ 2 h 879"/>
                <a:gd name="T2" fmla="*/ 193 w 514"/>
                <a:gd name="T3" fmla="*/ 42 h 879"/>
                <a:gd name="T4" fmla="*/ 178 w 514"/>
                <a:gd name="T5" fmla="*/ 42 h 879"/>
                <a:gd name="T6" fmla="*/ 156 w 514"/>
                <a:gd name="T7" fmla="*/ 55 h 879"/>
                <a:gd name="T8" fmla="*/ 135 w 514"/>
                <a:gd name="T9" fmla="*/ 62 h 879"/>
                <a:gd name="T10" fmla="*/ 95 w 514"/>
                <a:gd name="T11" fmla="*/ 65 h 879"/>
                <a:gd name="T12" fmla="*/ 104 w 514"/>
                <a:gd name="T13" fmla="*/ 111 h 879"/>
                <a:gd name="T14" fmla="*/ 89 w 514"/>
                <a:gd name="T15" fmla="*/ 138 h 879"/>
                <a:gd name="T16" fmla="*/ 98 w 514"/>
                <a:gd name="T17" fmla="*/ 169 h 879"/>
                <a:gd name="T18" fmla="*/ 120 w 514"/>
                <a:gd name="T19" fmla="*/ 211 h 879"/>
                <a:gd name="T20" fmla="*/ 113 w 514"/>
                <a:gd name="T21" fmla="*/ 225 h 879"/>
                <a:gd name="T22" fmla="*/ 98 w 514"/>
                <a:gd name="T23" fmla="*/ 254 h 879"/>
                <a:gd name="T24" fmla="*/ 68 w 514"/>
                <a:gd name="T25" fmla="*/ 274 h 879"/>
                <a:gd name="T26" fmla="*/ 20 w 514"/>
                <a:gd name="T27" fmla="*/ 307 h 879"/>
                <a:gd name="T28" fmla="*/ 15 w 514"/>
                <a:gd name="T29" fmla="*/ 371 h 879"/>
                <a:gd name="T30" fmla="*/ 20 w 514"/>
                <a:gd name="T31" fmla="*/ 405 h 879"/>
                <a:gd name="T32" fmla="*/ 40 w 514"/>
                <a:gd name="T33" fmla="*/ 442 h 879"/>
                <a:gd name="T34" fmla="*/ 37 w 514"/>
                <a:gd name="T35" fmla="*/ 478 h 879"/>
                <a:gd name="T36" fmla="*/ 69 w 514"/>
                <a:gd name="T37" fmla="*/ 494 h 879"/>
                <a:gd name="T38" fmla="*/ 98 w 514"/>
                <a:gd name="T39" fmla="*/ 489 h 879"/>
                <a:gd name="T40" fmla="*/ 78 w 514"/>
                <a:gd name="T41" fmla="*/ 547 h 879"/>
                <a:gd name="T42" fmla="*/ 73 w 514"/>
                <a:gd name="T43" fmla="*/ 598 h 879"/>
                <a:gd name="T44" fmla="*/ 111 w 514"/>
                <a:gd name="T45" fmla="*/ 598 h 879"/>
                <a:gd name="T46" fmla="*/ 137 w 514"/>
                <a:gd name="T47" fmla="*/ 609 h 879"/>
                <a:gd name="T48" fmla="*/ 171 w 514"/>
                <a:gd name="T49" fmla="*/ 581 h 879"/>
                <a:gd name="T50" fmla="*/ 224 w 514"/>
                <a:gd name="T51" fmla="*/ 554 h 879"/>
                <a:gd name="T52" fmla="*/ 238 w 514"/>
                <a:gd name="T53" fmla="*/ 605 h 879"/>
                <a:gd name="T54" fmla="*/ 198 w 514"/>
                <a:gd name="T55" fmla="*/ 618 h 879"/>
                <a:gd name="T56" fmla="*/ 193 w 514"/>
                <a:gd name="T57" fmla="*/ 643 h 879"/>
                <a:gd name="T58" fmla="*/ 167 w 514"/>
                <a:gd name="T59" fmla="*/ 687 h 879"/>
                <a:gd name="T60" fmla="*/ 164 w 514"/>
                <a:gd name="T61" fmla="*/ 707 h 879"/>
                <a:gd name="T62" fmla="*/ 158 w 514"/>
                <a:gd name="T63" fmla="*/ 732 h 879"/>
                <a:gd name="T64" fmla="*/ 175 w 514"/>
                <a:gd name="T65" fmla="*/ 747 h 879"/>
                <a:gd name="T66" fmla="*/ 204 w 514"/>
                <a:gd name="T67" fmla="*/ 758 h 879"/>
                <a:gd name="T68" fmla="*/ 227 w 514"/>
                <a:gd name="T69" fmla="*/ 800 h 879"/>
                <a:gd name="T70" fmla="*/ 251 w 514"/>
                <a:gd name="T71" fmla="*/ 785 h 879"/>
                <a:gd name="T72" fmla="*/ 296 w 514"/>
                <a:gd name="T73" fmla="*/ 787 h 879"/>
                <a:gd name="T74" fmla="*/ 333 w 514"/>
                <a:gd name="T75" fmla="*/ 778 h 879"/>
                <a:gd name="T76" fmla="*/ 354 w 514"/>
                <a:gd name="T77" fmla="*/ 794 h 879"/>
                <a:gd name="T78" fmla="*/ 369 w 514"/>
                <a:gd name="T79" fmla="*/ 830 h 879"/>
                <a:gd name="T80" fmla="*/ 373 w 514"/>
                <a:gd name="T81" fmla="*/ 879 h 879"/>
                <a:gd name="T82" fmla="*/ 389 w 514"/>
                <a:gd name="T83" fmla="*/ 841 h 879"/>
                <a:gd name="T84" fmla="*/ 422 w 514"/>
                <a:gd name="T85" fmla="*/ 834 h 879"/>
                <a:gd name="T86" fmla="*/ 456 w 514"/>
                <a:gd name="T87" fmla="*/ 814 h 879"/>
                <a:gd name="T88" fmla="*/ 473 w 514"/>
                <a:gd name="T89" fmla="*/ 780 h 879"/>
                <a:gd name="T90" fmla="*/ 454 w 514"/>
                <a:gd name="T91" fmla="*/ 760 h 879"/>
                <a:gd name="T92" fmla="*/ 449 w 514"/>
                <a:gd name="T93" fmla="*/ 738 h 879"/>
                <a:gd name="T94" fmla="*/ 474 w 514"/>
                <a:gd name="T95" fmla="*/ 725 h 879"/>
                <a:gd name="T96" fmla="*/ 496 w 514"/>
                <a:gd name="T97" fmla="*/ 752 h 879"/>
                <a:gd name="T98" fmla="*/ 514 w 514"/>
                <a:gd name="T99" fmla="*/ 680 h 879"/>
                <a:gd name="T100" fmla="*/ 445 w 514"/>
                <a:gd name="T101" fmla="*/ 545 h 879"/>
                <a:gd name="T102" fmla="*/ 427 w 514"/>
                <a:gd name="T103" fmla="*/ 487 h 879"/>
                <a:gd name="T104" fmla="*/ 409 w 514"/>
                <a:gd name="T105" fmla="*/ 452 h 879"/>
                <a:gd name="T106" fmla="*/ 349 w 514"/>
                <a:gd name="T107" fmla="*/ 436 h 879"/>
                <a:gd name="T108" fmla="*/ 307 w 514"/>
                <a:gd name="T109" fmla="*/ 456 h 879"/>
                <a:gd name="T110" fmla="*/ 289 w 514"/>
                <a:gd name="T111" fmla="*/ 489 h 879"/>
                <a:gd name="T112" fmla="*/ 271 w 514"/>
                <a:gd name="T113" fmla="*/ 500 h 879"/>
                <a:gd name="T114" fmla="*/ 242 w 514"/>
                <a:gd name="T115" fmla="*/ 467 h 879"/>
                <a:gd name="T116" fmla="*/ 200 w 514"/>
                <a:gd name="T117" fmla="*/ 460 h 879"/>
                <a:gd name="T118" fmla="*/ 224 w 514"/>
                <a:gd name="T119" fmla="*/ 345 h 879"/>
                <a:gd name="T120" fmla="*/ 235 w 514"/>
                <a:gd name="T121" fmla="*/ 233 h 879"/>
                <a:gd name="T122" fmla="*/ 260 w 514"/>
                <a:gd name="T123" fmla="*/ 149 h 879"/>
                <a:gd name="T124" fmla="*/ 325 w 514"/>
                <a:gd name="T125" fmla="*/ 111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4" h="879">
                  <a:moveTo>
                    <a:pt x="311" y="62"/>
                  </a:moveTo>
                  <a:lnTo>
                    <a:pt x="284" y="71"/>
                  </a:lnTo>
                  <a:lnTo>
                    <a:pt x="269" y="71"/>
                  </a:lnTo>
                  <a:lnTo>
                    <a:pt x="271" y="55"/>
                  </a:lnTo>
                  <a:lnTo>
                    <a:pt x="278" y="45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67" y="22"/>
                  </a:lnTo>
                  <a:lnTo>
                    <a:pt x="260" y="16"/>
                  </a:lnTo>
                  <a:lnTo>
                    <a:pt x="255" y="9"/>
                  </a:lnTo>
                  <a:lnTo>
                    <a:pt x="255" y="9"/>
                  </a:lnTo>
                  <a:lnTo>
                    <a:pt x="244" y="2"/>
                  </a:lnTo>
                  <a:lnTo>
                    <a:pt x="240" y="2"/>
                  </a:lnTo>
                  <a:lnTo>
                    <a:pt x="236" y="0"/>
                  </a:lnTo>
                  <a:lnTo>
                    <a:pt x="231" y="0"/>
                  </a:lnTo>
                  <a:lnTo>
                    <a:pt x="227" y="2"/>
                  </a:lnTo>
                  <a:lnTo>
                    <a:pt x="227" y="2"/>
                  </a:lnTo>
                  <a:lnTo>
                    <a:pt x="202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8" y="27"/>
                  </a:lnTo>
                  <a:lnTo>
                    <a:pt x="198" y="35"/>
                  </a:lnTo>
                  <a:lnTo>
                    <a:pt x="196" y="38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89" y="42"/>
                  </a:lnTo>
                  <a:lnTo>
                    <a:pt x="189" y="42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4" y="35"/>
                  </a:lnTo>
                  <a:lnTo>
                    <a:pt x="184" y="35"/>
                  </a:lnTo>
                  <a:lnTo>
                    <a:pt x="182" y="35"/>
                  </a:lnTo>
                  <a:lnTo>
                    <a:pt x="182" y="36"/>
                  </a:lnTo>
                  <a:lnTo>
                    <a:pt x="182" y="38"/>
                  </a:lnTo>
                  <a:lnTo>
                    <a:pt x="182" y="42"/>
                  </a:lnTo>
                  <a:lnTo>
                    <a:pt x="182" y="42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5" y="38"/>
                  </a:lnTo>
                  <a:lnTo>
                    <a:pt x="167" y="38"/>
                  </a:lnTo>
                  <a:lnTo>
                    <a:pt x="164" y="38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49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6" y="55"/>
                  </a:lnTo>
                  <a:lnTo>
                    <a:pt x="156" y="55"/>
                  </a:lnTo>
                  <a:lnTo>
                    <a:pt x="156" y="58"/>
                  </a:lnTo>
                  <a:lnTo>
                    <a:pt x="153" y="60"/>
                  </a:lnTo>
                  <a:lnTo>
                    <a:pt x="153" y="60"/>
                  </a:lnTo>
                  <a:lnTo>
                    <a:pt x="151" y="62"/>
                  </a:lnTo>
                  <a:lnTo>
                    <a:pt x="147" y="60"/>
                  </a:lnTo>
                  <a:lnTo>
                    <a:pt x="144" y="58"/>
                  </a:lnTo>
                  <a:lnTo>
                    <a:pt x="144" y="58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5" y="62"/>
                  </a:lnTo>
                  <a:lnTo>
                    <a:pt x="129" y="62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3" y="5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6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7"/>
                  </a:lnTo>
                  <a:lnTo>
                    <a:pt x="95" y="69"/>
                  </a:lnTo>
                  <a:lnTo>
                    <a:pt x="95" y="76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4" y="111"/>
                  </a:lnTo>
                  <a:lnTo>
                    <a:pt x="104" y="116"/>
                  </a:lnTo>
                  <a:lnTo>
                    <a:pt x="102" y="120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98" y="125"/>
                  </a:lnTo>
                  <a:lnTo>
                    <a:pt x="95" y="127"/>
                  </a:lnTo>
                  <a:lnTo>
                    <a:pt x="95" y="129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5" y="133"/>
                  </a:lnTo>
                  <a:lnTo>
                    <a:pt x="93" y="133"/>
                  </a:lnTo>
                  <a:lnTo>
                    <a:pt x="89" y="138"/>
                  </a:lnTo>
                  <a:lnTo>
                    <a:pt x="89" y="138"/>
                  </a:lnTo>
                  <a:lnTo>
                    <a:pt x="89" y="140"/>
                  </a:lnTo>
                  <a:lnTo>
                    <a:pt x="89" y="140"/>
                  </a:lnTo>
                  <a:lnTo>
                    <a:pt x="91" y="144"/>
                  </a:lnTo>
                  <a:lnTo>
                    <a:pt x="91" y="144"/>
                  </a:lnTo>
                  <a:lnTo>
                    <a:pt x="89" y="145"/>
                  </a:lnTo>
                  <a:lnTo>
                    <a:pt x="89" y="149"/>
                  </a:lnTo>
                  <a:lnTo>
                    <a:pt x="89" y="149"/>
                  </a:lnTo>
                  <a:lnTo>
                    <a:pt x="86" y="151"/>
                  </a:lnTo>
                  <a:lnTo>
                    <a:pt x="86" y="153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3" y="167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102" y="171"/>
                  </a:lnTo>
                  <a:lnTo>
                    <a:pt x="102" y="173"/>
                  </a:lnTo>
                  <a:lnTo>
                    <a:pt x="106" y="182"/>
                  </a:lnTo>
                  <a:lnTo>
                    <a:pt x="106" y="182"/>
                  </a:lnTo>
                  <a:lnTo>
                    <a:pt x="109" y="185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1" y="189"/>
                  </a:lnTo>
                  <a:lnTo>
                    <a:pt x="113" y="194"/>
                  </a:lnTo>
                  <a:lnTo>
                    <a:pt x="115" y="202"/>
                  </a:lnTo>
                  <a:lnTo>
                    <a:pt x="120" y="211"/>
                  </a:lnTo>
                  <a:lnTo>
                    <a:pt x="120" y="211"/>
                  </a:lnTo>
                  <a:lnTo>
                    <a:pt x="124" y="216"/>
                  </a:lnTo>
                  <a:lnTo>
                    <a:pt x="124" y="218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2" y="222"/>
                  </a:lnTo>
                  <a:lnTo>
                    <a:pt x="120" y="218"/>
                  </a:lnTo>
                  <a:lnTo>
                    <a:pt x="120" y="218"/>
                  </a:lnTo>
                  <a:lnTo>
                    <a:pt x="120" y="216"/>
                  </a:lnTo>
                  <a:lnTo>
                    <a:pt x="118" y="216"/>
                  </a:lnTo>
                  <a:lnTo>
                    <a:pt x="117" y="222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1" y="227"/>
                  </a:lnTo>
                  <a:lnTo>
                    <a:pt x="111" y="229"/>
                  </a:lnTo>
                  <a:lnTo>
                    <a:pt x="111" y="231"/>
                  </a:lnTo>
                  <a:lnTo>
                    <a:pt x="113" y="233"/>
                  </a:lnTo>
                  <a:lnTo>
                    <a:pt x="113" y="233"/>
                  </a:lnTo>
                  <a:lnTo>
                    <a:pt x="113" y="234"/>
                  </a:lnTo>
                  <a:lnTo>
                    <a:pt x="113" y="236"/>
                  </a:lnTo>
                  <a:lnTo>
                    <a:pt x="109" y="244"/>
                  </a:lnTo>
                  <a:lnTo>
                    <a:pt x="109" y="244"/>
                  </a:lnTo>
                  <a:lnTo>
                    <a:pt x="106" y="247"/>
                  </a:lnTo>
                  <a:lnTo>
                    <a:pt x="104" y="251"/>
                  </a:lnTo>
                  <a:lnTo>
                    <a:pt x="98" y="254"/>
                  </a:lnTo>
                  <a:lnTo>
                    <a:pt x="98" y="254"/>
                  </a:lnTo>
                  <a:lnTo>
                    <a:pt x="98" y="256"/>
                  </a:lnTo>
                  <a:lnTo>
                    <a:pt x="95" y="256"/>
                  </a:lnTo>
                  <a:lnTo>
                    <a:pt x="91" y="256"/>
                  </a:lnTo>
                  <a:lnTo>
                    <a:pt x="89" y="258"/>
                  </a:lnTo>
                  <a:lnTo>
                    <a:pt x="89" y="258"/>
                  </a:lnTo>
                  <a:lnTo>
                    <a:pt x="82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1" y="260"/>
                  </a:lnTo>
                  <a:lnTo>
                    <a:pt x="71" y="264"/>
                  </a:lnTo>
                  <a:lnTo>
                    <a:pt x="68" y="271"/>
                  </a:lnTo>
                  <a:lnTo>
                    <a:pt x="68" y="271"/>
                  </a:lnTo>
                  <a:lnTo>
                    <a:pt x="68" y="274"/>
                  </a:lnTo>
                  <a:lnTo>
                    <a:pt x="68" y="274"/>
                  </a:lnTo>
                  <a:lnTo>
                    <a:pt x="68" y="278"/>
                  </a:lnTo>
                  <a:lnTo>
                    <a:pt x="71" y="289"/>
                  </a:lnTo>
                  <a:lnTo>
                    <a:pt x="58" y="291"/>
                  </a:lnTo>
                  <a:lnTo>
                    <a:pt x="55" y="291"/>
                  </a:lnTo>
                  <a:lnTo>
                    <a:pt x="51" y="294"/>
                  </a:lnTo>
                  <a:lnTo>
                    <a:pt x="38" y="296"/>
                  </a:lnTo>
                  <a:lnTo>
                    <a:pt x="38" y="296"/>
                  </a:lnTo>
                  <a:lnTo>
                    <a:pt x="31" y="300"/>
                  </a:lnTo>
                  <a:lnTo>
                    <a:pt x="31" y="300"/>
                  </a:lnTo>
                  <a:lnTo>
                    <a:pt x="22" y="300"/>
                  </a:lnTo>
                  <a:lnTo>
                    <a:pt x="20" y="307"/>
                  </a:lnTo>
                  <a:lnTo>
                    <a:pt x="20" y="307"/>
                  </a:lnTo>
                  <a:lnTo>
                    <a:pt x="17" y="311"/>
                  </a:lnTo>
                  <a:lnTo>
                    <a:pt x="17" y="311"/>
                  </a:lnTo>
                  <a:lnTo>
                    <a:pt x="15" y="311"/>
                  </a:lnTo>
                  <a:lnTo>
                    <a:pt x="13" y="314"/>
                  </a:lnTo>
                  <a:lnTo>
                    <a:pt x="13" y="320"/>
                  </a:lnTo>
                  <a:lnTo>
                    <a:pt x="15" y="325"/>
                  </a:lnTo>
                  <a:lnTo>
                    <a:pt x="15" y="333"/>
                  </a:lnTo>
                  <a:lnTo>
                    <a:pt x="13" y="334"/>
                  </a:lnTo>
                  <a:lnTo>
                    <a:pt x="15" y="345"/>
                  </a:lnTo>
                  <a:lnTo>
                    <a:pt x="15" y="351"/>
                  </a:lnTo>
                  <a:lnTo>
                    <a:pt x="11" y="356"/>
                  </a:lnTo>
                  <a:lnTo>
                    <a:pt x="15" y="363"/>
                  </a:lnTo>
                  <a:lnTo>
                    <a:pt x="15" y="371"/>
                  </a:lnTo>
                  <a:lnTo>
                    <a:pt x="17" y="376"/>
                  </a:lnTo>
                  <a:lnTo>
                    <a:pt x="17" y="376"/>
                  </a:lnTo>
                  <a:lnTo>
                    <a:pt x="6" y="376"/>
                  </a:lnTo>
                  <a:lnTo>
                    <a:pt x="6" y="376"/>
                  </a:lnTo>
                  <a:lnTo>
                    <a:pt x="2" y="376"/>
                  </a:lnTo>
                  <a:lnTo>
                    <a:pt x="0" y="378"/>
                  </a:lnTo>
                  <a:lnTo>
                    <a:pt x="17" y="389"/>
                  </a:lnTo>
                  <a:lnTo>
                    <a:pt x="28" y="396"/>
                  </a:lnTo>
                  <a:lnTo>
                    <a:pt x="28" y="396"/>
                  </a:lnTo>
                  <a:lnTo>
                    <a:pt x="26" y="400"/>
                  </a:lnTo>
                  <a:lnTo>
                    <a:pt x="20" y="403"/>
                  </a:lnTo>
                  <a:lnTo>
                    <a:pt x="20" y="405"/>
                  </a:lnTo>
                  <a:lnTo>
                    <a:pt x="20" y="405"/>
                  </a:lnTo>
                  <a:lnTo>
                    <a:pt x="22" y="414"/>
                  </a:lnTo>
                  <a:lnTo>
                    <a:pt x="26" y="420"/>
                  </a:lnTo>
                  <a:lnTo>
                    <a:pt x="26" y="420"/>
                  </a:lnTo>
                  <a:lnTo>
                    <a:pt x="26" y="422"/>
                  </a:lnTo>
                  <a:lnTo>
                    <a:pt x="22" y="422"/>
                  </a:lnTo>
                  <a:lnTo>
                    <a:pt x="18" y="422"/>
                  </a:lnTo>
                  <a:lnTo>
                    <a:pt x="15" y="422"/>
                  </a:lnTo>
                  <a:lnTo>
                    <a:pt x="15" y="425"/>
                  </a:lnTo>
                  <a:lnTo>
                    <a:pt x="15" y="425"/>
                  </a:lnTo>
                  <a:lnTo>
                    <a:pt x="26" y="432"/>
                  </a:lnTo>
                  <a:lnTo>
                    <a:pt x="26" y="432"/>
                  </a:lnTo>
                  <a:lnTo>
                    <a:pt x="33" y="438"/>
                  </a:lnTo>
                  <a:lnTo>
                    <a:pt x="40" y="442"/>
                  </a:lnTo>
                  <a:lnTo>
                    <a:pt x="40" y="442"/>
                  </a:lnTo>
                  <a:lnTo>
                    <a:pt x="42" y="445"/>
                  </a:lnTo>
                  <a:lnTo>
                    <a:pt x="44" y="451"/>
                  </a:lnTo>
                  <a:lnTo>
                    <a:pt x="48" y="458"/>
                  </a:lnTo>
                  <a:lnTo>
                    <a:pt x="40" y="460"/>
                  </a:lnTo>
                  <a:lnTo>
                    <a:pt x="40" y="460"/>
                  </a:lnTo>
                  <a:lnTo>
                    <a:pt x="38" y="460"/>
                  </a:lnTo>
                  <a:lnTo>
                    <a:pt x="35" y="463"/>
                  </a:lnTo>
                  <a:lnTo>
                    <a:pt x="35" y="463"/>
                  </a:lnTo>
                  <a:lnTo>
                    <a:pt x="35" y="463"/>
                  </a:lnTo>
                  <a:lnTo>
                    <a:pt x="35" y="467"/>
                  </a:lnTo>
                  <a:lnTo>
                    <a:pt x="35" y="472"/>
                  </a:lnTo>
                  <a:lnTo>
                    <a:pt x="37" y="478"/>
                  </a:lnTo>
                  <a:lnTo>
                    <a:pt x="35" y="480"/>
                  </a:lnTo>
                  <a:lnTo>
                    <a:pt x="35" y="480"/>
                  </a:lnTo>
                  <a:lnTo>
                    <a:pt x="35" y="483"/>
                  </a:lnTo>
                  <a:lnTo>
                    <a:pt x="35" y="487"/>
                  </a:lnTo>
                  <a:lnTo>
                    <a:pt x="37" y="494"/>
                  </a:lnTo>
                  <a:lnTo>
                    <a:pt x="40" y="500"/>
                  </a:lnTo>
                  <a:lnTo>
                    <a:pt x="44" y="505"/>
                  </a:lnTo>
                  <a:lnTo>
                    <a:pt x="44" y="505"/>
                  </a:lnTo>
                  <a:lnTo>
                    <a:pt x="51" y="503"/>
                  </a:lnTo>
                  <a:lnTo>
                    <a:pt x="57" y="502"/>
                  </a:lnTo>
                  <a:lnTo>
                    <a:pt x="57" y="502"/>
                  </a:lnTo>
                  <a:lnTo>
                    <a:pt x="62" y="498"/>
                  </a:lnTo>
                  <a:lnTo>
                    <a:pt x="69" y="494"/>
                  </a:lnTo>
                  <a:lnTo>
                    <a:pt x="75" y="492"/>
                  </a:lnTo>
                  <a:lnTo>
                    <a:pt x="78" y="489"/>
                  </a:lnTo>
                  <a:lnTo>
                    <a:pt x="78" y="489"/>
                  </a:lnTo>
                  <a:lnTo>
                    <a:pt x="80" y="487"/>
                  </a:lnTo>
                  <a:lnTo>
                    <a:pt x="84" y="483"/>
                  </a:lnTo>
                  <a:lnTo>
                    <a:pt x="89" y="482"/>
                  </a:lnTo>
                  <a:lnTo>
                    <a:pt x="91" y="482"/>
                  </a:lnTo>
                  <a:lnTo>
                    <a:pt x="91" y="483"/>
                  </a:lnTo>
                  <a:lnTo>
                    <a:pt x="91" y="483"/>
                  </a:lnTo>
                  <a:lnTo>
                    <a:pt x="95" y="485"/>
                  </a:lnTo>
                  <a:lnTo>
                    <a:pt x="95" y="487"/>
                  </a:lnTo>
                  <a:lnTo>
                    <a:pt x="97" y="489"/>
                  </a:lnTo>
                  <a:lnTo>
                    <a:pt x="98" y="489"/>
                  </a:lnTo>
                  <a:lnTo>
                    <a:pt x="98" y="489"/>
                  </a:lnTo>
                  <a:lnTo>
                    <a:pt x="102" y="489"/>
                  </a:lnTo>
                  <a:lnTo>
                    <a:pt x="106" y="492"/>
                  </a:lnTo>
                  <a:lnTo>
                    <a:pt x="109" y="492"/>
                  </a:lnTo>
                  <a:lnTo>
                    <a:pt x="102" y="498"/>
                  </a:lnTo>
                  <a:lnTo>
                    <a:pt x="102" y="503"/>
                  </a:lnTo>
                  <a:lnTo>
                    <a:pt x="98" y="503"/>
                  </a:lnTo>
                  <a:lnTo>
                    <a:pt x="98" y="512"/>
                  </a:lnTo>
                  <a:lnTo>
                    <a:pt x="93" y="518"/>
                  </a:lnTo>
                  <a:lnTo>
                    <a:pt x="93" y="527"/>
                  </a:lnTo>
                  <a:lnTo>
                    <a:pt x="93" y="527"/>
                  </a:lnTo>
                  <a:lnTo>
                    <a:pt x="84" y="540"/>
                  </a:lnTo>
                  <a:lnTo>
                    <a:pt x="78" y="547"/>
                  </a:lnTo>
                  <a:lnTo>
                    <a:pt x="77" y="551"/>
                  </a:lnTo>
                  <a:lnTo>
                    <a:pt x="77" y="551"/>
                  </a:lnTo>
                  <a:lnTo>
                    <a:pt x="82" y="565"/>
                  </a:lnTo>
                  <a:lnTo>
                    <a:pt x="82" y="565"/>
                  </a:lnTo>
                  <a:lnTo>
                    <a:pt x="77" y="569"/>
                  </a:lnTo>
                  <a:lnTo>
                    <a:pt x="73" y="572"/>
                  </a:lnTo>
                  <a:lnTo>
                    <a:pt x="71" y="578"/>
                  </a:lnTo>
                  <a:lnTo>
                    <a:pt x="71" y="578"/>
                  </a:lnTo>
                  <a:lnTo>
                    <a:pt x="71" y="589"/>
                  </a:lnTo>
                  <a:lnTo>
                    <a:pt x="71" y="596"/>
                  </a:lnTo>
                  <a:lnTo>
                    <a:pt x="71" y="598"/>
                  </a:lnTo>
                  <a:lnTo>
                    <a:pt x="73" y="598"/>
                  </a:lnTo>
                  <a:lnTo>
                    <a:pt x="73" y="598"/>
                  </a:lnTo>
                  <a:lnTo>
                    <a:pt x="80" y="596"/>
                  </a:lnTo>
                  <a:lnTo>
                    <a:pt x="84" y="596"/>
                  </a:lnTo>
                  <a:lnTo>
                    <a:pt x="86" y="596"/>
                  </a:lnTo>
                  <a:lnTo>
                    <a:pt x="86" y="596"/>
                  </a:lnTo>
                  <a:lnTo>
                    <a:pt x="89" y="596"/>
                  </a:lnTo>
                  <a:lnTo>
                    <a:pt x="91" y="592"/>
                  </a:lnTo>
                  <a:lnTo>
                    <a:pt x="97" y="591"/>
                  </a:lnTo>
                  <a:lnTo>
                    <a:pt x="97" y="591"/>
                  </a:lnTo>
                  <a:lnTo>
                    <a:pt x="98" y="591"/>
                  </a:lnTo>
                  <a:lnTo>
                    <a:pt x="104" y="591"/>
                  </a:lnTo>
                  <a:lnTo>
                    <a:pt x="109" y="592"/>
                  </a:lnTo>
                  <a:lnTo>
                    <a:pt x="111" y="598"/>
                  </a:lnTo>
                  <a:lnTo>
                    <a:pt x="111" y="598"/>
                  </a:lnTo>
                  <a:lnTo>
                    <a:pt x="115" y="607"/>
                  </a:lnTo>
                  <a:lnTo>
                    <a:pt x="115" y="612"/>
                  </a:lnTo>
                  <a:lnTo>
                    <a:pt x="117" y="612"/>
                  </a:lnTo>
                  <a:lnTo>
                    <a:pt x="117" y="612"/>
                  </a:lnTo>
                  <a:lnTo>
                    <a:pt x="117" y="612"/>
                  </a:lnTo>
                  <a:lnTo>
                    <a:pt x="120" y="612"/>
                  </a:lnTo>
                  <a:lnTo>
                    <a:pt x="124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29" y="609"/>
                  </a:lnTo>
                  <a:lnTo>
                    <a:pt x="133" y="609"/>
                  </a:lnTo>
                  <a:lnTo>
                    <a:pt x="137" y="609"/>
                  </a:lnTo>
                  <a:lnTo>
                    <a:pt x="137" y="609"/>
                  </a:lnTo>
                  <a:lnTo>
                    <a:pt x="140" y="605"/>
                  </a:lnTo>
                  <a:lnTo>
                    <a:pt x="140" y="605"/>
                  </a:lnTo>
                  <a:lnTo>
                    <a:pt x="153" y="601"/>
                  </a:lnTo>
                  <a:lnTo>
                    <a:pt x="164" y="592"/>
                  </a:lnTo>
                  <a:lnTo>
                    <a:pt x="164" y="592"/>
                  </a:lnTo>
                  <a:lnTo>
                    <a:pt x="173" y="589"/>
                  </a:lnTo>
                  <a:lnTo>
                    <a:pt x="175" y="587"/>
                  </a:lnTo>
                  <a:lnTo>
                    <a:pt x="175" y="585"/>
                  </a:lnTo>
                  <a:lnTo>
                    <a:pt x="173" y="585"/>
                  </a:lnTo>
                  <a:lnTo>
                    <a:pt x="173" y="585"/>
                  </a:lnTo>
                  <a:lnTo>
                    <a:pt x="171" y="585"/>
                  </a:lnTo>
                  <a:lnTo>
                    <a:pt x="171" y="581"/>
                  </a:lnTo>
                  <a:lnTo>
                    <a:pt x="173" y="581"/>
                  </a:lnTo>
                  <a:lnTo>
                    <a:pt x="173" y="581"/>
                  </a:lnTo>
                  <a:lnTo>
                    <a:pt x="184" y="569"/>
                  </a:lnTo>
                  <a:lnTo>
                    <a:pt x="189" y="567"/>
                  </a:lnTo>
                  <a:lnTo>
                    <a:pt x="198" y="565"/>
                  </a:lnTo>
                  <a:lnTo>
                    <a:pt x="198" y="565"/>
                  </a:lnTo>
                  <a:lnTo>
                    <a:pt x="202" y="561"/>
                  </a:lnTo>
                  <a:lnTo>
                    <a:pt x="206" y="556"/>
                  </a:lnTo>
                  <a:lnTo>
                    <a:pt x="206" y="556"/>
                  </a:lnTo>
                  <a:lnTo>
                    <a:pt x="206" y="554"/>
                  </a:lnTo>
                  <a:lnTo>
                    <a:pt x="206" y="551"/>
                  </a:lnTo>
                  <a:lnTo>
                    <a:pt x="224" y="554"/>
                  </a:lnTo>
                  <a:lnTo>
                    <a:pt x="224" y="554"/>
                  </a:lnTo>
                  <a:lnTo>
                    <a:pt x="226" y="561"/>
                  </a:lnTo>
                  <a:lnTo>
                    <a:pt x="227" y="565"/>
                  </a:lnTo>
                  <a:lnTo>
                    <a:pt x="227" y="569"/>
                  </a:lnTo>
                  <a:lnTo>
                    <a:pt x="227" y="569"/>
                  </a:lnTo>
                  <a:lnTo>
                    <a:pt x="229" y="572"/>
                  </a:lnTo>
                  <a:lnTo>
                    <a:pt x="229" y="581"/>
                  </a:lnTo>
                  <a:lnTo>
                    <a:pt x="235" y="585"/>
                  </a:lnTo>
                  <a:lnTo>
                    <a:pt x="236" y="589"/>
                  </a:lnTo>
                  <a:lnTo>
                    <a:pt x="236" y="589"/>
                  </a:lnTo>
                  <a:lnTo>
                    <a:pt x="238" y="592"/>
                  </a:lnTo>
                  <a:lnTo>
                    <a:pt x="238" y="598"/>
                  </a:lnTo>
                  <a:lnTo>
                    <a:pt x="238" y="601"/>
                  </a:lnTo>
                  <a:lnTo>
                    <a:pt x="238" y="605"/>
                  </a:lnTo>
                  <a:lnTo>
                    <a:pt x="238" y="605"/>
                  </a:lnTo>
                  <a:lnTo>
                    <a:pt x="235" y="607"/>
                  </a:lnTo>
                  <a:lnTo>
                    <a:pt x="227" y="609"/>
                  </a:lnTo>
                  <a:lnTo>
                    <a:pt x="222" y="609"/>
                  </a:lnTo>
                  <a:lnTo>
                    <a:pt x="215" y="611"/>
                  </a:lnTo>
                  <a:lnTo>
                    <a:pt x="215" y="611"/>
                  </a:lnTo>
                  <a:lnTo>
                    <a:pt x="202" y="609"/>
                  </a:lnTo>
                  <a:lnTo>
                    <a:pt x="198" y="609"/>
                  </a:lnTo>
                  <a:lnTo>
                    <a:pt x="196" y="611"/>
                  </a:lnTo>
                  <a:lnTo>
                    <a:pt x="198" y="611"/>
                  </a:lnTo>
                  <a:lnTo>
                    <a:pt x="198" y="611"/>
                  </a:lnTo>
                  <a:lnTo>
                    <a:pt x="198" y="616"/>
                  </a:lnTo>
                  <a:lnTo>
                    <a:pt x="198" y="618"/>
                  </a:lnTo>
                  <a:lnTo>
                    <a:pt x="198" y="621"/>
                  </a:lnTo>
                  <a:lnTo>
                    <a:pt x="198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4" y="625"/>
                  </a:lnTo>
                  <a:lnTo>
                    <a:pt x="206" y="629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0" y="640"/>
                  </a:lnTo>
                  <a:lnTo>
                    <a:pt x="193" y="643"/>
                  </a:lnTo>
                  <a:lnTo>
                    <a:pt x="193" y="643"/>
                  </a:lnTo>
                  <a:lnTo>
                    <a:pt x="189" y="651"/>
                  </a:lnTo>
                  <a:lnTo>
                    <a:pt x="187" y="654"/>
                  </a:lnTo>
                  <a:lnTo>
                    <a:pt x="187" y="658"/>
                  </a:lnTo>
                  <a:lnTo>
                    <a:pt x="187" y="658"/>
                  </a:lnTo>
                  <a:lnTo>
                    <a:pt x="189" y="665"/>
                  </a:lnTo>
                  <a:lnTo>
                    <a:pt x="187" y="667"/>
                  </a:lnTo>
                  <a:lnTo>
                    <a:pt x="186" y="669"/>
                  </a:lnTo>
                  <a:lnTo>
                    <a:pt x="186" y="669"/>
                  </a:lnTo>
                  <a:lnTo>
                    <a:pt x="182" y="674"/>
                  </a:lnTo>
                  <a:lnTo>
                    <a:pt x="182" y="674"/>
                  </a:lnTo>
                  <a:lnTo>
                    <a:pt x="176" y="681"/>
                  </a:lnTo>
                  <a:lnTo>
                    <a:pt x="173" y="683"/>
                  </a:lnTo>
                  <a:lnTo>
                    <a:pt x="167" y="687"/>
                  </a:lnTo>
                  <a:lnTo>
                    <a:pt x="167" y="687"/>
                  </a:lnTo>
                  <a:lnTo>
                    <a:pt x="160" y="689"/>
                  </a:lnTo>
                  <a:lnTo>
                    <a:pt x="160" y="690"/>
                  </a:lnTo>
                  <a:lnTo>
                    <a:pt x="160" y="690"/>
                  </a:lnTo>
                  <a:lnTo>
                    <a:pt x="160" y="690"/>
                  </a:lnTo>
                  <a:lnTo>
                    <a:pt x="167" y="700"/>
                  </a:lnTo>
                  <a:lnTo>
                    <a:pt x="173" y="703"/>
                  </a:lnTo>
                  <a:lnTo>
                    <a:pt x="173" y="703"/>
                  </a:lnTo>
                  <a:lnTo>
                    <a:pt x="173" y="705"/>
                  </a:lnTo>
                  <a:lnTo>
                    <a:pt x="173" y="705"/>
                  </a:lnTo>
                  <a:lnTo>
                    <a:pt x="167" y="705"/>
                  </a:lnTo>
                  <a:lnTo>
                    <a:pt x="166" y="707"/>
                  </a:lnTo>
                  <a:lnTo>
                    <a:pt x="164" y="707"/>
                  </a:lnTo>
                  <a:lnTo>
                    <a:pt x="164" y="707"/>
                  </a:lnTo>
                  <a:lnTo>
                    <a:pt x="164" y="710"/>
                  </a:lnTo>
                  <a:lnTo>
                    <a:pt x="160" y="710"/>
                  </a:lnTo>
                  <a:lnTo>
                    <a:pt x="158" y="712"/>
                  </a:lnTo>
                  <a:lnTo>
                    <a:pt x="158" y="712"/>
                  </a:lnTo>
                  <a:lnTo>
                    <a:pt x="158" y="714"/>
                  </a:lnTo>
                  <a:lnTo>
                    <a:pt x="158" y="714"/>
                  </a:lnTo>
                  <a:lnTo>
                    <a:pt x="160" y="723"/>
                  </a:lnTo>
                  <a:lnTo>
                    <a:pt x="160" y="727"/>
                  </a:lnTo>
                  <a:lnTo>
                    <a:pt x="158" y="729"/>
                  </a:lnTo>
                  <a:lnTo>
                    <a:pt x="158" y="729"/>
                  </a:lnTo>
                  <a:lnTo>
                    <a:pt x="158" y="730"/>
                  </a:lnTo>
                  <a:lnTo>
                    <a:pt x="158" y="732"/>
                  </a:lnTo>
                  <a:lnTo>
                    <a:pt x="158" y="732"/>
                  </a:lnTo>
                  <a:lnTo>
                    <a:pt x="158" y="734"/>
                  </a:lnTo>
                  <a:lnTo>
                    <a:pt x="158" y="734"/>
                  </a:lnTo>
                  <a:lnTo>
                    <a:pt x="160" y="736"/>
                  </a:lnTo>
                  <a:lnTo>
                    <a:pt x="160" y="736"/>
                  </a:lnTo>
                  <a:lnTo>
                    <a:pt x="160" y="741"/>
                  </a:lnTo>
                  <a:lnTo>
                    <a:pt x="160" y="741"/>
                  </a:lnTo>
                  <a:lnTo>
                    <a:pt x="160" y="749"/>
                  </a:lnTo>
                  <a:lnTo>
                    <a:pt x="160" y="750"/>
                  </a:lnTo>
                  <a:lnTo>
                    <a:pt x="162" y="750"/>
                  </a:lnTo>
                  <a:lnTo>
                    <a:pt x="164" y="750"/>
                  </a:lnTo>
                  <a:lnTo>
                    <a:pt x="164" y="750"/>
                  </a:lnTo>
                  <a:lnTo>
                    <a:pt x="175" y="747"/>
                  </a:lnTo>
                  <a:lnTo>
                    <a:pt x="176" y="745"/>
                  </a:lnTo>
                  <a:lnTo>
                    <a:pt x="178" y="747"/>
                  </a:lnTo>
                  <a:lnTo>
                    <a:pt x="178" y="749"/>
                  </a:lnTo>
                  <a:lnTo>
                    <a:pt x="178" y="749"/>
                  </a:lnTo>
                  <a:lnTo>
                    <a:pt x="180" y="750"/>
                  </a:lnTo>
                  <a:lnTo>
                    <a:pt x="182" y="752"/>
                  </a:lnTo>
                  <a:lnTo>
                    <a:pt x="184" y="752"/>
                  </a:lnTo>
                  <a:lnTo>
                    <a:pt x="187" y="752"/>
                  </a:lnTo>
                  <a:lnTo>
                    <a:pt x="187" y="752"/>
                  </a:lnTo>
                  <a:lnTo>
                    <a:pt x="193" y="752"/>
                  </a:lnTo>
                  <a:lnTo>
                    <a:pt x="198" y="754"/>
                  </a:lnTo>
                  <a:lnTo>
                    <a:pt x="204" y="758"/>
                  </a:lnTo>
                  <a:lnTo>
                    <a:pt x="204" y="758"/>
                  </a:lnTo>
                  <a:lnTo>
                    <a:pt x="206" y="763"/>
                  </a:lnTo>
                  <a:lnTo>
                    <a:pt x="209" y="770"/>
                  </a:lnTo>
                  <a:lnTo>
                    <a:pt x="216" y="778"/>
                  </a:lnTo>
                  <a:lnTo>
                    <a:pt x="215" y="785"/>
                  </a:lnTo>
                  <a:lnTo>
                    <a:pt x="215" y="785"/>
                  </a:lnTo>
                  <a:lnTo>
                    <a:pt x="218" y="787"/>
                  </a:lnTo>
                  <a:lnTo>
                    <a:pt x="222" y="790"/>
                  </a:lnTo>
                  <a:lnTo>
                    <a:pt x="226" y="794"/>
                  </a:lnTo>
                  <a:lnTo>
                    <a:pt x="226" y="794"/>
                  </a:lnTo>
                  <a:lnTo>
                    <a:pt x="226" y="800"/>
                  </a:lnTo>
                  <a:lnTo>
                    <a:pt x="226" y="805"/>
                  </a:lnTo>
                  <a:lnTo>
                    <a:pt x="226" y="805"/>
                  </a:lnTo>
                  <a:lnTo>
                    <a:pt x="227" y="800"/>
                  </a:lnTo>
                  <a:lnTo>
                    <a:pt x="231" y="798"/>
                  </a:lnTo>
                  <a:lnTo>
                    <a:pt x="238" y="794"/>
                  </a:lnTo>
                  <a:lnTo>
                    <a:pt x="238" y="794"/>
                  </a:lnTo>
                  <a:lnTo>
                    <a:pt x="244" y="794"/>
                  </a:lnTo>
                  <a:lnTo>
                    <a:pt x="244" y="792"/>
                  </a:lnTo>
                  <a:lnTo>
                    <a:pt x="244" y="792"/>
                  </a:lnTo>
                  <a:lnTo>
                    <a:pt x="242" y="787"/>
                  </a:lnTo>
                  <a:lnTo>
                    <a:pt x="242" y="785"/>
                  </a:lnTo>
                  <a:lnTo>
                    <a:pt x="242" y="783"/>
                  </a:lnTo>
                  <a:lnTo>
                    <a:pt x="244" y="780"/>
                  </a:lnTo>
                  <a:lnTo>
                    <a:pt x="244" y="780"/>
                  </a:lnTo>
                  <a:lnTo>
                    <a:pt x="247" y="780"/>
                  </a:lnTo>
                  <a:lnTo>
                    <a:pt x="251" y="785"/>
                  </a:lnTo>
                  <a:lnTo>
                    <a:pt x="258" y="785"/>
                  </a:lnTo>
                  <a:lnTo>
                    <a:pt x="258" y="785"/>
                  </a:lnTo>
                  <a:lnTo>
                    <a:pt x="262" y="783"/>
                  </a:lnTo>
                  <a:lnTo>
                    <a:pt x="264" y="780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67" y="776"/>
                  </a:lnTo>
                  <a:lnTo>
                    <a:pt x="276" y="778"/>
                  </a:lnTo>
                  <a:lnTo>
                    <a:pt x="276" y="778"/>
                  </a:lnTo>
                  <a:lnTo>
                    <a:pt x="280" y="780"/>
                  </a:lnTo>
                  <a:lnTo>
                    <a:pt x="287" y="785"/>
                  </a:lnTo>
                  <a:lnTo>
                    <a:pt x="296" y="787"/>
                  </a:lnTo>
                  <a:lnTo>
                    <a:pt x="300" y="789"/>
                  </a:lnTo>
                  <a:lnTo>
                    <a:pt x="300" y="789"/>
                  </a:lnTo>
                  <a:lnTo>
                    <a:pt x="304" y="790"/>
                  </a:lnTo>
                  <a:lnTo>
                    <a:pt x="309" y="790"/>
                  </a:lnTo>
                  <a:lnTo>
                    <a:pt x="315" y="790"/>
                  </a:lnTo>
                  <a:lnTo>
                    <a:pt x="315" y="790"/>
                  </a:lnTo>
                  <a:lnTo>
                    <a:pt x="322" y="790"/>
                  </a:lnTo>
                  <a:lnTo>
                    <a:pt x="324" y="789"/>
                  </a:lnTo>
                  <a:lnTo>
                    <a:pt x="325" y="787"/>
                  </a:lnTo>
                  <a:lnTo>
                    <a:pt x="327" y="785"/>
                  </a:lnTo>
                  <a:lnTo>
                    <a:pt x="327" y="785"/>
                  </a:lnTo>
                  <a:lnTo>
                    <a:pt x="329" y="780"/>
                  </a:lnTo>
                  <a:lnTo>
                    <a:pt x="333" y="778"/>
                  </a:lnTo>
                  <a:lnTo>
                    <a:pt x="334" y="778"/>
                  </a:lnTo>
                  <a:lnTo>
                    <a:pt x="334" y="778"/>
                  </a:lnTo>
                  <a:lnTo>
                    <a:pt x="342" y="776"/>
                  </a:lnTo>
                  <a:lnTo>
                    <a:pt x="345" y="776"/>
                  </a:lnTo>
                  <a:lnTo>
                    <a:pt x="349" y="774"/>
                  </a:lnTo>
                  <a:lnTo>
                    <a:pt x="349" y="774"/>
                  </a:lnTo>
                  <a:lnTo>
                    <a:pt x="349" y="774"/>
                  </a:lnTo>
                  <a:lnTo>
                    <a:pt x="353" y="774"/>
                  </a:lnTo>
                  <a:lnTo>
                    <a:pt x="354" y="776"/>
                  </a:lnTo>
                  <a:lnTo>
                    <a:pt x="356" y="778"/>
                  </a:lnTo>
                  <a:lnTo>
                    <a:pt x="353" y="792"/>
                  </a:lnTo>
                  <a:lnTo>
                    <a:pt x="353" y="792"/>
                  </a:lnTo>
                  <a:lnTo>
                    <a:pt x="354" y="794"/>
                  </a:lnTo>
                  <a:lnTo>
                    <a:pt x="354" y="794"/>
                  </a:lnTo>
                  <a:lnTo>
                    <a:pt x="354" y="796"/>
                  </a:lnTo>
                  <a:lnTo>
                    <a:pt x="354" y="800"/>
                  </a:lnTo>
                  <a:lnTo>
                    <a:pt x="356" y="807"/>
                  </a:lnTo>
                  <a:lnTo>
                    <a:pt x="356" y="810"/>
                  </a:lnTo>
                  <a:lnTo>
                    <a:pt x="356" y="810"/>
                  </a:lnTo>
                  <a:lnTo>
                    <a:pt x="362" y="810"/>
                  </a:lnTo>
                  <a:lnTo>
                    <a:pt x="365" y="812"/>
                  </a:lnTo>
                  <a:lnTo>
                    <a:pt x="369" y="814"/>
                  </a:lnTo>
                  <a:lnTo>
                    <a:pt x="371" y="814"/>
                  </a:lnTo>
                  <a:lnTo>
                    <a:pt x="371" y="818"/>
                  </a:lnTo>
                  <a:lnTo>
                    <a:pt x="371" y="818"/>
                  </a:lnTo>
                  <a:lnTo>
                    <a:pt x="369" y="830"/>
                  </a:lnTo>
                  <a:lnTo>
                    <a:pt x="369" y="836"/>
                  </a:lnTo>
                  <a:lnTo>
                    <a:pt x="365" y="838"/>
                  </a:lnTo>
                  <a:lnTo>
                    <a:pt x="365" y="838"/>
                  </a:lnTo>
                  <a:lnTo>
                    <a:pt x="365" y="841"/>
                  </a:lnTo>
                  <a:lnTo>
                    <a:pt x="365" y="847"/>
                  </a:lnTo>
                  <a:lnTo>
                    <a:pt x="365" y="850"/>
                  </a:lnTo>
                  <a:lnTo>
                    <a:pt x="367" y="854"/>
                  </a:lnTo>
                  <a:lnTo>
                    <a:pt x="367" y="854"/>
                  </a:lnTo>
                  <a:lnTo>
                    <a:pt x="369" y="859"/>
                  </a:lnTo>
                  <a:lnTo>
                    <a:pt x="371" y="867"/>
                  </a:lnTo>
                  <a:lnTo>
                    <a:pt x="371" y="867"/>
                  </a:lnTo>
                  <a:lnTo>
                    <a:pt x="371" y="872"/>
                  </a:lnTo>
                  <a:lnTo>
                    <a:pt x="373" y="879"/>
                  </a:lnTo>
                  <a:lnTo>
                    <a:pt x="373" y="879"/>
                  </a:lnTo>
                  <a:lnTo>
                    <a:pt x="384" y="874"/>
                  </a:lnTo>
                  <a:lnTo>
                    <a:pt x="385" y="870"/>
                  </a:lnTo>
                  <a:lnTo>
                    <a:pt x="387" y="869"/>
                  </a:lnTo>
                  <a:lnTo>
                    <a:pt x="387" y="869"/>
                  </a:lnTo>
                  <a:lnTo>
                    <a:pt x="387" y="859"/>
                  </a:lnTo>
                  <a:lnTo>
                    <a:pt x="385" y="854"/>
                  </a:lnTo>
                  <a:lnTo>
                    <a:pt x="385" y="854"/>
                  </a:lnTo>
                  <a:lnTo>
                    <a:pt x="385" y="852"/>
                  </a:lnTo>
                  <a:lnTo>
                    <a:pt x="385" y="850"/>
                  </a:lnTo>
                  <a:lnTo>
                    <a:pt x="387" y="847"/>
                  </a:lnTo>
                  <a:lnTo>
                    <a:pt x="389" y="841"/>
                  </a:lnTo>
                  <a:lnTo>
                    <a:pt x="389" y="841"/>
                  </a:lnTo>
                  <a:lnTo>
                    <a:pt x="394" y="839"/>
                  </a:lnTo>
                  <a:lnTo>
                    <a:pt x="396" y="836"/>
                  </a:lnTo>
                  <a:lnTo>
                    <a:pt x="402" y="834"/>
                  </a:lnTo>
                  <a:lnTo>
                    <a:pt x="403" y="834"/>
                  </a:lnTo>
                  <a:lnTo>
                    <a:pt x="405" y="834"/>
                  </a:lnTo>
                  <a:lnTo>
                    <a:pt x="405" y="834"/>
                  </a:lnTo>
                  <a:lnTo>
                    <a:pt x="407" y="838"/>
                  </a:lnTo>
                  <a:lnTo>
                    <a:pt x="409" y="838"/>
                  </a:lnTo>
                  <a:lnTo>
                    <a:pt x="411" y="839"/>
                  </a:lnTo>
                  <a:lnTo>
                    <a:pt x="414" y="838"/>
                  </a:lnTo>
                  <a:lnTo>
                    <a:pt x="414" y="838"/>
                  </a:lnTo>
                  <a:lnTo>
                    <a:pt x="418" y="836"/>
                  </a:lnTo>
                  <a:lnTo>
                    <a:pt x="422" y="834"/>
                  </a:lnTo>
                  <a:lnTo>
                    <a:pt x="425" y="836"/>
                  </a:lnTo>
                  <a:lnTo>
                    <a:pt x="431" y="838"/>
                  </a:lnTo>
                  <a:lnTo>
                    <a:pt x="431" y="838"/>
                  </a:lnTo>
                  <a:lnTo>
                    <a:pt x="431" y="836"/>
                  </a:lnTo>
                  <a:lnTo>
                    <a:pt x="433" y="834"/>
                  </a:lnTo>
                  <a:lnTo>
                    <a:pt x="436" y="834"/>
                  </a:lnTo>
                  <a:lnTo>
                    <a:pt x="436" y="834"/>
                  </a:lnTo>
                  <a:lnTo>
                    <a:pt x="443" y="830"/>
                  </a:lnTo>
                  <a:lnTo>
                    <a:pt x="449" y="829"/>
                  </a:lnTo>
                  <a:lnTo>
                    <a:pt x="449" y="829"/>
                  </a:lnTo>
                  <a:lnTo>
                    <a:pt x="451" y="827"/>
                  </a:lnTo>
                  <a:lnTo>
                    <a:pt x="454" y="821"/>
                  </a:lnTo>
                  <a:lnTo>
                    <a:pt x="456" y="814"/>
                  </a:lnTo>
                  <a:lnTo>
                    <a:pt x="456" y="810"/>
                  </a:lnTo>
                  <a:lnTo>
                    <a:pt x="456" y="810"/>
                  </a:lnTo>
                  <a:lnTo>
                    <a:pt x="453" y="800"/>
                  </a:lnTo>
                  <a:lnTo>
                    <a:pt x="451" y="794"/>
                  </a:lnTo>
                  <a:lnTo>
                    <a:pt x="453" y="794"/>
                  </a:lnTo>
                  <a:lnTo>
                    <a:pt x="454" y="792"/>
                  </a:lnTo>
                  <a:lnTo>
                    <a:pt x="454" y="792"/>
                  </a:lnTo>
                  <a:lnTo>
                    <a:pt x="460" y="792"/>
                  </a:lnTo>
                  <a:lnTo>
                    <a:pt x="463" y="792"/>
                  </a:lnTo>
                  <a:lnTo>
                    <a:pt x="467" y="792"/>
                  </a:lnTo>
                  <a:lnTo>
                    <a:pt x="471" y="787"/>
                  </a:lnTo>
                  <a:lnTo>
                    <a:pt x="471" y="787"/>
                  </a:lnTo>
                  <a:lnTo>
                    <a:pt x="473" y="780"/>
                  </a:lnTo>
                  <a:lnTo>
                    <a:pt x="476" y="774"/>
                  </a:lnTo>
                  <a:lnTo>
                    <a:pt x="480" y="769"/>
                  </a:lnTo>
                  <a:lnTo>
                    <a:pt x="480" y="767"/>
                  </a:lnTo>
                  <a:lnTo>
                    <a:pt x="478" y="765"/>
                  </a:lnTo>
                  <a:lnTo>
                    <a:pt x="478" y="765"/>
                  </a:lnTo>
                  <a:lnTo>
                    <a:pt x="474" y="758"/>
                  </a:lnTo>
                  <a:lnTo>
                    <a:pt x="473" y="758"/>
                  </a:lnTo>
                  <a:lnTo>
                    <a:pt x="469" y="758"/>
                  </a:lnTo>
                  <a:lnTo>
                    <a:pt x="469" y="758"/>
                  </a:lnTo>
                  <a:lnTo>
                    <a:pt x="458" y="760"/>
                  </a:lnTo>
                  <a:lnTo>
                    <a:pt x="453" y="765"/>
                  </a:lnTo>
                  <a:lnTo>
                    <a:pt x="453" y="765"/>
                  </a:lnTo>
                  <a:lnTo>
                    <a:pt x="454" y="760"/>
                  </a:lnTo>
                  <a:lnTo>
                    <a:pt x="454" y="756"/>
                  </a:lnTo>
                  <a:lnTo>
                    <a:pt x="454" y="756"/>
                  </a:lnTo>
                  <a:lnTo>
                    <a:pt x="451" y="754"/>
                  </a:lnTo>
                  <a:lnTo>
                    <a:pt x="451" y="754"/>
                  </a:lnTo>
                  <a:lnTo>
                    <a:pt x="447" y="754"/>
                  </a:lnTo>
                  <a:lnTo>
                    <a:pt x="443" y="752"/>
                  </a:lnTo>
                  <a:lnTo>
                    <a:pt x="443" y="752"/>
                  </a:lnTo>
                  <a:lnTo>
                    <a:pt x="442" y="750"/>
                  </a:lnTo>
                  <a:lnTo>
                    <a:pt x="442" y="750"/>
                  </a:lnTo>
                  <a:lnTo>
                    <a:pt x="443" y="749"/>
                  </a:lnTo>
                  <a:lnTo>
                    <a:pt x="443" y="749"/>
                  </a:lnTo>
                  <a:lnTo>
                    <a:pt x="445" y="743"/>
                  </a:lnTo>
                  <a:lnTo>
                    <a:pt x="449" y="738"/>
                  </a:lnTo>
                  <a:lnTo>
                    <a:pt x="453" y="736"/>
                  </a:lnTo>
                  <a:lnTo>
                    <a:pt x="454" y="732"/>
                  </a:lnTo>
                  <a:lnTo>
                    <a:pt x="454" y="732"/>
                  </a:lnTo>
                  <a:lnTo>
                    <a:pt x="456" y="723"/>
                  </a:lnTo>
                  <a:lnTo>
                    <a:pt x="458" y="716"/>
                  </a:lnTo>
                  <a:lnTo>
                    <a:pt x="460" y="716"/>
                  </a:lnTo>
                  <a:lnTo>
                    <a:pt x="460" y="714"/>
                  </a:lnTo>
                  <a:lnTo>
                    <a:pt x="460" y="714"/>
                  </a:lnTo>
                  <a:lnTo>
                    <a:pt x="463" y="716"/>
                  </a:lnTo>
                  <a:lnTo>
                    <a:pt x="465" y="716"/>
                  </a:lnTo>
                  <a:lnTo>
                    <a:pt x="469" y="721"/>
                  </a:lnTo>
                  <a:lnTo>
                    <a:pt x="473" y="725"/>
                  </a:lnTo>
                  <a:lnTo>
                    <a:pt x="474" y="725"/>
                  </a:lnTo>
                  <a:lnTo>
                    <a:pt x="476" y="725"/>
                  </a:lnTo>
                  <a:lnTo>
                    <a:pt x="476" y="725"/>
                  </a:lnTo>
                  <a:lnTo>
                    <a:pt x="480" y="727"/>
                  </a:lnTo>
                  <a:lnTo>
                    <a:pt x="487" y="730"/>
                  </a:lnTo>
                  <a:lnTo>
                    <a:pt x="491" y="732"/>
                  </a:lnTo>
                  <a:lnTo>
                    <a:pt x="492" y="736"/>
                  </a:lnTo>
                  <a:lnTo>
                    <a:pt x="492" y="736"/>
                  </a:lnTo>
                  <a:lnTo>
                    <a:pt x="491" y="745"/>
                  </a:lnTo>
                  <a:lnTo>
                    <a:pt x="491" y="749"/>
                  </a:lnTo>
                  <a:lnTo>
                    <a:pt x="491" y="749"/>
                  </a:lnTo>
                  <a:lnTo>
                    <a:pt x="492" y="750"/>
                  </a:lnTo>
                  <a:lnTo>
                    <a:pt x="492" y="750"/>
                  </a:lnTo>
                  <a:lnTo>
                    <a:pt x="496" y="752"/>
                  </a:lnTo>
                  <a:lnTo>
                    <a:pt x="496" y="752"/>
                  </a:lnTo>
                  <a:lnTo>
                    <a:pt x="514" y="750"/>
                  </a:lnTo>
                  <a:lnTo>
                    <a:pt x="514" y="750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2" y="741"/>
                  </a:lnTo>
                  <a:lnTo>
                    <a:pt x="511" y="732"/>
                  </a:lnTo>
                  <a:lnTo>
                    <a:pt x="511" y="723"/>
                  </a:lnTo>
                  <a:lnTo>
                    <a:pt x="512" y="712"/>
                  </a:lnTo>
                  <a:lnTo>
                    <a:pt x="512" y="712"/>
                  </a:lnTo>
                  <a:lnTo>
                    <a:pt x="512" y="703"/>
                  </a:lnTo>
                  <a:lnTo>
                    <a:pt x="514" y="692"/>
                  </a:lnTo>
                  <a:lnTo>
                    <a:pt x="514" y="680"/>
                  </a:lnTo>
                  <a:lnTo>
                    <a:pt x="507" y="651"/>
                  </a:lnTo>
                  <a:lnTo>
                    <a:pt x="507" y="651"/>
                  </a:lnTo>
                  <a:lnTo>
                    <a:pt x="500" y="640"/>
                  </a:lnTo>
                  <a:lnTo>
                    <a:pt x="492" y="627"/>
                  </a:lnTo>
                  <a:lnTo>
                    <a:pt x="491" y="621"/>
                  </a:lnTo>
                  <a:lnTo>
                    <a:pt x="491" y="621"/>
                  </a:lnTo>
                  <a:lnTo>
                    <a:pt x="474" y="601"/>
                  </a:lnTo>
                  <a:lnTo>
                    <a:pt x="467" y="589"/>
                  </a:lnTo>
                  <a:lnTo>
                    <a:pt x="460" y="581"/>
                  </a:lnTo>
                  <a:lnTo>
                    <a:pt x="460" y="581"/>
                  </a:lnTo>
                  <a:lnTo>
                    <a:pt x="451" y="563"/>
                  </a:lnTo>
                  <a:lnTo>
                    <a:pt x="447" y="554"/>
                  </a:lnTo>
                  <a:lnTo>
                    <a:pt x="445" y="545"/>
                  </a:lnTo>
                  <a:lnTo>
                    <a:pt x="445" y="545"/>
                  </a:lnTo>
                  <a:lnTo>
                    <a:pt x="445" y="531"/>
                  </a:lnTo>
                  <a:lnTo>
                    <a:pt x="445" y="520"/>
                  </a:lnTo>
                  <a:lnTo>
                    <a:pt x="445" y="520"/>
                  </a:lnTo>
                  <a:lnTo>
                    <a:pt x="445" y="514"/>
                  </a:lnTo>
                  <a:lnTo>
                    <a:pt x="445" y="509"/>
                  </a:lnTo>
                  <a:lnTo>
                    <a:pt x="445" y="503"/>
                  </a:lnTo>
                  <a:lnTo>
                    <a:pt x="445" y="500"/>
                  </a:lnTo>
                  <a:lnTo>
                    <a:pt x="443" y="498"/>
                  </a:lnTo>
                  <a:lnTo>
                    <a:pt x="443" y="498"/>
                  </a:lnTo>
                  <a:lnTo>
                    <a:pt x="438" y="494"/>
                  </a:lnTo>
                  <a:lnTo>
                    <a:pt x="434" y="492"/>
                  </a:lnTo>
                  <a:lnTo>
                    <a:pt x="427" y="487"/>
                  </a:lnTo>
                  <a:lnTo>
                    <a:pt x="427" y="487"/>
                  </a:lnTo>
                  <a:lnTo>
                    <a:pt x="423" y="483"/>
                  </a:lnTo>
                  <a:lnTo>
                    <a:pt x="422" y="480"/>
                  </a:lnTo>
                  <a:lnTo>
                    <a:pt x="418" y="478"/>
                  </a:lnTo>
                  <a:lnTo>
                    <a:pt x="416" y="474"/>
                  </a:lnTo>
                  <a:lnTo>
                    <a:pt x="416" y="474"/>
                  </a:lnTo>
                  <a:lnTo>
                    <a:pt x="411" y="471"/>
                  </a:lnTo>
                  <a:lnTo>
                    <a:pt x="407" y="467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7" y="460"/>
                  </a:lnTo>
                  <a:lnTo>
                    <a:pt x="409" y="454"/>
                  </a:lnTo>
                  <a:lnTo>
                    <a:pt x="409" y="452"/>
                  </a:lnTo>
                  <a:lnTo>
                    <a:pt x="407" y="451"/>
                  </a:lnTo>
                  <a:lnTo>
                    <a:pt x="407" y="451"/>
                  </a:lnTo>
                  <a:lnTo>
                    <a:pt x="398" y="445"/>
                  </a:lnTo>
                  <a:lnTo>
                    <a:pt x="394" y="445"/>
                  </a:lnTo>
                  <a:lnTo>
                    <a:pt x="389" y="443"/>
                  </a:lnTo>
                  <a:lnTo>
                    <a:pt x="389" y="443"/>
                  </a:lnTo>
                  <a:lnTo>
                    <a:pt x="369" y="443"/>
                  </a:lnTo>
                  <a:lnTo>
                    <a:pt x="362" y="443"/>
                  </a:lnTo>
                  <a:lnTo>
                    <a:pt x="354" y="442"/>
                  </a:lnTo>
                  <a:lnTo>
                    <a:pt x="354" y="442"/>
                  </a:lnTo>
                  <a:lnTo>
                    <a:pt x="353" y="442"/>
                  </a:lnTo>
                  <a:lnTo>
                    <a:pt x="353" y="438"/>
                  </a:lnTo>
                  <a:lnTo>
                    <a:pt x="349" y="436"/>
                  </a:lnTo>
                  <a:lnTo>
                    <a:pt x="344" y="434"/>
                  </a:lnTo>
                  <a:lnTo>
                    <a:pt x="344" y="434"/>
                  </a:lnTo>
                  <a:lnTo>
                    <a:pt x="338" y="436"/>
                  </a:lnTo>
                  <a:lnTo>
                    <a:pt x="333" y="438"/>
                  </a:lnTo>
                  <a:lnTo>
                    <a:pt x="329" y="440"/>
                  </a:lnTo>
                  <a:lnTo>
                    <a:pt x="322" y="442"/>
                  </a:lnTo>
                  <a:lnTo>
                    <a:pt x="322" y="442"/>
                  </a:lnTo>
                  <a:lnTo>
                    <a:pt x="307" y="445"/>
                  </a:lnTo>
                  <a:lnTo>
                    <a:pt x="304" y="447"/>
                  </a:lnTo>
                  <a:lnTo>
                    <a:pt x="304" y="451"/>
                  </a:lnTo>
                  <a:lnTo>
                    <a:pt x="304" y="451"/>
                  </a:lnTo>
                  <a:lnTo>
                    <a:pt x="304" y="451"/>
                  </a:lnTo>
                  <a:lnTo>
                    <a:pt x="307" y="456"/>
                  </a:lnTo>
                  <a:lnTo>
                    <a:pt x="311" y="471"/>
                  </a:lnTo>
                  <a:lnTo>
                    <a:pt x="313" y="478"/>
                  </a:lnTo>
                  <a:lnTo>
                    <a:pt x="311" y="483"/>
                  </a:lnTo>
                  <a:lnTo>
                    <a:pt x="309" y="489"/>
                  </a:lnTo>
                  <a:lnTo>
                    <a:pt x="307" y="492"/>
                  </a:lnTo>
                  <a:lnTo>
                    <a:pt x="304" y="496"/>
                  </a:lnTo>
                  <a:lnTo>
                    <a:pt x="304" y="496"/>
                  </a:lnTo>
                  <a:lnTo>
                    <a:pt x="296" y="502"/>
                  </a:lnTo>
                  <a:lnTo>
                    <a:pt x="291" y="503"/>
                  </a:lnTo>
                  <a:lnTo>
                    <a:pt x="289" y="503"/>
                  </a:lnTo>
                  <a:lnTo>
                    <a:pt x="287" y="502"/>
                  </a:lnTo>
                  <a:lnTo>
                    <a:pt x="287" y="500"/>
                  </a:lnTo>
                  <a:lnTo>
                    <a:pt x="289" y="489"/>
                  </a:lnTo>
                  <a:lnTo>
                    <a:pt x="289" y="489"/>
                  </a:lnTo>
                  <a:lnTo>
                    <a:pt x="289" y="482"/>
                  </a:lnTo>
                  <a:lnTo>
                    <a:pt x="289" y="480"/>
                  </a:lnTo>
                  <a:lnTo>
                    <a:pt x="287" y="480"/>
                  </a:lnTo>
                  <a:lnTo>
                    <a:pt x="285" y="483"/>
                  </a:lnTo>
                  <a:lnTo>
                    <a:pt x="284" y="483"/>
                  </a:lnTo>
                  <a:lnTo>
                    <a:pt x="280" y="485"/>
                  </a:lnTo>
                  <a:lnTo>
                    <a:pt x="280" y="485"/>
                  </a:lnTo>
                  <a:lnTo>
                    <a:pt x="278" y="485"/>
                  </a:lnTo>
                  <a:lnTo>
                    <a:pt x="278" y="487"/>
                  </a:lnTo>
                  <a:lnTo>
                    <a:pt x="276" y="489"/>
                  </a:lnTo>
                  <a:lnTo>
                    <a:pt x="273" y="496"/>
                  </a:lnTo>
                  <a:lnTo>
                    <a:pt x="271" y="500"/>
                  </a:lnTo>
                  <a:lnTo>
                    <a:pt x="271" y="500"/>
                  </a:lnTo>
                  <a:lnTo>
                    <a:pt x="269" y="503"/>
                  </a:lnTo>
                  <a:lnTo>
                    <a:pt x="267" y="505"/>
                  </a:lnTo>
                  <a:lnTo>
                    <a:pt x="264" y="505"/>
                  </a:lnTo>
                  <a:lnTo>
                    <a:pt x="264" y="503"/>
                  </a:lnTo>
                  <a:lnTo>
                    <a:pt x="260" y="496"/>
                  </a:lnTo>
                  <a:lnTo>
                    <a:pt x="260" y="496"/>
                  </a:lnTo>
                  <a:lnTo>
                    <a:pt x="256" y="485"/>
                  </a:lnTo>
                  <a:lnTo>
                    <a:pt x="251" y="476"/>
                  </a:lnTo>
                  <a:lnTo>
                    <a:pt x="245" y="471"/>
                  </a:lnTo>
                  <a:lnTo>
                    <a:pt x="244" y="465"/>
                  </a:lnTo>
                  <a:lnTo>
                    <a:pt x="242" y="467"/>
                  </a:lnTo>
                  <a:lnTo>
                    <a:pt x="242" y="467"/>
                  </a:lnTo>
                  <a:lnTo>
                    <a:pt x="227" y="480"/>
                  </a:lnTo>
                  <a:lnTo>
                    <a:pt x="220" y="485"/>
                  </a:lnTo>
                  <a:lnTo>
                    <a:pt x="218" y="487"/>
                  </a:lnTo>
                  <a:lnTo>
                    <a:pt x="215" y="487"/>
                  </a:lnTo>
                  <a:lnTo>
                    <a:pt x="215" y="487"/>
                  </a:lnTo>
                  <a:lnTo>
                    <a:pt x="200" y="487"/>
                  </a:lnTo>
                  <a:lnTo>
                    <a:pt x="195" y="487"/>
                  </a:lnTo>
                  <a:lnTo>
                    <a:pt x="189" y="487"/>
                  </a:lnTo>
                  <a:lnTo>
                    <a:pt x="189" y="483"/>
                  </a:lnTo>
                  <a:lnTo>
                    <a:pt x="189" y="483"/>
                  </a:lnTo>
                  <a:lnTo>
                    <a:pt x="193" y="478"/>
                  </a:lnTo>
                  <a:lnTo>
                    <a:pt x="196" y="471"/>
                  </a:lnTo>
                  <a:lnTo>
                    <a:pt x="200" y="460"/>
                  </a:lnTo>
                  <a:lnTo>
                    <a:pt x="202" y="451"/>
                  </a:lnTo>
                  <a:lnTo>
                    <a:pt x="202" y="451"/>
                  </a:lnTo>
                  <a:lnTo>
                    <a:pt x="204" y="442"/>
                  </a:lnTo>
                  <a:lnTo>
                    <a:pt x="206" y="434"/>
                  </a:lnTo>
                  <a:lnTo>
                    <a:pt x="209" y="416"/>
                  </a:lnTo>
                  <a:lnTo>
                    <a:pt x="209" y="416"/>
                  </a:lnTo>
                  <a:lnTo>
                    <a:pt x="218" y="387"/>
                  </a:lnTo>
                  <a:lnTo>
                    <a:pt x="222" y="371"/>
                  </a:lnTo>
                  <a:lnTo>
                    <a:pt x="224" y="367"/>
                  </a:lnTo>
                  <a:lnTo>
                    <a:pt x="224" y="360"/>
                  </a:lnTo>
                  <a:lnTo>
                    <a:pt x="224" y="360"/>
                  </a:lnTo>
                  <a:lnTo>
                    <a:pt x="224" y="353"/>
                  </a:lnTo>
                  <a:lnTo>
                    <a:pt x="224" y="345"/>
                  </a:lnTo>
                  <a:lnTo>
                    <a:pt x="226" y="322"/>
                  </a:lnTo>
                  <a:lnTo>
                    <a:pt x="226" y="322"/>
                  </a:lnTo>
                  <a:lnTo>
                    <a:pt x="227" y="311"/>
                  </a:lnTo>
                  <a:lnTo>
                    <a:pt x="235" y="294"/>
                  </a:lnTo>
                  <a:lnTo>
                    <a:pt x="238" y="276"/>
                  </a:lnTo>
                  <a:lnTo>
                    <a:pt x="240" y="271"/>
                  </a:lnTo>
                  <a:lnTo>
                    <a:pt x="240" y="267"/>
                  </a:lnTo>
                  <a:lnTo>
                    <a:pt x="240" y="267"/>
                  </a:lnTo>
                  <a:lnTo>
                    <a:pt x="238" y="256"/>
                  </a:lnTo>
                  <a:lnTo>
                    <a:pt x="236" y="249"/>
                  </a:lnTo>
                  <a:lnTo>
                    <a:pt x="235" y="242"/>
                  </a:lnTo>
                  <a:lnTo>
                    <a:pt x="235" y="236"/>
                  </a:lnTo>
                  <a:lnTo>
                    <a:pt x="235" y="233"/>
                  </a:lnTo>
                  <a:lnTo>
                    <a:pt x="235" y="233"/>
                  </a:lnTo>
                  <a:lnTo>
                    <a:pt x="238" y="225"/>
                  </a:lnTo>
                  <a:lnTo>
                    <a:pt x="240" y="216"/>
                  </a:lnTo>
                  <a:lnTo>
                    <a:pt x="242" y="209"/>
                  </a:lnTo>
                  <a:lnTo>
                    <a:pt x="242" y="202"/>
                  </a:lnTo>
                  <a:lnTo>
                    <a:pt x="242" y="202"/>
                  </a:lnTo>
                  <a:lnTo>
                    <a:pt x="242" y="193"/>
                  </a:lnTo>
                  <a:lnTo>
                    <a:pt x="244" y="182"/>
                  </a:lnTo>
                  <a:lnTo>
                    <a:pt x="245" y="171"/>
                  </a:lnTo>
                  <a:lnTo>
                    <a:pt x="247" y="167"/>
                  </a:lnTo>
                  <a:lnTo>
                    <a:pt x="249" y="162"/>
                  </a:lnTo>
                  <a:lnTo>
                    <a:pt x="249" y="162"/>
                  </a:lnTo>
                  <a:lnTo>
                    <a:pt x="260" y="149"/>
                  </a:lnTo>
                  <a:lnTo>
                    <a:pt x="276" y="135"/>
                  </a:lnTo>
                  <a:lnTo>
                    <a:pt x="289" y="124"/>
                  </a:lnTo>
                  <a:lnTo>
                    <a:pt x="302" y="113"/>
                  </a:lnTo>
                  <a:lnTo>
                    <a:pt x="302" y="113"/>
                  </a:lnTo>
                  <a:lnTo>
                    <a:pt x="305" y="111"/>
                  </a:lnTo>
                  <a:lnTo>
                    <a:pt x="309" y="111"/>
                  </a:lnTo>
                  <a:lnTo>
                    <a:pt x="311" y="111"/>
                  </a:lnTo>
                  <a:lnTo>
                    <a:pt x="315" y="113"/>
                  </a:lnTo>
                  <a:lnTo>
                    <a:pt x="320" y="116"/>
                  </a:lnTo>
                  <a:lnTo>
                    <a:pt x="322" y="116"/>
                  </a:lnTo>
                  <a:lnTo>
                    <a:pt x="324" y="116"/>
                  </a:lnTo>
                  <a:lnTo>
                    <a:pt x="324" y="116"/>
                  </a:lnTo>
                  <a:lnTo>
                    <a:pt x="325" y="111"/>
                  </a:lnTo>
                  <a:lnTo>
                    <a:pt x="325" y="109"/>
                  </a:lnTo>
                  <a:lnTo>
                    <a:pt x="325" y="104"/>
                  </a:lnTo>
                  <a:lnTo>
                    <a:pt x="325" y="98"/>
                  </a:lnTo>
                  <a:lnTo>
                    <a:pt x="327" y="96"/>
                  </a:lnTo>
                  <a:lnTo>
                    <a:pt x="329" y="93"/>
                  </a:lnTo>
                  <a:lnTo>
                    <a:pt x="329" y="93"/>
                  </a:lnTo>
                  <a:lnTo>
                    <a:pt x="338" y="89"/>
                  </a:lnTo>
                  <a:lnTo>
                    <a:pt x="327" y="75"/>
                  </a:lnTo>
                  <a:lnTo>
                    <a:pt x="311" y="62"/>
                  </a:lnTo>
                  <a:lnTo>
                    <a:pt x="311" y="62"/>
                  </a:lnTo>
                  <a:lnTo>
                    <a:pt x="311" y="62"/>
                  </a:lnTo>
                  <a:lnTo>
                    <a:pt x="311" y="6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7" name="Freeform 59">
              <a:extLst>
                <a:ext uri="{FF2B5EF4-FFF2-40B4-BE49-F238E27FC236}">
                  <a16:creationId xmlns:a16="http://schemas.microsoft.com/office/drawing/2014/main" id="{A77D4A10-D7C7-8946-87D6-4A5EBAEDB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362" y="3174226"/>
              <a:ext cx="673459" cy="1074379"/>
            </a:xfrm>
            <a:custGeom>
              <a:avLst/>
              <a:gdLst>
                <a:gd name="T0" fmla="*/ 454 w 465"/>
                <a:gd name="T1" fmla="*/ 683 h 751"/>
                <a:gd name="T2" fmla="*/ 430 w 465"/>
                <a:gd name="T3" fmla="*/ 651 h 751"/>
                <a:gd name="T4" fmla="*/ 430 w 465"/>
                <a:gd name="T5" fmla="*/ 603 h 751"/>
                <a:gd name="T6" fmla="*/ 445 w 465"/>
                <a:gd name="T7" fmla="*/ 596 h 751"/>
                <a:gd name="T8" fmla="*/ 405 w 465"/>
                <a:gd name="T9" fmla="*/ 573 h 751"/>
                <a:gd name="T10" fmla="*/ 403 w 465"/>
                <a:gd name="T11" fmla="*/ 525 h 751"/>
                <a:gd name="T12" fmla="*/ 419 w 465"/>
                <a:gd name="T13" fmla="*/ 511 h 751"/>
                <a:gd name="T14" fmla="*/ 399 w 465"/>
                <a:gd name="T15" fmla="*/ 491 h 751"/>
                <a:gd name="T16" fmla="*/ 370 w 465"/>
                <a:gd name="T17" fmla="*/ 473 h 751"/>
                <a:gd name="T18" fmla="*/ 357 w 465"/>
                <a:gd name="T19" fmla="*/ 447 h 751"/>
                <a:gd name="T20" fmla="*/ 377 w 465"/>
                <a:gd name="T21" fmla="*/ 433 h 751"/>
                <a:gd name="T22" fmla="*/ 361 w 465"/>
                <a:gd name="T23" fmla="*/ 413 h 751"/>
                <a:gd name="T24" fmla="*/ 341 w 465"/>
                <a:gd name="T25" fmla="*/ 415 h 751"/>
                <a:gd name="T26" fmla="*/ 316 w 465"/>
                <a:gd name="T27" fmla="*/ 395 h 751"/>
                <a:gd name="T28" fmla="*/ 307 w 465"/>
                <a:gd name="T29" fmla="*/ 375 h 751"/>
                <a:gd name="T30" fmla="*/ 287 w 465"/>
                <a:gd name="T31" fmla="*/ 385 h 751"/>
                <a:gd name="T32" fmla="*/ 272 w 465"/>
                <a:gd name="T33" fmla="*/ 393 h 751"/>
                <a:gd name="T34" fmla="*/ 256 w 465"/>
                <a:gd name="T35" fmla="*/ 355 h 751"/>
                <a:gd name="T36" fmla="*/ 219 w 465"/>
                <a:gd name="T37" fmla="*/ 306 h 751"/>
                <a:gd name="T38" fmla="*/ 236 w 465"/>
                <a:gd name="T39" fmla="*/ 275 h 751"/>
                <a:gd name="T40" fmla="*/ 238 w 465"/>
                <a:gd name="T41" fmla="*/ 258 h 751"/>
                <a:gd name="T42" fmla="*/ 241 w 465"/>
                <a:gd name="T43" fmla="*/ 231 h 751"/>
                <a:gd name="T44" fmla="*/ 261 w 465"/>
                <a:gd name="T45" fmla="*/ 244 h 751"/>
                <a:gd name="T46" fmla="*/ 256 w 465"/>
                <a:gd name="T47" fmla="*/ 191 h 751"/>
                <a:gd name="T48" fmla="*/ 281 w 465"/>
                <a:gd name="T49" fmla="*/ 155 h 751"/>
                <a:gd name="T50" fmla="*/ 314 w 465"/>
                <a:gd name="T51" fmla="*/ 149 h 751"/>
                <a:gd name="T52" fmla="*/ 299 w 465"/>
                <a:gd name="T53" fmla="*/ 120 h 751"/>
                <a:gd name="T54" fmla="*/ 276 w 465"/>
                <a:gd name="T55" fmla="*/ 2 h 751"/>
                <a:gd name="T56" fmla="*/ 239 w 465"/>
                <a:gd name="T57" fmla="*/ 2 h 751"/>
                <a:gd name="T58" fmla="*/ 230 w 465"/>
                <a:gd name="T59" fmla="*/ 35 h 751"/>
                <a:gd name="T60" fmla="*/ 209 w 465"/>
                <a:gd name="T61" fmla="*/ 86 h 751"/>
                <a:gd name="T62" fmla="*/ 149 w 465"/>
                <a:gd name="T63" fmla="*/ 100 h 751"/>
                <a:gd name="T64" fmla="*/ 61 w 465"/>
                <a:gd name="T65" fmla="*/ 87 h 751"/>
                <a:gd name="T66" fmla="*/ 0 w 465"/>
                <a:gd name="T67" fmla="*/ 157 h 751"/>
                <a:gd name="T68" fmla="*/ 49 w 465"/>
                <a:gd name="T69" fmla="*/ 198 h 751"/>
                <a:gd name="T70" fmla="*/ 89 w 465"/>
                <a:gd name="T71" fmla="*/ 231 h 751"/>
                <a:gd name="T72" fmla="*/ 103 w 465"/>
                <a:gd name="T73" fmla="*/ 260 h 751"/>
                <a:gd name="T74" fmla="*/ 129 w 465"/>
                <a:gd name="T75" fmla="*/ 266 h 751"/>
                <a:gd name="T76" fmla="*/ 140 w 465"/>
                <a:gd name="T77" fmla="*/ 258 h 751"/>
                <a:gd name="T78" fmla="*/ 125 w 465"/>
                <a:gd name="T79" fmla="*/ 253 h 751"/>
                <a:gd name="T80" fmla="*/ 105 w 465"/>
                <a:gd name="T81" fmla="*/ 220 h 751"/>
                <a:gd name="T82" fmla="*/ 127 w 465"/>
                <a:gd name="T83" fmla="*/ 195 h 751"/>
                <a:gd name="T84" fmla="*/ 123 w 465"/>
                <a:gd name="T85" fmla="*/ 209 h 751"/>
                <a:gd name="T86" fmla="*/ 145 w 465"/>
                <a:gd name="T87" fmla="*/ 238 h 751"/>
                <a:gd name="T88" fmla="*/ 160 w 465"/>
                <a:gd name="T89" fmla="*/ 258 h 751"/>
                <a:gd name="T90" fmla="*/ 176 w 465"/>
                <a:gd name="T91" fmla="*/ 271 h 751"/>
                <a:gd name="T92" fmla="*/ 179 w 465"/>
                <a:gd name="T93" fmla="*/ 338 h 751"/>
                <a:gd name="T94" fmla="*/ 190 w 465"/>
                <a:gd name="T95" fmla="*/ 396 h 751"/>
                <a:gd name="T96" fmla="*/ 207 w 465"/>
                <a:gd name="T97" fmla="*/ 476 h 751"/>
                <a:gd name="T98" fmla="*/ 201 w 465"/>
                <a:gd name="T99" fmla="*/ 504 h 751"/>
                <a:gd name="T100" fmla="*/ 192 w 465"/>
                <a:gd name="T101" fmla="*/ 516 h 751"/>
                <a:gd name="T102" fmla="*/ 212 w 465"/>
                <a:gd name="T103" fmla="*/ 545 h 751"/>
                <a:gd name="T104" fmla="*/ 241 w 465"/>
                <a:gd name="T105" fmla="*/ 609 h 751"/>
                <a:gd name="T106" fmla="*/ 365 w 465"/>
                <a:gd name="T107" fmla="*/ 693 h 751"/>
                <a:gd name="T108" fmla="*/ 448 w 465"/>
                <a:gd name="T109" fmla="*/ 747 h 751"/>
                <a:gd name="T110" fmla="*/ 463 w 465"/>
                <a:gd name="T111" fmla="*/ 722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5" h="751">
                  <a:moveTo>
                    <a:pt x="463" y="722"/>
                  </a:moveTo>
                  <a:lnTo>
                    <a:pt x="463" y="722"/>
                  </a:lnTo>
                  <a:lnTo>
                    <a:pt x="463" y="705"/>
                  </a:lnTo>
                  <a:lnTo>
                    <a:pt x="461" y="698"/>
                  </a:lnTo>
                  <a:lnTo>
                    <a:pt x="459" y="691"/>
                  </a:lnTo>
                  <a:lnTo>
                    <a:pt x="459" y="691"/>
                  </a:lnTo>
                  <a:lnTo>
                    <a:pt x="454" y="683"/>
                  </a:lnTo>
                  <a:lnTo>
                    <a:pt x="450" y="674"/>
                  </a:lnTo>
                  <a:lnTo>
                    <a:pt x="445" y="665"/>
                  </a:lnTo>
                  <a:lnTo>
                    <a:pt x="443" y="662"/>
                  </a:lnTo>
                  <a:lnTo>
                    <a:pt x="439" y="660"/>
                  </a:lnTo>
                  <a:lnTo>
                    <a:pt x="439" y="660"/>
                  </a:lnTo>
                  <a:lnTo>
                    <a:pt x="436" y="656"/>
                  </a:lnTo>
                  <a:lnTo>
                    <a:pt x="430" y="651"/>
                  </a:lnTo>
                  <a:lnTo>
                    <a:pt x="428" y="643"/>
                  </a:lnTo>
                  <a:lnTo>
                    <a:pt x="428" y="643"/>
                  </a:lnTo>
                  <a:lnTo>
                    <a:pt x="426" y="633"/>
                  </a:lnTo>
                  <a:lnTo>
                    <a:pt x="428" y="620"/>
                  </a:lnTo>
                  <a:lnTo>
                    <a:pt x="428" y="620"/>
                  </a:lnTo>
                  <a:lnTo>
                    <a:pt x="428" y="609"/>
                  </a:lnTo>
                  <a:lnTo>
                    <a:pt x="430" y="603"/>
                  </a:lnTo>
                  <a:lnTo>
                    <a:pt x="430" y="603"/>
                  </a:lnTo>
                  <a:lnTo>
                    <a:pt x="436" y="602"/>
                  </a:lnTo>
                  <a:lnTo>
                    <a:pt x="436" y="602"/>
                  </a:lnTo>
                  <a:lnTo>
                    <a:pt x="443" y="600"/>
                  </a:lnTo>
                  <a:lnTo>
                    <a:pt x="445" y="600"/>
                  </a:lnTo>
                  <a:lnTo>
                    <a:pt x="445" y="598"/>
                  </a:lnTo>
                  <a:lnTo>
                    <a:pt x="445" y="596"/>
                  </a:lnTo>
                  <a:lnTo>
                    <a:pt x="445" y="596"/>
                  </a:lnTo>
                  <a:lnTo>
                    <a:pt x="430" y="593"/>
                  </a:lnTo>
                  <a:lnTo>
                    <a:pt x="421" y="583"/>
                  </a:lnTo>
                  <a:lnTo>
                    <a:pt x="421" y="583"/>
                  </a:lnTo>
                  <a:lnTo>
                    <a:pt x="416" y="580"/>
                  </a:lnTo>
                  <a:lnTo>
                    <a:pt x="407" y="574"/>
                  </a:lnTo>
                  <a:lnTo>
                    <a:pt x="405" y="573"/>
                  </a:lnTo>
                  <a:lnTo>
                    <a:pt x="403" y="565"/>
                  </a:lnTo>
                  <a:lnTo>
                    <a:pt x="401" y="560"/>
                  </a:lnTo>
                  <a:lnTo>
                    <a:pt x="401" y="556"/>
                  </a:lnTo>
                  <a:lnTo>
                    <a:pt x="401" y="556"/>
                  </a:lnTo>
                  <a:lnTo>
                    <a:pt x="399" y="536"/>
                  </a:lnTo>
                  <a:lnTo>
                    <a:pt x="401" y="531"/>
                  </a:lnTo>
                  <a:lnTo>
                    <a:pt x="403" y="525"/>
                  </a:lnTo>
                  <a:lnTo>
                    <a:pt x="405" y="524"/>
                  </a:lnTo>
                  <a:lnTo>
                    <a:pt x="405" y="524"/>
                  </a:lnTo>
                  <a:lnTo>
                    <a:pt x="410" y="522"/>
                  </a:lnTo>
                  <a:lnTo>
                    <a:pt x="416" y="520"/>
                  </a:lnTo>
                  <a:lnTo>
                    <a:pt x="419" y="516"/>
                  </a:lnTo>
                  <a:lnTo>
                    <a:pt x="419" y="511"/>
                  </a:lnTo>
                  <a:lnTo>
                    <a:pt x="419" y="511"/>
                  </a:lnTo>
                  <a:lnTo>
                    <a:pt x="417" y="498"/>
                  </a:lnTo>
                  <a:lnTo>
                    <a:pt x="416" y="494"/>
                  </a:lnTo>
                  <a:lnTo>
                    <a:pt x="412" y="493"/>
                  </a:lnTo>
                  <a:lnTo>
                    <a:pt x="410" y="491"/>
                  </a:lnTo>
                  <a:lnTo>
                    <a:pt x="410" y="491"/>
                  </a:lnTo>
                  <a:lnTo>
                    <a:pt x="405" y="491"/>
                  </a:lnTo>
                  <a:lnTo>
                    <a:pt x="399" y="491"/>
                  </a:lnTo>
                  <a:lnTo>
                    <a:pt x="394" y="491"/>
                  </a:lnTo>
                  <a:lnTo>
                    <a:pt x="390" y="491"/>
                  </a:lnTo>
                  <a:lnTo>
                    <a:pt x="388" y="491"/>
                  </a:lnTo>
                  <a:lnTo>
                    <a:pt x="388" y="491"/>
                  </a:lnTo>
                  <a:lnTo>
                    <a:pt x="381" y="482"/>
                  </a:lnTo>
                  <a:lnTo>
                    <a:pt x="376" y="476"/>
                  </a:lnTo>
                  <a:lnTo>
                    <a:pt x="370" y="473"/>
                  </a:lnTo>
                  <a:lnTo>
                    <a:pt x="370" y="473"/>
                  </a:lnTo>
                  <a:lnTo>
                    <a:pt x="367" y="467"/>
                  </a:lnTo>
                  <a:lnTo>
                    <a:pt x="361" y="462"/>
                  </a:lnTo>
                  <a:lnTo>
                    <a:pt x="359" y="458"/>
                  </a:lnTo>
                  <a:lnTo>
                    <a:pt x="357" y="453"/>
                  </a:lnTo>
                  <a:lnTo>
                    <a:pt x="357" y="453"/>
                  </a:lnTo>
                  <a:lnTo>
                    <a:pt x="357" y="447"/>
                  </a:lnTo>
                  <a:lnTo>
                    <a:pt x="359" y="442"/>
                  </a:lnTo>
                  <a:lnTo>
                    <a:pt x="361" y="438"/>
                  </a:lnTo>
                  <a:lnTo>
                    <a:pt x="365" y="436"/>
                  </a:lnTo>
                  <a:lnTo>
                    <a:pt x="365" y="436"/>
                  </a:lnTo>
                  <a:lnTo>
                    <a:pt x="370" y="436"/>
                  </a:lnTo>
                  <a:lnTo>
                    <a:pt x="376" y="435"/>
                  </a:lnTo>
                  <a:lnTo>
                    <a:pt x="377" y="433"/>
                  </a:lnTo>
                  <a:lnTo>
                    <a:pt x="377" y="431"/>
                  </a:lnTo>
                  <a:lnTo>
                    <a:pt x="377" y="431"/>
                  </a:lnTo>
                  <a:lnTo>
                    <a:pt x="377" y="429"/>
                  </a:lnTo>
                  <a:lnTo>
                    <a:pt x="376" y="425"/>
                  </a:lnTo>
                  <a:lnTo>
                    <a:pt x="374" y="420"/>
                  </a:lnTo>
                  <a:lnTo>
                    <a:pt x="361" y="413"/>
                  </a:lnTo>
                  <a:lnTo>
                    <a:pt x="361" y="413"/>
                  </a:lnTo>
                  <a:lnTo>
                    <a:pt x="357" y="411"/>
                  </a:lnTo>
                  <a:lnTo>
                    <a:pt x="354" y="409"/>
                  </a:lnTo>
                  <a:lnTo>
                    <a:pt x="348" y="411"/>
                  </a:lnTo>
                  <a:lnTo>
                    <a:pt x="347" y="413"/>
                  </a:lnTo>
                  <a:lnTo>
                    <a:pt x="347" y="413"/>
                  </a:lnTo>
                  <a:lnTo>
                    <a:pt x="345" y="415"/>
                  </a:lnTo>
                  <a:lnTo>
                    <a:pt x="341" y="415"/>
                  </a:lnTo>
                  <a:lnTo>
                    <a:pt x="337" y="413"/>
                  </a:lnTo>
                  <a:lnTo>
                    <a:pt x="334" y="409"/>
                  </a:lnTo>
                  <a:lnTo>
                    <a:pt x="334" y="409"/>
                  </a:lnTo>
                  <a:lnTo>
                    <a:pt x="327" y="405"/>
                  </a:lnTo>
                  <a:lnTo>
                    <a:pt x="321" y="400"/>
                  </a:lnTo>
                  <a:lnTo>
                    <a:pt x="318" y="396"/>
                  </a:lnTo>
                  <a:lnTo>
                    <a:pt x="316" y="395"/>
                  </a:lnTo>
                  <a:lnTo>
                    <a:pt x="316" y="391"/>
                  </a:lnTo>
                  <a:lnTo>
                    <a:pt x="316" y="391"/>
                  </a:lnTo>
                  <a:lnTo>
                    <a:pt x="316" y="387"/>
                  </a:lnTo>
                  <a:lnTo>
                    <a:pt x="316" y="385"/>
                  </a:lnTo>
                  <a:lnTo>
                    <a:pt x="314" y="378"/>
                  </a:lnTo>
                  <a:lnTo>
                    <a:pt x="312" y="376"/>
                  </a:lnTo>
                  <a:lnTo>
                    <a:pt x="307" y="375"/>
                  </a:lnTo>
                  <a:lnTo>
                    <a:pt x="305" y="375"/>
                  </a:lnTo>
                  <a:lnTo>
                    <a:pt x="303" y="375"/>
                  </a:lnTo>
                  <a:lnTo>
                    <a:pt x="303" y="375"/>
                  </a:lnTo>
                  <a:lnTo>
                    <a:pt x="292" y="384"/>
                  </a:lnTo>
                  <a:lnTo>
                    <a:pt x="287" y="384"/>
                  </a:lnTo>
                  <a:lnTo>
                    <a:pt x="287" y="385"/>
                  </a:lnTo>
                  <a:lnTo>
                    <a:pt x="287" y="385"/>
                  </a:lnTo>
                  <a:lnTo>
                    <a:pt x="287" y="395"/>
                  </a:lnTo>
                  <a:lnTo>
                    <a:pt x="287" y="396"/>
                  </a:lnTo>
                  <a:lnTo>
                    <a:pt x="287" y="398"/>
                  </a:lnTo>
                  <a:lnTo>
                    <a:pt x="285" y="398"/>
                  </a:lnTo>
                  <a:lnTo>
                    <a:pt x="285" y="398"/>
                  </a:lnTo>
                  <a:lnTo>
                    <a:pt x="279" y="396"/>
                  </a:lnTo>
                  <a:lnTo>
                    <a:pt x="272" y="393"/>
                  </a:lnTo>
                  <a:lnTo>
                    <a:pt x="263" y="387"/>
                  </a:lnTo>
                  <a:lnTo>
                    <a:pt x="261" y="384"/>
                  </a:lnTo>
                  <a:lnTo>
                    <a:pt x="258" y="378"/>
                  </a:lnTo>
                  <a:lnTo>
                    <a:pt x="258" y="378"/>
                  </a:lnTo>
                  <a:lnTo>
                    <a:pt x="256" y="375"/>
                  </a:lnTo>
                  <a:lnTo>
                    <a:pt x="256" y="367"/>
                  </a:lnTo>
                  <a:lnTo>
                    <a:pt x="256" y="355"/>
                  </a:lnTo>
                  <a:lnTo>
                    <a:pt x="254" y="344"/>
                  </a:lnTo>
                  <a:lnTo>
                    <a:pt x="254" y="336"/>
                  </a:lnTo>
                  <a:lnTo>
                    <a:pt x="250" y="335"/>
                  </a:lnTo>
                  <a:lnTo>
                    <a:pt x="250" y="335"/>
                  </a:lnTo>
                  <a:lnTo>
                    <a:pt x="232" y="320"/>
                  </a:lnTo>
                  <a:lnTo>
                    <a:pt x="221" y="311"/>
                  </a:lnTo>
                  <a:lnTo>
                    <a:pt x="219" y="306"/>
                  </a:lnTo>
                  <a:lnTo>
                    <a:pt x="219" y="302"/>
                  </a:lnTo>
                  <a:lnTo>
                    <a:pt x="219" y="302"/>
                  </a:lnTo>
                  <a:lnTo>
                    <a:pt x="221" y="293"/>
                  </a:lnTo>
                  <a:lnTo>
                    <a:pt x="225" y="286"/>
                  </a:lnTo>
                  <a:lnTo>
                    <a:pt x="230" y="278"/>
                  </a:lnTo>
                  <a:lnTo>
                    <a:pt x="234" y="275"/>
                  </a:lnTo>
                  <a:lnTo>
                    <a:pt x="236" y="275"/>
                  </a:lnTo>
                  <a:lnTo>
                    <a:pt x="236" y="275"/>
                  </a:lnTo>
                  <a:lnTo>
                    <a:pt x="241" y="275"/>
                  </a:lnTo>
                  <a:lnTo>
                    <a:pt x="243" y="273"/>
                  </a:lnTo>
                  <a:lnTo>
                    <a:pt x="243" y="269"/>
                  </a:lnTo>
                  <a:lnTo>
                    <a:pt x="241" y="266"/>
                  </a:lnTo>
                  <a:lnTo>
                    <a:pt x="241" y="266"/>
                  </a:lnTo>
                  <a:lnTo>
                    <a:pt x="238" y="258"/>
                  </a:lnTo>
                  <a:lnTo>
                    <a:pt x="234" y="244"/>
                  </a:lnTo>
                  <a:lnTo>
                    <a:pt x="232" y="236"/>
                  </a:lnTo>
                  <a:lnTo>
                    <a:pt x="234" y="231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8" y="229"/>
                  </a:lnTo>
                  <a:lnTo>
                    <a:pt x="241" y="231"/>
                  </a:lnTo>
                  <a:lnTo>
                    <a:pt x="250" y="240"/>
                  </a:lnTo>
                  <a:lnTo>
                    <a:pt x="256" y="246"/>
                  </a:lnTo>
                  <a:lnTo>
                    <a:pt x="259" y="247"/>
                  </a:lnTo>
                  <a:lnTo>
                    <a:pt x="261" y="247"/>
                  </a:lnTo>
                  <a:lnTo>
                    <a:pt x="261" y="247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33"/>
                  </a:lnTo>
                  <a:lnTo>
                    <a:pt x="256" y="222"/>
                  </a:lnTo>
                  <a:lnTo>
                    <a:pt x="256" y="216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6" y="202"/>
                  </a:lnTo>
                  <a:lnTo>
                    <a:pt x="256" y="191"/>
                  </a:lnTo>
                  <a:lnTo>
                    <a:pt x="259" y="180"/>
                  </a:lnTo>
                  <a:lnTo>
                    <a:pt x="261" y="175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74" y="162"/>
                  </a:lnTo>
                  <a:lnTo>
                    <a:pt x="279" y="158"/>
                  </a:lnTo>
                  <a:lnTo>
                    <a:pt x="281" y="155"/>
                  </a:lnTo>
                  <a:lnTo>
                    <a:pt x="281" y="155"/>
                  </a:lnTo>
                  <a:lnTo>
                    <a:pt x="287" y="155"/>
                  </a:lnTo>
                  <a:lnTo>
                    <a:pt x="294" y="155"/>
                  </a:lnTo>
                  <a:lnTo>
                    <a:pt x="299" y="155"/>
                  </a:lnTo>
                  <a:lnTo>
                    <a:pt x="303" y="155"/>
                  </a:lnTo>
                  <a:lnTo>
                    <a:pt x="303" y="155"/>
                  </a:lnTo>
                  <a:lnTo>
                    <a:pt x="314" y="149"/>
                  </a:lnTo>
                  <a:lnTo>
                    <a:pt x="316" y="149"/>
                  </a:lnTo>
                  <a:lnTo>
                    <a:pt x="316" y="147"/>
                  </a:lnTo>
                  <a:lnTo>
                    <a:pt x="316" y="147"/>
                  </a:lnTo>
                  <a:lnTo>
                    <a:pt x="307" y="138"/>
                  </a:lnTo>
                  <a:lnTo>
                    <a:pt x="303" y="129"/>
                  </a:lnTo>
                  <a:lnTo>
                    <a:pt x="301" y="124"/>
                  </a:lnTo>
                  <a:lnTo>
                    <a:pt x="299" y="120"/>
                  </a:lnTo>
                  <a:lnTo>
                    <a:pt x="299" y="120"/>
                  </a:lnTo>
                  <a:lnTo>
                    <a:pt x="298" y="107"/>
                  </a:lnTo>
                  <a:lnTo>
                    <a:pt x="294" y="87"/>
                  </a:lnTo>
                  <a:lnTo>
                    <a:pt x="283" y="49"/>
                  </a:lnTo>
                  <a:lnTo>
                    <a:pt x="283" y="49"/>
                  </a:lnTo>
                  <a:lnTo>
                    <a:pt x="279" y="26"/>
                  </a:lnTo>
                  <a:lnTo>
                    <a:pt x="276" y="2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4" y="2"/>
                  </a:lnTo>
                  <a:lnTo>
                    <a:pt x="248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39" y="2"/>
                  </a:lnTo>
                  <a:lnTo>
                    <a:pt x="238" y="4"/>
                  </a:lnTo>
                  <a:lnTo>
                    <a:pt x="236" y="11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34" y="24"/>
                  </a:lnTo>
                  <a:lnTo>
                    <a:pt x="232" y="29"/>
                  </a:lnTo>
                  <a:lnTo>
                    <a:pt x="230" y="35"/>
                  </a:lnTo>
                  <a:lnTo>
                    <a:pt x="221" y="46"/>
                  </a:lnTo>
                  <a:lnTo>
                    <a:pt x="221" y="46"/>
                  </a:lnTo>
                  <a:lnTo>
                    <a:pt x="218" y="49"/>
                  </a:lnTo>
                  <a:lnTo>
                    <a:pt x="218" y="53"/>
                  </a:lnTo>
                  <a:lnTo>
                    <a:pt x="218" y="58"/>
                  </a:lnTo>
                  <a:lnTo>
                    <a:pt x="218" y="66"/>
                  </a:lnTo>
                  <a:lnTo>
                    <a:pt x="209" y="86"/>
                  </a:lnTo>
                  <a:lnTo>
                    <a:pt x="209" y="86"/>
                  </a:lnTo>
                  <a:lnTo>
                    <a:pt x="203" y="91"/>
                  </a:lnTo>
                  <a:lnTo>
                    <a:pt x="199" y="91"/>
                  </a:lnTo>
                  <a:lnTo>
                    <a:pt x="194" y="93"/>
                  </a:lnTo>
                  <a:lnTo>
                    <a:pt x="194" y="93"/>
                  </a:lnTo>
                  <a:lnTo>
                    <a:pt x="165" y="95"/>
                  </a:lnTo>
                  <a:lnTo>
                    <a:pt x="149" y="100"/>
                  </a:lnTo>
                  <a:lnTo>
                    <a:pt x="141" y="86"/>
                  </a:lnTo>
                  <a:lnTo>
                    <a:pt x="138" y="66"/>
                  </a:lnTo>
                  <a:lnTo>
                    <a:pt x="123" y="66"/>
                  </a:lnTo>
                  <a:lnTo>
                    <a:pt x="112" y="71"/>
                  </a:lnTo>
                  <a:lnTo>
                    <a:pt x="92" y="75"/>
                  </a:lnTo>
                  <a:lnTo>
                    <a:pt x="78" y="86"/>
                  </a:lnTo>
                  <a:lnTo>
                    <a:pt x="61" y="87"/>
                  </a:lnTo>
                  <a:lnTo>
                    <a:pt x="63" y="98"/>
                  </a:lnTo>
                  <a:lnTo>
                    <a:pt x="49" y="115"/>
                  </a:lnTo>
                  <a:lnTo>
                    <a:pt x="25" y="122"/>
                  </a:lnTo>
                  <a:lnTo>
                    <a:pt x="27" y="126"/>
                  </a:lnTo>
                  <a:lnTo>
                    <a:pt x="14" y="133"/>
                  </a:lnTo>
                  <a:lnTo>
                    <a:pt x="5" y="146"/>
                  </a:lnTo>
                  <a:lnTo>
                    <a:pt x="0" y="157"/>
                  </a:lnTo>
                  <a:lnTo>
                    <a:pt x="20" y="164"/>
                  </a:lnTo>
                  <a:lnTo>
                    <a:pt x="25" y="182"/>
                  </a:lnTo>
                  <a:lnTo>
                    <a:pt x="25" y="182"/>
                  </a:lnTo>
                  <a:lnTo>
                    <a:pt x="32" y="189"/>
                  </a:lnTo>
                  <a:lnTo>
                    <a:pt x="43" y="195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52" y="200"/>
                  </a:lnTo>
                  <a:lnTo>
                    <a:pt x="56" y="202"/>
                  </a:lnTo>
                  <a:lnTo>
                    <a:pt x="58" y="207"/>
                  </a:lnTo>
                  <a:lnTo>
                    <a:pt x="63" y="213"/>
                  </a:lnTo>
                  <a:lnTo>
                    <a:pt x="65" y="231"/>
                  </a:lnTo>
                  <a:lnTo>
                    <a:pt x="89" y="231"/>
                  </a:lnTo>
                  <a:lnTo>
                    <a:pt x="89" y="231"/>
                  </a:lnTo>
                  <a:lnTo>
                    <a:pt x="92" y="236"/>
                  </a:lnTo>
                  <a:lnTo>
                    <a:pt x="103" y="242"/>
                  </a:lnTo>
                  <a:lnTo>
                    <a:pt x="103" y="242"/>
                  </a:lnTo>
                  <a:lnTo>
                    <a:pt x="103" y="244"/>
                  </a:lnTo>
                  <a:lnTo>
                    <a:pt x="103" y="246"/>
                  </a:lnTo>
                  <a:lnTo>
                    <a:pt x="105" y="251"/>
                  </a:lnTo>
                  <a:lnTo>
                    <a:pt x="103" y="260"/>
                  </a:lnTo>
                  <a:lnTo>
                    <a:pt x="103" y="260"/>
                  </a:lnTo>
                  <a:lnTo>
                    <a:pt x="112" y="260"/>
                  </a:lnTo>
                  <a:lnTo>
                    <a:pt x="112" y="260"/>
                  </a:lnTo>
                  <a:lnTo>
                    <a:pt x="118" y="264"/>
                  </a:lnTo>
                  <a:lnTo>
                    <a:pt x="127" y="267"/>
                  </a:lnTo>
                  <a:lnTo>
                    <a:pt x="127" y="267"/>
                  </a:lnTo>
                  <a:lnTo>
                    <a:pt x="129" y="266"/>
                  </a:lnTo>
                  <a:lnTo>
                    <a:pt x="130" y="264"/>
                  </a:lnTo>
                  <a:lnTo>
                    <a:pt x="134" y="262"/>
                  </a:lnTo>
                  <a:lnTo>
                    <a:pt x="136" y="262"/>
                  </a:lnTo>
                  <a:lnTo>
                    <a:pt x="136" y="262"/>
                  </a:lnTo>
                  <a:lnTo>
                    <a:pt x="138" y="262"/>
                  </a:lnTo>
                  <a:lnTo>
                    <a:pt x="138" y="262"/>
                  </a:lnTo>
                  <a:lnTo>
                    <a:pt x="140" y="258"/>
                  </a:lnTo>
                  <a:lnTo>
                    <a:pt x="140" y="253"/>
                  </a:lnTo>
                  <a:lnTo>
                    <a:pt x="138" y="251"/>
                  </a:lnTo>
                  <a:lnTo>
                    <a:pt x="138" y="249"/>
                  </a:lnTo>
                  <a:lnTo>
                    <a:pt x="138" y="249"/>
                  </a:lnTo>
                  <a:lnTo>
                    <a:pt x="134" y="251"/>
                  </a:lnTo>
                  <a:lnTo>
                    <a:pt x="130" y="253"/>
                  </a:lnTo>
                  <a:lnTo>
                    <a:pt x="125" y="253"/>
                  </a:lnTo>
                  <a:lnTo>
                    <a:pt x="125" y="253"/>
                  </a:lnTo>
                  <a:lnTo>
                    <a:pt x="114" y="244"/>
                  </a:lnTo>
                  <a:lnTo>
                    <a:pt x="109" y="236"/>
                  </a:lnTo>
                  <a:lnTo>
                    <a:pt x="107" y="231"/>
                  </a:lnTo>
                  <a:lnTo>
                    <a:pt x="105" y="227"/>
                  </a:lnTo>
                  <a:lnTo>
                    <a:pt x="105" y="227"/>
                  </a:lnTo>
                  <a:lnTo>
                    <a:pt x="105" y="220"/>
                  </a:lnTo>
                  <a:lnTo>
                    <a:pt x="107" y="211"/>
                  </a:lnTo>
                  <a:lnTo>
                    <a:pt x="107" y="207"/>
                  </a:lnTo>
                  <a:lnTo>
                    <a:pt x="109" y="204"/>
                  </a:lnTo>
                  <a:lnTo>
                    <a:pt x="110" y="202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27" y="195"/>
                  </a:lnTo>
                  <a:lnTo>
                    <a:pt x="130" y="195"/>
                  </a:lnTo>
                  <a:lnTo>
                    <a:pt x="132" y="195"/>
                  </a:lnTo>
                  <a:lnTo>
                    <a:pt x="132" y="195"/>
                  </a:lnTo>
                  <a:lnTo>
                    <a:pt x="127" y="200"/>
                  </a:lnTo>
                  <a:lnTo>
                    <a:pt x="123" y="204"/>
                  </a:lnTo>
                  <a:lnTo>
                    <a:pt x="123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5" y="216"/>
                  </a:lnTo>
                  <a:lnTo>
                    <a:pt x="129" y="222"/>
                  </a:lnTo>
                  <a:lnTo>
                    <a:pt x="134" y="227"/>
                  </a:lnTo>
                  <a:lnTo>
                    <a:pt x="140" y="231"/>
                  </a:lnTo>
                  <a:lnTo>
                    <a:pt x="140" y="231"/>
                  </a:lnTo>
                  <a:lnTo>
                    <a:pt x="145" y="238"/>
                  </a:lnTo>
                  <a:lnTo>
                    <a:pt x="149" y="244"/>
                  </a:lnTo>
                  <a:lnTo>
                    <a:pt x="150" y="247"/>
                  </a:lnTo>
                  <a:lnTo>
                    <a:pt x="152" y="249"/>
                  </a:lnTo>
                  <a:lnTo>
                    <a:pt x="156" y="251"/>
                  </a:lnTo>
                  <a:lnTo>
                    <a:pt x="156" y="251"/>
                  </a:lnTo>
                  <a:lnTo>
                    <a:pt x="160" y="253"/>
                  </a:lnTo>
                  <a:lnTo>
                    <a:pt x="160" y="258"/>
                  </a:lnTo>
                  <a:lnTo>
                    <a:pt x="167" y="266"/>
                  </a:lnTo>
                  <a:lnTo>
                    <a:pt x="167" y="266"/>
                  </a:lnTo>
                  <a:lnTo>
                    <a:pt x="169" y="269"/>
                  </a:lnTo>
                  <a:lnTo>
                    <a:pt x="170" y="269"/>
                  </a:lnTo>
                  <a:lnTo>
                    <a:pt x="172" y="269"/>
                  </a:lnTo>
                  <a:lnTo>
                    <a:pt x="174" y="269"/>
                  </a:lnTo>
                  <a:lnTo>
                    <a:pt x="176" y="271"/>
                  </a:lnTo>
                  <a:lnTo>
                    <a:pt x="176" y="278"/>
                  </a:lnTo>
                  <a:lnTo>
                    <a:pt x="176" y="278"/>
                  </a:lnTo>
                  <a:lnTo>
                    <a:pt x="172" y="293"/>
                  </a:lnTo>
                  <a:lnTo>
                    <a:pt x="170" y="306"/>
                  </a:lnTo>
                  <a:lnTo>
                    <a:pt x="172" y="313"/>
                  </a:lnTo>
                  <a:lnTo>
                    <a:pt x="172" y="313"/>
                  </a:lnTo>
                  <a:lnTo>
                    <a:pt x="179" y="338"/>
                  </a:lnTo>
                  <a:lnTo>
                    <a:pt x="183" y="355"/>
                  </a:lnTo>
                  <a:lnTo>
                    <a:pt x="187" y="365"/>
                  </a:lnTo>
                  <a:lnTo>
                    <a:pt x="187" y="365"/>
                  </a:lnTo>
                  <a:lnTo>
                    <a:pt x="187" y="373"/>
                  </a:lnTo>
                  <a:lnTo>
                    <a:pt x="187" y="378"/>
                  </a:lnTo>
                  <a:lnTo>
                    <a:pt x="189" y="385"/>
                  </a:lnTo>
                  <a:lnTo>
                    <a:pt x="190" y="396"/>
                  </a:lnTo>
                  <a:lnTo>
                    <a:pt x="190" y="396"/>
                  </a:lnTo>
                  <a:lnTo>
                    <a:pt x="196" y="413"/>
                  </a:lnTo>
                  <a:lnTo>
                    <a:pt x="201" y="431"/>
                  </a:lnTo>
                  <a:lnTo>
                    <a:pt x="203" y="451"/>
                  </a:lnTo>
                  <a:lnTo>
                    <a:pt x="207" y="467"/>
                  </a:lnTo>
                  <a:lnTo>
                    <a:pt x="207" y="467"/>
                  </a:lnTo>
                  <a:lnTo>
                    <a:pt x="207" y="476"/>
                  </a:lnTo>
                  <a:lnTo>
                    <a:pt x="201" y="484"/>
                  </a:lnTo>
                  <a:lnTo>
                    <a:pt x="199" y="493"/>
                  </a:lnTo>
                  <a:lnTo>
                    <a:pt x="199" y="493"/>
                  </a:lnTo>
                  <a:lnTo>
                    <a:pt x="199" y="496"/>
                  </a:lnTo>
                  <a:lnTo>
                    <a:pt x="201" y="498"/>
                  </a:lnTo>
                  <a:lnTo>
                    <a:pt x="201" y="500"/>
                  </a:lnTo>
                  <a:lnTo>
                    <a:pt x="201" y="504"/>
                  </a:lnTo>
                  <a:lnTo>
                    <a:pt x="201" y="504"/>
                  </a:lnTo>
                  <a:lnTo>
                    <a:pt x="198" y="509"/>
                  </a:lnTo>
                  <a:lnTo>
                    <a:pt x="194" y="511"/>
                  </a:lnTo>
                  <a:lnTo>
                    <a:pt x="192" y="513"/>
                  </a:lnTo>
                  <a:lnTo>
                    <a:pt x="192" y="514"/>
                  </a:lnTo>
                  <a:lnTo>
                    <a:pt x="192" y="514"/>
                  </a:lnTo>
                  <a:lnTo>
                    <a:pt x="192" y="516"/>
                  </a:lnTo>
                  <a:lnTo>
                    <a:pt x="194" y="518"/>
                  </a:lnTo>
                  <a:lnTo>
                    <a:pt x="198" y="522"/>
                  </a:lnTo>
                  <a:lnTo>
                    <a:pt x="207" y="524"/>
                  </a:lnTo>
                  <a:lnTo>
                    <a:pt x="209" y="531"/>
                  </a:lnTo>
                  <a:lnTo>
                    <a:pt x="209" y="531"/>
                  </a:lnTo>
                  <a:lnTo>
                    <a:pt x="212" y="536"/>
                  </a:lnTo>
                  <a:lnTo>
                    <a:pt x="212" y="545"/>
                  </a:lnTo>
                  <a:lnTo>
                    <a:pt x="214" y="562"/>
                  </a:lnTo>
                  <a:lnTo>
                    <a:pt x="214" y="562"/>
                  </a:lnTo>
                  <a:lnTo>
                    <a:pt x="216" y="567"/>
                  </a:lnTo>
                  <a:lnTo>
                    <a:pt x="218" y="574"/>
                  </a:lnTo>
                  <a:lnTo>
                    <a:pt x="225" y="587"/>
                  </a:lnTo>
                  <a:lnTo>
                    <a:pt x="241" y="609"/>
                  </a:lnTo>
                  <a:lnTo>
                    <a:pt x="241" y="609"/>
                  </a:lnTo>
                  <a:lnTo>
                    <a:pt x="245" y="616"/>
                  </a:lnTo>
                  <a:lnTo>
                    <a:pt x="254" y="622"/>
                  </a:lnTo>
                  <a:lnTo>
                    <a:pt x="274" y="638"/>
                  </a:lnTo>
                  <a:lnTo>
                    <a:pt x="298" y="656"/>
                  </a:lnTo>
                  <a:lnTo>
                    <a:pt x="319" y="667"/>
                  </a:lnTo>
                  <a:lnTo>
                    <a:pt x="319" y="667"/>
                  </a:lnTo>
                  <a:lnTo>
                    <a:pt x="365" y="693"/>
                  </a:lnTo>
                  <a:lnTo>
                    <a:pt x="405" y="718"/>
                  </a:lnTo>
                  <a:lnTo>
                    <a:pt x="405" y="718"/>
                  </a:lnTo>
                  <a:lnTo>
                    <a:pt x="417" y="725"/>
                  </a:lnTo>
                  <a:lnTo>
                    <a:pt x="430" y="734"/>
                  </a:lnTo>
                  <a:lnTo>
                    <a:pt x="443" y="743"/>
                  </a:lnTo>
                  <a:lnTo>
                    <a:pt x="448" y="747"/>
                  </a:lnTo>
                  <a:lnTo>
                    <a:pt x="448" y="747"/>
                  </a:lnTo>
                  <a:lnTo>
                    <a:pt x="459" y="751"/>
                  </a:lnTo>
                  <a:lnTo>
                    <a:pt x="463" y="751"/>
                  </a:lnTo>
                  <a:lnTo>
                    <a:pt x="463" y="751"/>
                  </a:lnTo>
                  <a:lnTo>
                    <a:pt x="465" y="749"/>
                  </a:lnTo>
                  <a:lnTo>
                    <a:pt x="465" y="749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8" name="Freeform 60">
              <a:extLst>
                <a:ext uri="{FF2B5EF4-FFF2-40B4-BE49-F238E27FC236}">
                  <a16:creationId xmlns:a16="http://schemas.microsoft.com/office/drawing/2014/main" id="{3349C301-4422-7242-91F8-F820337911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411" y="4500390"/>
              <a:ext cx="282418" cy="220312"/>
            </a:xfrm>
            <a:custGeom>
              <a:avLst/>
              <a:gdLst>
                <a:gd name="T0" fmla="*/ 189 w 195"/>
                <a:gd name="T1" fmla="*/ 120 h 154"/>
                <a:gd name="T2" fmla="*/ 182 w 195"/>
                <a:gd name="T3" fmla="*/ 118 h 154"/>
                <a:gd name="T4" fmla="*/ 173 w 195"/>
                <a:gd name="T5" fmla="*/ 109 h 154"/>
                <a:gd name="T6" fmla="*/ 162 w 195"/>
                <a:gd name="T7" fmla="*/ 91 h 154"/>
                <a:gd name="T8" fmla="*/ 151 w 195"/>
                <a:gd name="T9" fmla="*/ 83 h 154"/>
                <a:gd name="T10" fmla="*/ 140 w 195"/>
                <a:gd name="T11" fmla="*/ 76 h 154"/>
                <a:gd name="T12" fmla="*/ 126 w 195"/>
                <a:gd name="T13" fmla="*/ 49 h 154"/>
                <a:gd name="T14" fmla="*/ 138 w 195"/>
                <a:gd name="T15" fmla="*/ 27 h 154"/>
                <a:gd name="T16" fmla="*/ 135 w 195"/>
                <a:gd name="T17" fmla="*/ 24 h 154"/>
                <a:gd name="T18" fmla="*/ 106 w 195"/>
                <a:gd name="T19" fmla="*/ 25 h 154"/>
                <a:gd name="T20" fmla="*/ 86 w 195"/>
                <a:gd name="T21" fmla="*/ 9 h 154"/>
                <a:gd name="T22" fmla="*/ 46 w 195"/>
                <a:gd name="T23" fmla="*/ 4 h 154"/>
                <a:gd name="T24" fmla="*/ 44 w 195"/>
                <a:gd name="T25" fmla="*/ 7 h 154"/>
                <a:gd name="T26" fmla="*/ 42 w 195"/>
                <a:gd name="T27" fmla="*/ 18 h 154"/>
                <a:gd name="T28" fmla="*/ 42 w 195"/>
                <a:gd name="T29" fmla="*/ 31 h 154"/>
                <a:gd name="T30" fmla="*/ 42 w 195"/>
                <a:gd name="T31" fmla="*/ 42 h 154"/>
                <a:gd name="T32" fmla="*/ 39 w 195"/>
                <a:gd name="T33" fmla="*/ 47 h 154"/>
                <a:gd name="T34" fmla="*/ 26 w 195"/>
                <a:gd name="T35" fmla="*/ 49 h 154"/>
                <a:gd name="T36" fmla="*/ 22 w 195"/>
                <a:gd name="T37" fmla="*/ 49 h 154"/>
                <a:gd name="T38" fmla="*/ 17 w 195"/>
                <a:gd name="T39" fmla="*/ 53 h 154"/>
                <a:gd name="T40" fmla="*/ 17 w 195"/>
                <a:gd name="T41" fmla="*/ 60 h 154"/>
                <a:gd name="T42" fmla="*/ 13 w 195"/>
                <a:gd name="T43" fmla="*/ 63 h 154"/>
                <a:gd name="T44" fmla="*/ 6 w 195"/>
                <a:gd name="T45" fmla="*/ 63 h 154"/>
                <a:gd name="T46" fmla="*/ 4 w 195"/>
                <a:gd name="T47" fmla="*/ 65 h 154"/>
                <a:gd name="T48" fmla="*/ 0 w 195"/>
                <a:gd name="T49" fmla="*/ 74 h 154"/>
                <a:gd name="T50" fmla="*/ 0 w 195"/>
                <a:gd name="T51" fmla="*/ 74 h 154"/>
                <a:gd name="T52" fmla="*/ 4 w 195"/>
                <a:gd name="T53" fmla="*/ 76 h 154"/>
                <a:gd name="T54" fmla="*/ 10 w 195"/>
                <a:gd name="T55" fmla="*/ 78 h 154"/>
                <a:gd name="T56" fmla="*/ 15 w 195"/>
                <a:gd name="T57" fmla="*/ 83 h 154"/>
                <a:gd name="T58" fmla="*/ 15 w 195"/>
                <a:gd name="T59" fmla="*/ 87 h 154"/>
                <a:gd name="T60" fmla="*/ 26 w 195"/>
                <a:gd name="T61" fmla="*/ 91 h 154"/>
                <a:gd name="T62" fmla="*/ 29 w 195"/>
                <a:gd name="T63" fmla="*/ 93 h 154"/>
                <a:gd name="T64" fmla="*/ 29 w 195"/>
                <a:gd name="T65" fmla="*/ 96 h 154"/>
                <a:gd name="T66" fmla="*/ 26 w 195"/>
                <a:gd name="T67" fmla="*/ 103 h 154"/>
                <a:gd name="T68" fmla="*/ 20 w 195"/>
                <a:gd name="T69" fmla="*/ 109 h 154"/>
                <a:gd name="T70" fmla="*/ 20 w 195"/>
                <a:gd name="T71" fmla="*/ 111 h 154"/>
                <a:gd name="T72" fmla="*/ 22 w 195"/>
                <a:gd name="T73" fmla="*/ 118 h 154"/>
                <a:gd name="T74" fmla="*/ 69 w 195"/>
                <a:gd name="T75" fmla="*/ 134 h 154"/>
                <a:gd name="T76" fmla="*/ 71 w 195"/>
                <a:gd name="T77" fmla="*/ 138 h 154"/>
                <a:gd name="T78" fmla="*/ 77 w 195"/>
                <a:gd name="T79" fmla="*/ 143 h 154"/>
                <a:gd name="T80" fmla="*/ 80 w 195"/>
                <a:gd name="T81" fmla="*/ 134 h 154"/>
                <a:gd name="T82" fmla="*/ 86 w 195"/>
                <a:gd name="T83" fmla="*/ 131 h 154"/>
                <a:gd name="T84" fmla="*/ 86 w 195"/>
                <a:gd name="T85" fmla="*/ 131 h 154"/>
                <a:gd name="T86" fmla="*/ 108 w 195"/>
                <a:gd name="T87" fmla="*/ 140 h 154"/>
                <a:gd name="T88" fmla="*/ 158 w 195"/>
                <a:gd name="T89" fmla="*/ 153 h 154"/>
                <a:gd name="T90" fmla="*/ 164 w 195"/>
                <a:gd name="T91" fmla="*/ 151 h 154"/>
                <a:gd name="T92" fmla="*/ 166 w 195"/>
                <a:gd name="T93" fmla="*/ 151 h 154"/>
                <a:gd name="T94" fmla="*/ 173 w 195"/>
                <a:gd name="T95" fmla="*/ 154 h 154"/>
                <a:gd name="T96" fmla="*/ 175 w 195"/>
                <a:gd name="T97" fmla="*/ 154 h 154"/>
                <a:gd name="T98" fmla="*/ 175 w 195"/>
                <a:gd name="T99" fmla="*/ 147 h 154"/>
                <a:gd name="T100" fmla="*/ 177 w 195"/>
                <a:gd name="T101" fmla="*/ 147 h 154"/>
                <a:gd name="T102" fmla="*/ 186 w 195"/>
                <a:gd name="T103" fmla="*/ 149 h 154"/>
                <a:gd name="T104" fmla="*/ 189 w 195"/>
                <a:gd name="T105" fmla="*/ 149 h 154"/>
                <a:gd name="T106" fmla="*/ 195 w 195"/>
                <a:gd name="T107" fmla="*/ 147 h 154"/>
                <a:gd name="T108" fmla="*/ 189 w 195"/>
                <a:gd name="T109" fmla="*/ 131 h 154"/>
                <a:gd name="T110" fmla="*/ 189 w 195"/>
                <a:gd name="T111" fmla="*/ 123 h 154"/>
                <a:gd name="T112" fmla="*/ 189 w 195"/>
                <a:gd name="T113" fmla="*/ 120 h 154"/>
                <a:gd name="T114" fmla="*/ 189 w 195"/>
                <a:gd name="T115" fmla="*/ 120 h 154"/>
                <a:gd name="T116" fmla="*/ 189 w 195"/>
                <a:gd name="T117" fmla="*/ 12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5" h="154">
                  <a:moveTo>
                    <a:pt x="189" y="120"/>
                  </a:moveTo>
                  <a:lnTo>
                    <a:pt x="189" y="120"/>
                  </a:lnTo>
                  <a:lnTo>
                    <a:pt x="186" y="120"/>
                  </a:lnTo>
                  <a:lnTo>
                    <a:pt x="182" y="118"/>
                  </a:lnTo>
                  <a:lnTo>
                    <a:pt x="180" y="114"/>
                  </a:lnTo>
                  <a:lnTo>
                    <a:pt x="173" y="109"/>
                  </a:lnTo>
                  <a:lnTo>
                    <a:pt x="173" y="98"/>
                  </a:lnTo>
                  <a:lnTo>
                    <a:pt x="162" y="91"/>
                  </a:lnTo>
                  <a:lnTo>
                    <a:pt x="160" y="85"/>
                  </a:lnTo>
                  <a:lnTo>
                    <a:pt x="151" y="83"/>
                  </a:lnTo>
                  <a:lnTo>
                    <a:pt x="149" y="76"/>
                  </a:lnTo>
                  <a:lnTo>
                    <a:pt x="140" y="76"/>
                  </a:lnTo>
                  <a:lnTo>
                    <a:pt x="135" y="60"/>
                  </a:lnTo>
                  <a:lnTo>
                    <a:pt x="126" y="49"/>
                  </a:lnTo>
                  <a:lnTo>
                    <a:pt x="131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35" y="24"/>
                  </a:lnTo>
                  <a:lnTo>
                    <a:pt x="113" y="20"/>
                  </a:lnTo>
                  <a:lnTo>
                    <a:pt x="106" y="25"/>
                  </a:lnTo>
                  <a:lnTo>
                    <a:pt x="97" y="14"/>
                  </a:lnTo>
                  <a:lnTo>
                    <a:pt x="86" y="9"/>
                  </a:lnTo>
                  <a:lnTo>
                    <a:pt x="66" y="0"/>
                  </a:lnTo>
                  <a:lnTo>
                    <a:pt x="46" y="4"/>
                  </a:lnTo>
                  <a:lnTo>
                    <a:pt x="40" y="4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2" y="18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6"/>
                  </a:lnTo>
                  <a:lnTo>
                    <a:pt x="42" y="42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3" y="47"/>
                  </a:lnTo>
                  <a:lnTo>
                    <a:pt x="26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0" y="49"/>
                  </a:lnTo>
                  <a:lnTo>
                    <a:pt x="17" y="53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3"/>
                  </a:lnTo>
                  <a:lnTo>
                    <a:pt x="13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4" y="65"/>
                  </a:lnTo>
                  <a:lnTo>
                    <a:pt x="4" y="69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3" y="82"/>
                  </a:lnTo>
                  <a:lnTo>
                    <a:pt x="15" y="83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20" y="89"/>
                  </a:lnTo>
                  <a:lnTo>
                    <a:pt x="26" y="91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2" y="109"/>
                  </a:lnTo>
                  <a:lnTo>
                    <a:pt x="20" y="109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2" y="114"/>
                  </a:lnTo>
                  <a:lnTo>
                    <a:pt x="22" y="118"/>
                  </a:lnTo>
                  <a:lnTo>
                    <a:pt x="64" y="133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71" y="138"/>
                  </a:lnTo>
                  <a:lnTo>
                    <a:pt x="75" y="140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80" y="134"/>
                  </a:lnTo>
                  <a:lnTo>
                    <a:pt x="82" y="133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86" y="131"/>
                  </a:lnTo>
                  <a:lnTo>
                    <a:pt x="100" y="136"/>
                  </a:lnTo>
                  <a:lnTo>
                    <a:pt x="108" y="140"/>
                  </a:lnTo>
                  <a:lnTo>
                    <a:pt x="158" y="153"/>
                  </a:lnTo>
                  <a:lnTo>
                    <a:pt x="158" y="153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6" y="151"/>
                  </a:lnTo>
                  <a:lnTo>
                    <a:pt x="166" y="151"/>
                  </a:lnTo>
                  <a:lnTo>
                    <a:pt x="171" y="154"/>
                  </a:lnTo>
                  <a:lnTo>
                    <a:pt x="173" y="154"/>
                  </a:lnTo>
                  <a:lnTo>
                    <a:pt x="175" y="154"/>
                  </a:lnTo>
                  <a:lnTo>
                    <a:pt x="175" y="154"/>
                  </a:lnTo>
                  <a:lnTo>
                    <a:pt x="175" y="149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86" y="149"/>
                  </a:lnTo>
                  <a:lnTo>
                    <a:pt x="188" y="151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5" y="147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91" y="127"/>
                  </a:lnTo>
                  <a:lnTo>
                    <a:pt x="189" y="123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lnTo>
                    <a:pt x="189" y="1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9" name="Freeform 61">
              <a:extLst>
                <a:ext uri="{FF2B5EF4-FFF2-40B4-BE49-F238E27FC236}">
                  <a16:creationId xmlns:a16="http://schemas.microsoft.com/office/drawing/2014/main" id="{CE730DFA-7E55-6145-80B8-D8BFF18BC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695" y="4697813"/>
              <a:ext cx="422903" cy="356219"/>
            </a:xfrm>
            <a:custGeom>
              <a:avLst/>
              <a:gdLst>
                <a:gd name="T0" fmla="*/ 71 w 292"/>
                <a:gd name="T1" fmla="*/ 211 h 249"/>
                <a:gd name="T2" fmla="*/ 120 w 292"/>
                <a:gd name="T3" fmla="*/ 205 h 249"/>
                <a:gd name="T4" fmla="*/ 138 w 292"/>
                <a:gd name="T5" fmla="*/ 202 h 249"/>
                <a:gd name="T6" fmla="*/ 165 w 292"/>
                <a:gd name="T7" fmla="*/ 205 h 249"/>
                <a:gd name="T8" fmla="*/ 180 w 292"/>
                <a:gd name="T9" fmla="*/ 234 h 249"/>
                <a:gd name="T10" fmla="*/ 203 w 292"/>
                <a:gd name="T11" fmla="*/ 243 h 249"/>
                <a:gd name="T12" fmla="*/ 227 w 292"/>
                <a:gd name="T13" fmla="*/ 227 h 249"/>
                <a:gd name="T14" fmla="*/ 238 w 292"/>
                <a:gd name="T15" fmla="*/ 229 h 249"/>
                <a:gd name="T16" fmla="*/ 269 w 292"/>
                <a:gd name="T17" fmla="*/ 229 h 249"/>
                <a:gd name="T18" fmla="*/ 287 w 292"/>
                <a:gd name="T19" fmla="*/ 222 h 249"/>
                <a:gd name="T20" fmla="*/ 289 w 292"/>
                <a:gd name="T21" fmla="*/ 220 h 249"/>
                <a:gd name="T22" fmla="*/ 289 w 292"/>
                <a:gd name="T23" fmla="*/ 198 h 249"/>
                <a:gd name="T24" fmla="*/ 292 w 292"/>
                <a:gd name="T25" fmla="*/ 165 h 249"/>
                <a:gd name="T26" fmla="*/ 290 w 292"/>
                <a:gd name="T27" fmla="*/ 136 h 249"/>
                <a:gd name="T28" fmla="*/ 281 w 292"/>
                <a:gd name="T29" fmla="*/ 131 h 249"/>
                <a:gd name="T30" fmla="*/ 261 w 292"/>
                <a:gd name="T31" fmla="*/ 144 h 249"/>
                <a:gd name="T32" fmla="*/ 254 w 292"/>
                <a:gd name="T33" fmla="*/ 113 h 249"/>
                <a:gd name="T34" fmla="*/ 261 w 292"/>
                <a:gd name="T35" fmla="*/ 105 h 249"/>
                <a:gd name="T36" fmla="*/ 258 w 292"/>
                <a:gd name="T37" fmla="*/ 100 h 249"/>
                <a:gd name="T38" fmla="*/ 254 w 292"/>
                <a:gd name="T39" fmla="*/ 98 h 249"/>
                <a:gd name="T40" fmla="*/ 249 w 292"/>
                <a:gd name="T41" fmla="*/ 100 h 249"/>
                <a:gd name="T42" fmla="*/ 209 w 292"/>
                <a:gd name="T43" fmla="*/ 100 h 249"/>
                <a:gd name="T44" fmla="*/ 174 w 292"/>
                <a:gd name="T45" fmla="*/ 80 h 249"/>
                <a:gd name="T46" fmla="*/ 171 w 292"/>
                <a:gd name="T47" fmla="*/ 65 h 249"/>
                <a:gd name="T48" fmla="*/ 163 w 292"/>
                <a:gd name="T49" fmla="*/ 49 h 249"/>
                <a:gd name="T50" fmla="*/ 147 w 292"/>
                <a:gd name="T51" fmla="*/ 36 h 249"/>
                <a:gd name="T52" fmla="*/ 105 w 292"/>
                <a:gd name="T53" fmla="*/ 16 h 249"/>
                <a:gd name="T54" fmla="*/ 73 w 292"/>
                <a:gd name="T55" fmla="*/ 18 h 249"/>
                <a:gd name="T56" fmla="*/ 47 w 292"/>
                <a:gd name="T57" fmla="*/ 33 h 249"/>
                <a:gd name="T58" fmla="*/ 56 w 292"/>
                <a:gd name="T59" fmla="*/ 49 h 249"/>
                <a:gd name="T60" fmla="*/ 40 w 292"/>
                <a:gd name="T61" fmla="*/ 54 h 249"/>
                <a:gd name="T62" fmla="*/ 18 w 292"/>
                <a:gd name="T63" fmla="*/ 65 h 249"/>
                <a:gd name="T64" fmla="*/ 9 w 292"/>
                <a:gd name="T65" fmla="*/ 91 h 249"/>
                <a:gd name="T66" fmla="*/ 14 w 292"/>
                <a:gd name="T67" fmla="*/ 124 h 249"/>
                <a:gd name="T68" fmla="*/ 0 w 292"/>
                <a:gd name="T69" fmla="*/ 153 h 249"/>
                <a:gd name="T70" fmla="*/ 16 w 292"/>
                <a:gd name="T71" fmla="*/ 153 h 249"/>
                <a:gd name="T72" fmla="*/ 31 w 292"/>
                <a:gd name="T73" fmla="*/ 151 h 249"/>
                <a:gd name="T74" fmla="*/ 42 w 292"/>
                <a:gd name="T75" fmla="*/ 151 h 249"/>
                <a:gd name="T76" fmla="*/ 43 w 292"/>
                <a:gd name="T77" fmla="*/ 151 h 249"/>
                <a:gd name="T78" fmla="*/ 43 w 292"/>
                <a:gd name="T79" fmla="*/ 156 h 249"/>
                <a:gd name="T80" fmla="*/ 40 w 292"/>
                <a:gd name="T81" fmla="*/ 160 h 249"/>
                <a:gd name="T82" fmla="*/ 31 w 292"/>
                <a:gd name="T83" fmla="*/ 160 h 249"/>
                <a:gd name="T84" fmla="*/ 27 w 292"/>
                <a:gd name="T85" fmla="*/ 164 h 249"/>
                <a:gd name="T86" fmla="*/ 29 w 292"/>
                <a:gd name="T87" fmla="*/ 169 h 249"/>
                <a:gd name="T88" fmla="*/ 53 w 292"/>
                <a:gd name="T89" fmla="*/ 218 h 249"/>
                <a:gd name="T90" fmla="*/ 67 w 292"/>
                <a:gd name="T91" fmla="*/ 205 h 249"/>
                <a:gd name="T92" fmla="*/ 67 w 292"/>
                <a:gd name="T93" fmla="*/ 20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2" h="249">
                  <a:moveTo>
                    <a:pt x="67" y="205"/>
                  </a:moveTo>
                  <a:lnTo>
                    <a:pt x="71" y="211"/>
                  </a:lnTo>
                  <a:lnTo>
                    <a:pt x="94" y="209"/>
                  </a:lnTo>
                  <a:lnTo>
                    <a:pt x="120" y="205"/>
                  </a:lnTo>
                  <a:lnTo>
                    <a:pt x="134" y="200"/>
                  </a:lnTo>
                  <a:lnTo>
                    <a:pt x="138" y="202"/>
                  </a:lnTo>
                  <a:lnTo>
                    <a:pt x="160" y="193"/>
                  </a:lnTo>
                  <a:lnTo>
                    <a:pt x="165" y="205"/>
                  </a:lnTo>
                  <a:lnTo>
                    <a:pt x="180" y="223"/>
                  </a:lnTo>
                  <a:lnTo>
                    <a:pt x="180" y="234"/>
                  </a:lnTo>
                  <a:lnTo>
                    <a:pt x="194" y="249"/>
                  </a:lnTo>
                  <a:lnTo>
                    <a:pt x="203" y="243"/>
                  </a:lnTo>
                  <a:lnTo>
                    <a:pt x="216" y="229"/>
                  </a:lnTo>
                  <a:lnTo>
                    <a:pt x="227" y="227"/>
                  </a:lnTo>
                  <a:lnTo>
                    <a:pt x="234" y="234"/>
                  </a:lnTo>
                  <a:lnTo>
                    <a:pt x="238" y="229"/>
                  </a:lnTo>
                  <a:lnTo>
                    <a:pt x="258" y="229"/>
                  </a:lnTo>
                  <a:lnTo>
                    <a:pt x="269" y="229"/>
                  </a:lnTo>
                  <a:lnTo>
                    <a:pt x="269" y="227"/>
                  </a:lnTo>
                  <a:lnTo>
                    <a:pt x="287" y="222"/>
                  </a:lnTo>
                  <a:lnTo>
                    <a:pt x="289" y="222"/>
                  </a:lnTo>
                  <a:lnTo>
                    <a:pt x="289" y="220"/>
                  </a:lnTo>
                  <a:lnTo>
                    <a:pt x="289" y="209"/>
                  </a:lnTo>
                  <a:lnTo>
                    <a:pt x="289" y="198"/>
                  </a:lnTo>
                  <a:lnTo>
                    <a:pt x="289" y="176"/>
                  </a:lnTo>
                  <a:lnTo>
                    <a:pt x="292" y="165"/>
                  </a:lnTo>
                  <a:lnTo>
                    <a:pt x="287" y="145"/>
                  </a:lnTo>
                  <a:lnTo>
                    <a:pt x="290" y="136"/>
                  </a:lnTo>
                  <a:lnTo>
                    <a:pt x="289" y="136"/>
                  </a:lnTo>
                  <a:lnTo>
                    <a:pt x="281" y="131"/>
                  </a:lnTo>
                  <a:lnTo>
                    <a:pt x="269" y="134"/>
                  </a:lnTo>
                  <a:lnTo>
                    <a:pt x="261" y="144"/>
                  </a:lnTo>
                  <a:lnTo>
                    <a:pt x="254" y="140"/>
                  </a:lnTo>
                  <a:lnTo>
                    <a:pt x="254" y="113"/>
                  </a:lnTo>
                  <a:lnTo>
                    <a:pt x="261" y="105"/>
                  </a:lnTo>
                  <a:lnTo>
                    <a:pt x="261" y="105"/>
                  </a:lnTo>
                  <a:lnTo>
                    <a:pt x="258" y="102"/>
                  </a:lnTo>
                  <a:lnTo>
                    <a:pt x="258" y="100"/>
                  </a:lnTo>
                  <a:lnTo>
                    <a:pt x="254" y="98"/>
                  </a:lnTo>
                  <a:lnTo>
                    <a:pt x="254" y="98"/>
                  </a:lnTo>
                  <a:lnTo>
                    <a:pt x="250" y="98"/>
                  </a:lnTo>
                  <a:lnTo>
                    <a:pt x="249" y="100"/>
                  </a:lnTo>
                  <a:lnTo>
                    <a:pt x="245" y="100"/>
                  </a:lnTo>
                  <a:lnTo>
                    <a:pt x="209" y="100"/>
                  </a:lnTo>
                  <a:lnTo>
                    <a:pt x="203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1" y="65"/>
                  </a:lnTo>
                  <a:lnTo>
                    <a:pt x="163" y="49"/>
                  </a:lnTo>
                  <a:lnTo>
                    <a:pt x="163" y="49"/>
                  </a:lnTo>
                  <a:lnTo>
                    <a:pt x="156" y="42"/>
                  </a:lnTo>
                  <a:lnTo>
                    <a:pt x="147" y="36"/>
                  </a:lnTo>
                  <a:lnTo>
                    <a:pt x="136" y="27"/>
                  </a:lnTo>
                  <a:lnTo>
                    <a:pt x="105" y="16"/>
                  </a:lnTo>
                  <a:lnTo>
                    <a:pt x="76" y="0"/>
                  </a:lnTo>
                  <a:lnTo>
                    <a:pt x="73" y="18"/>
                  </a:lnTo>
                  <a:lnTo>
                    <a:pt x="63" y="31"/>
                  </a:lnTo>
                  <a:lnTo>
                    <a:pt x="47" y="33"/>
                  </a:lnTo>
                  <a:lnTo>
                    <a:pt x="58" y="38"/>
                  </a:lnTo>
                  <a:lnTo>
                    <a:pt x="56" y="49"/>
                  </a:lnTo>
                  <a:lnTo>
                    <a:pt x="58" y="54"/>
                  </a:lnTo>
                  <a:lnTo>
                    <a:pt x="40" y="54"/>
                  </a:lnTo>
                  <a:lnTo>
                    <a:pt x="27" y="60"/>
                  </a:lnTo>
                  <a:lnTo>
                    <a:pt x="18" y="65"/>
                  </a:lnTo>
                  <a:lnTo>
                    <a:pt x="16" y="80"/>
                  </a:lnTo>
                  <a:lnTo>
                    <a:pt x="9" y="91"/>
                  </a:lnTo>
                  <a:lnTo>
                    <a:pt x="9" y="104"/>
                  </a:lnTo>
                  <a:lnTo>
                    <a:pt x="14" y="124"/>
                  </a:lnTo>
                  <a:lnTo>
                    <a:pt x="7" y="140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31" y="151"/>
                  </a:lnTo>
                  <a:lnTo>
                    <a:pt x="36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7" y="154"/>
                  </a:lnTo>
                  <a:lnTo>
                    <a:pt x="43" y="156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34" y="160"/>
                  </a:lnTo>
                  <a:lnTo>
                    <a:pt x="31" y="160"/>
                  </a:lnTo>
                  <a:lnTo>
                    <a:pt x="29" y="162"/>
                  </a:lnTo>
                  <a:lnTo>
                    <a:pt x="27" y="164"/>
                  </a:lnTo>
                  <a:lnTo>
                    <a:pt x="27" y="167"/>
                  </a:lnTo>
                  <a:lnTo>
                    <a:pt x="29" y="169"/>
                  </a:lnTo>
                  <a:lnTo>
                    <a:pt x="29" y="169"/>
                  </a:lnTo>
                  <a:lnTo>
                    <a:pt x="53" y="218"/>
                  </a:lnTo>
                  <a:lnTo>
                    <a:pt x="56" y="211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0" name="Freeform 62">
              <a:extLst>
                <a:ext uri="{FF2B5EF4-FFF2-40B4-BE49-F238E27FC236}">
                  <a16:creationId xmlns:a16="http://schemas.microsoft.com/office/drawing/2014/main" id="{798BCEED-46AD-5F4F-9C37-BBE725862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255" y="5137006"/>
              <a:ext cx="505456" cy="301856"/>
            </a:xfrm>
            <a:custGeom>
              <a:avLst/>
              <a:gdLst>
                <a:gd name="T0" fmla="*/ 349 w 349"/>
                <a:gd name="T1" fmla="*/ 45 h 211"/>
                <a:gd name="T2" fmla="*/ 338 w 349"/>
                <a:gd name="T3" fmla="*/ 33 h 211"/>
                <a:gd name="T4" fmla="*/ 319 w 349"/>
                <a:gd name="T5" fmla="*/ 35 h 211"/>
                <a:gd name="T6" fmla="*/ 307 w 349"/>
                <a:gd name="T7" fmla="*/ 22 h 211"/>
                <a:gd name="T8" fmla="*/ 290 w 349"/>
                <a:gd name="T9" fmla="*/ 16 h 211"/>
                <a:gd name="T10" fmla="*/ 281 w 349"/>
                <a:gd name="T11" fmla="*/ 2 h 211"/>
                <a:gd name="T12" fmla="*/ 270 w 349"/>
                <a:gd name="T13" fmla="*/ 4 h 211"/>
                <a:gd name="T14" fmla="*/ 269 w 349"/>
                <a:gd name="T15" fmla="*/ 7 h 211"/>
                <a:gd name="T16" fmla="*/ 258 w 349"/>
                <a:gd name="T17" fmla="*/ 7 h 211"/>
                <a:gd name="T18" fmla="*/ 241 w 349"/>
                <a:gd name="T19" fmla="*/ 11 h 211"/>
                <a:gd name="T20" fmla="*/ 218 w 349"/>
                <a:gd name="T21" fmla="*/ 13 h 211"/>
                <a:gd name="T22" fmla="*/ 203 w 349"/>
                <a:gd name="T23" fmla="*/ 20 h 211"/>
                <a:gd name="T24" fmla="*/ 194 w 349"/>
                <a:gd name="T25" fmla="*/ 38 h 211"/>
                <a:gd name="T26" fmla="*/ 178 w 349"/>
                <a:gd name="T27" fmla="*/ 49 h 211"/>
                <a:gd name="T28" fmla="*/ 160 w 349"/>
                <a:gd name="T29" fmla="*/ 76 h 211"/>
                <a:gd name="T30" fmla="*/ 143 w 349"/>
                <a:gd name="T31" fmla="*/ 85 h 211"/>
                <a:gd name="T32" fmla="*/ 114 w 349"/>
                <a:gd name="T33" fmla="*/ 87 h 211"/>
                <a:gd name="T34" fmla="*/ 89 w 349"/>
                <a:gd name="T35" fmla="*/ 80 h 211"/>
                <a:gd name="T36" fmla="*/ 71 w 349"/>
                <a:gd name="T37" fmla="*/ 78 h 211"/>
                <a:gd name="T38" fmla="*/ 62 w 349"/>
                <a:gd name="T39" fmla="*/ 62 h 211"/>
                <a:gd name="T40" fmla="*/ 52 w 349"/>
                <a:gd name="T41" fmla="*/ 62 h 211"/>
                <a:gd name="T42" fmla="*/ 49 w 349"/>
                <a:gd name="T43" fmla="*/ 75 h 211"/>
                <a:gd name="T44" fmla="*/ 38 w 349"/>
                <a:gd name="T45" fmla="*/ 89 h 211"/>
                <a:gd name="T46" fmla="*/ 32 w 349"/>
                <a:gd name="T47" fmla="*/ 95 h 211"/>
                <a:gd name="T48" fmla="*/ 16 w 349"/>
                <a:gd name="T49" fmla="*/ 87 h 211"/>
                <a:gd name="T50" fmla="*/ 5 w 349"/>
                <a:gd name="T51" fmla="*/ 98 h 211"/>
                <a:gd name="T52" fmla="*/ 29 w 349"/>
                <a:gd name="T53" fmla="*/ 153 h 211"/>
                <a:gd name="T54" fmla="*/ 18 w 349"/>
                <a:gd name="T55" fmla="*/ 156 h 211"/>
                <a:gd name="T56" fmla="*/ 5 w 349"/>
                <a:gd name="T57" fmla="*/ 164 h 211"/>
                <a:gd name="T58" fmla="*/ 13 w 349"/>
                <a:gd name="T59" fmla="*/ 171 h 211"/>
                <a:gd name="T60" fmla="*/ 16 w 349"/>
                <a:gd name="T61" fmla="*/ 180 h 211"/>
                <a:gd name="T62" fmla="*/ 54 w 349"/>
                <a:gd name="T63" fmla="*/ 165 h 211"/>
                <a:gd name="T64" fmla="*/ 87 w 349"/>
                <a:gd name="T65" fmla="*/ 151 h 211"/>
                <a:gd name="T66" fmla="*/ 98 w 349"/>
                <a:gd name="T67" fmla="*/ 147 h 211"/>
                <a:gd name="T68" fmla="*/ 114 w 349"/>
                <a:gd name="T69" fmla="*/ 145 h 211"/>
                <a:gd name="T70" fmla="*/ 121 w 349"/>
                <a:gd name="T71" fmla="*/ 147 h 211"/>
                <a:gd name="T72" fmla="*/ 136 w 349"/>
                <a:gd name="T73" fmla="*/ 144 h 211"/>
                <a:gd name="T74" fmla="*/ 141 w 349"/>
                <a:gd name="T75" fmla="*/ 153 h 211"/>
                <a:gd name="T76" fmla="*/ 176 w 349"/>
                <a:gd name="T77" fmla="*/ 160 h 211"/>
                <a:gd name="T78" fmla="*/ 183 w 349"/>
                <a:gd name="T79" fmla="*/ 184 h 211"/>
                <a:gd name="T80" fmla="*/ 196 w 349"/>
                <a:gd name="T81" fmla="*/ 191 h 211"/>
                <a:gd name="T82" fmla="*/ 218 w 349"/>
                <a:gd name="T83" fmla="*/ 198 h 211"/>
                <a:gd name="T84" fmla="*/ 245 w 349"/>
                <a:gd name="T85" fmla="*/ 200 h 211"/>
                <a:gd name="T86" fmla="*/ 265 w 349"/>
                <a:gd name="T87" fmla="*/ 204 h 211"/>
                <a:gd name="T88" fmla="*/ 279 w 349"/>
                <a:gd name="T89" fmla="*/ 211 h 211"/>
                <a:gd name="T90" fmla="*/ 289 w 349"/>
                <a:gd name="T91" fmla="*/ 205 h 211"/>
                <a:gd name="T92" fmla="*/ 303 w 349"/>
                <a:gd name="T93" fmla="*/ 200 h 211"/>
                <a:gd name="T94" fmla="*/ 316 w 349"/>
                <a:gd name="T95" fmla="*/ 184 h 211"/>
                <a:gd name="T96" fmla="*/ 316 w 349"/>
                <a:gd name="T97" fmla="*/ 173 h 211"/>
                <a:gd name="T98" fmla="*/ 305 w 349"/>
                <a:gd name="T99" fmla="*/ 158 h 211"/>
                <a:gd name="T100" fmla="*/ 303 w 349"/>
                <a:gd name="T101" fmla="*/ 140 h 211"/>
                <a:gd name="T102" fmla="*/ 316 w 349"/>
                <a:gd name="T103" fmla="*/ 122 h 211"/>
                <a:gd name="T104" fmla="*/ 321 w 349"/>
                <a:gd name="T105" fmla="*/ 107 h 211"/>
                <a:gd name="T106" fmla="*/ 338 w 349"/>
                <a:gd name="T107" fmla="*/ 98 h 211"/>
                <a:gd name="T108" fmla="*/ 341 w 349"/>
                <a:gd name="T109" fmla="*/ 6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9" h="211">
                  <a:moveTo>
                    <a:pt x="341" y="60"/>
                  </a:moveTo>
                  <a:lnTo>
                    <a:pt x="339" y="55"/>
                  </a:lnTo>
                  <a:lnTo>
                    <a:pt x="343" y="45"/>
                  </a:lnTo>
                  <a:lnTo>
                    <a:pt x="349" y="47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5" y="40"/>
                  </a:lnTo>
                  <a:lnTo>
                    <a:pt x="339" y="35"/>
                  </a:lnTo>
                  <a:lnTo>
                    <a:pt x="339" y="35"/>
                  </a:lnTo>
                  <a:lnTo>
                    <a:pt x="338" y="33"/>
                  </a:lnTo>
                  <a:lnTo>
                    <a:pt x="332" y="33"/>
                  </a:lnTo>
                  <a:lnTo>
                    <a:pt x="329" y="36"/>
                  </a:lnTo>
                  <a:lnTo>
                    <a:pt x="329" y="36"/>
                  </a:lnTo>
                  <a:lnTo>
                    <a:pt x="323" y="36"/>
                  </a:lnTo>
                  <a:lnTo>
                    <a:pt x="319" y="35"/>
                  </a:lnTo>
                  <a:lnTo>
                    <a:pt x="319" y="33"/>
                  </a:lnTo>
                  <a:lnTo>
                    <a:pt x="319" y="33"/>
                  </a:lnTo>
                  <a:lnTo>
                    <a:pt x="318" y="33"/>
                  </a:lnTo>
                  <a:lnTo>
                    <a:pt x="316" y="27"/>
                  </a:lnTo>
                  <a:lnTo>
                    <a:pt x="307" y="22"/>
                  </a:lnTo>
                  <a:lnTo>
                    <a:pt x="307" y="22"/>
                  </a:lnTo>
                  <a:lnTo>
                    <a:pt x="301" y="20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0" y="16"/>
                  </a:lnTo>
                  <a:lnTo>
                    <a:pt x="290" y="13"/>
                  </a:lnTo>
                  <a:lnTo>
                    <a:pt x="289" y="7"/>
                  </a:lnTo>
                  <a:lnTo>
                    <a:pt x="289" y="7"/>
                  </a:lnTo>
                  <a:lnTo>
                    <a:pt x="285" y="6"/>
                  </a:lnTo>
                  <a:lnTo>
                    <a:pt x="281" y="2"/>
                  </a:lnTo>
                  <a:lnTo>
                    <a:pt x="278" y="0"/>
                  </a:lnTo>
                  <a:lnTo>
                    <a:pt x="278" y="0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69" y="4"/>
                  </a:lnTo>
                  <a:lnTo>
                    <a:pt x="269" y="7"/>
                  </a:lnTo>
                  <a:lnTo>
                    <a:pt x="269" y="7"/>
                  </a:lnTo>
                  <a:lnTo>
                    <a:pt x="265" y="7"/>
                  </a:lnTo>
                  <a:lnTo>
                    <a:pt x="265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58" y="7"/>
                  </a:lnTo>
                  <a:lnTo>
                    <a:pt x="254" y="7"/>
                  </a:lnTo>
                  <a:lnTo>
                    <a:pt x="249" y="7"/>
                  </a:lnTo>
                  <a:lnTo>
                    <a:pt x="245" y="11"/>
                  </a:lnTo>
                  <a:lnTo>
                    <a:pt x="245" y="11"/>
                  </a:lnTo>
                  <a:lnTo>
                    <a:pt x="241" y="11"/>
                  </a:lnTo>
                  <a:lnTo>
                    <a:pt x="238" y="13"/>
                  </a:lnTo>
                  <a:lnTo>
                    <a:pt x="234" y="13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18" y="13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5" y="16"/>
                  </a:lnTo>
                  <a:lnTo>
                    <a:pt x="203" y="16"/>
                  </a:lnTo>
                  <a:lnTo>
                    <a:pt x="203" y="20"/>
                  </a:lnTo>
                  <a:lnTo>
                    <a:pt x="200" y="33"/>
                  </a:lnTo>
                  <a:lnTo>
                    <a:pt x="200" y="33"/>
                  </a:lnTo>
                  <a:lnTo>
                    <a:pt x="200" y="36"/>
                  </a:lnTo>
                  <a:lnTo>
                    <a:pt x="196" y="36"/>
                  </a:lnTo>
                  <a:lnTo>
                    <a:pt x="194" y="38"/>
                  </a:lnTo>
                  <a:lnTo>
                    <a:pt x="185" y="40"/>
                  </a:lnTo>
                  <a:lnTo>
                    <a:pt x="185" y="40"/>
                  </a:lnTo>
                  <a:lnTo>
                    <a:pt x="183" y="40"/>
                  </a:lnTo>
                  <a:lnTo>
                    <a:pt x="181" y="44"/>
                  </a:lnTo>
                  <a:lnTo>
                    <a:pt x="178" y="49"/>
                  </a:lnTo>
                  <a:lnTo>
                    <a:pt x="174" y="60"/>
                  </a:lnTo>
                  <a:lnTo>
                    <a:pt x="171" y="65"/>
                  </a:lnTo>
                  <a:lnTo>
                    <a:pt x="171" y="65"/>
                  </a:lnTo>
                  <a:lnTo>
                    <a:pt x="165" y="71"/>
                  </a:lnTo>
                  <a:lnTo>
                    <a:pt x="160" y="76"/>
                  </a:lnTo>
                  <a:lnTo>
                    <a:pt x="152" y="80"/>
                  </a:lnTo>
                  <a:lnTo>
                    <a:pt x="149" y="84"/>
                  </a:lnTo>
                  <a:lnTo>
                    <a:pt x="149" y="84"/>
                  </a:lnTo>
                  <a:lnTo>
                    <a:pt x="145" y="85"/>
                  </a:lnTo>
                  <a:lnTo>
                    <a:pt x="143" y="85"/>
                  </a:lnTo>
                  <a:lnTo>
                    <a:pt x="138" y="87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18" y="89"/>
                  </a:lnTo>
                  <a:lnTo>
                    <a:pt x="114" y="87"/>
                  </a:lnTo>
                  <a:lnTo>
                    <a:pt x="103" y="82"/>
                  </a:lnTo>
                  <a:lnTo>
                    <a:pt x="103" y="82"/>
                  </a:lnTo>
                  <a:lnTo>
                    <a:pt x="100" y="82"/>
                  </a:lnTo>
                  <a:lnTo>
                    <a:pt x="98" y="82"/>
                  </a:lnTo>
                  <a:lnTo>
                    <a:pt x="89" y="80"/>
                  </a:lnTo>
                  <a:lnTo>
                    <a:pt x="89" y="80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78"/>
                  </a:lnTo>
                  <a:lnTo>
                    <a:pt x="71" y="78"/>
                  </a:lnTo>
                  <a:lnTo>
                    <a:pt x="71" y="69"/>
                  </a:lnTo>
                  <a:lnTo>
                    <a:pt x="69" y="6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0" y="62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1" y="69"/>
                  </a:lnTo>
                  <a:lnTo>
                    <a:pt x="49" y="71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7" y="82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2" y="87"/>
                  </a:lnTo>
                  <a:lnTo>
                    <a:pt x="38" y="89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5"/>
                  </a:lnTo>
                  <a:lnTo>
                    <a:pt x="31" y="95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18" y="87"/>
                  </a:lnTo>
                  <a:lnTo>
                    <a:pt x="16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5" y="98"/>
                  </a:lnTo>
                  <a:lnTo>
                    <a:pt x="5" y="116"/>
                  </a:lnTo>
                  <a:lnTo>
                    <a:pt x="22" y="145"/>
                  </a:lnTo>
                  <a:lnTo>
                    <a:pt x="22" y="145"/>
                  </a:lnTo>
                  <a:lnTo>
                    <a:pt x="27" y="149"/>
                  </a:lnTo>
                  <a:lnTo>
                    <a:pt x="29" y="153"/>
                  </a:lnTo>
                  <a:lnTo>
                    <a:pt x="29" y="153"/>
                  </a:lnTo>
                  <a:lnTo>
                    <a:pt x="27" y="156"/>
                  </a:lnTo>
                  <a:lnTo>
                    <a:pt x="25" y="156"/>
                  </a:lnTo>
                  <a:lnTo>
                    <a:pt x="25" y="156"/>
                  </a:lnTo>
                  <a:lnTo>
                    <a:pt x="18" y="156"/>
                  </a:lnTo>
                  <a:lnTo>
                    <a:pt x="14" y="153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9" y="164"/>
                  </a:lnTo>
                  <a:lnTo>
                    <a:pt x="11" y="165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80"/>
                  </a:lnTo>
                  <a:lnTo>
                    <a:pt x="13" y="180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25" y="174"/>
                  </a:lnTo>
                  <a:lnTo>
                    <a:pt x="32" y="173"/>
                  </a:lnTo>
                  <a:lnTo>
                    <a:pt x="32" y="173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74" y="160"/>
                  </a:lnTo>
                  <a:lnTo>
                    <a:pt x="78" y="158"/>
                  </a:lnTo>
                  <a:lnTo>
                    <a:pt x="87" y="151"/>
                  </a:lnTo>
                  <a:lnTo>
                    <a:pt x="87" y="151"/>
                  </a:lnTo>
                  <a:lnTo>
                    <a:pt x="94" y="149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102" y="149"/>
                  </a:lnTo>
                  <a:lnTo>
                    <a:pt x="109" y="147"/>
                  </a:lnTo>
                  <a:lnTo>
                    <a:pt x="112" y="147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12" y="142"/>
                  </a:lnTo>
                  <a:lnTo>
                    <a:pt x="114" y="140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21" y="147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5" y="149"/>
                  </a:lnTo>
                  <a:lnTo>
                    <a:pt x="132" y="145"/>
                  </a:lnTo>
                  <a:lnTo>
                    <a:pt x="136" y="144"/>
                  </a:lnTo>
                  <a:lnTo>
                    <a:pt x="136" y="145"/>
                  </a:lnTo>
                  <a:lnTo>
                    <a:pt x="136" y="147"/>
                  </a:lnTo>
                  <a:lnTo>
                    <a:pt x="136" y="147"/>
                  </a:lnTo>
                  <a:lnTo>
                    <a:pt x="138" y="149"/>
                  </a:lnTo>
                  <a:lnTo>
                    <a:pt x="141" y="153"/>
                  </a:lnTo>
                  <a:lnTo>
                    <a:pt x="145" y="156"/>
                  </a:lnTo>
                  <a:lnTo>
                    <a:pt x="152" y="156"/>
                  </a:lnTo>
                  <a:lnTo>
                    <a:pt x="152" y="156"/>
                  </a:lnTo>
                  <a:lnTo>
                    <a:pt x="167" y="160"/>
                  </a:lnTo>
                  <a:lnTo>
                    <a:pt x="176" y="160"/>
                  </a:lnTo>
                  <a:lnTo>
                    <a:pt x="178" y="162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1" y="174"/>
                  </a:lnTo>
                  <a:lnTo>
                    <a:pt x="183" y="184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91" y="189"/>
                  </a:lnTo>
                  <a:lnTo>
                    <a:pt x="196" y="191"/>
                  </a:lnTo>
                  <a:lnTo>
                    <a:pt x="196" y="191"/>
                  </a:lnTo>
                  <a:lnTo>
                    <a:pt x="203" y="194"/>
                  </a:lnTo>
                  <a:lnTo>
                    <a:pt x="207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8" y="198"/>
                  </a:lnTo>
                  <a:lnTo>
                    <a:pt x="221" y="194"/>
                  </a:lnTo>
                  <a:lnTo>
                    <a:pt x="225" y="194"/>
                  </a:lnTo>
                  <a:lnTo>
                    <a:pt x="229" y="194"/>
                  </a:lnTo>
                  <a:lnTo>
                    <a:pt x="229" y="194"/>
                  </a:lnTo>
                  <a:lnTo>
                    <a:pt x="245" y="200"/>
                  </a:lnTo>
                  <a:lnTo>
                    <a:pt x="245" y="200"/>
                  </a:lnTo>
                  <a:lnTo>
                    <a:pt x="249" y="202"/>
                  </a:lnTo>
                  <a:lnTo>
                    <a:pt x="256" y="204"/>
                  </a:lnTo>
                  <a:lnTo>
                    <a:pt x="261" y="204"/>
                  </a:lnTo>
                  <a:lnTo>
                    <a:pt x="265" y="204"/>
                  </a:lnTo>
                  <a:lnTo>
                    <a:pt x="265" y="204"/>
                  </a:lnTo>
                  <a:lnTo>
                    <a:pt x="269" y="205"/>
                  </a:lnTo>
                  <a:lnTo>
                    <a:pt x="274" y="207"/>
                  </a:lnTo>
                  <a:lnTo>
                    <a:pt x="276" y="209"/>
                  </a:lnTo>
                  <a:lnTo>
                    <a:pt x="279" y="211"/>
                  </a:lnTo>
                  <a:lnTo>
                    <a:pt x="279" y="211"/>
                  </a:lnTo>
                  <a:lnTo>
                    <a:pt x="281" y="209"/>
                  </a:lnTo>
                  <a:lnTo>
                    <a:pt x="281" y="209"/>
                  </a:lnTo>
                  <a:lnTo>
                    <a:pt x="287" y="207"/>
                  </a:lnTo>
                  <a:lnTo>
                    <a:pt x="289" y="205"/>
                  </a:lnTo>
                  <a:lnTo>
                    <a:pt x="290" y="204"/>
                  </a:lnTo>
                  <a:lnTo>
                    <a:pt x="296" y="202"/>
                  </a:lnTo>
                  <a:lnTo>
                    <a:pt x="296" y="202"/>
                  </a:lnTo>
                  <a:lnTo>
                    <a:pt x="299" y="202"/>
                  </a:lnTo>
                  <a:lnTo>
                    <a:pt x="303" y="200"/>
                  </a:lnTo>
                  <a:lnTo>
                    <a:pt x="305" y="200"/>
                  </a:lnTo>
                  <a:lnTo>
                    <a:pt x="305" y="200"/>
                  </a:lnTo>
                  <a:lnTo>
                    <a:pt x="310" y="191"/>
                  </a:lnTo>
                  <a:lnTo>
                    <a:pt x="312" y="187"/>
                  </a:lnTo>
                  <a:lnTo>
                    <a:pt x="316" y="184"/>
                  </a:lnTo>
                  <a:lnTo>
                    <a:pt x="316" y="184"/>
                  </a:lnTo>
                  <a:lnTo>
                    <a:pt x="318" y="178"/>
                  </a:lnTo>
                  <a:lnTo>
                    <a:pt x="318" y="174"/>
                  </a:lnTo>
                  <a:lnTo>
                    <a:pt x="316" y="173"/>
                  </a:lnTo>
                  <a:lnTo>
                    <a:pt x="316" y="173"/>
                  </a:lnTo>
                  <a:lnTo>
                    <a:pt x="307" y="165"/>
                  </a:lnTo>
                  <a:lnTo>
                    <a:pt x="305" y="162"/>
                  </a:lnTo>
                  <a:lnTo>
                    <a:pt x="305" y="160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7" y="156"/>
                  </a:lnTo>
                  <a:lnTo>
                    <a:pt x="305" y="153"/>
                  </a:lnTo>
                  <a:lnTo>
                    <a:pt x="303" y="147"/>
                  </a:lnTo>
                  <a:lnTo>
                    <a:pt x="303" y="147"/>
                  </a:lnTo>
                  <a:lnTo>
                    <a:pt x="303" y="140"/>
                  </a:lnTo>
                  <a:lnTo>
                    <a:pt x="307" y="129"/>
                  </a:lnTo>
                  <a:lnTo>
                    <a:pt x="307" y="129"/>
                  </a:lnTo>
                  <a:lnTo>
                    <a:pt x="310" y="125"/>
                  </a:lnTo>
                  <a:lnTo>
                    <a:pt x="316" y="122"/>
                  </a:lnTo>
                  <a:lnTo>
                    <a:pt x="316" y="122"/>
                  </a:lnTo>
                  <a:lnTo>
                    <a:pt x="318" y="118"/>
                  </a:lnTo>
                  <a:lnTo>
                    <a:pt x="319" y="115"/>
                  </a:lnTo>
                  <a:lnTo>
                    <a:pt x="319" y="109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3" y="105"/>
                  </a:lnTo>
                  <a:lnTo>
                    <a:pt x="329" y="104"/>
                  </a:lnTo>
                  <a:lnTo>
                    <a:pt x="332" y="102"/>
                  </a:lnTo>
                  <a:lnTo>
                    <a:pt x="338" y="98"/>
                  </a:lnTo>
                  <a:lnTo>
                    <a:pt x="338" y="98"/>
                  </a:lnTo>
                  <a:lnTo>
                    <a:pt x="338" y="91"/>
                  </a:lnTo>
                  <a:lnTo>
                    <a:pt x="338" y="89"/>
                  </a:lnTo>
                  <a:lnTo>
                    <a:pt x="338" y="85"/>
                  </a:lnTo>
                  <a:lnTo>
                    <a:pt x="332" y="71"/>
                  </a:lnTo>
                  <a:lnTo>
                    <a:pt x="341" y="60"/>
                  </a:lnTo>
                  <a:lnTo>
                    <a:pt x="341" y="60"/>
                  </a:lnTo>
                  <a:lnTo>
                    <a:pt x="341" y="60"/>
                  </a:lnTo>
                  <a:lnTo>
                    <a:pt x="341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1" name="Freeform 63">
              <a:extLst>
                <a:ext uri="{FF2B5EF4-FFF2-40B4-BE49-F238E27FC236}">
                  <a16:creationId xmlns:a16="http://schemas.microsoft.com/office/drawing/2014/main" id="{ACC493E8-51D5-5849-8FA7-3F32BE4C1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492" y="5165618"/>
              <a:ext cx="286763" cy="270383"/>
            </a:xfrm>
            <a:custGeom>
              <a:avLst/>
              <a:gdLst>
                <a:gd name="T0" fmla="*/ 182 w 198"/>
                <a:gd name="T1" fmla="*/ 131 h 189"/>
                <a:gd name="T2" fmla="*/ 187 w 198"/>
                <a:gd name="T3" fmla="*/ 136 h 189"/>
                <a:gd name="T4" fmla="*/ 196 w 198"/>
                <a:gd name="T5" fmla="*/ 136 h 189"/>
                <a:gd name="T6" fmla="*/ 196 w 198"/>
                <a:gd name="T7" fmla="*/ 129 h 189"/>
                <a:gd name="T8" fmla="*/ 174 w 198"/>
                <a:gd name="T9" fmla="*/ 78 h 189"/>
                <a:gd name="T10" fmla="*/ 162 w 198"/>
                <a:gd name="T11" fmla="*/ 76 h 189"/>
                <a:gd name="T12" fmla="*/ 140 w 198"/>
                <a:gd name="T13" fmla="*/ 65 h 189"/>
                <a:gd name="T14" fmla="*/ 149 w 198"/>
                <a:gd name="T15" fmla="*/ 40 h 189"/>
                <a:gd name="T16" fmla="*/ 163 w 198"/>
                <a:gd name="T17" fmla="*/ 25 h 189"/>
                <a:gd name="T18" fmla="*/ 156 w 198"/>
                <a:gd name="T19" fmla="*/ 16 h 189"/>
                <a:gd name="T20" fmla="*/ 136 w 198"/>
                <a:gd name="T21" fmla="*/ 13 h 189"/>
                <a:gd name="T22" fmla="*/ 120 w 198"/>
                <a:gd name="T23" fmla="*/ 0 h 189"/>
                <a:gd name="T24" fmla="*/ 103 w 198"/>
                <a:gd name="T25" fmla="*/ 4 h 189"/>
                <a:gd name="T26" fmla="*/ 102 w 198"/>
                <a:gd name="T27" fmla="*/ 7 h 189"/>
                <a:gd name="T28" fmla="*/ 102 w 198"/>
                <a:gd name="T29" fmla="*/ 24 h 189"/>
                <a:gd name="T30" fmla="*/ 100 w 198"/>
                <a:gd name="T31" fmla="*/ 25 h 189"/>
                <a:gd name="T32" fmla="*/ 80 w 198"/>
                <a:gd name="T33" fmla="*/ 24 h 189"/>
                <a:gd name="T34" fmla="*/ 74 w 198"/>
                <a:gd name="T35" fmla="*/ 27 h 189"/>
                <a:gd name="T36" fmla="*/ 65 w 198"/>
                <a:gd name="T37" fmla="*/ 38 h 189"/>
                <a:gd name="T38" fmla="*/ 31 w 198"/>
                <a:gd name="T39" fmla="*/ 47 h 189"/>
                <a:gd name="T40" fmla="*/ 14 w 198"/>
                <a:gd name="T41" fmla="*/ 55 h 189"/>
                <a:gd name="T42" fmla="*/ 18 w 198"/>
                <a:gd name="T43" fmla="*/ 76 h 189"/>
                <a:gd name="T44" fmla="*/ 18 w 198"/>
                <a:gd name="T45" fmla="*/ 78 h 189"/>
                <a:gd name="T46" fmla="*/ 0 w 198"/>
                <a:gd name="T47" fmla="*/ 85 h 189"/>
                <a:gd name="T48" fmla="*/ 2 w 198"/>
                <a:gd name="T49" fmla="*/ 98 h 189"/>
                <a:gd name="T50" fmla="*/ 7 w 198"/>
                <a:gd name="T51" fmla="*/ 107 h 189"/>
                <a:gd name="T52" fmla="*/ 14 w 198"/>
                <a:gd name="T53" fmla="*/ 113 h 189"/>
                <a:gd name="T54" fmla="*/ 22 w 198"/>
                <a:gd name="T55" fmla="*/ 124 h 189"/>
                <a:gd name="T56" fmla="*/ 24 w 198"/>
                <a:gd name="T57" fmla="*/ 138 h 189"/>
                <a:gd name="T58" fmla="*/ 27 w 198"/>
                <a:gd name="T59" fmla="*/ 144 h 189"/>
                <a:gd name="T60" fmla="*/ 31 w 198"/>
                <a:gd name="T61" fmla="*/ 149 h 189"/>
                <a:gd name="T62" fmla="*/ 49 w 198"/>
                <a:gd name="T63" fmla="*/ 158 h 189"/>
                <a:gd name="T64" fmla="*/ 54 w 198"/>
                <a:gd name="T65" fmla="*/ 160 h 189"/>
                <a:gd name="T66" fmla="*/ 71 w 198"/>
                <a:gd name="T67" fmla="*/ 153 h 189"/>
                <a:gd name="T68" fmla="*/ 78 w 198"/>
                <a:gd name="T69" fmla="*/ 151 h 189"/>
                <a:gd name="T70" fmla="*/ 78 w 198"/>
                <a:gd name="T71" fmla="*/ 153 h 189"/>
                <a:gd name="T72" fmla="*/ 80 w 198"/>
                <a:gd name="T73" fmla="*/ 165 h 189"/>
                <a:gd name="T74" fmla="*/ 83 w 198"/>
                <a:gd name="T75" fmla="*/ 174 h 189"/>
                <a:gd name="T76" fmla="*/ 93 w 198"/>
                <a:gd name="T77" fmla="*/ 184 h 189"/>
                <a:gd name="T78" fmla="*/ 100 w 198"/>
                <a:gd name="T79" fmla="*/ 189 h 189"/>
                <a:gd name="T80" fmla="*/ 113 w 198"/>
                <a:gd name="T81" fmla="*/ 187 h 189"/>
                <a:gd name="T82" fmla="*/ 122 w 198"/>
                <a:gd name="T83" fmla="*/ 184 h 189"/>
                <a:gd name="T84" fmla="*/ 125 w 198"/>
                <a:gd name="T85" fmla="*/ 174 h 189"/>
                <a:gd name="T86" fmla="*/ 145 w 198"/>
                <a:gd name="T87" fmla="*/ 178 h 189"/>
                <a:gd name="T88" fmla="*/ 163 w 198"/>
                <a:gd name="T89" fmla="*/ 178 h 189"/>
                <a:gd name="T90" fmla="*/ 174 w 198"/>
                <a:gd name="T91" fmla="*/ 173 h 189"/>
                <a:gd name="T92" fmla="*/ 180 w 198"/>
                <a:gd name="T93" fmla="*/ 171 h 189"/>
                <a:gd name="T94" fmla="*/ 182 w 198"/>
                <a:gd name="T95" fmla="*/ 160 h 189"/>
                <a:gd name="T96" fmla="*/ 180 w 198"/>
                <a:gd name="T97" fmla="*/ 145 h 189"/>
                <a:gd name="T98" fmla="*/ 174 w 198"/>
                <a:gd name="T99" fmla="*/ 144 h 189"/>
                <a:gd name="T100" fmla="*/ 174 w 198"/>
                <a:gd name="T101" fmla="*/ 14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8" h="189">
                  <a:moveTo>
                    <a:pt x="174" y="144"/>
                  </a:move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3" y="133"/>
                  </a:lnTo>
                  <a:lnTo>
                    <a:pt x="187" y="136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6" y="136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6" y="129"/>
                  </a:lnTo>
                  <a:lnTo>
                    <a:pt x="191" y="125"/>
                  </a:lnTo>
                  <a:lnTo>
                    <a:pt x="174" y="96"/>
                  </a:lnTo>
                  <a:lnTo>
                    <a:pt x="174" y="78"/>
                  </a:lnTo>
                  <a:lnTo>
                    <a:pt x="169" y="71"/>
                  </a:lnTo>
                  <a:lnTo>
                    <a:pt x="169" y="69"/>
                  </a:lnTo>
                  <a:lnTo>
                    <a:pt x="162" y="76"/>
                  </a:lnTo>
                  <a:lnTo>
                    <a:pt x="158" y="76"/>
                  </a:lnTo>
                  <a:lnTo>
                    <a:pt x="149" y="78"/>
                  </a:lnTo>
                  <a:lnTo>
                    <a:pt x="140" y="65"/>
                  </a:lnTo>
                  <a:lnTo>
                    <a:pt x="147" y="55"/>
                  </a:lnTo>
                  <a:lnTo>
                    <a:pt x="143" y="51"/>
                  </a:lnTo>
                  <a:lnTo>
                    <a:pt x="149" y="40"/>
                  </a:lnTo>
                  <a:lnTo>
                    <a:pt x="160" y="35"/>
                  </a:lnTo>
                  <a:lnTo>
                    <a:pt x="169" y="29"/>
                  </a:lnTo>
                  <a:lnTo>
                    <a:pt x="163" y="25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56" y="16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6" y="13"/>
                  </a:lnTo>
                  <a:lnTo>
                    <a:pt x="127" y="5"/>
                  </a:lnTo>
                  <a:lnTo>
                    <a:pt x="123" y="4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13" y="2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2" y="5"/>
                  </a:lnTo>
                  <a:lnTo>
                    <a:pt x="102" y="7"/>
                  </a:lnTo>
                  <a:lnTo>
                    <a:pt x="102" y="13"/>
                  </a:lnTo>
                  <a:lnTo>
                    <a:pt x="103" y="20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0" y="25"/>
                  </a:lnTo>
                  <a:lnTo>
                    <a:pt x="98" y="25"/>
                  </a:lnTo>
                  <a:lnTo>
                    <a:pt x="93" y="25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4" y="27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5" y="38"/>
                  </a:lnTo>
                  <a:lnTo>
                    <a:pt x="62" y="40"/>
                  </a:lnTo>
                  <a:lnTo>
                    <a:pt x="53" y="44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24" y="49"/>
                  </a:lnTo>
                  <a:lnTo>
                    <a:pt x="14" y="55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82"/>
                  </a:lnTo>
                  <a:lnTo>
                    <a:pt x="13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104"/>
                  </a:lnTo>
                  <a:lnTo>
                    <a:pt x="5" y="107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11" y="109"/>
                  </a:lnTo>
                  <a:lnTo>
                    <a:pt x="14" y="113"/>
                  </a:lnTo>
                  <a:lnTo>
                    <a:pt x="18" y="120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9"/>
                  </a:lnTo>
                  <a:lnTo>
                    <a:pt x="22" y="133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7" y="142"/>
                  </a:lnTo>
                  <a:lnTo>
                    <a:pt x="27" y="144"/>
                  </a:lnTo>
                  <a:lnTo>
                    <a:pt x="29" y="147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6" y="151"/>
                  </a:lnTo>
                  <a:lnTo>
                    <a:pt x="42" y="153"/>
                  </a:lnTo>
                  <a:lnTo>
                    <a:pt x="49" y="158"/>
                  </a:lnTo>
                  <a:lnTo>
                    <a:pt x="51" y="158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8" y="158"/>
                  </a:lnTo>
                  <a:lnTo>
                    <a:pt x="62" y="154"/>
                  </a:lnTo>
                  <a:lnTo>
                    <a:pt x="71" y="153"/>
                  </a:lnTo>
                  <a:lnTo>
                    <a:pt x="71" y="153"/>
                  </a:lnTo>
                  <a:lnTo>
                    <a:pt x="76" y="149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8"/>
                  </a:lnTo>
                  <a:lnTo>
                    <a:pt x="78" y="162"/>
                  </a:lnTo>
                  <a:lnTo>
                    <a:pt x="80" y="165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3" y="174"/>
                  </a:lnTo>
                  <a:lnTo>
                    <a:pt x="89" y="178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100" y="189"/>
                  </a:lnTo>
                  <a:lnTo>
                    <a:pt x="102" y="189"/>
                  </a:lnTo>
                  <a:lnTo>
                    <a:pt x="102" y="189"/>
                  </a:lnTo>
                  <a:lnTo>
                    <a:pt x="113" y="187"/>
                  </a:lnTo>
                  <a:lnTo>
                    <a:pt x="118" y="187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3" y="180"/>
                  </a:lnTo>
                  <a:lnTo>
                    <a:pt x="125" y="178"/>
                  </a:lnTo>
                  <a:lnTo>
                    <a:pt x="125" y="174"/>
                  </a:lnTo>
                  <a:lnTo>
                    <a:pt x="131" y="174"/>
                  </a:lnTo>
                  <a:lnTo>
                    <a:pt x="131" y="174"/>
                  </a:lnTo>
                  <a:lnTo>
                    <a:pt x="145" y="178"/>
                  </a:lnTo>
                  <a:lnTo>
                    <a:pt x="158" y="180"/>
                  </a:lnTo>
                  <a:lnTo>
                    <a:pt x="158" y="180"/>
                  </a:lnTo>
                  <a:lnTo>
                    <a:pt x="163" y="178"/>
                  </a:lnTo>
                  <a:lnTo>
                    <a:pt x="169" y="174"/>
                  </a:lnTo>
                  <a:lnTo>
                    <a:pt x="169" y="174"/>
                  </a:lnTo>
                  <a:lnTo>
                    <a:pt x="174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0" y="171"/>
                  </a:lnTo>
                  <a:lnTo>
                    <a:pt x="182" y="165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51"/>
                  </a:lnTo>
                  <a:lnTo>
                    <a:pt x="182" y="151"/>
                  </a:lnTo>
                  <a:lnTo>
                    <a:pt x="180" y="145"/>
                  </a:lnTo>
                  <a:lnTo>
                    <a:pt x="178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2" name="Freeform 64">
              <a:extLst>
                <a:ext uri="{FF2B5EF4-FFF2-40B4-BE49-F238E27FC236}">
                  <a16:creationId xmlns:a16="http://schemas.microsoft.com/office/drawing/2014/main" id="{04E623DB-A7C9-464B-A73B-B6AF5AA6B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7255" y="4968196"/>
              <a:ext cx="212900" cy="309009"/>
            </a:xfrm>
            <a:custGeom>
              <a:avLst/>
              <a:gdLst>
                <a:gd name="T0" fmla="*/ 105 w 147"/>
                <a:gd name="T1" fmla="*/ 165 h 216"/>
                <a:gd name="T2" fmla="*/ 118 w 147"/>
                <a:gd name="T3" fmla="*/ 156 h 216"/>
                <a:gd name="T4" fmla="*/ 127 w 147"/>
                <a:gd name="T5" fmla="*/ 151 h 216"/>
                <a:gd name="T6" fmla="*/ 131 w 147"/>
                <a:gd name="T7" fmla="*/ 138 h 216"/>
                <a:gd name="T8" fmla="*/ 136 w 147"/>
                <a:gd name="T9" fmla="*/ 134 h 216"/>
                <a:gd name="T10" fmla="*/ 141 w 147"/>
                <a:gd name="T11" fmla="*/ 133 h 216"/>
                <a:gd name="T12" fmla="*/ 145 w 147"/>
                <a:gd name="T13" fmla="*/ 131 h 216"/>
                <a:gd name="T14" fmla="*/ 147 w 147"/>
                <a:gd name="T15" fmla="*/ 124 h 216"/>
                <a:gd name="T16" fmla="*/ 143 w 147"/>
                <a:gd name="T17" fmla="*/ 118 h 216"/>
                <a:gd name="T18" fmla="*/ 141 w 147"/>
                <a:gd name="T19" fmla="*/ 114 h 216"/>
                <a:gd name="T20" fmla="*/ 136 w 147"/>
                <a:gd name="T21" fmla="*/ 96 h 216"/>
                <a:gd name="T22" fmla="*/ 136 w 147"/>
                <a:gd name="T23" fmla="*/ 93 h 216"/>
                <a:gd name="T24" fmla="*/ 138 w 147"/>
                <a:gd name="T25" fmla="*/ 84 h 216"/>
                <a:gd name="T26" fmla="*/ 136 w 147"/>
                <a:gd name="T27" fmla="*/ 82 h 216"/>
                <a:gd name="T28" fmla="*/ 132 w 147"/>
                <a:gd name="T29" fmla="*/ 71 h 216"/>
                <a:gd name="T30" fmla="*/ 131 w 147"/>
                <a:gd name="T31" fmla="*/ 64 h 216"/>
                <a:gd name="T32" fmla="*/ 123 w 147"/>
                <a:gd name="T33" fmla="*/ 54 h 216"/>
                <a:gd name="T34" fmla="*/ 123 w 147"/>
                <a:gd name="T35" fmla="*/ 54 h 216"/>
                <a:gd name="T36" fmla="*/ 123 w 147"/>
                <a:gd name="T37" fmla="*/ 47 h 216"/>
                <a:gd name="T38" fmla="*/ 116 w 147"/>
                <a:gd name="T39" fmla="*/ 31 h 216"/>
                <a:gd name="T40" fmla="*/ 87 w 147"/>
                <a:gd name="T41" fmla="*/ 25 h 216"/>
                <a:gd name="T42" fmla="*/ 74 w 147"/>
                <a:gd name="T43" fmla="*/ 13 h 216"/>
                <a:gd name="T44" fmla="*/ 63 w 147"/>
                <a:gd name="T45" fmla="*/ 0 h 216"/>
                <a:gd name="T46" fmla="*/ 58 w 147"/>
                <a:gd name="T47" fmla="*/ 7 h 216"/>
                <a:gd name="T48" fmla="*/ 58 w 147"/>
                <a:gd name="T49" fmla="*/ 9 h 216"/>
                <a:gd name="T50" fmla="*/ 58 w 147"/>
                <a:gd name="T51" fmla="*/ 27 h 216"/>
                <a:gd name="T52" fmla="*/ 54 w 147"/>
                <a:gd name="T53" fmla="*/ 40 h 216"/>
                <a:gd name="T54" fmla="*/ 51 w 147"/>
                <a:gd name="T55" fmla="*/ 60 h 216"/>
                <a:gd name="T56" fmla="*/ 61 w 147"/>
                <a:gd name="T57" fmla="*/ 60 h 216"/>
                <a:gd name="T58" fmla="*/ 61 w 147"/>
                <a:gd name="T59" fmla="*/ 78 h 216"/>
                <a:gd name="T60" fmla="*/ 51 w 147"/>
                <a:gd name="T61" fmla="*/ 98 h 216"/>
                <a:gd name="T62" fmla="*/ 56 w 147"/>
                <a:gd name="T63" fmla="*/ 122 h 216"/>
                <a:gd name="T64" fmla="*/ 54 w 147"/>
                <a:gd name="T65" fmla="*/ 142 h 216"/>
                <a:gd name="T66" fmla="*/ 29 w 147"/>
                <a:gd name="T67" fmla="*/ 167 h 216"/>
                <a:gd name="T68" fmla="*/ 9 w 147"/>
                <a:gd name="T69" fmla="*/ 178 h 216"/>
                <a:gd name="T70" fmla="*/ 7 w 147"/>
                <a:gd name="T71" fmla="*/ 193 h 216"/>
                <a:gd name="T72" fmla="*/ 9 w 147"/>
                <a:gd name="T73" fmla="*/ 216 h 216"/>
                <a:gd name="T74" fmla="*/ 22 w 147"/>
                <a:gd name="T75" fmla="*/ 214 h 216"/>
                <a:gd name="T76" fmla="*/ 29 w 147"/>
                <a:gd name="T77" fmla="*/ 209 h 216"/>
                <a:gd name="T78" fmla="*/ 29 w 147"/>
                <a:gd name="T79" fmla="*/ 207 h 216"/>
                <a:gd name="T80" fmla="*/ 42 w 147"/>
                <a:gd name="T81" fmla="*/ 205 h 216"/>
                <a:gd name="T82" fmla="*/ 47 w 147"/>
                <a:gd name="T83" fmla="*/ 205 h 216"/>
                <a:gd name="T84" fmla="*/ 54 w 147"/>
                <a:gd name="T85" fmla="*/ 209 h 216"/>
                <a:gd name="T86" fmla="*/ 61 w 147"/>
                <a:gd name="T87" fmla="*/ 213 h 216"/>
                <a:gd name="T88" fmla="*/ 65 w 147"/>
                <a:gd name="T89" fmla="*/ 209 h 216"/>
                <a:gd name="T90" fmla="*/ 65 w 147"/>
                <a:gd name="T91" fmla="*/ 209 h 216"/>
                <a:gd name="T92" fmla="*/ 71 w 147"/>
                <a:gd name="T93" fmla="*/ 205 h 216"/>
                <a:gd name="T94" fmla="*/ 76 w 147"/>
                <a:gd name="T95" fmla="*/ 203 h 216"/>
                <a:gd name="T96" fmla="*/ 78 w 147"/>
                <a:gd name="T97" fmla="*/ 193 h 216"/>
                <a:gd name="T98" fmla="*/ 78 w 147"/>
                <a:gd name="T99" fmla="*/ 189 h 216"/>
                <a:gd name="T100" fmla="*/ 81 w 147"/>
                <a:gd name="T101" fmla="*/ 180 h 216"/>
                <a:gd name="T102" fmla="*/ 83 w 147"/>
                <a:gd name="T103" fmla="*/ 180 h 216"/>
                <a:gd name="T104" fmla="*/ 89 w 147"/>
                <a:gd name="T105" fmla="*/ 180 h 216"/>
                <a:gd name="T106" fmla="*/ 91 w 147"/>
                <a:gd name="T107" fmla="*/ 180 h 216"/>
                <a:gd name="T108" fmla="*/ 96 w 147"/>
                <a:gd name="T109" fmla="*/ 176 h 216"/>
                <a:gd name="T110" fmla="*/ 105 w 147"/>
                <a:gd name="T111" fmla="*/ 165 h 216"/>
                <a:gd name="T112" fmla="*/ 105 w 147"/>
                <a:gd name="T113" fmla="*/ 165 h 216"/>
                <a:gd name="T114" fmla="*/ 105 w 147"/>
                <a:gd name="T115" fmla="*/ 165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7" h="216">
                  <a:moveTo>
                    <a:pt x="105" y="165"/>
                  </a:moveTo>
                  <a:lnTo>
                    <a:pt x="105" y="165"/>
                  </a:lnTo>
                  <a:lnTo>
                    <a:pt x="111" y="162"/>
                  </a:lnTo>
                  <a:lnTo>
                    <a:pt x="118" y="156"/>
                  </a:lnTo>
                  <a:lnTo>
                    <a:pt x="127" y="151"/>
                  </a:lnTo>
                  <a:lnTo>
                    <a:pt x="127" y="151"/>
                  </a:lnTo>
                  <a:lnTo>
                    <a:pt x="129" y="145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6" y="134"/>
                  </a:lnTo>
                  <a:lnTo>
                    <a:pt x="138" y="134"/>
                  </a:lnTo>
                  <a:lnTo>
                    <a:pt x="141" y="133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7" y="125"/>
                  </a:lnTo>
                  <a:lnTo>
                    <a:pt x="147" y="124"/>
                  </a:lnTo>
                  <a:lnTo>
                    <a:pt x="145" y="122"/>
                  </a:lnTo>
                  <a:lnTo>
                    <a:pt x="143" y="118"/>
                  </a:lnTo>
                  <a:lnTo>
                    <a:pt x="143" y="118"/>
                  </a:lnTo>
                  <a:lnTo>
                    <a:pt x="141" y="114"/>
                  </a:lnTo>
                  <a:lnTo>
                    <a:pt x="140" y="109"/>
                  </a:lnTo>
                  <a:lnTo>
                    <a:pt x="136" y="96"/>
                  </a:lnTo>
                  <a:lnTo>
                    <a:pt x="136" y="96"/>
                  </a:lnTo>
                  <a:lnTo>
                    <a:pt x="136" y="93"/>
                  </a:lnTo>
                  <a:lnTo>
                    <a:pt x="136" y="89"/>
                  </a:lnTo>
                  <a:lnTo>
                    <a:pt x="138" y="84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2" y="76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1" y="64"/>
                  </a:lnTo>
                  <a:lnTo>
                    <a:pt x="129" y="60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3"/>
                  </a:lnTo>
                  <a:lnTo>
                    <a:pt x="123" y="47"/>
                  </a:lnTo>
                  <a:lnTo>
                    <a:pt x="125" y="40"/>
                  </a:lnTo>
                  <a:lnTo>
                    <a:pt x="116" y="31"/>
                  </a:lnTo>
                  <a:lnTo>
                    <a:pt x="101" y="25"/>
                  </a:lnTo>
                  <a:lnTo>
                    <a:pt x="87" y="25"/>
                  </a:lnTo>
                  <a:lnTo>
                    <a:pt x="76" y="22"/>
                  </a:lnTo>
                  <a:lnTo>
                    <a:pt x="74" y="13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58" y="5"/>
                  </a:lnTo>
                  <a:lnTo>
                    <a:pt x="58" y="7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8"/>
                  </a:lnTo>
                  <a:lnTo>
                    <a:pt x="58" y="27"/>
                  </a:lnTo>
                  <a:lnTo>
                    <a:pt x="60" y="34"/>
                  </a:lnTo>
                  <a:lnTo>
                    <a:pt x="54" y="40"/>
                  </a:lnTo>
                  <a:lnTo>
                    <a:pt x="47" y="53"/>
                  </a:lnTo>
                  <a:lnTo>
                    <a:pt x="51" y="60"/>
                  </a:lnTo>
                  <a:lnTo>
                    <a:pt x="58" y="54"/>
                  </a:lnTo>
                  <a:lnTo>
                    <a:pt x="61" y="60"/>
                  </a:lnTo>
                  <a:lnTo>
                    <a:pt x="74" y="60"/>
                  </a:lnTo>
                  <a:lnTo>
                    <a:pt x="61" y="78"/>
                  </a:lnTo>
                  <a:lnTo>
                    <a:pt x="65" y="89"/>
                  </a:lnTo>
                  <a:lnTo>
                    <a:pt x="51" y="98"/>
                  </a:lnTo>
                  <a:lnTo>
                    <a:pt x="49" y="111"/>
                  </a:lnTo>
                  <a:lnTo>
                    <a:pt x="56" y="122"/>
                  </a:lnTo>
                  <a:lnTo>
                    <a:pt x="49" y="134"/>
                  </a:lnTo>
                  <a:lnTo>
                    <a:pt x="54" y="142"/>
                  </a:lnTo>
                  <a:lnTo>
                    <a:pt x="34" y="165"/>
                  </a:lnTo>
                  <a:lnTo>
                    <a:pt x="29" y="167"/>
                  </a:lnTo>
                  <a:lnTo>
                    <a:pt x="20" y="173"/>
                  </a:lnTo>
                  <a:lnTo>
                    <a:pt x="9" y="178"/>
                  </a:lnTo>
                  <a:lnTo>
                    <a:pt x="3" y="189"/>
                  </a:lnTo>
                  <a:lnTo>
                    <a:pt x="7" y="193"/>
                  </a:lnTo>
                  <a:lnTo>
                    <a:pt x="0" y="203"/>
                  </a:lnTo>
                  <a:lnTo>
                    <a:pt x="9" y="216"/>
                  </a:lnTo>
                  <a:lnTo>
                    <a:pt x="18" y="214"/>
                  </a:lnTo>
                  <a:lnTo>
                    <a:pt x="22" y="214"/>
                  </a:lnTo>
                  <a:lnTo>
                    <a:pt x="29" y="207"/>
                  </a:lnTo>
                  <a:lnTo>
                    <a:pt x="29" y="209"/>
                  </a:lnTo>
                  <a:lnTo>
                    <a:pt x="29" y="207"/>
                  </a:lnTo>
                  <a:lnTo>
                    <a:pt x="29" y="207"/>
                  </a:lnTo>
                  <a:lnTo>
                    <a:pt x="42" y="205"/>
                  </a:lnTo>
                  <a:lnTo>
                    <a:pt x="42" y="205"/>
                  </a:lnTo>
                  <a:lnTo>
                    <a:pt x="45" y="205"/>
                  </a:lnTo>
                  <a:lnTo>
                    <a:pt x="47" y="205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67" y="207"/>
                  </a:lnTo>
                  <a:lnTo>
                    <a:pt x="71" y="205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0"/>
                  </a:lnTo>
                  <a:lnTo>
                    <a:pt x="78" y="193"/>
                  </a:lnTo>
                  <a:lnTo>
                    <a:pt x="78" y="193"/>
                  </a:lnTo>
                  <a:lnTo>
                    <a:pt x="78" y="189"/>
                  </a:lnTo>
                  <a:lnTo>
                    <a:pt x="80" y="187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3" y="180"/>
                  </a:lnTo>
                  <a:lnTo>
                    <a:pt x="85" y="180"/>
                  </a:lnTo>
                  <a:lnTo>
                    <a:pt x="89" y="180"/>
                  </a:lnTo>
                  <a:lnTo>
                    <a:pt x="91" y="180"/>
                  </a:lnTo>
                  <a:lnTo>
                    <a:pt x="91" y="180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100" y="173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lnTo>
                    <a:pt x="105" y="1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3" name="Freeform 65">
              <a:extLst>
                <a:ext uri="{FF2B5EF4-FFF2-40B4-BE49-F238E27FC236}">
                  <a16:creationId xmlns:a16="http://schemas.microsoft.com/office/drawing/2014/main" id="{4FD22974-DFBB-544E-AC8A-D6DA45ECF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484" y="4749314"/>
              <a:ext cx="26069" cy="31473"/>
            </a:xfrm>
            <a:custGeom>
              <a:avLst/>
              <a:gdLst>
                <a:gd name="T0" fmla="*/ 0 w 18"/>
                <a:gd name="T1" fmla="*/ 0 h 22"/>
                <a:gd name="T2" fmla="*/ 0 w 18"/>
                <a:gd name="T3" fmla="*/ 0 h 22"/>
                <a:gd name="T4" fmla="*/ 4 w 18"/>
                <a:gd name="T5" fmla="*/ 11 h 22"/>
                <a:gd name="T6" fmla="*/ 9 w 18"/>
                <a:gd name="T7" fmla="*/ 15 h 22"/>
                <a:gd name="T8" fmla="*/ 9 w 18"/>
                <a:gd name="T9" fmla="*/ 15 h 22"/>
                <a:gd name="T10" fmla="*/ 18 w 18"/>
                <a:gd name="T11" fmla="*/ 22 h 22"/>
                <a:gd name="T12" fmla="*/ 18 w 18"/>
                <a:gd name="T13" fmla="*/ 22 h 22"/>
                <a:gd name="T14" fmla="*/ 18 w 18"/>
                <a:gd name="T15" fmla="*/ 22 h 22"/>
                <a:gd name="T16" fmla="*/ 11 w 18"/>
                <a:gd name="T17" fmla="*/ 2 h 22"/>
                <a:gd name="T18" fmla="*/ 0 w 18"/>
                <a:gd name="T19" fmla="*/ 0 h 22"/>
                <a:gd name="T20" fmla="*/ 0 w 18"/>
                <a:gd name="T21" fmla="*/ 0 h 22"/>
                <a:gd name="T22" fmla="*/ 0 w 18"/>
                <a:gd name="T23" fmla="*/ 0 h 22"/>
                <a:gd name="T24" fmla="*/ 0 w 18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22">
                  <a:moveTo>
                    <a:pt x="0" y="0"/>
                  </a:moveTo>
                  <a:lnTo>
                    <a:pt x="0" y="0"/>
                  </a:lnTo>
                  <a:lnTo>
                    <a:pt x="4" y="11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1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4" name="Freeform 66">
              <a:extLst>
                <a:ext uri="{FF2B5EF4-FFF2-40B4-BE49-F238E27FC236}">
                  <a16:creationId xmlns:a16="http://schemas.microsoft.com/office/drawing/2014/main" id="{985D5112-0F08-FB48-BAC7-5A2F404C0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6172" y="4694951"/>
              <a:ext cx="33311" cy="54363"/>
            </a:xfrm>
            <a:custGeom>
              <a:avLst/>
              <a:gdLst>
                <a:gd name="T0" fmla="*/ 18 w 23"/>
                <a:gd name="T1" fmla="*/ 31 h 38"/>
                <a:gd name="T2" fmla="*/ 18 w 23"/>
                <a:gd name="T3" fmla="*/ 31 h 38"/>
                <a:gd name="T4" fmla="*/ 16 w 23"/>
                <a:gd name="T5" fmla="*/ 33 h 38"/>
                <a:gd name="T6" fmla="*/ 16 w 23"/>
                <a:gd name="T7" fmla="*/ 31 h 38"/>
                <a:gd name="T8" fmla="*/ 14 w 23"/>
                <a:gd name="T9" fmla="*/ 29 h 38"/>
                <a:gd name="T10" fmla="*/ 12 w 23"/>
                <a:gd name="T11" fmla="*/ 29 h 38"/>
                <a:gd name="T12" fmla="*/ 12 w 23"/>
                <a:gd name="T13" fmla="*/ 29 h 38"/>
                <a:gd name="T14" fmla="*/ 12 w 23"/>
                <a:gd name="T15" fmla="*/ 26 h 38"/>
                <a:gd name="T16" fmla="*/ 11 w 23"/>
                <a:gd name="T17" fmla="*/ 24 h 38"/>
                <a:gd name="T18" fmla="*/ 7 w 23"/>
                <a:gd name="T19" fmla="*/ 22 h 38"/>
                <a:gd name="T20" fmla="*/ 5 w 23"/>
                <a:gd name="T21" fmla="*/ 20 h 38"/>
                <a:gd name="T22" fmla="*/ 5 w 23"/>
                <a:gd name="T23" fmla="*/ 20 h 38"/>
                <a:gd name="T24" fmla="*/ 3 w 23"/>
                <a:gd name="T25" fmla="*/ 11 h 38"/>
                <a:gd name="T26" fmla="*/ 1 w 23"/>
                <a:gd name="T27" fmla="*/ 0 h 38"/>
                <a:gd name="T28" fmla="*/ 1 w 23"/>
                <a:gd name="T29" fmla="*/ 0 h 38"/>
                <a:gd name="T30" fmla="*/ 0 w 23"/>
                <a:gd name="T31" fmla="*/ 0 h 38"/>
                <a:gd name="T32" fmla="*/ 0 w 23"/>
                <a:gd name="T33" fmla="*/ 0 h 38"/>
                <a:gd name="T34" fmla="*/ 3 w 23"/>
                <a:gd name="T35" fmla="*/ 35 h 38"/>
                <a:gd name="T36" fmla="*/ 23 w 23"/>
                <a:gd name="T37" fmla="*/ 38 h 38"/>
                <a:gd name="T38" fmla="*/ 23 w 23"/>
                <a:gd name="T39" fmla="*/ 38 h 38"/>
                <a:gd name="T40" fmla="*/ 21 w 23"/>
                <a:gd name="T41" fmla="*/ 35 h 38"/>
                <a:gd name="T42" fmla="*/ 21 w 23"/>
                <a:gd name="T43" fmla="*/ 35 h 38"/>
                <a:gd name="T44" fmla="*/ 18 w 23"/>
                <a:gd name="T45" fmla="*/ 31 h 38"/>
                <a:gd name="T46" fmla="*/ 18 w 23"/>
                <a:gd name="T47" fmla="*/ 29 h 38"/>
                <a:gd name="T48" fmla="*/ 18 w 23"/>
                <a:gd name="T49" fmla="*/ 31 h 38"/>
                <a:gd name="T50" fmla="*/ 18 w 23"/>
                <a:gd name="T51" fmla="*/ 31 h 38"/>
                <a:gd name="T52" fmla="*/ 18 w 23"/>
                <a:gd name="T53" fmla="*/ 31 h 38"/>
                <a:gd name="T54" fmla="*/ 18 w 23"/>
                <a:gd name="T55" fmla="*/ 31 h 38"/>
                <a:gd name="T56" fmla="*/ 18 w 23"/>
                <a:gd name="T57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" h="38">
                  <a:moveTo>
                    <a:pt x="18" y="31"/>
                  </a:moveTo>
                  <a:lnTo>
                    <a:pt x="18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1" y="24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3" y="1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5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5" name="Freeform 67">
              <a:extLst>
                <a:ext uri="{FF2B5EF4-FFF2-40B4-BE49-F238E27FC236}">
                  <a16:creationId xmlns:a16="http://schemas.microsoft.com/office/drawing/2014/main" id="{14D6F351-3A2F-8541-AC2C-75BD79F56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0761" y="4529002"/>
              <a:ext cx="294005" cy="410582"/>
            </a:xfrm>
            <a:custGeom>
              <a:avLst/>
              <a:gdLst>
                <a:gd name="T0" fmla="*/ 143 w 203"/>
                <a:gd name="T1" fmla="*/ 198 h 287"/>
                <a:gd name="T2" fmla="*/ 185 w 203"/>
                <a:gd name="T3" fmla="*/ 172 h 287"/>
                <a:gd name="T4" fmla="*/ 190 w 203"/>
                <a:gd name="T5" fmla="*/ 149 h 287"/>
                <a:gd name="T6" fmla="*/ 196 w 203"/>
                <a:gd name="T7" fmla="*/ 93 h 287"/>
                <a:gd name="T8" fmla="*/ 196 w 203"/>
                <a:gd name="T9" fmla="*/ 53 h 287"/>
                <a:gd name="T10" fmla="*/ 152 w 203"/>
                <a:gd name="T11" fmla="*/ 47 h 287"/>
                <a:gd name="T12" fmla="*/ 111 w 203"/>
                <a:gd name="T13" fmla="*/ 33 h 287"/>
                <a:gd name="T14" fmla="*/ 61 w 203"/>
                <a:gd name="T15" fmla="*/ 29 h 287"/>
                <a:gd name="T16" fmla="*/ 54 w 203"/>
                <a:gd name="T17" fmla="*/ 53 h 287"/>
                <a:gd name="T18" fmla="*/ 60 w 203"/>
                <a:gd name="T19" fmla="*/ 62 h 287"/>
                <a:gd name="T20" fmla="*/ 69 w 203"/>
                <a:gd name="T21" fmla="*/ 56 h 287"/>
                <a:gd name="T22" fmla="*/ 72 w 203"/>
                <a:gd name="T23" fmla="*/ 94 h 287"/>
                <a:gd name="T24" fmla="*/ 71 w 203"/>
                <a:gd name="T25" fmla="*/ 96 h 287"/>
                <a:gd name="T26" fmla="*/ 54 w 203"/>
                <a:gd name="T27" fmla="*/ 93 h 287"/>
                <a:gd name="T28" fmla="*/ 51 w 203"/>
                <a:gd name="T29" fmla="*/ 98 h 287"/>
                <a:gd name="T30" fmla="*/ 43 w 203"/>
                <a:gd name="T31" fmla="*/ 103 h 287"/>
                <a:gd name="T32" fmla="*/ 34 w 203"/>
                <a:gd name="T33" fmla="*/ 123 h 287"/>
                <a:gd name="T34" fmla="*/ 18 w 203"/>
                <a:gd name="T35" fmla="*/ 142 h 287"/>
                <a:gd name="T36" fmla="*/ 7 w 203"/>
                <a:gd name="T37" fmla="*/ 153 h 287"/>
                <a:gd name="T38" fmla="*/ 16 w 203"/>
                <a:gd name="T39" fmla="*/ 158 h 287"/>
                <a:gd name="T40" fmla="*/ 12 w 203"/>
                <a:gd name="T41" fmla="*/ 182 h 287"/>
                <a:gd name="T42" fmla="*/ 16 w 203"/>
                <a:gd name="T43" fmla="*/ 191 h 287"/>
                <a:gd name="T44" fmla="*/ 12 w 203"/>
                <a:gd name="T45" fmla="*/ 196 h 287"/>
                <a:gd name="T46" fmla="*/ 9 w 203"/>
                <a:gd name="T47" fmla="*/ 207 h 287"/>
                <a:gd name="T48" fmla="*/ 0 w 203"/>
                <a:gd name="T49" fmla="*/ 207 h 287"/>
                <a:gd name="T50" fmla="*/ 0 w 203"/>
                <a:gd name="T51" fmla="*/ 214 h 287"/>
                <a:gd name="T52" fmla="*/ 11 w 203"/>
                <a:gd name="T53" fmla="*/ 216 h 287"/>
                <a:gd name="T54" fmla="*/ 16 w 203"/>
                <a:gd name="T55" fmla="*/ 223 h 287"/>
                <a:gd name="T56" fmla="*/ 20 w 203"/>
                <a:gd name="T57" fmla="*/ 220 h 287"/>
                <a:gd name="T58" fmla="*/ 27 w 203"/>
                <a:gd name="T59" fmla="*/ 222 h 287"/>
                <a:gd name="T60" fmla="*/ 29 w 203"/>
                <a:gd name="T61" fmla="*/ 216 h 287"/>
                <a:gd name="T62" fmla="*/ 32 w 203"/>
                <a:gd name="T63" fmla="*/ 216 h 287"/>
                <a:gd name="T64" fmla="*/ 34 w 203"/>
                <a:gd name="T65" fmla="*/ 236 h 287"/>
                <a:gd name="T66" fmla="*/ 32 w 203"/>
                <a:gd name="T67" fmla="*/ 242 h 287"/>
                <a:gd name="T68" fmla="*/ 43 w 203"/>
                <a:gd name="T69" fmla="*/ 240 h 287"/>
                <a:gd name="T70" fmla="*/ 43 w 203"/>
                <a:gd name="T71" fmla="*/ 236 h 287"/>
                <a:gd name="T72" fmla="*/ 56 w 203"/>
                <a:gd name="T73" fmla="*/ 251 h 287"/>
                <a:gd name="T74" fmla="*/ 69 w 203"/>
                <a:gd name="T75" fmla="*/ 249 h 287"/>
                <a:gd name="T76" fmla="*/ 74 w 203"/>
                <a:gd name="T77" fmla="*/ 251 h 287"/>
                <a:gd name="T78" fmla="*/ 58 w 203"/>
                <a:gd name="T79" fmla="*/ 260 h 287"/>
                <a:gd name="T80" fmla="*/ 49 w 203"/>
                <a:gd name="T81" fmla="*/ 271 h 287"/>
                <a:gd name="T82" fmla="*/ 54 w 203"/>
                <a:gd name="T83" fmla="*/ 274 h 287"/>
                <a:gd name="T84" fmla="*/ 71 w 203"/>
                <a:gd name="T85" fmla="*/ 274 h 287"/>
                <a:gd name="T86" fmla="*/ 78 w 203"/>
                <a:gd name="T87" fmla="*/ 287 h 287"/>
                <a:gd name="T88" fmla="*/ 91 w 203"/>
                <a:gd name="T89" fmla="*/ 280 h 287"/>
                <a:gd name="T90" fmla="*/ 112 w 203"/>
                <a:gd name="T91" fmla="*/ 276 h 287"/>
                <a:gd name="T92" fmla="*/ 125 w 203"/>
                <a:gd name="T93" fmla="*/ 271 h 287"/>
                <a:gd name="T94" fmla="*/ 141 w 203"/>
                <a:gd name="T95" fmla="*/ 242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3" h="287">
                  <a:moveTo>
                    <a:pt x="141" y="242"/>
                  </a:moveTo>
                  <a:lnTo>
                    <a:pt x="136" y="222"/>
                  </a:lnTo>
                  <a:lnTo>
                    <a:pt x="136" y="209"/>
                  </a:lnTo>
                  <a:lnTo>
                    <a:pt x="143" y="198"/>
                  </a:lnTo>
                  <a:lnTo>
                    <a:pt x="145" y="183"/>
                  </a:lnTo>
                  <a:lnTo>
                    <a:pt x="154" y="178"/>
                  </a:lnTo>
                  <a:lnTo>
                    <a:pt x="167" y="172"/>
                  </a:lnTo>
                  <a:lnTo>
                    <a:pt x="185" y="172"/>
                  </a:lnTo>
                  <a:lnTo>
                    <a:pt x="183" y="167"/>
                  </a:lnTo>
                  <a:lnTo>
                    <a:pt x="185" y="156"/>
                  </a:lnTo>
                  <a:lnTo>
                    <a:pt x="174" y="151"/>
                  </a:lnTo>
                  <a:lnTo>
                    <a:pt x="190" y="149"/>
                  </a:lnTo>
                  <a:lnTo>
                    <a:pt x="200" y="136"/>
                  </a:lnTo>
                  <a:lnTo>
                    <a:pt x="203" y="118"/>
                  </a:lnTo>
                  <a:lnTo>
                    <a:pt x="200" y="103"/>
                  </a:lnTo>
                  <a:lnTo>
                    <a:pt x="196" y="93"/>
                  </a:lnTo>
                  <a:lnTo>
                    <a:pt x="200" y="76"/>
                  </a:lnTo>
                  <a:lnTo>
                    <a:pt x="190" y="65"/>
                  </a:lnTo>
                  <a:lnTo>
                    <a:pt x="198" y="62"/>
                  </a:lnTo>
                  <a:lnTo>
                    <a:pt x="196" y="53"/>
                  </a:lnTo>
                  <a:lnTo>
                    <a:pt x="203" y="53"/>
                  </a:lnTo>
                  <a:lnTo>
                    <a:pt x="201" y="43"/>
                  </a:lnTo>
                  <a:lnTo>
                    <a:pt x="167" y="54"/>
                  </a:lnTo>
                  <a:lnTo>
                    <a:pt x="152" y="47"/>
                  </a:lnTo>
                  <a:lnTo>
                    <a:pt x="138" y="43"/>
                  </a:lnTo>
                  <a:lnTo>
                    <a:pt x="134" y="49"/>
                  </a:lnTo>
                  <a:lnTo>
                    <a:pt x="121" y="43"/>
                  </a:lnTo>
                  <a:lnTo>
                    <a:pt x="111" y="33"/>
                  </a:lnTo>
                  <a:lnTo>
                    <a:pt x="94" y="27"/>
                  </a:lnTo>
                  <a:lnTo>
                    <a:pt x="98" y="7"/>
                  </a:lnTo>
                  <a:lnTo>
                    <a:pt x="92" y="0"/>
                  </a:lnTo>
                  <a:lnTo>
                    <a:pt x="61" y="29"/>
                  </a:lnTo>
                  <a:lnTo>
                    <a:pt x="63" y="43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4" y="53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60" y="62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9" y="56"/>
                  </a:lnTo>
                  <a:lnTo>
                    <a:pt x="71" y="62"/>
                  </a:lnTo>
                  <a:lnTo>
                    <a:pt x="72" y="73"/>
                  </a:lnTo>
                  <a:lnTo>
                    <a:pt x="72" y="85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63" y="94"/>
                  </a:lnTo>
                  <a:lnTo>
                    <a:pt x="58" y="94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4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3" y="103"/>
                  </a:lnTo>
                  <a:lnTo>
                    <a:pt x="41" y="103"/>
                  </a:lnTo>
                  <a:lnTo>
                    <a:pt x="40" y="107"/>
                  </a:lnTo>
                  <a:lnTo>
                    <a:pt x="36" y="113"/>
                  </a:lnTo>
                  <a:lnTo>
                    <a:pt x="34" y="123"/>
                  </a:lnTo>
                  <a:lnTo>
                    <a:pt x="23" y="125"/>
                  </a:lnTo>
                  <a:lnTo>
                    <a:pt x="18" y="134"/>
                  </a:lnTo>
                  <a:lnTo>
                    <a:pt x="20" y="140"/>
                  </a:lnTo>
                  <a:lnTo>
                    <a:pt x="18" y="142"/>
                  </a:lnTo>
                  <a:lnTo>
                    <a:pt x="14" y="142"/>
                  </a:lnTo>
                  <a:lnTo>
                    <a:pt x="11" y="151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62"/>
                  </a:lnTo>
                  <a:lnTo>
                    <a:pt x="16" y="165"/>
                  </a:lnTo>
                  <a:lnTo>
                    <a:pt x="14" y="174"/>
                  </a:lnTo>
                  <a:lnTo>
                    <a:pt x="12" y="182"/>
                  </a:lnTo>
                  <a:lnTo>
                    <a:pt x="11" y="183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6" y="191"/>
                  </a:lnTo>
                  <a:lnTo>
                    <a:pt x="16" y="192"/>
                  </a:lnTo>
                  <a:lnTo>
                    <a:pt x="14" y="192"/>
                  </a:lnTo>
                  <a:lnTo>
                    <a:pt x="14" y="192"/>
                  </a:lnTo>
                  <a:lnTo>
                    <a:pt x="12" y="196"/>
                  </a:lnTo>
                  <a:lnTo>
                    <a:pt x="11" y="198"/>
                  </a:lnTo>
                  <a:lnTo>
                    <a:pt x="11" y="202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7" y="207"/>
                  </a:lnTo>
                  <a:lnTo>
                    <a:pt x="3" y="203"/>
                  </a:lnTo>
                  <a:lnTo>
                    <a:pt x="0" y="203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0" y="209"/>
                  </a:lnTo>
                  <a:lnTo>
                    <a:pt x="0" y="212"/>
                  </a:lnTo>
                  <a:lnTo>
                    <a:pt x="0" y="214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9" y="216"/>
                  </a:lnTo>
                  <a:lnTo>
                    <a:pt x="11" y="216"/>
                  </a:lnTo>
                  <a:lnTo>
                    <a:pt x="12" y="218"/>
                  </a:lnTo>
                  <a:lnTo>
                    <a:pt x="12" y="218"/>
                  </a:lnTo>
                  <a:lnTo>
                    <a:pt x="14" y="223"/>
                  </a:lnTo>
                  <a:lnTo>
                    <a:pt x="16" y="223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20" y="220"/>
                  </a:lnTo>
                  <a:lnTo>
                    <a:pt x="20" y="220"/>
                  </a:lnTo>
                  <a:lnTo>
                    <a:pt x="23" y="220"/>
                  </a:lnTo>
                  <a:lnTo>
                    <a:pt x="23" y="222"/>
                  </a:lnTo>
                  <a:lnTo>
                    <a:pt x="23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9" y="220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31" y="214"/>
                  </a:lnTo>
                  <a:lnTo>
                    <a:pt x="31" y="214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20"/>
                  </a:lnTo>
                  <a:lnTo>
                    <a:pt x="36" y="232"/>
                  </a:lnTo>
                  <a:lnTo>
                    <a:pt x="36" y="232"/>
                  </a:lnTo>
                  <a:lnTo>
                    <a:pt x="34" y="236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2" y="242"/>
                  </a:lnTo>
                  <a:lnTo>
                    <a:pt x="32" y="242"/>
                  </a:lnTo>
                  <a:lnTo>
                    <a:pt x="36" y="242"/>
                  </a:lnTo>
                  <a:lnTo>
                    <a:pt x="40" y="242"/>
                  </a:lnTo>
                  <a:lnTo>
                    <a:pt x="43" y="242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0" y="234"/>
                  </a:lnTo>
                  <a:lnTo>
                    <a:pt x="41" y="232"/>
                  </a:lnTo>
                  <a:lnTo>
                    <a:pt x="43" y="236"/>
                  </a:lnTo>
                  <a:lnTo>
                    <a:pt x="43" y="236"/>
                  </a:lnTo>
                  <a:lnTo>
                    <a:pt x="49" y="240"/>
                  </a:lnTo>
                  <a:lnTo>
                    <a:pt x="52" y="245"/>
                  </a:lnTo>
                  <a:lnTo>
                    <a:pt x="56" y="251"/>
                  </a:lnTo>
                  <a:lnTo>
                    <a:pt x="56" y="252"/>
                  </a:lnTo>
                  <a:lnTo>
                    <a:pt x="60" y="252"/>
                  </a:lnTo>
                  <a:lnTo>
                    <a:pt x="60" y="252"/>
                  </a:lnTo>
                  <a:lnTo>
                    <a:pt x="69" y="249"/>
                  </a:lnTo>
                  <a:lnTo>
                    <a:pt x="72" y="249"/>
                  </a:lnTo>
                  <a:lnTo>
                    <a:pt x="74" y="249"/>
                  </a:lnTo>
                  <a:lnTo>
                    <a:pt x="74" y="251"/>
                  </a:lnTo>
                  <a:lnTo>
                    <a:pt x="74" y="251"/>
                  </a:lnTo>
                  <a:lnTo>
                    <a:pt x="71" y="254"/>
                  </a:lnTo>
                  <a:lnTo>
                    <a:pt x="65" y="256"/>
                  </a:lnTo>
                  <a:lnTo>
                    <a:pt x="58" y="260"/>
                  </a:lnTo>
                  <a:lnTo>
                    <a:pt x="58" y="260"/>
                  </a:lnTo>
                  <a:lnTo>
                    <a:pt x="54" y="262"/>
                  </a:lnTo>
                  <a:lnTo>
                    <a:pt x="52" y="265"/>
                  </a:lnTo>
                  <a:lnTo>
                    <a:pt x="49" y="271"/>
                  </a:lnTo>
                  <a:lnTo>
                    <a:pt x="49" y="271"/>
                  </a:lnTo>
                  <a:lnTo>
                    <a:pt x="51" y="274"/>
                  </a:lnTo>
                  <a:lnTo>
                    <a:pt x="51" y="274"/>
                  </a:lnTo>
                  <a:lnTo>
                    <a:pt x="52" y="274"/>
                  </a:lnTo>
                  <a:lnTo>
                    <a:pt x="54" y="274"/>
                  </a:lnTo>
                  <a:lnTo>
                    <a:pt x="58" y="274"/>
                  </a:lnTo>
                  <a:lnTo>
                    <a:pt x="63" y="272"/>
                  </a:lnTo>
                  <a:lnTo>
                    <a:pt x="65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2" y="278"/>
                  </a:lnTo>
                  <a:lnTo>
                    <a:pt x="74" y="283"/>
                  </a:lnTo>
                  <a:lnTo>
                    <a:pt x="78" y="287"/>
                  </a:lnTo>
                  <a:lnTo>
                    <a:pt x="78" y="287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91" y="280"/>
                  </a:lnTo>
                  <a:lnTo>
                    <a:pt x="94" y="278"/>
                  </a:lnTo>
                  <a:lnTo>
                    <a:pt x="101" y="276"/>
                  </a:lnTo>
                  <a:lnTo>
                    <a:pt x="101" y="276"/>
                  </a:lnTo>
                  <a:lnTo>
                    <a:pt x="112" y="276"/>
                  </a:lnTo>
                  <a:lnTo>
                    <a:pt x="118" y="274"/>
                  </a:lnTo>
                  <a:lnTo>
                    <a:pt x="121" y="274"/>
                  </a:lnTo>
                  <a:lnTo>
                    <a:pt x="121" y="274"/>
                  </a:lnTo>
                  <a:lnTo>
                    <a:pt x="125" y="271"/>
                  </a:lnTo>
                  <a:lnTo>
                    <a:pt x="127" y="271"/>
                  </a:lnTo>
                  <a:lnTo>
                    <a:pt x="134" y="258"/>
                  </a:lnTo>
                  <a:lnTo>
                    <a:pt x="141" y="242"/>
                  </a:lnTo>
                  <a:lnTo>
                    <a:pt x="141" y="242"/>
                  </a:lnTo>
                  <a:lnTo>
                    <a:pt x="141" y="242"/>
                  </a:lnTo>
                  <a:lnTo>
                    <a:pt x="141" y="2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6" name="Freeform 68">
              <a:extLst>
                <a:ext uri="{FF2B5EF4-FFF2-40B4-BE49-F238E27FC236}">
                  <a16:creationId xmlns:a16="http://schemas.microsoft.com/office/drawing/2014/main" id="{6FE94586-24AC-B346-8286-E67126AA9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3166" y="4440305"/>
              <a:ext cx="280970" cy="296133"/>
            </a:xfrm>
            <a:custGeom>
              <a:avLst/>
              <a:gdLst>
                <a:gd name="T0" fmla="*/ 176 w 194"/>
                <a:gd name="T1" fmla="*/ 145 h 207"/>
                <a:gd name="T2" fmla="*/ 179 w 194"/>
                <a:gd name="T3" fmla="*/ 135 h 207"/>
                <a:gd name="T4" fmla="*/ 165 w 194"/>
                <a:gd name="T5" fmla="*/ 125 h 207"/>
                <a:gd name="T6" fmla="*/ 150 w 194"/>
                <a:gd name="T7" fmla="*/ 118 h 207"/>
                <a:gd name="T8" fmla="*/ 154 w 194"/>
                <a:gd name="T9" fmla="*/ 107 h 207"/>
                <a:gd name="T10" fmla="*/ 167 w 194"/>
                <a:gd name="T11" fmla="*/ 105 h 207"/>
                <a:gd name="T12" fmla="*/ 172 w 194"/>
                <a:gd name="T13" fmla="*/ 91 h 207"/>
                <a:gd name="T14" fmla="*/ 189 w 194"/>
                <a:gd name="T15" fmla="*/ 89 h 207"/>
                <a:gd name="T16" fmla="*/ 192 w 194"/>
                <a:gd name="T17" fmla="*/ 60 h 207"/>
                <a:gd name="T18" fmla="*/ 174 w 194"/>
                <a:gd name="T19" fmla="*/ 31 h 207"/>
                <a:gd name="T20" fmla="*/ 167 w 194"/>
                <a:gd name="T21" fmla="*/ 29 h 207"/>
                <a:gd name="T22" fmla="*/ 147 w 194"/>
                <a:gd name="T23" fmla="*/ 13 h 207"/>
                <a:gd name="T24" fmla="*/ 129 w 194"/>
                <a:gd name="T25" fmla="*/ 0 h 207"/>
                <a:gd name="T26" fmla="*/ 125 w 194"/>
                <a:gd name="T27" fmla="*/ 7 h 207"/>
                <a:gd name="T28" fmla="*/ 118 w 194"/>
                <a:gd name="T29" fmla="*/ 13 h 207"/>
                <a:gd name="T30" fmla="*/ 110 w 194"/>
                <a:gd name="T31" fmla="*/ 24 h 207"/>
                <a:gd name="T32" fmla="*/ 114 w 194"/>
                <a:gd name="T33" fmla="*/ 40 h 207"/>
                <a:gd name="T34" fmla="*/ 105 w 194"/>
                <a:gd name="T35" fmla="*/ 36 h 207"/>
                <a:gd name="T36" fmla="*/ 96 w 194"/>
                <a:gd name="T37" fmla="*/ 40 h 207"/>
                <a:gd name="T38" fmla="*/ 83 w 194"/>
                <a:gd name="T39" fmla="*/ 36 h 207"/>
                <a:gd name="T40" fmla="*/ 72 w 194"/>
                <a:gd name="T41" fmla="*/ 46 h 207"/>
                <a:gd name="T42" fmla="*/ 69 w 194"/>
                <a:gd name="T43" fmla="*/ 33 h 207"/>
                <a:gd name="T44" fmla="*/ 61 w 194"/>
                <a:gd name="T45" fmla="*/ 35 h 207"/>
                <a:gd name="T46" fmla="*/ 60 w 194"/>
                <a:gd name="T47" fmla="*/ 29 h 207"/>
                <a:gd name="T48" fmla="*/ 61 w 194"/>
                <a:gd name="T49" fmla="*/ 18 h 207"/>
                <a:gd name="T50" fmla="*/ 43 w 194"/>
                <a:gd name="T51" fmla="*/ 9 h 207"/>
                <a:gd name="T52" fmla="*/ 31 w 194"/>
                <a:gd name="T53" fmla="*/ 22 h 207"/>
                <a:gd name="T54" fmla="*/ 38 w 194"/>
                <a:gd name="T55" fmla="*/ 35 h 207"/>
                <a:gd name="T56" fmla="*/ 38 w 194"/>
                <a:gd name="T57" fmla="*/ 56 h 207"/>
                <a:gd name="T58" fmla="*/ 51 w 194"/>
                <a:gd name="T59" fmla="*/ 60 h 207"/>
                <a:gd name="T60" fmla="*/ 76 w 194"/>
                <a:gd name="T61" fmla="*/ 71 h 207"/>
                <a:gd name="T62" fmla="*/ 96 w 194"/>
                <a:gd name="T63" fmla="*/ 71 h 207"/>
                <a:gd name="T64" fmla="*/ 101 w 194"/>
                <a:gd name="T65" fmla="*/ 76 h 207"/>
                <a:gd name="T66" fmla="*/ 83 w 194"/>
                <a:gd name="T67" fmla="*/ 91 h 207"/>
                <a:gd name="T68" fmla="*/ 76 w 194"/>
                <a:gd name="T69" fmla="*/ 102 h 207"/>
                <a:gd name="T70" fmla="*/ 61 w 194"/>
                <a:gd name="T71" fmla="*/ 95 h 207"/>
                <a:gd name="T72" fmla="*/ 41 w 194"/>
                <a:gd name="T73" fmla="*/ 107 h 207"/>
                <a:gd name="T74" fmla="*/ 29 w 194"/>
                <a:gd name="T75" fmla="*/ 127 h 207"/>
                <a:gd name="T76" fmla="*/ 11 w 194"/>
                <a:gd name="T77" fmla="*/ 144 h 207"/>
                <a:gd name="T78" fmla="*/ 3 w 194"/>
                <a:gd name="T79" fmla="*/ 162 h 207"/>
                <a:gd name="T80" fmla="*/ 25 w 194"/>
                <a:gd name="T81" fmla="*/ 176 h 207"/>
                <a:gd name="T82" fmla="*/ 20 w 194"/>
                <a:gd name="T83" fmla="*/ 196 h 207"/>
                <a:gd name="T84" fmla="*/ 21 w 194"/>
                <a:gd name="T85" fmla="*/ 207 h 207"/>
                <a:gd name="T86" fmla="*/ 58 w 194"/>
                <a:gd name="T87" fmla="*/ 204 h 207"/>
                <a:gd name="T88" fmla="*/ 61 w 194"/>
                <a:gd name="T89" fmla="*/ 185 h 207"/>
                <a:gd name="T90" fmla="*/ 101 w 194"/>
                <a:gd name="T91" fmla="*/ 193 h 207"/>
                <a:gd name="T92" fmla="*/ 107 w 194"/>
                <a:gd name="T93" fmla="*/ 193 h 207"/>
                <a:gd name="T94" fmla="*/ 89 w 194"/>
                <a:gd name="T95" fmla="*/ 162 h 207"/>
                <a:gd name="T96" fmla="*/ 96 w 194"/>
                <a:gd name="T97" fmla="*/ 158 h 207"/>
                <a:gd name="T98" fmla="*/ 107 w 194"/>
                <a:gd name="T99" fmla="*/ 160 h 207"/>
                <a:gd name="T100" fmla="*/ 89 w 194"/>
                <a:gd name="T101" fmla="*/ 145 h 207"/>
                <a:gd name="T102" fmla="*/ 105 w 194"/>
                <a:gd name="T103" fmla="*/ 145 h 207"/>
                <a:gd name="T104" fmla="*/ 101 w 194"/>
                <a:gd name="T105" fmla="*/ 136 h 207"/>
                <a:gd name="T106" fmla="*/ 110 w 194"/>
                <a:gd name="T107" fmla="*/ 138 h 207"/>
                <a:gd name="T108" fmla="*/ 112 w 194"/>
                <a:gd name="T109" fmla="*/ 133 h 207"/>
                <a:gd name="T110" fmla="*/ 118 w 194"/>
                <a:gd name="T111" fmla="*/ 140 h 207"/>
                <a:gd name="T112" fmla="*/ 127 w 194"/>
                <a:gd name="T113" fmla="*/ 147 h 207"/>
                <a:gd name="T114" fmla="*/ 134 w 194"/>
                <a:gd name="T115" fmla="*/ 151 h 207"/>
                <a:gd name="T116" fmla="*/ 141 w 194"/>
                <a:gd name="T117" fmla="*/ 158 h 207"/>
                <a:gd name="T118" fmla="*/ 169 w 194"/>
                <a:gd name="T119" fmla="*/ 160 h 207"/>
                <a:gd name="T120" fmla="*/ 170 w 194"/>
                <a:gd name="T121" fmla="*/ 15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4" h="207">
                  <a:moveTo>
                    <a:pt x="170" y="153"/>
                  </a:moveTo>
                  <a:lnTo>
                    <a:pt x="170" y="153"/>
                  </a:lnTo>
                  <a:lnTo>
                    <a:pt x="170" y="151"/>
                  </a:lnTo>
                  <a:lnTo>
                    <a:pt x="172" y="151"/>
                  </a:lnTo>
                  <a:lnTo>
                    <a:pt x="176" y="145"/>
                  </a:lnTo>
                  <a:lnTo>
                    <a:pt x="176" y="145"/>
                  </a:lnTo>
                  <a:lnTo>
                    <a:pt x="179" y="138"/>
                  </a:lnTo>
                  <a:lnTo>
                    <a:pt x="179" y="136"/>
                  </a:lnTo>
                  <a:lnTo>
                    <a:pt x="179" y="135"/>
                  </a:lnTo>
                  <a:lnTo>
                    <a:pt x="179" y="135"/>
                  </a:lnTo>
                  <a:lnTo>
                    <a:pt x="176" y="133"/>
                  </a:lnTo>
                  <a:lnTo>
                    <a:pt x="170" y="131"/>
                  </a:lnTo>
                  <a:lnTo>
                    <a:pt x="165" y="129"/>
                  </a:lnTo>
                  <a:lnTo>
                    <a:pt x="165" y="129"/>
                  </a:lnTo>
                  <a:lnTo>
                    <a:pt x="165" y="125"/>
                  </a:lnTo>
                  <a:lnTo>
                    <a:pt x="163" y="124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54" y="118"/>
                  </a:lnTo>
                  <a:lnTo>
                    <a:pt x="150" y="118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0" y="116"/>
                  </a:lnTo>
                  <a:lnTo>
                    <a:pt x="154" y="111"/>
                  </a:lnTo>
                  <a:lnTo>
                    <a:pt x="154" y="107"/>
                  </a:lnTo>
                  <a:lnTo>
                    <a:pt x="156" y="105"/>
                  </a:lnTo>
                  <a:lnTo>
                    <a:pt x="156" y="105"/>
                  </a:lnTo>
                  <a:lnTo>
                    <a:pt x="156" y="105"/>
                  </a:lnTo>
                  <a:lnTo>
                    <a:pt x="163" y="105"/>
                  </a:lnTo>
                  <a:lnTo>
                    <a:pt x="167" y="105"/>
                  </a:lnTo>
                  <a:lnTo>
                    <a:pt x="167" y="102"/>
                  </a:lnTo>
                  <a:lnTo>
                    <a:pt x="167" y="102"/>
                  </a:lnTo>
                  <a:lnTo>
                    <a:pt x="167" y="95"/>
                  </a:lnTo>
                  <a:lnTo>
                    <a:pt x="170" y="91"/>
                  </a:lnTo>
                  <a:lnTo>
                    <a:pt x="172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3" y="89"/>
                  </a:lnTo>
                  <a:lnTo>
                    <a:pt x="189" y="89"/>
                  </a:lnTo>
                  <a:lnTo>
                    <a:pt x="189" y="89"/>
                  </a:lnTo>
                  <a:lnTo>
                    <a:pt x="192" y="84"/>
                  </a:lnTo>
                  <a:lnTo>
                    <a:pt x="192" y="78"/>
                  </a:lnTo>
                  <a:lnTo>
                    <a:pt x="192" y="73"/>
                  </a:lnTo>
                  <a:lnTo>
                    <a:pt x="192" y="73"/>
                  </a:lnTo>
                  <a:lnTo>
                    <a:pt x="192" y="60"/>
                  </a:lnTo>
                  <a:lnTo>
                    <a:pt x="194" y="49"/>
                  </a:lnTo>
                  <a:lnTo>
                    <a:pt x="190" y="46"/>
                  </a:lnTo>
                  <a:lnTo>
                    <a:pt x="176" y="29"/>
                  </a:lnTo>
                  <a:lnTo>
                    <a:pt x="176" y="29"/>
                  </a:lnTo>
                  <a:lnTo>
                    <a:pt x="174" y="31"/>
                  </a:lnTo>
                  <a:lnTo>
                    <a:pt x="170" y="33"/>
                  </a:lnTo>
                  <a:lnTo>
                    <a:pt x="169" y="33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7" y="29"/>
                  </a:lnTo>
                  <a:lnTo>
                    <a:pt x="167" y="29"/>
                  </a:lnTo>
                  <a:lnTo>
                    <a:pt x="160" y="26"/>
                  </a:lnTo>
                  <a:lnTo>
                    <a:pt x="154" y="20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38" y="6"/>
                  </a:lnTo>
                  <a:lnTo>
                    <a:pt x="134" y="2"/>
                  </a:lnTo>
                  <a:lnTo>
                    <a:pt x="130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3" y="2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21" y="6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7" y="9"/>
                  </a:lnTo>
                  <a:lnTo>
                    <a:pt x="125" y="11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6" y="15"/>
                  </a:lnTo>
                  <a:lnTo>
                    <a:pt x="114" y="18"/>
                  </a:lnTo>
                  <a:lnTo>
                    <a:pt x="112" y="22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09" y="26"/>
                  </a:lnTo>
                  <a:lnTo>
                    <a:pt x="109" y="27"/>
                  </a:lnTo>
                  <a:lnTo>
                    <a:pt x="110" y="31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0" y="42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3" y="35"/>
                  </a:lnTo>
                  <a:lnTo>
                    <a:pt x="101" y="35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96" y="40"/>
                  </a:lnTo>
                  <a:lnTo>
                    <a:pt x="92" y="40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0" y="42"/>
                  </a:lnTo>
                  <a:lnTo>
                    <a:pt x="76" y="46"/>
                  </a:lnTo>
                  <a:lnTo>
                    <a:pt x="74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1" y="46"/>
                  </a:lnTo>
                  <a:lnTo>
                    <a:pt x="69" y="46"/>
                  </a:lnTo>
                  <a:lnTo>
                    <a:pt x="69" y="42"/>
                  </a:lnTo>
                  <a:lnTo>
                    <a:pt x="69" y="36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5" y="33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1"/>
                  </a:lnTo>
                  <a:lnTo>
                    <a:pt x="60" y="29"/>
                  </a:lnTo>
                  <a:lnTo>
                    <a:pt x="61" y="26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43" y="9"/>
                  </a:lnTo>
                  <a:lnTo>
                    <a:pt x="41" y="13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6"/>
                  </a:lnTo>
                  <a:lnTo>
                    <a:pt x="32" y="31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0" y="42"/>
                  </a:lnTo>
                  <a:lnTo>
                    <a:pt x="40" y="46"/>
                  </a:lnTo>
                  <a:lnTo>
                    <a:pt x="40" y="51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60"/>
                  </a:lnTo>
                  <a:lnTo>
                    <a:pt x="4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4" y="62"/>
                  </a:lnTo>
                  <a:lnTo>
                    <a:pt x="60" y="64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6" y="71"/>
                  </a:lnTo>
                  <a:lnTo>
                    <a:pt x="81" y="73"/>
                  </a:lnTo>
                  <a:lnTo>
                    <a:pt x="89" y="71"/>
                  </a:lnTo>
                  <a:lnTo>
                    <a:pt x="89" y="71"/>
                  </a:lnTo>
                  <a:lnTo>
                    <a:pt x="94" y="69"/>
                  </a:lnTo>
                  <a:lnTo>
                    <a:pt x="96" y="71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5" y="73"/>
                  </a:lnTo>
                  <a:lnTo>
                    <a:pt x="105" y="75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92" y="82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0" y="102"/>
                  </a:lnTo>
                  <a:lnTo>
                    <a:pt x="76" y="102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49" y="104"/>
                  </a:lnTo>
                  <a:lnTo>
                    <a:pt x="45" y="104"/>
                  </a:lnTo>
                  <a:lnTo>
                    <a:pt x="41" y="107"/>
                  </a:lnTo>
                  <a:lnTo>
                    <a:pt x="41" y="107"/>
                  </a:lnTo>
                  <a:lnTo>
                    <a:pt x="38" y="113"/>
                  </a:lnTo>
                  <a:lnTo>
                    <a:pt x="32" y="116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7" y="131"/>
                  </a:lnTo>
                  <a:lnTo>
                    <a:pt x="21" y="133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1" y="144"/>
                  </a:lnTo>
                  <a:lnTo>
                    <a:pt x="7" y="147"/>
                  </a:lnTo>
                  <a:lnTo>
                    <a:pt x="3" y="156"/>
                  </a:lnTo>
                  <a:lnTo>
                    <a:pt x="3" y="156"/>
                  </a:lnTo>
                  <a:lnTo>
                    <a:pt x="0" y="165"/>
                  </a:lnTo>
                  <a:lnTo>
                    <a:pt x="3" y="162"/>
                  </a:lnTo>
                  <a:lnTo>
                    <a:pt x="5" y="176"/>
                  </a:lnTo>
                  <a:lnTo>
                    <a:pt x="12" y="169"/>
                  </a:lnTo>
                  <a:lnTo>
                    <a:pt x="16" y="171"/>
                  </a:lnTo>
                  <a:lnTo>
                    <a:pt x="18" y="175"/>
                  </a:lnTo>
                  <a:lnTo>
                    <a:pt x="25" y="176"/>
                  </a:lnTo>
                  <a:lnTo>
                    <a:pt x="32" y="187"/>
                  </a:lnTo>
                  <a:lnTo>
                    <a:pt x="31" y="193"/>
                  </a:lnTo>
                  <a:lnTo>
                    <a:pt x="31" y="193"/>
                  </a:lnTo>
                  <a:lnTo>
                    <a:pt x="23" y="193"/>
                  </a:lnTo>
                  <a:lnTo>
                    <a:pt x="20" y="196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200"/>
                  </a:lnTo>
                  <a:lnTo>
                    <a:pt x="21" y="207"/>
                  </a:lnTo>
                  <a:lnTo>
                    <a:pt x="21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58" y="204"/>
                  </a:lnTo>
                  <a:lnTo>
                    <a:pt x="58" y="204"/>
                  </a:lnTo>
                  <a:lnTo>
                    <a:pt x="58" y="195"/>
                  </a:lnTo>
                  <a:lnTo>
                    <a:pt x="58" y="189"/>
                  </a:lnTo>
                  <a:lnTo>
                    <a:pt x="58" y="185"/>
                  </a:lnTo>
                  <a:lnTo>
                    <a:pt x="61" y="185"/>
                  </a:lnTo>
                  <a:lnTo>
                    <a:pt x="61" y="185"/>
                  </a:lnTo>
                  <a:lnTo>
                    <a:pt x="65" y="180"/>
                  </a:lnTo>
                  <a:lnTo>
                    <a:pt x="71" y="180"/>
                  </a:lnTo>
                  <a:lnTo>
                    <a:pt x="76" y="178"/>
                  </a:lnTo>
                  <a:lnTo>
                    <a:pt x="101" y="193"/>
                  </a:lnTo>
                  <a:lnTo>
                    <a:pt x="101" y="193"/>
                  </a:lnTo>
                  <a:lnTo>
                    <a:pt x="105" y="195"/>
                  </a:lnTo>
                  <a:lnTo>
                    <a:pt x="107" y="195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3" y="185"/>
                  </a:lnTo>
                  <a:lnTo>
                    <a:pt x="96" y="176"/>
                  </a:lnTo>
                  <a:lnTo>
                    <a:pt x="89" y="165"/>
                  </a:lnTo>
                  <a:lnTo>
                    <a:pt x="89" y="162"/>
                  </a:lnTo>
                  <a:lnTo>
                    <a:pt x="89" y="160"/>
                  </a:lnTo>
                  <a:lnTo>
                    <a:pt x="89" y="160"/>
                  </a:lnTo>
                  <a:lnTo>
                    <a:pt x="92" y="156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101" y="160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5" y="160"/>
                  </a:lnTo>
                  <a:lnTo>
                    <a:pt x="107" y="160"/>
                  </a:lnTo>
                  <a:lnTo>
                    <a:pt x="107" y="160"/>
                  </a:lnTo>
                  <a:lnTo>
                    <a:pt x="96" y="153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9" y="145"/>
                  </a:lnTo>
                  <a:lnTo>
                    <a:pt x="89" y="145"/>
                  </a:lnTo>
                  <a:lnTo>
                    <a:pt x="92" y="145"/>
                  </a:lnTo>
                  <a:lnTo>
                    <a:pt x="96" y="145"/>
                  </a:lnTo>
                  <a:lnTo>
                    <a:pt x="101" y="145"/>
                  </a:lnTo>
                  <a:lnTo>
                    <a:pt x="105" y="145"/>
                  </a:lnTo>
                  <a:lnTo>
                    <a:pt x="105" y="145"/>
                  </a:lnTo>
                  <a:lnTo>
                    <a:pt x="105" y="144"/>
                  </a:lnTo>
                  <a:lnTo>
                    <a:pt x="103" y="138"/>
                  </a:lnTo>
                  <a:lnTo>
                    <a:pt x="101" y="136"/>
                  </a:lnTo>
                  <a:lnTo>
                    <a:pt x="101" y="136"/>
                  </a:lnTo>
                  <a:lnTo>
                    <a:pt x="101" y="136"/>
                  </a:lnTo>
                  <a:lnTo>
                    <a:pt x="105" y="136"/>
                  </a:lnTo>
                  <a:lnTo>
                    <a:pt x="107" y="136"/>
                  </a:lnTo>
                  <a:lnTo>
                    <a:pt x="109" y="138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0" y="136"/>
                  </a:lnTo>
                  <a:lnTo>
                    <a:pt x="110" y="135"/>
                  </a:lnTo>
                  <a:lnTo>
                    <a:pt x="110" y="133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6" y="135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40"/>
                  </a:lnTo>
                  <a:lnTo>
                    <a:pt x="121" y="144"/>
                  </a:lnTo>
                  <a:lnTo>
                    <a:pt x="123" y="144"/>
                  </a:lnTo>
                  <a:lnTo>
                    <a:pt x="123" y="144"/>
                  </a:lnTo>
                  <a:lnTo>
                    <a:pt x="125" y="145"/>
                  </a:lnTo>
                  <a:lnTo>
                    <a:pt x="127" y="147"/>
                  </a:lnTo>
                  <a:lnTo>
                    <a:pt x="127" y="149"/>
                  </a:lnTo>
                  <a:lnTo>
                    <a:pt x="129" y="149"/>
                  </a:lnTo>
                  <a:lnTo>
                    <a:pt x="129" y="149"/>
                  </a:lnTo>
                  <a:lnTo>
                    <a:pt x="130" y="149"/>
                  </a:lnTo>
                  <a:lnTo>
                    <a:pt x="134" y="151"/>
                  </a:lnTo>
                  <a:lnTo>
                    <a:pt x="136" y="151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6"/>
                  </a:lnTo>
                  <a:lnTo>
                    <a:pt x="141" y="158"/>
                  </a:lnTo>
                  <a:lnTo>
                    <a:pt x="143" y="160"/>
                  </a:lnTo>
                  <a:lnTo>
                    <a:pt x="143" y="160"/>
                  </a:lnTo>
                  <a:lnTo>
                    <a:pt x="147" y="156"/>
                  </a:lnTo>
                  <a:lnTo>
                    <a:pt x="150" y="156"/>
                  </a:lnTo>
                  <a:lnTo>
                    <a:pt x="169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2" y="156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7" name="Freeform 69">
              <a:extLst>
                <a:ext uri="{FF2B5EF4-FFF2-40B4-BE49-F238E27FC236}">
                  <a16:creationId xmlns:a16="http://schemas.microsoft.com/office/drawing/2014/main" id="{AF5F1803-9ECA-4A4E-A27C-5B924EE4A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938" y="4456042"/>
              <a:ext cx="563388" cy="447777"/>
            </a:xfrm>
            <a:custGeom>
              <a:avLst/>
              <a:gdLst>
                <a:gd name="T0" fmla="*/ 258 w 389"/>
                <a:gd name="T1" fmla="*/ 300 h 313"/>
                <a:gd name="T2" fmla="*/ 264 w 389"/>
                <a:gd name="T3" fmla="*/ 300 h 313"/>
                <a:gd name="T4" fmla="*/ 287 w 389"/>
                <a:gd name="T5" fmla="*/ 285 h 313"/>
                <a:gd name="T6" fmla="*/ 298 w 389"/>
                <a:gd name="T7" fmla="*/ 289 h 313"/>
                <a:gd name="T8" fmla="*/ 307 w 389"/>
                <a:gd name="T9" fmla="*/ 289 h 313"/>
                <a:gd name="T10" fmla="*/ 327 w 389"/>
                <a:gd name="T11" fmla="*/ 293 h 313"/>
                <a:gd name="T12" fmla="*/ 338 w 389"/>
                <a:gd name="T13" fmla="*/ 291 h 313"/>
                <a:gd name="T14" fmla="*/ 355 w 389"/>
                <a:gd name="T15" fmla="*/ 285 h 313"/>
                <a:gd name="T16" fmla="*/ 364 w 389"/>
                <a:gd name="T17" fmla="*/ 278 h 313"/>
                <a:gd name="T18" fmla="*/ 375 w 389"/>
                <a:gd name="T19" fmla="*/ 251 h 313"/>
                <a:gd name="T20" fmla="*/ 389 w 389"/>
                <a:gd name="T21" fmla="*/ 227 h 313"/>
                <a:gd name="T22" fmla="*/ 355 w 389"/>
                <a:gd name="T23" fmla="*/ 213 h 313"/>
                <a:gd name="T24" fmla="*/ 355 w 389"/>
                <a:gd name="T25" fmla="*/ 193 h 313"/>
                <a:gd name="T26" fmla="*/ 358 w 389"/>
                <a:gd name="T27" fmla="*/ 187 h 313"/>
                <a:gd name="T28" fmla="*/ 382 w 389"/>
                <a:gd name="T29" fmla="*/ 154 h 313"/>
                <a:gd name="T30" fmla="*/ 349 w 389"/>
                <a:gd name="T31" fmla="*/ 125 h 313"/>
                <a:gd name="T32" fmla="*/ 329 w 389"/>
                <a:gd name="T33" fmla="*/ 113 h 313"/>
                <a:gd name="T34" fmla="*/ 306 w 389"/>
                <a:gd name="T35" fmla="*/ 107 h 313"/>
                <a:gd name="T36" fmla="*/ 280 w 389"/>
                <a:gd name="T37" fmla="*/ 104 h 313"/>
                <a:gd name="T38" fmla="*/ 280 w 389"/>
                <a:gd name="T39" fmla="*/ 51 h 313"/>
                <a:gd name="T40" fmla="*/ 269 w 389"/>
                <a:gd name="T41" fmla="*/ 42 h 313"/>
                <a:gd name="T42" fmla="*/ 262 w 389"/>
                <a:gd name="T43" fmla="*/ 36 h 313"/>
                <a:gd name="T44" fmla="*/ 238 w 389"/>
                <a:gd name="T45" fmla="*/ 45 h 313"/>
                <a:gd name="T46" fmla="*/ 227 w 389"/>
                <a:gd name="T47" fmla="*/ 53 h 313"/>
                <a:gd name="T48" fmla="*/ 222 w 389"/>
                <a:gd name="T49" fmla="*/ 53 h 313"/>
                <a:gd name="T50" fmla="*/ 209 w 389"/>
                <a:gd name="T51" fmla="*/ 44 h 313"/>
                <a:gd name="T52" fmla="*/ 200 w 389"/>
                <a:gd name="T53" fmla="*/ 38 h 313"/>
                <a:gd name="T54" fmla="*/ 198 w 389"/>
                <a:gd name="T55" fmla="*/ 35 h 313"/>
                <a:gd name="T56" fmla="*/ 195 w 389"/>
                <a:gd name="T57" fmla="*/ 33 h 313"/>
                <a:gd name="T58" fmla="*/ 168 w 389"/>
                <a:gd name="T59" fmla="*/ 31 h 313"/>
                <a:gd name="T60" fmla="*/ 157 w 389"/>
                <a:gd name="T61" fmla="*/ 22 h 313"/>
                <a:gd name="T62" fmla="*/ 155 w 389"/>
                <a:gd name="T63" fmla="*/ 18 h 313"/>
                <a:gd name="T64" fmla="*/ 129 w 389"/>
                <a:gd name="T65" fmla="*/ 11 h 313"/>
                <a:gd name="T66" fmla="*/ 117 w 389"/>
                <a:gd name="T67" fmla="*/ 7 h 313"/>
                <a:gd name="T68" fmla="*/ 108 w 389"/>
                <a:gd name="T69" fmla="*/ 0 h 313"/>
                <a:gd name="T70" fmla="*/ 102 w 389"/>
                <a:gd name="T71" fmla="*/ 4 h 313"/>
                <a:gd name="T72" fmla="*/ 98 w 389"/>
                <a:gd name="T73" fmla="*/ 13 h 313"/>
                <a:gd name="T74" fmla="*/ 80 w 389"/>
                <a:gd name="T75" fmla="*/ 35 h 313"/>
                <a:gd name="T76" fmla="*/ 71 w 389"/>
                <a:gd name="T77" fmla="*/ 55 h 313"/>
                <a:gd name="T78" fmla="*/ 55 w 389"/>
                <a:gd name="T79" fmla="*/ 58 h 313"/>
                <a:gd name="T80" fmla="*/ 46 w 389"/>
                <a:gd name="T81" fmla="*/ 64 h 313"/>
                <a:gd name="T82" fmla="*/ 33 w 389"/>
                <a:gd name="T83" fmla="*/ 76 h 313"/>
                <a:gd name="T84" fmla="*/ 22 w 389"/>
                <a:gd name="T85" fmla="*/ 84 h 313"/>
                <a:gd name="T86" fmla="*/ 13 w 389"/>
                <a:gd name="T87" fmla="*/ 104 h 313"/>
                <a:gd name="T88" fmla="*/ 0 w 389"/>
                <a:gd name="T89" fmla="*/ 116 h 313"/>
                <a:gd name="T90" fmla="*/ 10 w 389"/>
                <a:gd name="T91" fmla="*/ 154 h 313"/>
                <a:gd name="T92" fmla="*/ 73 w 389"/>
                <a:gd name="T93" fmla="*/ 196 h 313"/>
                <a:gd name="T94" fmla="*/ 93 w 389"/>
                <a:gd name="T95" fmla="*/ 211 h 313"/>
                <a:gd name="T96" fmla="*/ 108 w 389"/>
                <a:gd name="T97" fmla="*/ 234 h 313"/>
                <a:gd name="T98" fmla="*/ 146 w 389"/>
                <a:gd name="T99" fmla="*/ 269 h 313"/>
                <a:gd name="T100" fmla="*/ 186 w 389"/>
                <a:gd name="T101" fmla="*/ 269 h 313"/>
                <a:gd name="T102" fmla="*/ 191 w 389"/>
                <a:gd name="T103" fmla="*/ 267 h 313"/>
                <a:gd name="T104" fmla="*/ 198 w 389"/>
                <a:gd name="T105" fmla="*/ 274 h 313"/>
                <a:gd name="T106" fmla="*/ 198 w 389"/>
                <a:gd name="T107" fmla="*/ 313 h 313"/>
                <a:gd name="T108" fmla="*/ 226 w 389"/>
                <a:gd name="T109" fmla="*/ 305 h 313"/>
                <a:gd name="T110" fmla="*/ 255 w 389"/>
                <a:gd name="T111" fmla="*/ 300 h 313"/>
                <a:gd name="T112" fmla="*/ 255 w 389"/>
                <a:gd name="T113" fmla="*/ 300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9" h="313">
                  <a:moveTo>
                    <a:pt x="255" y="300"/>
                  </a:moveTo>
                  <a:lnTo>
                    <a:pt x="255" y="300"/>
                  </a:lnTo>
                  <a:lnTo>
                    <a:pt x="258" y="300"/>
                  </a:lnTo>
                  <a:lnTo>
                    <a:pt x="262" y="300"/>
                  </a:lnTo>
                  <a:lnTo>
                    <a:pt x="264" y="300"/>
                  </a:lnTo>
                  <a:lnTo>
                    <a:pt x="264" y="300"/>
                  </a:lnTo>
                  <a:lnTo>
                    <a:pt x="275" y="291"/>
                  </a:lnTo>
                  <a:lnTo>
                    <a:pt x="284" y="287"/>
                  </a:lnTo>
                  <a:lnTo>
                    <a:pt x="287" y="285"/>
                  </a:lnTo>
                  <a:lnTo>
                    <a:pt x="289" y="285"/>
                  </a:lnTo>
                  <a:lnTo>
                    <a:pt x="289" y="285"/>
                  </a:lnTo>
                  <a:lnTo>
                    <a:pt x="298" y="289"/>
                  </a:lnTo>
                  <a:lnTo>
                    <a:pt x="302" y="289"/>
                  </a:lnTo>
                  <a:lnTo>
                    <a:pt x="307" y="289"/>
                  </a:lnTo>
                  <a:lnTo>
                    <a:pt x="307" y="289"/>
                  </a:lnTo>
                  <a:lnTo>
                    <a:pt x="313" y="289"/>
                  </a:lnTo>
                  <a:lnTo>
                    <a:pt x="318" y="291"/>
                  </a:lnTo>
                  <a:lnTo>
                    <a:pt x="327" y="293"/>
                  </a:lnTo>
                  <a:lnTo>
                    <a:pt x="327" y="293"/>
                  </a:lnTo>
                  <a:lnTo>
                    <a:pt x="331" y="293"/>
                  </a:lnTo>
                  <a:lnTo>
                    <a:pt x="338" y="291"/>
                  </a:lnTo>
                  <a:lnTo>
                    <a:pt x="349" y="287"/>
                  </a:lnTo>
                  <a:lnTo>
                    <a:pt x="349" y="287"/>
                  </a:lnTo>
                  <a:lnTo>
                    <a:pt x="355" y="285"/>
                  </a:lnTo>
                  <a:lnTo>
                    <a:pt x="360" y="285"/>
                  </a:lnTo>
                  <a:lnTo>
                    <a:pt x="360" y="283"/>
                  </a:lnTo>
                  <a:lnTo>
                    <a:pt x="364" y="278"/>
                  </a:lnTo>
                  <a:lnTo>
                    <a:pt x="362" y="269"/>
                  </a:lnTo>
                  <a:lnTo>
                    <a:pt x="369" y="258"/>
                  </a:lnTo>
                  <a:lnTo>
                    <a:pt x="375" y="251"/>
                  </a:lnTo>
                  <a:lnTo>
                    <a:pt x="382" y="247"/>
                  </a:lnTo>
                  <a:lnTo>
                    <a:pt x="387" y="247"/>
                  </a:lnTo>
                  <a:lnTo>
                    <a:pt x="389" y="227"/>
                  </a:lnTo>
                  <a:lnTo>
                    <a:pt x="375" y="223"/>
                  </a:lnTo>
                  <a:lnTo>
                    <a:pt x="355" y="213"/>
                  </a:lnTo>
                  <a:lnTo>
                    <a:pt x="355" y="213"/>
                  </a:lnTo>
                  <a:lnTo>
                    <a:pt x="358" y="205"/>
                  </a:lnTo>
                  <a:lnTo>
                    <a:pt x="358" y="200"/>
                  </a:lnTo>
                  <a:lnTo>
                    <a:pt x="355" y="193"/>
                  </a:lnTo>
                  <a:lnTo>
                    <a:pt x="355" y="193"/>
                  </a:lnTo>
                  <a:lnTo>
                    <a:pt x="355" y="191"/>
                  </a:lnTo>
                  <a:lnTo>
                    <a:pt x="358" y="187"/>
                  </a:lnTo>
                  <a:lnTo>
                    <a:pt x="367" y="178"/>
                  </a:lnTo>
                  <a:lnTo>
                    <a:pt x="384" y="167"/>
                  </a:lnTo>
                  <a:lnTo>
                    <a:pt x="382" y="154"/>
                  </a:lnTo>
                  <a:lnTo>
                    <a:pt x="360" y="151"/>
                  </a:lnTo>
                  <a:lnTo>
                    <a:pt x="358" y="134"/>
                  </a:lnTo>
                  <a:lnTo>
                    <a:pt x="349" y="125"/>
                  </a:lnTo>
                  <a:lnTo>
                    <a:pt x="345" y="116"/>
                  </a:lnTo>
                  <a:lnTo>
                    <a:pt x="345" y="116"/>
                  </a:lnTo>
                  <a:lnTo>
                    <a:pt x="329" y="113"/>
                  </a:lnTo>
                  <a:lnTo>
                    <a:pt x="316" y="107"/>
                  </a:lnTo>
                  <a:lnTo>
                    <a:pt x="306" y="107"/>
                  </a:lnTo>
                  <a:lnTo>
                    <a:pt x="306" y="107"/>
                  </a:lnTo>
                  <a:lnTo>
                    <a:pt x="298" y="107"/>
                  </a:lnTo>
                  <a:lnTo>
                    <a:pt x="289" y="104"/>
                  </a:lnTo>
                  <a:lnTo>
                    <a:pt x="280" y="104"/>
                  </a:lnTo>
                  <a:lnTo>
                    <a:pt x="291" y="84"/>
                  </a:lnTo>
                  <a:lnTo>
                    <a:pt x="287" y="51"/>
                  </a:lnTo>
                  <a:lnTo>
                    <a:pt x="280" y="51"/>
                  </a:lnTo>
                  <a:lnTo>
                    <a:pt x="280" y="51"/>
                  </a:lnTo>
                  <a:lnTo>
                    <a:pt x="275" y="45"/>
                  </a:lnTo>
                  <a:lnTo>
                    <a:pt x="269" y="42"/>
                  </a:lnTo>
                  <a:lnTo>
                    <a:pt x="264" y="38"/>
                  </a:lnTo>
                  <a:lnTo>
                    <a:pt x="264" y="38"/>
                  </a:lnTo>
                  <a:lnTo>
                    <a:pt x="262" y="36"/>
                  </a:lnTo>
                  <a:lnTo>
                    <a:pt x="257" y="36"/>
                  </a:lnTo>
                  <a:lnTo>
                    <a:pt x="246" y="40"/>
                  </a:lnTo>
                  <a:lnTo>
                    <a:pt x="238" y="45"/>
                  </a:lnTo>
                  <a:lnTo>
                    <a:pt x="233" y="49"/>
                  </a:lnTo>
                  <a:lnTo>
                    <a:pt x="233" y="49"/>
                  </a:lnTo>
                  <a:lnTo>
                    <a:pt x="227" y="53"/>
                  </a:lnTo>
                  <a:lnTo>
                    <a:pt x="224" y="53"/>
                  </a:lnTo>
                  <a:lnTo>
                    <a:pt x="224" y="53"/>
                  </a:lnTo>
                  <a:lnTo>
                    <a:pt x="222" y="53"/>
                  </a:lnTo>
                  <a:lnTo>
                    <a:pt x="218" y="49"/>
                  </a:lnTo>
                  <a:lnTo>
                    <a:pt x="215" y="45"/>
                  </a:lnTo>
                  <a:lnTo>
                    <a:pt x="209" y="44"/>
                  </a:lnTo>
                  <a:lnTo>
                    <a:pt x="209" y="44"/>
                  </a:lnTo>
                  <a:lnTo>
                    <a:pt x="202" y="40"/>
                  </a:lnTo>
                  <a:lnTo>
                    <a:pt x="200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5" y="33"/>
                  </a:lnTo>
                  <a:lnTo>
                    <a:pt x="195" y="33"/>
                  </a:lnTo>
                  <a:lnTo>
                    <a:pt x="182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2" y="29"/>
                  </a:lnTo>
                  <a:lnTo>
                    <a:pt x="158" y="25"/>
                  </a:lnTo>
                  <a:lnTo>
                    <a:pt x="157" y="22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5" y="18"/>
                  </a:lnTo>
                  <a:lnTo>
                    <a:pt x="153" y="16"/>
                  </a:lnTo>
                  <a:lnTo>
                    <a:pt x="146" y="15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4" y="9"/>
                  </a:lnTo>
                  <a:lnTo>
                    <a:pt x="117" y="7"/>
                  </a:lnTo>
                  <a:lnTo>
                    <a:pt x="109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4" y="0"/>
                  </a:lnTo>
                  <a:lnTo>
                    <a:pt x="102" y="2"/>
                  </a:lnTo>
                  <a:lnTo>
                    <a:pt x="102" y="4"/>
                  </a:lnTo>
                  <a:lnTo>
                    <a:pt x="100" y="9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89" y="2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7" y="44"/>
                  </a:lnTo>
                  <a:lnTo>
                    <a:pt x="73" y="53"/>
                  </a:lnTo>
                  <a:lnTo>
                    <a:pt x="71" y="55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55" y="58"/>
                  </a:lnTo>
                  <a:lnTo>
                    <a:pt x="49" y="62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37" y="67"/>
                  </a:lnTo>
                  <a:lnTo>
                    <a:pt x="35" y="73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1" y="80"/>
                  </a:lnTo>
                  <a:lnTo>
                    <a:pt x="22" y="84"/>
                  </a:lnTo>
                  <a:lnTo>
                    <a:pt x="13" y="94"/>
                  </a:lnTo>
                  <a:lnTo>
                    <a:pt x="11" y="94"/>
                  </a:lnTo>
                  <a:lnTo>
                    <a:pt x="13" y="104"/>
                  </a:lnTo>
                  <a:lnTo>
                    <a:pt x="6" y="104"/>
                  </a:lnTo>
                  <a:lnTo>
                    <a:pt x="8" y="113"/>
                  </a:lnTo>
                  <a:lnTo>
                    <a:pt x="0" y="116"/>
                  </a:lnTo>
                  <a:lnTo>
                    <a:pt x="10" y="127"/>
                  </a:lnTo>
                  <a:lnTo>
                    <a:pt x="6" y="144"/>
                  </a:lnTo>
                  <a:lnTo>
                    <a:pt x="10" y="154"/>
                  </a:lnTo>
                  <a:lnTo>
                    <a:pt x="13" y="169"/>
                  </a:lnTo>
                  <a:lnTo>
                    <a:pt x="42" y="185"/>
                  </a:lnTo>
                  <a:lnTo>
                    <a:pt x="73" y="196"/>
                  </a:lnTo>
                  <a:lnTo>
                    <a:pt x="73" y="196"/>
                  </a:lnTo>
                  <a:lnTo>
                    <a:pt x="84" y="205"/>
                  </a:lnTo>
                  <a:lnTo>
                    <a:pt x="93" y="211"/>
                  </a:lnTo>
                  <a:lnTo>
                    <a:pt x="100" y="218"/>
                  </a:lnTo>
                  <a:lnTo>
                    <a:pt x="100" y="218"/>
                  </a:lnTo>
                  <a:lnTo>
                    <a:pt x="108" y="234"/>
                  </a:lnTo>
                  <a:lnTo>
                    <a:pt x="111" y="249"/>
                  </a:lnTo>
                  <a:lnTo>
                    <a:pt x="140" y="251"/>
                  </a:lnTo>
                  <a:lnTo>
                    <a:pt x="146" y="269"/>
                  </a:lnTo>
                  <a:lnTo>
                    <a:pt x="182" y="269"/>
                  </a:lnTo>
                  <a:lnTo>
                    <a:pt x="182" y="269"/>
                  </a:lnTo>
                  <a:lnTo>
                    <a:pt x="186" y="269"/>
                  </a:lnTo>
                  <a:lnTo>
                    <a:pt x="187" y="267"/>
                  </a:lnTo>
                  <a:lnTo>
                    <a:pt x="191" y="267"/>
                  </a:lnTo>
                  <a:lnTo>
                    <a:pt x="191" y="267"/>
                  </a:lnTo>
                  <a:lnTo>
                    <a:pt x="195" y="269"/>
                  </a:lnTo>
                  <a:lnTo>
                    <a:pt x="195" y="271"/>
                  </a:lnTo>
                  <a:lnTo>
                    <a:pt x="198" y="274"/>
                  </a:lnTo>
                  <a:lnTo>
                    <a:pt x="191" y="282"/>
                  </a:lnTo>
                  <a:lnTo>
                    <a:pt x="191" y="309"/>
                  </a:lnTo>
                  <a:lnTo>
                    <a:pt x="198" y="313"/>
                  </a:lnTo>
                  <a:lnTo>
                    <a:pt x="206" y="303"/>
                  </a:lnTo>
                  <a:lnTo>
                    <a:pt x="218" y="300"/>
                  </a:lnTo>
                  <a:lnTo>
                    <a:pt x="226" y="305"/>
                  </a:lnTo>
                  <a:lnTo>
                    <a:pt x="227" y="305"/>
                  </a:lnTo>
                  <a:lnTo>
                    <a:pt x="227" y="302"/>
                  </a:lnTo>
                  <a:lnTo>
                    <a:pt x="255" y="300"/>
                  </a:lnTo>
                  <a:lnTo>
                    <a:pt x="255" y="300"/>
                  </a:lnTo>
                  <a:lnTo>
                    <a:pt x="255" y="300"/>
                  </a:lnTo>
                  <a:lnTo>
                    <a:pt x="255" y="3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8" name="Freeform 70">
              <a:extLst>
                <a:ext uri="{FF2B5EF4-FFF2-40B4-BE49-F238E27FC236}">
                  <a16:creationId xmlns:a16="http://schemas.microsoft.com/office/drawing/2014/main" id="{422884DF-8F7A-C04F-84E9-282B31220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1455" y="4973918"/>
              <a:ext cx="406972" cy="313301"/>
            </a:xfrm>
            <a:custGeom>
              <a:avLst/>
              <a:gdLst>
                <a:gd name="T0" fmla="*/ 159 w 281"/>
                <a:gd name="T1" fmla="*/ 194 h 219"/>
                <a:gd name="T2" fmla="*/ 178 w 281"/>
                <a:gd name="T3" fmla="*/ 183 h 219"/>
                <a:gd name="T4" fmla="*/ 207 w 281"/>
                <a:gd name="T5" fmla="*/ 178 h 219"/>
                <a:gd name="T6" fmla="*/ 225 w 281"/>
                <a:gd name="T7" fmla="*/ 170 h 219"/>
                <a:gd name="T8" fmla="*/ 232 w 281"/>
                <a:gd name="T9" fmla="*/ 158 h 219"/>
                <a:gd name="T10" fmla="*/ 247 w 281"/>
                <a:gd name="T11" fmla="*/ 159 h 219"/>
                <a:gd name="T12" fmla="*/ 256 w 281"/>
                <a:gd name="T13" fmla="*/ 158 h 219"/>
                <a:gd name="T14" fmla="*/ 257 w 281"/>
                <a:gd name="T15" fmla="*/ 154 h 219"/>
                <a:gd name="T16" fmla="*/ 256 w 281"/>
                <a:gd name="T17" fmla="*/ 139 h 219"/>
                <a:gd name="T18" fmla="*/ 267 w 281"/>
                <a:gd name="T19" fmla="*/ 136 h 219"/>
                <a:gd name="T20" fmla="*/ 277 w 281"/>
                <a:gd name="T21" fmla="*/ 132 h 219"/>
                <a:gd name="T22" fmla="*/ 279 w 281"/>
                <a:gd name="T23" fmla="*/ 114 h 219"/>
                <a:gd name="T24" fmla="*/ 281 w 281"/>
                <a:gd name="T25" fmla="*/ 90 h 219"/>
                <a:gd name="T26" fmla="*/ 254 w 281"/>
                <a:gd name="T27" fmla="*/ 50 h 219"/>
                <a:gd name="T28" fmla="*/ 236 w 281"/>
                <a:gd name="T29" fmla="*/ 29 h 219"/>
                <a:gd name="T30" fmla="*/ 216 w 281"/>
                <a:gd name="T31" fmla="*/ 36 h 219"/>
                <a:gd name="T32" fmla="*/ 181 w 281"/>
                <a:gd name="T33" fmla="*/ 41 h 219"/>
                <a:gd name="T34" fmla="*/ 150 w 281"/>
                <a:gd name="T35" fmla="*/ 50 h 219"/>
                <a:gd name="T36" fmla="*/ 127 w 281"/>
                <a:gd name="T37" fmla="*/ 30 h 219"/>
                <a:gd name="T38" fmla="*/ 85 w 281"/>
                <a:gd name="T39" fmla="*/ 9 h 219"/>
                <a:gd name="T40" fmla="*/ 41 w 281"/>
                <a:gd name="T41" fmla="*/ 16 h 219"/>
                <a:gd name="T42" fmla="*/ 3 w 281"/>
                <a:gd name="T43" fmla="*/ 18 h 219"/>
                <a:gd name="T44" fmla="*/ 1 w 281"/>
                <a:gd name="T45" fmla="*/ 29 h 219"/>
                <a:gd name="T46" fmla="*/ 10 w 281"/>
                <a:gd name="T47" fmla="*/ 72 h 219"/>
                <a:gd name="T48" fmla="*/ 21 w 281"/>
                <a:gd name="T49" fmla="*/ 150 h 219"/>
                <a:gd name="T50" fmla="*/ 36 w 281"/>
                <a:gd name="T51" fmla="*/ 170 h 219"/>
                <a:gd name="T52" fmla="*/ 41 w 281"/>
                <a:gd name="T53" fmla="*/ 169 h 219"/>
                <a:gd name="T54" fmla="*/ 43 w 281"/>
                <a:gd name="T55" fmla="*/ 163 h 219"/>
                <a:gd name="T56" fmla="*/ 47 w 281"/>
                <a:gd name="T57" fmla="*/ 158 h 219"/>
                <a:gd name="T58" fmla="*/ 52 w 281"/>
                <a:gd name="T59" fmla="*/ 154 h 219"/>
                <a:gd name="T60" fmla="*/ 58 w 281"/>
                <a:gd name="T61" fmla="*/ 154 h 219"/>
                <a:gd name="T62" fmla="*/ 65 w 281"/>
                <a:gd name="T63" fmla="*/ 163 h 219"/>
                <a:gd name="T64" fmla="*/ 63 w 281"/>
                <a:gd name="T65" fmla="*/ 170 h 219"/>
                <a:gd name="T66" fmla="*/ 61 w 281"/>
                <a:gd name="T67" fmla="*/ 174 h 219"/>
                <a:gd name="T68" fmla="*/ 67 w 281"/>
                <a:gd name="T69" fmla="*/ 176 h 219"/>
                <a:gd name="T70" fmla="*/ 70 w 281"/>
                <a:gd name="T71" fmla="*/ 178 h 219"/>
                <a:gd name="T72" fmla="*/ 74 w 281"/>
                <a:gd name="T73" fmla="*/ 192 h 219"/>
                <a:gd name="T74" fmla="*/ 81 w 281"/>
                <a:gd name="T75" fmla="*/ 192 h 219"/>
                <a:gd name="T76" fmla="*/ 87 w 281"/>
                <a:gd name="T77" fmla="*/ 192 h 219"/>
                <a:gd name="T78" fmla="*/ 99 w 281"/>
                <a:gd name="T79" fmla="*/ 196 h 219"/>
                <a:gd name="T80" fmla="*/ 105 w 281"/>
                <a:gd name="T81" fmla="*/ 199 h 219"/>
                <a:gd name="T82" fmla="*/ 112 w 281"/>
                <a:gd name="T83" fmla="*/ 196 h 219"/>
                <a:gd name="T84" fmla="*/ 118 w 281"/>
                <a:gd name="T85" fmla="*/ 194 h 219"/>
                <a:gd name="T86" fmla="*/ 127 w 281"/>
                <a:gd name="T87" fmla="*/ 196 h 219"/>
                <a:gd name="T88" fmla="*/ 134 w 281"/>
                <a:gd name="T89" fmla="*/ 194 h 219"/>
                <a:gd name="T90" fmla="*/ 147 w 281"/>
                <a:gd name="T91" fmla="*/ 201 h 219"/>
                <a:gd name="T92" fmla="*/ 150 w 281"/>
                <a:gd name="T93" fmla="*/ 209 h 219"/>
                <a:gd name="T94" fmla="*/ 167 w 281"/>
                <a:gd name="T95" fmla="*/ 219 h 219"/>
                <a:gd name="T96" fmla="*/ 172 w 281"/>
                <a:gd name="T97" fmla="*/ 212 h 219"/>
                <a:gd name="T98" fmla="*/ 172 w 281"/>
                <a:gd name="T99" fmla="*/ 21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1" h="219">
                  <a:moveTo>
                    <a:pt x="172" y="210"/>
                  </a:moveTo>
                  <a:lnTo>
                    <a:pt x="172" y="210"/>
                  </a:lnTo>
                  <a:lnTo>
                    <a:pt x="159" y="194"/>
                  </a:lnTo>
                  <a:lnTo>
                    <a:pt x="159" y="194"/>
                  </a:lnTo>
                  <a:lnTo>
                    <a:pt x="168" y="189"/>
                  </a:lnTo>
                  <a:lnTo>
                    <a:pt x="178" y="183"/>
                  </a:lnTo>
                  <a:lnTo>
                    <a:pt x="185" y="181"/>
                  </a:lnTo>
                  <a:lnTo>
                    <a:pt x="185" y="181"/>
                  </a:lnTo>
                  <a:lnTo>
                    <a:pt x="207" y="178"/>
                  </a:lnTo>
                  <a:lnTo>
                    <a:pt x="216" y="174"/>
                  </a:lnTo>
                  <a:lnTo>
                    <a:pt x="219" y="172"/>
                  </a:lnTo>
                  <a:lnTo>
                    <a:pt x="225" y="170"/>
                  </a:lnTo>
                  <a:lnTo>
                    <a:pt x="225" y="170"/>
                  </a:lnTo>
                  <a:lnTo>
                    <a:pt x="228" y="161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47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7" y="154"/>
                  </a:lnTo>
                  <a:lnTo>
                    <a:pt x="256" y="147"/>
                  </a:lnTo>
                  <a:lnTo>
                    <a:pt x="256" y="141"/>
                  </a:lnTo>
                  <a:lnTo>
                    <a:pt x="256" y="139"/>
                  </a:lnTo>
                  <a:lnTo>
                    <a:pt x="257" y="138"/>
                  </a:lnTo>
                  <a:lnTo>
                    <a:pt x="257" y="138"/>
                  </a:lnTo>
                  <a:lnTo>
                    <a:pt x="267" y="136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7" y="132"/>
                  </a:lnTo>
                  <a:lnTo>
                    <a:pt x="274" y="125"/>
                  </a:lnTo>
                  <a:lnTo>
                    <a:pt x="279" y="120"/>
                  </a:lnTo>
                  <a:lnTo>
                    <a:pt x="279" y="114"/>
                  </a:lnTo>
                  <a:lnTo>
                    <a:pt x="268" y="101"/>
                  </a:lnTo>
                  <a:lnTo>
                    <a:pt x="277" y="98"/>
                  </a:lnTo>
                  <a:lnTo>
                    <a:pt x="281" y="90"/>
                  </a:lnTo>
                  <a:lnTo>
                    <a:pt x="270" y="87"/>
                  </a:lnTo>
                  <a:lnTo>
                    <a:pt x="261" y="58"/>
                  </a:lnTo>
                  <a:lnTo>
                    <a:pt x="254" y="50"/>
                  </a:lnTo>
                  <a:lnTo>
                    <a:pt x="248" y="45"/>
                  </a:lnTo>
                  <a:lnTo>
                    <a:pt x="243" y="43"/>
                  </a:lnTo>
                  <a:lnTo>
                    <a:pt x="236" y="29"/>
                  </a:lnTo>
                  <a:lnTo>
                    <a:pt x="234" y="29"/>
                  </a:lnTo>
                  <a:lnTo>
                    <a:pt x="216" y="34"/>
                  </a:lnTo>
                  <a:lnTo>
                    <a:pt x="216" y="36"/>
                  </a:lnTo>
                  <a:lnTo>
                    <a:pt x="205" y="36"/>
                  </a:lnTo>
                  <a:lnTo>
                    <a:pt x="185" y="36"/>
                  </a:lnTo>
                  <a:lnTo>
                    <a:pt x="181" y="41"/>
                  </a:lnTo>
                  <a:lnTo>
                    <a:pt x="174" y="34"/>
                  </a:lnTo>
                  <a:lnTo>
                    <a:pt x="163" y="36"/>
                  </a:lnTo>
                  <a:lnTo>
                    <a:pt x="150" y="50"/>
                  </a:lnTo>
                  <a:lnTo>
                    <a:pt x="141" y="56"/>
                  </a:lnTo>
                  <a:lnTo>
                    <a:pt x="127" y="41"/>
                  </a:lnTo>
                  <a:lnTo>
                    <a:pt x="127" y="30"/>
                  </a:lnTo>
                  <a:lnTo>
                    <a:pt x="112" y="12"/>
                  </a:lnTo>
                  <a:lnTo>
                    <a:pt x="107" y="0"/>
                  </a:lnTo>
                  <a:lnTo>
                    <a:pt x="85" y="9"/>
                  </a:lnTo>
                  <a:lnTo>
                    <a:pt x="81" y="7"/>
                  </a:lnTo>
                  <a:lnTo>
                    <a:pt x="67" y="12"/>
                  </a:lnTo>
                  <a:lnTo>
                    <a:pt x="41" y="16"/>
                  </a:lnTo>
                  <a:lnTo>
                    <a:pt x="18" y="18"/>
                  </a:lnTo>
                  <a:lnTo>
                    <a:pt x="14" y="12"/>
                  </a:lnTo>
                  <a:lnTo>
                    <a:pt x="3" y="18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5" y="45"/>
                  </a:lnTo>
                  <a:lnTo>
                    <a:pt x="10" y="72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21" y="150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8" y="170"/>
                  </a:lnTo>
                  <a:lnTo>
                    <a:pt x="41" y="169"/>
                  </a:lnTo>
                  <a:lnTo>
                    <a:pt x="43" y="167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5" y="159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47" y="158"/>
                  </a:lnTo>
                  <a:lnTo>
                    <a:pt x="49" y="156"/>
                  </a:lnTo>
                  <a:lnTo>
                    <a:pt x="52" y="154"/>
                  </a:lnTo>
                  <a:lnTo>
                    <a:pt x="56" y="154"/>
                  </a:lnTo>
                  <a:lnTo>
                    <a:pt x="58" y="154"/>
                  </a:lnTo>
                  <a:lnTo>
                    <a:pt x="58" y="154"/>
                  </a:lnTo>
                  <a:lnTo>
                    <a:pt x="63" y="159"/>
                  </a:lnTo>
                  <a:lnTo>
                    <a:pt x="65" y="161"/>
                  </a:lnTo>
                  <a:lnTo>
                    <a:pt x="65" y="163"/>
                  </a:lnTo>
                  <a:lnTo>
                    <a:pt x="65" y="163"/>
                  </a:lnTo>
                  <a:lnTo>
                    <a:pt x="65" y="169"/>
                  </a:lnTo>
                  <a:lnTo>
                    <a:pt x="63" y="170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1" y="174"/>
                  </a:lnTo>
                  <a:lnTo>
                    <a:pt x="63" y="176"/>
                  </a:lnTo>
                  <a:lnTo>
                    <a:pt x="67" y="176"/>
                  </a:lnTo>
                  <a:lnTo>
                    <a:pt x="69" y="176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89"/>
                  </a:lnTo>
                  <a:lnTo>
                    <a:pt x="72" y="192"/>
                  </a:lnTo>
                  <a:lnTo>
                    <a:pt x="74" y="192"/>
                  </a:lnTo>
                  <a:lnTo>
                    <a:pt x="78" y="192"/>
                  </a:lnTo>
                  <a:lnTo>
                    <a:pt x="78" y="192"/>
                  </a:lnTo>
                  <a:lnTo>
                    <a:pt x="81" y="192"/>
                  </a:lnTo>
                  <a:lnTo>
                    <a:pt x="85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92" y="196"/>
                  </a:lnTo>
                  <a:lnTo>
                    <a:pt x="99" y="196"/>
                  </a:lnTo>
                  <a:lnTo>
                    <a:pt x="99" y="196"/>
                  </a:lnTo>
                  <a:lnTo>
                    <a:pt x="101" y="198"/>
                  </a:lnTo>
                  <a:lnTo>
                    <a:pt x="103" y="199"/>
                  </a:lnTo>
                  <a:lnTo>
                    <a:pt x="105" y="199"/>
                  </a:lnTo>
                  <a:lnTo>
                    <a:pt x="107" y="199"/>
                  </a:lnTo>
                  <a:lnTo>
                    <a:pt x="107" y="199"/>
                  </a:lnTo>
                  <a:lnTo>
                    <a:pt x="112" y="196"/>
                  </a:lnTo>
                  <a:lnTo>
                    <a:pt x="114" y="194"/>
                  </a:lnTo>
                  <a:lnTo>
                    <a:pt x="118" y="194"/>
                  </a:lnTo>
                  <a:lnTo>
                    <a:pt x="118" y="194"/>
                  </a:lnTo>
                  <a:lnTo>
                    <a:pt x="123" y="196"/>
                  </a:lnTo>
                  <a:lnTo>
                    <a:pt x="125" y="196"/>
                  </a:lnTo>
                  <a:lnTo>
                    <a:pt x="127" y="196"/>
                  </a:lnTo>
                  <a:lnTo>
                    <a:pt x="127" y="196"/>
                  </a:lnTo>
                  <a:lnTo>
                    <a:pt x="132" y="194"/>
                  </a:lnTo>
                  <a:lnTo>
                    <a:pt x="134" y="194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47" y="201"/>
                  </a:lnTo>
                  <a:lnTo>
                    <a:pt x="150" y="203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54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70" y="216"/>
                  </a:lnTo>
                  <a:lnTo>
                    <a:pt x="172" y="212"/>
                  </a:lnTo>
                  <a:lnTo>
                    <a:pt x="172" y="212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lnTo>
                    <a:pt x="172" y="2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9" name="Freeform 71">
              <a:extLst>
                <a:ext uri="{FF2B5EF4-FFF2-40B4-BE49-F238E27FC236}">
                  <a16:creationId xmlns:a16="http://schemas.microsoft.com/office/drawing/2014/main" id="{B29B994F-1E52-9941-BD00-F1352AE0E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14" y="3712131"/>
              <a:ext cx="173796" cy="174533"/>
            </a:xfrm>
            <a:custGeom>
              <a:avLst/>
              <a:gdLst>
                <a:gd name="T0" fmla="*/ 51 w 120"/>
                <a:gd name="T1" fmla="*/ 122 h 122"/>
                <a:gd name="T2" fmla="*/ 56 w 120"/>
                <a:gd name="T3" fmla="*/ 118 h 122"/>
                <a:gd name="T4" fmla="*/ 60 w 120"/>
                <a:gd name="T5" fmla="*/ 122 h 122"/>
                <a:gd name="T6" fmla="*/ 67 w 120"/>
                <a:gd name="T7" fmla="*/ 118 h 122"/>
                <a:gd name="T8" fmla="*/ 74 w 120"/>
                <a:gd name="T9" fmla="*/ 115 h 122"/>
                <a:gd name="T10" fmla="*/ 85 w 120"/>
                <a:gd name="T11" fmla="*/ 111 h 122"/>
                <a:gd name="T12" fmla="*/ 85 w 120"/>
                <a:gd name="T13" fmla="*/ 102 h 122"/>
                <a:gd name="T14" fmla="*/ 91 w 120"/>
                <a:gd name="T15" fmla="*/ 100 h 122"/>
                <a:gd name="T16" fmla="*/ 104 w 120"/>
                <a:gd name="T17" fmla="*/ 106 h 122"/>
                <a:gd name="T18" fmla="*/ 105 w 120"/>
                <a:gd name="T19" fmla="*/ 102 h 122"/>
                <a:gd name="T20" fmla="*/ 107 w 120"/>
                <a:gd name="T21" fmla="*/ 98 h 122"/>
                <a:gd name="T22" fmla="*/ 109 w 120"/>
                <a:gd name="T23" fmla="*/ 98 h 122"/>
                <a:gd name="T24" fmla="*/ 109 w 120"/>
                <a:gd name="T25" fmla="*/ 88 h 122"/>
                <a:gd name="T26" fmla="*/ 107 w 120"/>
                <a:gd name="T27" fmla="*/ 86 h 122"/>
                <a:gd name="T28" fmla="*/ 107 w 120"/>
                <a:gd name="T29" fmla="*/ 78 h 122"/>
                <a:gd name="T30" fmla="*/ 120 w 120"/>
                <a:gd name="T31" fmla="*/ 66 h 122"/>
                <a:gd name="T32" fmla="*/ 120 w 120"/>
                <a:gd name="T33" fmla="*/ 57 h 122"/>
                <a:gd name="T34" fmla="*/ 116 w 120"/>
                <a:gd name="T35" fmla="*/ 44 h 122"/>
                <a:gd name="T36" fmla="*/ 120 w 120"/>
                <a:gd name="T37" fmla="*/ 40 h 122"/>
                <a:gd name="T38" fmla="*/ 118 w 120"/>
                <a:gd name="T39" fmla="*/ 35 h 122"/>
                <a:gd name="T40" fmla="*/ 114 w 120"/>
                <a:gd name="T41" fmla="*/ 31 h 122"/>
                <a:gd name="T42" fmla="*/ 107 w 120"/>
                <a:gd name="T43" fmla="*/ 31 h 122"/>
                <a:gd name="T44" fmla="*/ 102 w 120"/>
                <a:gd name="T45" fmla="*/ 31 h 122"/>
                <a:gd name="T46" fmla="*/ 94 w 120"/>
                <a:gd name="T47" fmla="*/ 31 h 122"/>
                <a:gd name="T48" fmla="*/ 76 w 120"/>
                <a:gd name="T49" fmla="*/ 31 h 122"/>
                <a:gd name="T50" fmla="*/ 76 w 120"/>
                <a:gd name="T51" fmla="*/ 31 h 122"/>
                <a:gd name="T52" fmla="*/ 64 w 120"/>
                <a:gd name="T53" fmla="*/ 29 h 122"/>
                <a:gd name="T54" fmla="*/ 49 w 120"/>
                <a:gd name="T55" fmla="*/ 20 h 122"/>
                <a:gd name="T56" fmla="*/ 45 w 120"/>
                <a:gd name="T57" fmla="*/ 9 h 122"/>
                <a:gd name="T58" fmla="*/ 45 w 120"/>
                <a:gd name="T59" fmla="*/ 2 h 122"/>
                <a:gd name="T60" fmla="*/ 36 w 120"/>
                <a:gd name="T61" fmla="*/ 2 h 122"/>
                <a:gd name="T62" fmla="*/ 33 w 120"/>
                <a:gd name="T63" fmla="*/ 8 h 122"/>
                <a:gd name="T64" fmla="*/ 25 w 120"/>
                <a:gd name="T65" fmla="*/ 19 h 122"/>
                <a:gd name="T66" fmla="*/ 22 w 120"/>
                <a:gd name="T67" fmla="*/ 20 h 122"/>
                <a:gd name="T68" fmla="*/ 16 w 120"/>
                <a:gd name="T69" fmla="*/ 24 h 122"/>
                <a:gd name="T70" fmla="*/ 7 w 120"/>
                <a:gd name="T71" fmla="*/ 31 h 122"/>
                <a:gd name="T72" fmla="*/ 2 w 120"/>
                <a:gd name="T73" fmla="*/ 42 h 122"/>
                <a:gd name="T74" fmla="*/ 4 w 120"/>
                <a:gd name="T75" fmla="*/ 55 h 122"/>
                <a:gd name="T76" fmla="*/ 13 w 120"/>
                <a:gd name="T77" fmla="*/ 55 h 122"/>
                <a:gd name="T78" fmla="*/ 20 w 120"/>
                <a:gd name="T79" fmla="*/ 53 h 122"/>
                <a:gd name="T80" fmla="*/ 22 w 120"/>
                <a:gd name="T81" fmla="*/ 62 h 122"/>
                <a:gd name="T82" fmla="*/ 25 w 120"/>
                <a:gd name="T83" fmla="*/ 69 h 122"/>
                <a:gd name="T84" fmla="*/ 35 w 120"/>
                <a:gd name="T85" fmla="*/ 73 h 122"/>
                <a:gd name="T86" fmla="*/ 38 w 120"/>
                <a:gd name="T87" fmla="*/ 75 h 122"/>
                <a:gd name="T88" fmla="*/ 42 w 120"/>
                <a:gd name="T89" fmla="*/ 86 h 122"/>
                <a:gd name="T90" fmla="*/ 45 w 120"/>
                <a:gd name="T91" fmla="*/ 88 h 122"/>
                <a:gd name="T92" fmla="*/ 42 w 120"/>
                <a:gd name="T93" fmla="*/ 98 h 122"/>
                <a:gd name="T94" fmla="*/ 36 w 120"/>
                <a:gd name="T95" fmla="*/ 115 h 122"/>
                <a:gd name="T96" fmla="*/ 40 w 120"/>
                <a:gd name="T97" fmla="*/ 115 h 122"/>
                <a:gd name="T98" fmla="*/ 49 w 120"/>
                <a:gd name="T99" fmla="*/ 120 h 122"/>
                <a:gd name="T100" fmla="*/ 49 w 120"/>
                <a:gd name="T101" fmla="*/ 12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0" h="122">
                  <a:moveTo>
                    <a:pt x="49" y="120"/>
                  </a:moveTo>
                  <a:lnTo>
                    <a:pt x="49" y="120"/>
                  </a:lnTo>
                  <a:lnTo>
                    <a:pt x="51" y="122"/>
                  </a:lnTo>
                  <a:lnTo>
                    <a:pt x="53" y="122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8" y="118"/>
                  </a:lnTo>
                  <a:lnTo>
                    <a:pt x="58" y="118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71" y="118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82" y="115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0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91" y="100"/>
                  </a:lnTo>
                  <a:lnTo>
                    <a:pt x="96" y="104"/>
                  </a:lnTo>
                  <a:lnTo>
                    <a:pt x="100" y="104"/>
                  </a:lnTo>
                  <a:lnTo>
                    <a:pt x="104" y="106"/>
                  </a:lnTo>
                  <a:lnTo>
                    <a:pt x="104" y="106"/>
                  </a:lnTo>
                  <a:lnTo>
                    <a:pt x="104" y="104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13" y="95"/>
                  </a:lnTo>
                  <a:lnTo>
                    <a:pt x="109" y="88"/>
                  </a:lnTo>
                  <a:lnTo>
                    <a:pt x="109" y="88"/>
                  </a:lnTo>
                  <a:lnTo>
                    <a:pt x="107" y="88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13" y="75"/>
                  </a:lnTo>
                  <a:lnTo>
                    <a:pt x="116" y="71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57"/>
                  </a:lnTo>
                  <a:lnTo>
                    <a:pt x="116" y="53"/>
                  </a:lnTo>
                  <a:lnTo>
                    <a:pt x="116" y="49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20" y="40"/>
                  </a:lnTo>
                  <a:lnTo>
                    <a:pt x="120" y="37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6" y="33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5" y="31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98" y="31"/>
                  </a:lnTo>
                  <a:lnTo>
                    <a:pt x="9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1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54" y="24"/>
                  </a:lnTo>
                  <a:lnTo>
                    <a:pt x="51" y="22"/>
                  </a:lnTo>
                  <a:lnTo>
                    <a:pt x="49" y="20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6" y="2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3" y="8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2" y="20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1" y="29"/>
                  </a:lnTo>
                  <a:lnTo>
                    <a:pt x="7" y="31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2" y="42"/>
                  </a:lnTo>
                  <a:lnTo>
                    <a:pt x="0" y="49"/>
                  </a:lnTo>
                  <a:lnTo>
                    <a:pt x="2" y="53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9" y="55"/>
                  </a:lnTo>
                  <a:lnTo>
                    <a:pt x="13" y="55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7"/>
                  </a:lnTo>
                  <a:lnTo>
                    <a:pt x="22" y="62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31" y="71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6" y="73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40" y="82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3"/>
                  </a:lnTo>
                  <a:lnTo>
                    <a:pt x="45" y="95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38" y="104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5" y="117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0" name="Freeform 72">
              <a:extLst>
                <a:ext uri="{FF2B5EF4-FFF2-40B4-BE49-F238E27FC236}">
                  <a16:creationId xmlns:a16="http://schemas.microsoft.com/office/drawing/2014/main" id="{568F7DCB-2B85-3B49-8097-0E7B47E2FD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0356" y="4863762"/>
              <a:ext cx="215796" cy="343343"/>
            </a:xfrm>
            <a:custGeom>
              <a:avLst/>
              <a:gdLst>
                <a:gd name="T0" fmla="*/ 109 w 149"/>
                <a:gd name="T1" fmla="*/ 207 h 240"/>
                <a:gd name="T2" fmla="*/ 109 w 149"/>
                <a:gd name="T3" fmla="*/ 184 h 240"/>
                <a:gd name="T4" fmla="*/ 125 w 149"/>
                <a:gd name="T5" fmla="*/ 162 h 240"/>
                <a:gd name="T6" fmla="*/ 134 w 149"/>
                <a:gd name="T7" fmla="*/ 133 h 240"/>
                <a:gd name="T8" fmla="*/ 118 w 149"/>
                <a:gd name="T9" fmla="*/ 127 h 240"/>
                <a:gd name="T10" fmla="*/ 107 w 149"/>
                <a:gd name="T11" fmla="*/ 126 h 240"/>
                <a:gd name="T12" fmla="*/ 120 w 149"/>
                <a:gd name="T13" fmla="*/ 107 h 240"/>
                <a:gd name="T14" fmla="*/ 118 w 149"/>
                <a:gd name="T15" fmla="*/ 100 h 240"/>
                <a:gd name="T16" fmla="*/ 118 w 149"/>
                <a:gd name="T17" fmla="*/ 82 h 240"/>
                <a:gd name="T18" fmla="*/ 118 w 149"/>
                <a:gd name="T19" fmla="*/ 80 h 240"/>
                <a:gd name="T20" fmla="*/ 123 w 149"/>
                <a:gd name="T21" fmla="*/ 73 h 240"/>
                <a:gd name="T22" fmla="*/ 125 w 149"/>
                <a:gd name="T23" fmla="*/ 71 h 240"/>
                <a:gd name="T24" fmla="*/ 129 w 149"/>
                <a:gd name="T25" fmla="*/ 67 h 240"/>
                <a:gd name="T26" fmla="*/ 149 w 149"/>
                <a:gd name="T27" fmla="*/ 58 h 240"/>
                <a:gd name="T28" fmla="*/ 145 w 149"/>
                <a:gd name="T29" fmla="*/ 37 h 240"/>
                <a:gd name="T30" fmla="*/ 143 w 149"/>
                <a:gd name="T31" fmla="*/ 35 h 240"/>
                <a:gd name="T32" fmla="*/ 140 w 149"/>
                <a:gd name="T33" fmla="*/ 26 h 240"/>
                <a:gd name="T34" fmla="*/ 138 w 149"/>
                <a:gd name="T35" fmla="*/ 24 h 240"/>
                <a:gd name="T36" fmla="*/ 134 w 149"/>
                <a:gd name="T37" fmla="*/ 17 h 240"/>
                <a:gd name="T38" fmla="*/ 136 w 149"/>
                <a:gd name="T39" fmla="*/ 6 h 240"/>
                <a:gd name="T40" fmla="*/ 136 w 149"/>
                <a:gd name="T41" fmla="*/ 0 h 240"/>
                <a:gd name="T42" fmla="*/ 125 w 149"/>
                <a:gd name="T43" fmla="*/ 2 h 240"/>
                <a:gd name="T44" fmla="*/ 114 w 149"/>
                <a:gd name="T45" fmla="*/ 6 h 240"/>
                <a:gd name="T46" fmla="*/ 103 w 149"/>
                <a:gd name="T47" fmla="*/ 8 h 240"/>
                <a:gd name="T48" fmla="*/ 94 w 149"/>
                <a:gd name="T49" fmla="*/ 6 h 240"/>
                <a:gd name="T50" fmla="*/ 83 w 149"/>
                <a:gd name="T51" fmla="*/ 4 h 240"/>
                <a:gd name="T52" fmla="*/ 78 w 149"/>
                <a:gd name="T53" fmla="*/ 4 h 240"/>
                <a:gd name="T54" fmla="*/ 65 w 149"/>
                <a:gd name="T55" fmla="*/ 0 h 240"/>
                <a:gd name="T56" fmla="*/ 63 w 149"/>
                <a:gd name="T57" fmla="*/ 0 h 240"/>
                <a:gd name="T58" fmla="*/ 51 w 149"/>
                <a:gd name="T59" fmla="*/ 6 h 240"/>
                <a:gd name="T60" fmla="*/ 40 w 149"/>
                <a:gd name="T61" fmla="*/ 15 h 240"/>
                <a:gd name="T62" fmla="*/ 34 w 149"/>
                <a:gd name="T63" fmla="*/ 15 h 240"/>
                <a:gd name="T64" fmla="*/ 3 w 149"/>
                <a:gd name="T65" fmla="*/ 17 h 240"/>
                <a:gd name="T66" fmla="*/ 0 w 149"/>
                <a:gd name="T67" fmla="*/ 29 h 240"/>
                <a:gd name="T68" fmla="*/ 2 w 149"/>
                <a:gd name="T69" fmla="*/ 60 h 240"/>
                <a:gd name="T70" fmla="*/ 2 w 149"/>
                <a:gd name="T71" fmla="*/ 93 h 240"/>
                <a:gd name="T72" fmla="*/ 2 w 149"/>
                <a:gd name="T73" fmla="*/ 106 h 240"/>
                <a:gd name="T74" fmla="*/ 14 w 149"/>
                <a:gd name="T75" fmla="*/ 122 h 240"/>
                <a:gd name="T76" fmla="*/ 27 w 149"/>
                <a:gd name="T77" fmla="*/ 135 h 240"/>
                <a:gd name="T78" fmla="*/ 47 w 149"/>
                <a:gd name="T79" fmla="*/ 167 h 240"/>
                <a:gd name="T80" fmla="*/ 34 w 149"/>
                <a:gd name="T81" fmla="*/ 178 h 240"/>
                <a:gd name="T82" fmla="*/ 45 w 149"/>
                <a:gd name="T83" fmla="*/ 197 h 240"/>
                <a:gd name="T84" fmla="*/ 43 w 149"/>
                <a:gd name="T85" fmla="*/ 209 h 240"/>
                <a:gd name="T86" fmla="*/ 40 w 149"/>
                <a:gd name="T87" fmla="*/ 211 h 240"/>
                <a:gd name="T88" fmla="*/ 47 w 149"/>
                <a:gd name="T89" fmla="*/ 216 h 240"/>
                <a:gd name="T90" fmla="*/ 56 w 149"/>
                <a:gd name="T91" fmla="*/ 224 h 240"/>
                <a:gd name="T92" fmla="*/ 69 w 149"/>
                <a:gd name="T93" fmla="*/ 224 h 240"/>
                <a:gd name="T94" fmla="*/ 82 w 149"/>
                <a:gd name="T95" fmla="*/ 231 h 240"/>
                <a:gd name="T96" fmla="*/ 89 w 149"/>
                <a:gd name="T97" fmla="*/ 240 h 240"/>
                <a:gd name="T98" fmla="*/ 114 w 149"/>
                <a:gd name="T99" fmla="*/ 215 h 240"/>
                <a:gd name="T100" fmla="*/ 114 w 149"/>
                <a:gd name="T101" fmla="*/ 215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9" h="240">
                  <a:moveTo>
                    <a:pt x="114" y="215"/>
                  </a:moveTo>
                  <a:lnTo>
                    <a:pt x="109" y="207"/>
                  </a:lnTo>
                  <a:lnTo>
                    <a:pt x="116" y="195"/>
                  </a:lnTo>
                  <a:lnTo>
                    <a:pt x="109" y="184"/>
                  </a:lnTo>
                  <a:lnTo>
                    <a:pt x="111" y="171"/>
                  </a:lnTo>
                  <a:lnTo>
                    <a:pt x="125" y="162"/>
                  </a:lnTo>
                  <a:lnTo>
                    <a:pt x="121" y="151"/>
                  </a:lnTo>
                  <a:lnTo>
                    <a:pt x="134" y="133"/>
                  </a:lnTo>
                  <a:lnTo>
                    <a:pt x="121" y="133"/>
                  </a:lnTo>
                  <a:lnTo>
                    <a:pt x="118" y="127"/>
                  </a:lnTo>
                  <a:lnTo>
                    <a:pt x="111" y="133"/>
                  </a:lnTo>
                  <a:lnTo>
                    <a:pt x="107" y="126"/>
                  </a:lnTo>
                  <a:lnTo>
                    <a:pt x="114" y="113"/>
                  </a:lnTo>
                  <a:lnTo>
                    <a:pt x="120" y="107"/>
                  </a:lnTo>
                  <a:lnTo>
                    <a:pt x="118" y="100"/>
                  </a:lnTo>
                  <a:lnTo>
                    <a:pt x="118" y="100"/>
                  </a:lnTo>
                  <a:lnTo>
                    <a:pt x="118" y="91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8" y="80"/>
                  </a:lnTo>
                  <a:lnTo>
                    <a:pt x="118" y="78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5" y="71"/>
                  </a:lnTo>
                  <a:lnTo>
                    <a:pt x="125" y="71"/>
                  </a:lnTo>
                  <a:lnTo>
                    <a:pt x="129" y="67"/>
                  </a:lnTo>
                  <a:lnTo>
                    <a:pt x="140" y="64"/>
                  </a:lnTo>
                  <a:lnTo>
                    <a:pt x="149" y="58"/>
                  </a:lnTo>
                  <a:lnTo>
                    <a:pt x="149" y="58"/>
                  </a:lnTo>
                  <a:lnTo>
                    <a:pt x="145" y="37"/>
                  </a:lnTo>
                  <a:lnTo>
                    <a:pt x="145" y="37"/>
                  </a:lnTo>
                  <a:lnTo>
                    <a:pt x="143" y="35"/>
                  </a:lnTo>
                  <a:lnTo>
                    <a:pt x="141" y="28"/>
                  </a:lnTo>
                  <a:lnTo>
                    <a:pt x="140" y="26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6" y="22"/>
                  </a:lnTo>
                  <a:lnTo>
                    <a:pt x="134" y="17"/>
                  </a:lnTo>
                  <a:lnTo>
                    <a:pt x="129" y="9"/>
                  </a:lnTo>
                  <a:lnTo>
                    <a:pt x="136" y="6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1" y="0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14" y="6"/>
                  </a:lnTo>
                  <a:lnTo>
                    <a:pt x="107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94" y="6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78" y="4"/>
                  </a:lnTo>
                  <a:lnTo>
                    <a:pt x="74" y="4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0" y="2"/>
                  </a:lnTo>
                  <a:lnTo>
                    <a:pt x="51" y="6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8" y="15"/>
                  </a:lnTo>
                  <a:lnTo>
                    <a:pt x="34" y="15"/>
                  </a:lnTo>
                  <a:lnTo>
                    <a:pt x="31" y="15"/>
                  </a:lnTo>
                  <a:lnTo>
                    <a:pt x="3" y="17"/>
                  </a:lnTo>
                  <a:lnTo>
                    <a:pt x="3" y="20"/>
                  </a:lnTo>
                  <a:lnTo>
                    <a:pt x="0" y="29"/>
                  </a:lnTo>
                  <a:lnTo>
                    <a:pt x="5" y="49"/>
                  </a:lnTo>
                  <a:lnTo>
                    <a:pt x="2" y="60"/>
                  </a:lnTo>
                  <a:lnTo>
                    <a:pt x="2" y="82"/>
                  </a:lnTo>
                  <a:lnTo>
                    <a:pt x="2" y="93"/>
                  </a:lnTo>
                  <a:lnTo>
                    <a:pt x="2" y="104"/>
                  </a:lnTo>
                  <a:lnTo>
                    <a:pt x="2" y="106"/>
                  </a:lnTo>
                  <a:lnTo>
                    <a:pt x="9" y="120"/>
                  </a:lnTo>
                  <a:lnTo>
                    <a:pt x="14" y="122"/>
                  </a:lnTo>
                  <a:lnTo>
                    <a:pt x="20" y="127"/>
                  </a:lnTo>
                  <a:lnTo>
                    <a:pt x="27" y="135"/>
                  </a:lnTo>
                  <a:lnTo>
                    <a:pt x="36" y="164"/>
                  </a:lnTo>
                  <a:lnTo>
                    <a:pt x="47" y="167"/>
                  </a:lnTo>
                  <a:lnTo>
                    <a:pt x="43" y="175"/>
                  </a:lnTo>
                  <a:lnTo>
                    <a:pt x="34" y="178"/>
                  </a:lnTo>
                  <a:lnTo>
                    <a:pt x="45" y="191"/>
                  </a:lnTo>
                  <a:lnTo>
                    <a:pt x="45" y="197"/>
                  </a:lnTo>
                  <a:lnTo>
                    <a:pt x="40" y="202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0" y="211"/>
                  </a:lnTo>
                  <a:lnTo>
                    <a:pt x="43" y="215"/>
                  </a:lnTo>
                  <a:lnTo>
                    <a:pt x="47" y="216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69" y="224"/>
                  </a:lnTo>
                  <a:lnTo>
                    <a:pt x="69" y="224"/>
                  </a:lnTo>
                  <a:lnTo>
                    <a:pt x="76" y="227"/>
                  </a:lnTo>
                  <a:lnTo>
                    <a:pt x="82" y="231"/>
                  </a:lnTo>
                  <a:lnTo>
                    <a:pt x="83" y="236"/>
                  </a:lnTo>
                  <a:lnTo>
                    <a:pt x="89" y="240"/>
                  </a:lnTo>
                  <a:lnTo>
                    <a:pt x="94" y="238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14" y="21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1" name="Freeform 73">
              <a:extLst>
                <a:ext uri="{FF2B5EF4-FFF2-40B4-BE49-F238E27FC236}">
                  <a16:creationId xmlns:a16="http://schemas.microsoft.com/office/drawing/2014/main" id="{4CE5DDB2-6306-744C-B0EA-1A198E726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6272" y="4092670"/>
              <a:ext cx="396834" cy="446347"/>
            </a:xfrm>
            <a:custGeom>
              <a:avLst/>
              <a:gdLst>
                <a:gd name="T0" fmla="*/ 198 w 274"/>
                <a:gd name="T1" fmla="*/ 20 h 312"/>
                <a:gd name="T2" fmla="*/ 193 w 274"/>
                <a:gd name="T3" fmla="*/ 40 h 312"/>
                <a:gd name="T4" fmla="*/ 187 w 274"/>
                <a:gd name="T5" fmla="*/ 47 h 312"/>
                <a:gd name="T6" fmla="*/ 151 w 274"/>
                <a:gd name="T7" fmla="*/ 76 h 312"/>
                <a:gd name="T8" fmla="*/ 145 w 274"/>
                <a:gd name="T9" fmla="*/ 80 h 312"/>
                <a:gd name="T10" fmla="*/ 127 w 274"/>
                <a:gd name="T11" fmla="*/ 87 h 312"/>
                <a:gd name="T12" fmla="*/ 124 w 274"/>
                <a:gd name="T13" fmla="*/ 92 h 312"/>
                <a:gd name="T14" fmla="*/ 124 w 274"/>
                <a:gd name="T15" fmla="*/ 101 h 312"/>
                <a:gd name="T16" fmla="*/ 131 w 274"/>
                <a:gd name="T17" fmla="*/ 110 h 312"/>
                <a:gd name="T18" fmla="*/ 122 w 274"/>
                <a:gd name="T19" fmla="*/ 123 h 312"/>
                <a:gd name="T20" fmla="*/ 120 w 274"/>
                <a:gd name="T21" fmla="*/ 129 h 312"/>
                <a:gd name="T22" fmla="*/ 116 w 274"/>
                <a:gd name="T23" fmla="*/ 145 h 312"/>
                <a:gd name="T24" fmla="*/ 114 w 274"/>
                <a:gd name="T25" fmla="*/ 149 h 312"/>
                <a:gd name="T26" fmla="*/ 98 w 274"/>
                <a:gd name="T27" fmla="*/ 147 h 312"/>
                <a:gd name="T28" fmla="*/ 89 w 274"/>
                <a:gd name="T29" fmla="*/ 152 h 312"/>
                <a:gd name="T30" fmla="*/ 84 w 274"/>
                <a:gd name="T31" fmla="*/ 160 h 312"/>
                <a:gd name="T32" fmla="*/ 82 w 274"/>
                <a:gd name="T33" fmla="*/ 167 h 312"/>
                <a:gd name="T34" fmla="*/ 73 w 274"/>
                <a:gd name="T35" fmla="*/ 170 h 312"/>
                <a:gd name="T36" fmla="*/ 64 w 274"/>
                <a:gd name="T37" fmla="*/ 163 h 312"/>
                <a:gd name="T38" fmla="*/ 60 w 274"/>
                <a:gd name="T39" fmla="*/ 161 h 312"/>
                <a:gd name="T40" fmla="*/ 47 w 274"/>
                <a:gd name="T41" fmla="*/ 170 h 312"/>
                <a:gd name="T42" fmla="*/ 40 w 274"/>
                <a:gd name="T43" fmla="*/ 183 h 312"/>
                <a:gd name="T44" fmla="*/ 29 w 274"/>
                <a:gd name="T45" fmla="*/ 190 h 312"/>
                <a:gd name="T46" fmla="*/ 22 w 274"/>
                <a:gd name="T47" fmla="*/ 187 h 312"/>
                <a:gd name="T48" fmla="*/ 15 w 274"/>
                <a:gd name="T49" fmla="*/ 183 h 312"/>
                <a:gd name="T50" fmla="*/ 11 w 274"/>
                <a:gd name="T51" fmla="*/ 187 h 312"/>
                <a:gd name="T52" fmla="*/ 9 w 274"/>
                <a:gd name="T53" fmla="*/ 200 h 312"/>
                <a:gd name="T54" fmla="*/ 0 w 274"/>
                <a:gd name="T55" fmla="*/ 209 h 312"/>
                <a:gd name="T56" fmla="*/ 0 w 274"/>
                <a:gd name="T57" fmla="*/ 212 h 312"/>
                <a:gd name="T58" fmla="*/ 0 w 274"/>
                <a:gd name="T59" fmla="*/ 223 h 312"/>
                <a:gd name="T60" fmla="*/ 11 w 274"/>
                <a:gd name="T61" fmla="*/ 230 h 312"/>
                <a:gd name="T62" fmla="*/ 27 w 274"/>
                <a:gd name="T63" fmla="*/ 245 h 312"/>
                <a:gd name="T64" fmla="*/ 38 w 274"/>
                <a:gd name="T65" fmla="*/ 245 h 312"/>
                <a:gd name="T66" fmla="*/ 45 w 274"/>
                <a:gd name="T67" fmla="*/ 243 h 312"/>
                <a:gd name="T68" fmla="*/ 62 w 274"/>
                <a:gd name="T69" fmla="*/ 256 h 312"/>
                <a:gd name="T70" fmla="*/ 75 w 274"/>
                <a:gd name="T71" fmla="*/ 269 h 312"/>
                <a:gd name="T72" fmla="*/ 82 w 274"/>
                <a:gd name="T73" fmla="*/ 274 h 312"/>
                <a:gd name="T74" fmla="*/ 85 w 274"/>
                <a:gd name="T75" fmla="*/ 276 h 312"/>
                <a:gd name="T76" fmla="*/ 105 w 274"/>
                <a:gd name="T77" fmla="*/ 289 h 312"/>
                <a:gd name="T78" fmla="*/ 151 w 274"/>
                <a:gd name="T79" fmla="*/ 294 h 312"/>
                <a:gd name="T80" fmla="*/ 178 w 274"/>
                <a:gd name="T81" fmla="*/ 305 h 312"/>
                <a:gd name="T82" fmla="*/ 209 w 274"/>
                <a:gd name="T83" fmla="*/ 309 h 312"/>
                <a:gd name="T84" fmla="*/ 214 w 274"/>
                <a:gd name="T85" fmla="*/ 278 h 312"/>
                <a:gd name="T86" fmla="*/ 238 w 274"/>
                <a:gd name="T87" fmla="*/ 270 h 312"/>
                <a:gd name="T88" fmla="*/ 262 w 274"/>
                <a:gd name="T89" fmla="*/ 269 h 312"/>
                <a:gd name="T90" fmla="*/ 262 w 274"/>
                <a:gd name="T91" fmla="*/ 261 h 312"/>
                <a:gd name="T92" fmla="*/ 274 w 274"/>
                <a:gd name="T93" fmla="*/ 238 h 312"/>
                <a:gd name="T94" fmla="*/ 271 w 274"/>
                <a:gd name="T95" fmla="*/ 205 h 312"/>
                <a:gd name="T96" fmla="*/ 247 w 274"/>
                <a:gd name="T97" fmla="*/ 172 h 312"/>
                <a:gd name="T98" fmla="*/ 253 w 274"/>
                <a:gd name="T99" fmla="*/ 125 h 312"/>
                <a:gd name="T100" fmla="*/ 254 w 274"/>
                <a:gd name="T101" fmla="*/ 121 h 312"/>
                <a:gd name="T102" fmla="*/ 258 w 274"/>
                <a:gd name="T103" fmla="*/ 98 h 312"/>
                <a:gd name="T104" fmla="*/ 262 w 274"/>
                <a:gd name="T105" fmla="*/ 89 h 312"/>
                <a:gd name="T106" fmla="*/ 267 w 274"/>
                <a:gd name="T107" fmla="*/ 76 h 312"/>
                <a:gd name="T108" fmla="*/ 260 w 274"/>
                <a:gd name="T109" fmla="*/ 60 h 312"/>
                <a:gd name="T110" fmla="*/ 247 w 274"/>
                <a:gd name="T111" fmla="*/ 32 h 312"/>
                <a:gd name="T112" fmla="*/ 242 w 274"/>
                <a:gd name="T113" fmla="*/ 23 h 312"/>
                <a:gd name="T114" fmla="*/ 229 w 274"/>
                <a:gd name="T115" fmla="*/ 12 h 312"/>
                <a:gd name="T116" fmla="*/ 225 w 274"/>
                <a:gd name="T117" fmla="*/ 0 h 312"/>
                <a:gd name="T118" fmla="*/ 209 w 274"/>
                <a:gd name="T119" fmla="*/ 9 h 312"/>
                <a:gd name="T120" fmla="*/ 203 w 274"/>
                <a:gd name="T121" fmla="*/ 1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4" h="312">
                  <a:moveTo>
                    <a:pt x="203" y="14"/>
                  </a:moveTo>
                  <a:lnTo>
                    <a:pt x="203" y="14"/>
                  </a:lnTo>
                  <a:lnTo>
                    <a:pt x="198" y="20"/>
                  </a:lnTo>
                  <a:lnTo>
                    <a:pt x="196" y="27"/>
                  </a:lnTo>
                  <a:lnTo>
                    <a:pt x="194" y="34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1" y="43"/>
                  </a:lnTo>
                  <a:lnTo>
                    <a:pt x="187" y="47"/>
                  </a:lnTo>
                  <a:lnTo>
                    <a:pt x="173" y="58"/>
                  </a:lnTo>
                  <a:lnTo>
                    <a:pt x="162" y="67"/>
                  </a:lnTo>
                  <a:lnTo>
                    <a:pt x="151" y="76"/>
                  </a:lnTo>
                  <a:lnTo>
                    <a:pt x="151" y="76"/>
                  </a:lnTo>
                  <a:lnTo>
                    <a:pt x="149" y="78"/>
                  </a:lnTo>
                  <a:lnTo>
                    <a:pt x="145" y="80"/>
                  </a:lnTo>
                  <a:lnTo>
                    <a:pt x="140" y="83"/>
                  </a:lnTo>
                  <a:lnTo>
                    <a:pt x="131" y="85"/>
                  </a:lnTo>
                  <a:lnTo>
                    <a:pt x="127" y="87"/>
                  </a:lnTo>
                  <a:lnTo>
                    <a:pt x="124" y="89"/>
                  </a:lnTo>
                  <a:lnTo>
                    <a:pt x="124" y="89"/>
                  </a:lnTo>
                  <a:lnTo>
                    <a:pt x="124" y="92"/>
                  </a:lnTo>
                  <a:lnTo>
                    <a:pt x="122" y="98"/>
                  </a:lnTo>
                  <a:lnTo>
                    <a:pt x="124" y="98"/>
                  </a:lnTo>
                  <a:lnTo>
                    <a:pt x="124" y="101"/>
                  </a:lnTo>
                  <a:lnTo>
                    <a:pt x="127" y="105"/>
                  </a:lnTo>
                  <a:lnTo>
                    <a:pt x="131" y="110"/>
                  </a:lnTo>
                  <a:lnTo>
                    <a:pt x="131" y="110"/>
                  </a:lnTo>
                  <a:lnTo>
                    <a:pt x="133" y="116"/>
                  </a:lnTo>
                  <a:lnTo>
                    <a:pt x="131" y="118"/>
                  </a:lnTo>
                  <a:lnTo>
                    <a:pt x="122" y="123"/>
                  </a:lnTo>
                  <a:lnTo>
                    <a:pt x="122" y="123"/>
                  </a:lnTo>
                  <a:lnTo>
                    <a:pt x="120" y="125"/>
                  </a:lnTo>
                  <a:lnTo>
                    <a:pt x="120" y="129"/>
                  </a:lnTo>
                  <a:lnTo>
                    <a:pt x="120" y="134"/>
                  </a:lnTo>
                  <a:lnTo>
                    <a:pt x="120" y="143"/>
                  </a:lnTo>
                  <a:lnTo>
                    <a:pt x="116" y="145"/>
                  </a:lnTo>
                  <a:lnTo>
                    <a:pt x="114" y="147"/>
                  </a:lnTo>
                  <a:lnTo>
                    <a:pt x="114" y="147"/>
                  </a:lnTo>
                  <a:lnTo>
                    <a:pt x="114" y="149"/>
                  </a:lnTo>
                  <a:lnTo>
                    <a:pt x="111" y="149"/>
                  </a:lnTo>
                  <a:lnTo>
                    <a:pt x="107" y="149"/>
                  </a:lnTo>
                  <a:lnTo>
                    <a:pt x="98" y="147"/>
                  </a:lnTo>
                  <a:lnTo>
                    <a:pt x="98" y="147"/>
                  </a:lnTo>
                  <a:lnTo>
                    <a:pt x="94" y="149"/>
                  </a:lnTo>
                  <a:lnTo>
                    <a:pt x="89" y="152"/>
                  </a:lnTo>
                  <a:lnTo>
                    <a:pt x="85" y="158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0"/>
                  </a:lnTo>
                  <a:lnTo>
                    <a:pt x="84" y="163"/>
                  </a:lnTo>
                  <a:lnTo>
                    <a:pt x="82" y="167"/>
                  </a:lnTo>
                  <a:lnTo>
                    <a:pt x="78" y="169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1" y="170"/>
                  </a:lnTo>
                  <a:lnTo>
                    <a:pt x="69" y="169"/>
                  </a:lnTo>
                  <a:lnTo>
                    <a:pt x="64" y="163"/>
                  </a:lnTo>
                  <a:lnTo>
                    <a:pt x="64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3" y="165"/>
                  </a:lnTo>
                  <a:lnTo>
                    <a:pt x="53" y="165"/>
                  </a:lnTo>
                  <a:lnTo>
                    <a:pt x="47" y="170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0" y="183"/>
                  </a:lnTo>
                  <a:lnTo>
                    <a:pt x="36" y="187"/>
                  </a:lnTo>
                  <a:lnTo>
                    <a:pt x="29" y="190"/>
                  </a:lnTo>
                  <a:lnTo>
                    <a:pt x="29" y="190"/>
                  </a:lnTo>
                  <a:lnTo>
                    <a:pt x="27" y="190"/>
                  </a:lnTo>
                  <a:lnTo>
                    <a:pt x="25" y="190"/>
                  </a:lnTo>
                  <a:lnTo>
                    <a:pt x="22" y="187"/>
                  </a:lnTo>
                  <a:lnTo>
                    <a:pt x="20" y="185"/>
                  </a:lnTo>
                  <a:lnTo>
                    <a:pt x="16" y="183"/>
                  </a:lnTo>
                  <a:lnTo>
                    <a:pt x="15" y="183"/>
                  </a:lnTo>
                  <a:lnTo>
                    <a:pt x="15" y="183"/>
                  </a:lnTo>
                  <a:lnTo>
                    <a:pt x="11" y="185"/>
                  </a:lnTo>
                  <a:lnTo>
                    <a:pt x="11" y="187"/>
                  </a:lnTo>
                  <a:lnTo>
                    <a:pt x="11" y="190"/>
                  </a:lnTo>
                  <a:lnTo>
                    <a:pt x="9" y="194"/>
                  </a:lnTo>
                  <a:lnTo>
                    <a:pt x="9" y="200"/>
                  </a:lnTo>
                  <a:lnTo>
                    <a:pt x="7" y="201"/>
                  </a:lnTo>
                  <a:lnTo>
                    <a:pt x="7" y="201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2" y="210"/>
                  </a:lnTo>
                  <a:lnTo>
                    <a:pt x="0" y="212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0" y="223"/>
                  </a:lnTo>
                  <a:lnTo>
                    <a:pt x="4" y="227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22" y="238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8" y="245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5" y="243"/>
                  </a:lnTo>
                  <a:lnTo>
                    <a:pt x="49" y="245"/>
                  </a:lnTo>
                  <a:lnTo>
                    <a:pt x="53" y="249"/>
                  </a:lnTo>
                  <a:lnTo>
                    <a:pt x="62" y="256"/>
                  </a:lnTo>
                  <a:lnTo>
                    <a:pt x="62" y="256"/>
                  </a:lnTo>
                  <a:lnTo>
                    <a:pt x="69" y="263"/>
                  </a:lnTo>
                  <a:lnTo>
                    <a:pt x="75" y="269"/>
                  </a:lnTo>
                  <a:lnTo>
                    <a:pt x="82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84" y="276"/>
                  </a:lnTo>
                  <a:lnTo>
                    <a:pt x="85" y="276"/>
                  </a:lnTo>
                  <a:lnTo>
                    <a:pt x="89" y="274"/>
                  </a:lnTo>
                  <a:lnTo>
                    <a:pt x="91" y="272"/>
                  </a:lnTo>
                  <a:lnTo>
                    <a:pt x="105" y="289"/>
                  </a:lnTo>
                  <a:lnTo>
                    <a:pt x="111" y="289"/>
                  </a:lnTo>
                  <a:lnTo>
                    <a:pt x="131" y="285"/>
                  </a:lnTo>
                  <a:lnTo>
                    <a:pt x="151" y="294"/>
                  </a:lnTo>
                  <a:lnTo>
                    <a:pt x="162" y="299"/>
                  </a:lnTo>
                  <a:lnTo>
                    <a:pt x="171" y="310"/>
                  </a:lnTo>
                  <a:lnTo>
                    <a:pt x="178" y="305"/>
                  </a:lnTo>
                  <a:lnTo>
                    <a:pt x="200" y="309"/>
                  </a:lnTo>
                  <a:lnTo>
                    <a:pt x="205" y="312"/>
                  </a:lnTo>
                  <a:lnTo>
                    <a:pt x="209" y="309"/>
                  </a:lnTo>
                  <a:lnTo>
                    <a:pt x="207" y="299"/>
                  </a:lnTo>
                  <a:lnTo>
                    <a:pt x="213" y="287"/>
                  </a:lnTo>
                  <a:lnTo>
                    <a:pt x="214" y="278"/>
                  </a:lnTo>
                  <a:lnTo>
                    <a:pt x="220" y="269"/>
                  </a:lnTo>
                  <a:lnTo>
                    <a:pt x="236" y="267"/>
                  </a:lnTo>
                  <a:lnTo>
                    <a:pt x="238" y="270"/>
                  </a:lnTo>
                  <a:lnTo>
                    <a:pt x="251" y="269"/>
                  </a:lnTo>
                  <a:lnTo>
                    <a:pt x="262" y="269"/>
                  </a:lnTo>
                  <a:lnTo>
                    <a:pt x="262" y="269"/>
                  </a:lnTo>
                  <a:lnTo>
                    <a:pt x="262" y="267"/>
                  </a:lnTo>
                  <a:lnTo>
                    <a:pt x="262" y="261"/>
                  </a:lnTo>
                  <a:lnTo>
                    <a:pt x="262" y="261"/>
                  </a:lnTo>
                  <a:lnTo>
                    <a:pt x="265" y="254"/>
                  </a:lnTo>
                  <a:lnTo>
                    <a:pt x="269" y="249"/>
                  </a:lnTo>
                  <a:lnTo>
                    <a:pt x="274" y="238"/>
                  </a:lnTo>
                  <a:lnTo>
                    <a:pt x="267" y="234"/>
                  </a:lnTo>
                  <a:lnTo>
                    <a:pt x="265" y="219"/>
                  </a:lnTo>
                  <a:lnTo>
                    <a:pt x="271" y="205"/>
                  </a:lnTo>
                  <a:lnTo>
                    <a:pt x="271" y="200"/>
                  </a:lnTo>
                  <a:lnTo>
                    <a:pt x="271" y="190"/>
                  </a:lnTo>
                  <a:lnTo>
                    <a:pt x="247" y="172"/>
                  </a:lnTo>
                  <a:lnTo>
                    <a:pt x="247" y="167"/>
                  </a:lnTo>
                  <a:lnTo>
                    <a:pt x="258" y="138"/>
                  </a:lnTo>
                  <a:lnTo>
                    <a:pt x="253" y="125"/>
                  </a:lnTo>
                  <a:lnTo>
                    <a:pt x="253" y="125"/>
                  </a:lnTo>
                  <a:lnTo>
                    <a:pt x="254" y="125"/>
                  </a:lnTo>
                  <a:lnTo>
                    <a:pt x="254" y="121"/>
                  </a:lnTo>
                  <a:lnTo>
                    <a:pt x="254" y="121"/>
                  </a:lnTo>
                  <a:lnTo>
                    <a:pt x="256" y="105"/>
                  </a:lnTo>
                  <a:lnTo>
                    <a:pt x="258" y="98"/>
                  </a:lnTo>
                  <a:lnTo>
                    <a:pt x="260" y="92"/>
                  </a:lnTo>
                  <a:lnTo>
                    <a:pt x="260" y="92"/>
                  </a:lnTo>
                  <a:lnTo>
                    <a:pt x="262" y="89"/>
                  </a:lnTo>
                  <a:lnTo>
                    <a:pt x="262" y="85"/>
                  </a:lnTo>
                  <a:lnTo>
                    <a:pt x="267" y="76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65" y="69"/>
                  </a:lnTo>
                  <a:lnTo>
                    <a:pt x="260" y="60"/>
                  </a:lnTo>
                  <a:lnTo>
                    <a:pt x="253" y="40"/>
                  </a:lnTo>
                  <a:lnTo>
                    <a:pt x="253" y="40"/>
                  </a:lnTo>
                  <a:lnTo>
                    <a:pt x="247" y="32"/>
                  </a:lnTo>
                  <a:lnTo>
                    <a:pt x="245" y="25"/>
                  </a:lnTo>
                  <a:lnTo>
                    <a:pt x="242" y="23"/>
                  </a:lnTo>
                  <a:lnTo>
                    <a:pt x="242" y="23"/>
                  </a:lnTo>
                  <a:lnTo>
                    <a:pt x="234" y="18"/>
                  </a:lnTo>
                  <a:lnTo>
                    <a:pt x="229" y="14"/>
                  </a:lnTo>
                  <a:lnTo>
                    <a:pt x="229" y="12"/>
                  </a:lnTo>
                  <a:lnTo>
                    <a:pt x="229" y="12"/>
                  </a:lnTo>
                  <a:lnTo>
                    <a:pt x="231" y="3"/>
                  </a:lnTo>
                  <a:lnTo>
                    <a:pt x="225" y="0"/>
                  </a:lnTo>
                  <a:lnTo>
                    <a:pt x="225" y="0"/>
                  </a:lnTo>
                  <a:lnTo>
                    <a:pt x="214" y="5"/>
                  </a:lnTo>
                  <a:lnTo>
                    <a:pt x="209" y="9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2" name="Freeform 74">
              <a:extLst>
                <a:ext uri="{FF2B5EF4-FFF2-40B4-BE49-F238E27FC236}">
                  <a16:creationId xmlns:a16="http://schemas.microsoft.com/office/drawing/2014/main" id="{632DBA84-7A6B-974A-82A5-8670C6AE6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085" y="3593391"/>
              <a:ext cx="225934" cy="181686"/>
            </a:xfrm>
            <a:custGeom>
              <a:avLst/>
              <a:gdLst>
                <a:gd name="T0" fmla="*/ 29 w 156"/>
                <a:gd name="T1" fmla="*/ 114 h 127"/>
                <a:gd name="T2" fmla="*/ 31 w 156"/>
                <a:gd name="T3" fmla="*/ 114 h 127"/>
                <a:gd name="T4" fmla="*/ 38 w 156"/>
                <a:gd name="T5" fmla="*/ 114 h 127"/>
                <a:gd name="T6" fmla="*/ 44 w 156"/>
                <a:gd name="T7" fmla="*/ 114 h 127"/>
                <a:gd name="T8" fmla="*/ 57 w 156"/>
                <a:gd name="T9" fmla="*/ 112 h 127"/>
                <a:gd name="T10" fmla="*/ 57 w 156"/>
                <a:gd name="T11" fmla="*/ 112 h 127"/>
                <a:gd name="T12" fmla="*/ 64 w 156"/>
                <a:gd name="T13" fmla="*/ 103 h 127"/>
                <a:gd name="T14" fmla="*/ 71 w 156"/>
                <a:gd name="T15" fmla="*/ 111 h 127"/>
                <a:gd name="T16" fmla="*/ 78 w 156"/>
                <a:gd name="T17" fmla="*/ 125 h 127"/>
                <a:gd name="T18" fmla="*/ 80 w 156"/>
                <a:gd name="T19" fmla="*/ 123 h 127"/>
                <a:gd name="T20" fmla="*/ 87 w 156"/>
                <a:gd name="T21" fmla="*/ 122 h 127"/>
                <a:gd name="T22" fmla="*/ 93 w 156"/>
                <a:gd name="T23" fmla="*/ 127 h 127"/>
                <a:gd name="T24" fmla="*/ 100 w 156"/>
                <a:gd name="T25" fmla="*/ 127 h 127"/>
                <a:gd name="T26" fmla="*/ 104 w 156"/>
                <a:gd name="T27" fmla="*/ 125 h 127"/>
                <a:gd name="T28" fmla="*/ 126 w 156"/>
                <a:gd name="T29" fmla="*/ 127 h 127"/>
                <a:gd name="T30" fmla="*/ 127 w 156"/>
                <a:gd name="T31" fmla="*/ 123 h 127"/>
                <a:gd name="T32" fmla="*/ 137 w 156"/>
                <a:gd name="T33" fmla="*/ 114 h 127"/>
                <a:gd name="T34" fmla="*/ 144 w 156"/>
                <a:gd name="T35" fmla="*/ 112 h 127"/>
                <a:gd name="T36" fmla="*/ 153 w 156"/>
                <a:gd name="T37" fmla="*/ 107 h 127"/>
                <a:gd name="T38" fmla="*/ 156 w 156"/>
                <a:gd name="T39" fmla="*/ 98 h 127"/>
                <a:gd name="T40" fmla="*/ 153 w 156"/>
                <a:gd name="T41" fmla="*/ 98 h 127"/>
                <a:gd name="T42" fmla="*/ 147 w 156"/>
                <a:gd name="T43" fmla="*/ 91 h 127"/>
                <a:gd name="T44" fmla="*/ 144 w 156"/>
                <a:gd name="T45" fmla="*/ 76 h 127"/>
                <a:gd name="T46" fmla="*/ 137 w 156"/>
                <a:gd name="T47" fmla="*/ 65 h 127"/>
                <a:gd name="T48" fmla="*/ 131 w 156"/>
                <a:gd name="T49" fmla="*/ 65 h 127"/>
                <a:gd name="T50" fmla="*/ 120 w 156"/>
                <a:gd name="T51" fmla="*/ 63 h 127"/>
                <a:gd name="T52" fmla="*/ 107 w 156"/>
                <a:gd name="T53" fmla="*/ 56 h 127"/>
                <a:gd name="T54" fmla="*/ 100 w 156"/>
                <a:gd name="T55" fmla="*/ 42 h 127"/>
                <a:gd name="T56" fmla="*/ 93 w 156"/>
                <a:gd name="T57" fmla="*/ 34 h 127"/>
                <a:gd name="T58" fmla="*/ 91 w 156"/>
                <a:gd name="T59" fmla="*/ 31 h 127"/>
                <a:gd name="T60" fmla="*/ 93 w 156"/>
                <a:gd name="T61" fmla="*/ 23 h 127"/>
                <a:gd name="T62" fmla="*/ 89 w 156"/>
                <a:gd name="T63" fmla="*/ 20 h 127"/>
                <a:gd name="T64" fmla="*/ 84 w 156"/>
                <a:gd name="T65" fmla="*/ 16 h 127"/>
                <a:gd name="T66" fmla="*/ 80 w 156"/>
                <a:gd name="T67" fmla="*/ 7 h 127"/>
                <a:gd name="T68" fmla="*/ 78 w 156"/>
                <a:gd name="T69" fmla="*/ 2 h 127"/>
                <a:gd name="T70" fmla="*/ 67 w 156"/>
                <a:gd name="T71" fmla="*/ 2 h 127"/>
                <a:gd name="T72" fmla="*/ 64 w 156"/>
                <a:gd name="T73" fmla="*/ 7 h 127"/>
                <a:gd name="T74" fmla="*/ 57 w 156"/>
                <a:gd name="T75" fmla="*/ 9 h 127"/>
                <a:gd name="T76" fmla="*/ 48 w 156"/>
                <a:gd name="T77" fmla="*/ 20 h 127"/>
                <a:gd name="T78" fmla="*/ 31 w 156"/>
                <a:gd name="T79" fmla="*/ 20 h 127"/>
                <a:gd name="T80" fmla="*/ 31 w 156"/>
                <a:gd name="T81" fmla="*/ 32 h 127"/>
                <a:gd name="T82" fmla="*/ 24 w 156"/>
                <a:gd name="T83" fmla="*/ 38 h 127"/>
                <a:gd name="T84" fmla="*/ 22 w 156"/>
                <a:gd name="T85" fmla="*/ 42 h 127"/>
                <a:gd name="T86" fmla="*/ 17 w 156"/>
                <a:gd name="T87" fmla="*/ 49 h 127"/>
                <a:gd name="T88" fmla="*/ 15 w 156"/>
                <a:gd name="T89" fmla="*/ 58 h 127"/>
                <a:gd name="T90" fmla="*/ 15 w 156"/>
                <a:gd name="T91" fmla="*/ 71 h 127"/>
                <a:gd name="T92" fmla="*/ 11 w 156"/>
                <a:gd name="T93" fmla="*/ 74 h 127"/>
                <a:gd name="T94" fmla="*/ 2 w 156"/>
                <a:gd name="T95" fmla="*/ 78 h 127"/>
                <a:gd name="T96" fmla="*/ 6 w 156"/>
                <a:gd name="T97" fmla="*/ 91 h 127"/>
                <a:gd name="T98" fmla="*/ 6 w 156"/>
                <a:gd name="T99" fmla="*/ 98 h 127"/>
                <a:gd name="T100" fmla="*/ 2 w 156"/>
                <a:gd name="T101" fmla="*/ 102 h 127"/>
                <a:gd name="T102" fmla="*/ 0 w 156"/>
                <a:gd name="T103" fmla="*/ 114 h 127"/>
                <a:gd name="T104" fmla="*/ 8 w 156"/>
                <a:gd name="T105" fmla="*/ 114 h 127"/>
                <a:gd name="T106" fmla="*/ 26 w 156"/>
                <a:gd name="T107" fmla="*/ 114 h 127"/>
                <a:gd name="T108" fmla="*/ 26 w 156"/>
                <a:gd name="T109" fmla="*/ 11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56" h="127">
                  <a:moveTo>
                    <a:pt x="26" y="114"/>
                  </a:moveTo>
                  <a:lnTo>
                    <a:pt x="26" y="114"/>
                  </a:lnTo>
                  <a:lnTo>
                    <a:pt x="29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8" y="114"/>
                  </a:lnTo>
                  <a:lnTo>
                    <a:pt x="38" y="114"/>
                  </a:lnTo>
                  <a:lnTo>
                    <a:pt x="40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51" y="114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57" y="112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7" y="107"/>
                  </a:lnTo>
                  <a:lnTo>
                    <a:pt x="71" y="111"/>
                  </a:lnTo>
                  <a:lnTo>
                    <a:pt x="73" y="120"/>
                  </a:lnTo>
                  <a:lnTo>
                    <a:pt x="73" y="120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80" y="123"/>
                  </a:lnTo>
                  <a:lnTo>
                    <a:pt x="80" y="123"/>
                  </a:lnTo>
                  <a:lnTo>
                    <a:pt x="86" y="120"/>
                  </a:lnTo>
                  <a:lnTo>
                    <a:pt x="87" y="120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91" y="127"/>
                  </a:lnTo>
                  <a:lnTo>
                    <a:pt x="93" y="127"/>
                  </a:lnTo>
                  <a:lnTo>
                    <a:pt x="95" y="127"/>
                  </a:lnTo>
                  <a:lnTo>
                    <a:pt x="95" y="127"/>
                  </a:lnTo>
                  <a:lnTo>
                    <a:pt x="100" y="127"/>
                  </a:lnTo>
                  <a:lnTo>
                    <a:pt x="102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13" y="127"/>
                  </a:lnTo>
                  <a:lnTo>
                    <a:pt x="122" y="127"/>
                  </a:lnTo>
                  <a:lnTo>
                    <a:pt x="126" y="127"/>
                  </a:lnTo>
                  <a:lnTo>
                    <a:pt x="126" y="125"/>
                  </a:lnTo>
                  <a:lnTo>
                    <a:pt x="126" y="125"/>
                  </a:lnTo>
                  <a:lnTo>
                    <a:pt x="127" y="123"/>
                  </a:lnTo>
                  <a:lnTo>
                    <a:pt x="127" y="123"/>
                  </a:lnTo>
                  <a:lnTo>
                    <a:pt x="133" y="118"/>
                  </a:lnTo>
                  <a:lnTo>
                    <a:pt x="137" y="114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4" y="112"/>
                  </a:lnTo>
                  <a:lnTo>
                    <a:pt x="147" y="112"/>
                  </a:lnTo>
                  <a:lnTo>
                    <a:pt x="151" y="112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6" y="98"/>
                  </a:lnTo>
                  <a:lnTo>
                    <a:pt x="156" y="98"/>
                  </a:lnTo>
                  <a:lnTo>
                    <a:pt x="155" y="98"/>
                  </a:lnTo>
                  <a:lnTo>
                    <a:pt x="155" y="98"/>
                  </a:lnTo>
                  <a:lnTo>
                    <a:pt x="153" y="98"/>
                  </a:lnTo>
                  <a:lnTo>
                    <a:pt x="151" y="94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4" y="76"/>
                  </a:lnTo>
                  <a:lnTo>
                    <a:pt x="142" y="74"/>
                  </a:lnTo>
                  <a:lnTo>
                    <a:pt x="142" y="71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5" y="65"/>
                  </a:lnTo>
                  <a:lnTo>
                    <a:pt x="131" y="65"/>
                  </a:lnTo>
                  <a:lnTo>
                    <a:pt x="131" y="65"/>
                  </a:lnTo>
                  <a:lnTo>
                    <a:pt x="127" y="65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13" y="60"/>
                  </a:lnTo>
                  <a:lnTo>
                    <a:pt x="107" y="56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0" y="42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3" y="34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3" y="29"/>
                  </a:lnTo>
                  <a:lnTo>
                    <a:pt x="93" y="23"/>
                  </a:lnTo>
                  <a:lnTo>
                    <a:pt x="91" y="22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7" y="20"/>
                  </a:lnTo>
                  <a:lnTo>
                    <a:pt x="86" y="18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0" y="11"/>
                  </a:lnTo>
                  <a:lnTo>
                    <a:pt x="80" y="7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3" y="0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4" y="7"/>
                  </a:lnTo>
                  <a:lnTo>
                    <a:pt x="60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1" y="16"/>
                  </a:lnTo>
                  <a:lnTo>
                    <a:pt x="48" y="18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29" y="34"/>
                  </a:lnTo>
                  <a:lnTo>
                    <a:pt x="28" y="36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2" y="4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9"/>
                  </a:lnTo>
                  <a:lnTo>
                    <a:pt x="15" y="51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71"/>
                  </a:lnTo>
                  <a:lnTo>
                    <a:pt x="15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6" y="74"/>
                  </a:lnTo>
                  <a:lnTo>
                    <a:pt x="4" y="76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4" y="83"/>
                  </a:lnTo>
                  <a:lnTo>
                    <a:pt x="6" y="91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7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18" y="114"/>
                  </a:lnTo>
                  <a:lnTo>
                    <a:pt x="22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3" name="Freeform 75">
              <a:extLst>
                <a:ext uri="{FF2B5EF4-FFF2-40B4-BE49-F238E27FC236}">
                  <a16:creationId xmlns:a16="http://schemas.microsoft.com/office/drawing/2014/main" id="{967BAD94-DD8F-9E4B-8797-C53FA3BA7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6477" y="3011138"/>
              <a:ext cx="273728" cy="401998"/>
            </a:xfrm>
            <a:custGeom>
              <a:avLst/>
              <a:gdLst>
                <a:gd name="T0" fmla="*/ 22 w 189"/>
                <a:gd name="T1" fmla="*/ 122 h 281"/>
                <a:gd name="T2" fmla="*/ 22 w 189"/>
                <a:gd name="T3" fmla="*/ 127 h 281"/>
                <a:gd name="T4" fmla="*/ 29 w 189"/>
                <a:gd name="T5" fmla="*/ 134 h 281"/>
                <a:gd name="T6" fmla="*/ 35 w 189"/>
                <a:gd name="T7" fmla="*/ 138 h 281"/>
                <a:gd name="T8" fmla="*/ 38 w 189"/>
                <a:gd name="T9" fmla="*/ 145 h 281"/>
                <a:gd name="T10" fmla="*/ 38 w 189"/>
                <a:gd name="T11" fmla="*/ 154 h 281"/>
                <a:gd name="T12" fmla="*/ 42 w 189"/>
                <a:gd name="T13" fmla="*/ 138 h 281"/>
                <a:gd name="T14" fmla="*/ 46 w 189"/>
                <a:gd name="T15" fmla="*/ 134 h 281"/>
                <a:gd name="T16" fmla="*/ 57 w 189"/>
                <a:gd name="T17" fmla="*/ 116 h 281"/>
                <a:gd name="T18" fmla="*/ 58 w 189"/>
                <a:gd name="T19" fmla="*/ 122 h 281"/>
                <a:gd name="T20" fmla="*/ 58 w 189"/>
                <a:gd name="T21" fmla="*/ 127 h 281"/>
                <a:gd name="T22" fmla="*/ 53 w 189"/>
                <a:gd name="T23" fmla="*/ 134 h 281"/>
                <a:gd name="T24" fmla="*/ 51 w 189"/>
                <a:gd name="T25" fmla="*/ 145 h 281"/>
                <a:gd name="T26" fmla="*/ 51 w 189"/>
                <a:gd name="T27" fmla="*/ 151 h 281"/>
                <a:gd name="T28" fmla="*/ 57 w 189"/>
                <a:gd name="T29" fmla="*/ 163 h 281"/>
                <a:gd name="T30" fmla="*/ 58 w 189"/>
                <a:gd name="T31" fmla="*/ 172 h 281"/>
                <a:gd name="T32" fmla="*/ 60 w 189"/>
                <a:gd name="T33" fmla="*/ 194 h 281"/>
                <a:gd name="T34" fmla="*/ 62 w 189"/>
                <a:gd name="T35" fmla="*/ 205 h 281"/>
                <a:gd name="T36" fmla="*/ 69 w 189"/>
                <a:gd name="T37" fmla="*/ 220 h 281"/>
                <a:gd name="T38" fmla="*/ 73 w 189"/>
                <a:gd name="T39" fmla="*/ 232 h 281"/>
                <a:gd name="T40" fmla="*/ 82 w 189"/>
                <a:gd name="T41" fmla="*/ 254 h 281"/>
                <a:gd name="T42" fmla="*/ 89 w 189"/>
                <a:gd name="T43" fmla="*/ 263 h 281"/>
                <a:gd name="T44" fmla="*/ 102 w 189"/>
                <a:gd name="T45" fmla="*/ 274 h 281"/>
                <a:gd name="T46" fmla="*/ 115 w 189"/>
                <a:gd name="T47" fmla="*/ 278 h 281"/>
                <a:gd name="T48" fmla="*/ 140 w 189"/>
                <a:gd name="T49" fmla="*/ 281 h 281"/>
                <a:gd name="T50" fmla="*/ 149 w 189"/>
                <a:gd name="T51" fmla="*/ 280 h 281"/>
                <a:gd name="T52" fmla="*/ 160 w 189"/>
                <a:gd name="T53" fmla="*/ 276 h 281"/>
                <a:gd name="T54" fmla="*/ 173 w 189"/>
                <a:gd name="T55" fmla="*/ 260 h 281"/>
                <a:gd name="T56" fmla="*/ 176 w 189"/>
                <a:gd name="T57" fmla="*/ 252 h 281"/>
                <a:gd name="T58" fmla="*/ 184 w 189"/>
                <a:gd name="T59" fmla="*/ 240 h 281"/>
                <a:gd name="T60" fmla="*/ 186 w 189"/>
                <a:gd name="T61" fmla="*/ 223 h 281"/>
                <a:gd name="T62" fmla="*/ 182 w 189"/>
                <a:gd name="T63" fmla="*/ 200 h 281"/>
                <a:gd name="T64" fmla="*/ 184 w 189"/>
                <a:gd name="T65" fmla="*/ 171 h 281"/>
                <a:gd name="T66" fmla="*/ 189 w 189"/>
                <a:gd name="T67" fmla="*/ 140 h 281"/>
                <a:gd name="T68" fmla="*/ 189 w 189"/>
                <a:gd name="T69" fmla="*/ 122 h 281"/>
                <a:gd name="T70" fmla="*/ 187 w 189"/>
                <a:gd name="T71" fmla="*/ 112 h 281"/>
                <a:gd name="T72" fmla="*/ 182 w 189"/>
                <a:gd name="T73" fmla="*/ 102 h 281"/>
                <a:gd name="T74" fmla="*/ 171 w 189"/>
                <a:gd name="T75" fmla="*/ 85 h 281"/>
                <a:gd name="T76" fmla="*/ 169 w 189"/>
                <a:gd name="T77" fmla="*/ 76 h 281"/>
                <a:gd name="T78" fmla="*/ 167 w 189"/>
                <a:gd name="T79" fmla="*/ 63 h 281"/>
                <a:gd name="T80" fmla="*/ 162 w 189"/>
                <a:gd name="T81" fmla="*/ 20 h 281"/>
                <a:gd name="T82" fmla="*/ 147 w 189"/>
                <a:gd name="T83" fmla="*/ 20 h 281"/>
                <a:gd name="T84" fmla="*/ 147 w 189"/>
                <a:gd name="T85" fmla="*/ 11 h 281"/>
                <a:gd name="T86" fmla="*/ 142 w 189"/>
                <a:gd name="T87" fmla="*/ 14 h 281"/>
                <a:gd name="T88" fmla="*/ 140 w 189"/>
                <a:gd name="T89" fmla="*/ 14 h 281"/>
                <a:gd name="T90" fmla="*/ 129 w 189"/>
                <a:gd name="T91" fmla="*/ 9 h 281"/>
                <a:gd name="T92" fmla="*/ 111 w 189"/>
                <a:gd name="T93" fmla="*/ 11 h 281"/>
                <a:gd name="T94" fmla="*/ 100 w 189"/>
                <a:gd name="T95" fmla="*/ 0 h 281"/>
                <a:gd name="T96" fmla="*/ 100 w 189"/>
                <a:gd name="T97" fmla="*/ 9 h 281"/>
                <a:gd name="T98" fmla="*/ 66 w 189"/>
                <a:gd name="T99" fmla="*/ 23 h 281"/>
                <a:gd name="T100" fmla="*/ 58 w 189"/>
                <a:gd name="T101" fmla="*/ 51 h 281"/>
                <a:gd name="T102" fmla="*/ 35 w 189"/>
                <a:gd name="T103" fmla="*/ 65 h 281"/>
                <a:gd name="T104" fmla="*/ 24 w 189"/>
                <a:gd name="T105" fmla="*/ 63 h 281"/>
                <a:gd name="T106" fmla="*/ 11 w 189"/>
                <a:gd name="T107" fmla="*/ 65 h 281"/>
                <a:gd name="T108" fmla="*/ 8 w 189"/>
                <a:gd name="T109" fmla="*/ 67 h 281"/>
                <a:gd name="T110" fmla="*/ 0 w 189"/>
                <a:gd name="T111" fmla="*/ 80 h 281"/>
                <a:gd name="T112" fmla="*/ 0 w 189"/>
                <a:gd name="T113" fmla="*/ 80 h 281"/>
                <a:gd name="T114" fmla="*/ 6 w 189"/>
                <a:gd name="T115" fmla="*/ 91 h 281"/>
                <a:gd name="T116" fmla="*/ 9 w 189"/>
                <a:gd name="T117" fmla="*/ 102 h 281"/>
                <a:gd name="T118" fmla="*/ 15 w 189"/>
                <a:gd name="T119" fmla="*/ 103 h 281"/>
                <a:gd name="T120" fmla="*/ 20 w 189"/>
                <a:gd name="T121" fmla="*/ 114 h 281"/>
                <a:gd name="T122" fmla="*/ 22 w 189"/>
                <a:gd name="T123" fmla="*/ 122 h 281"/>
                <a:gd name="T124" fmla="*/ 22 w 189"/>
                <a:gd name="T125" fmla="*/ 12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9" h="281">
                  <a:moveTo>
                    <a:pt x="22" y="122"/>
                  </a:moveTo>
                  <a:lnTo>
                    <a:pt x="22" y="122"/>
                  </a:lnTo>
                  <a:lnTo>
                    <a:pt x="22" y="125"/>
                  </a:lnTo>
                  <a:lnTo>
                    <a:pt x="22" y="127"/>
                  </a:lnTo>
                  <a:lnTo>
                    <a:pt x="26" y="131"/>
                  </a:lnTo>
                  <a:lnTo>
                    <a:pt x="29" y="134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40"/>
                  </a:lnTo>
                  <a:lnTo>
                    <a:pt x="38" y="145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42" y="143"/>
                  </a:lnTo>
                  <a:lnTo>
                    <a:pt x="42" y="138"/>
                  </a:lnTo>
                  <a:lnTo>
                    <a:pt x="46" y="134"/>
                  </a:lnTo>
                  <a:lnTo>
                    <a:pt x="46" y="134"/>
                  </a:lnTo>
                  <a:lnTo>
                    <a:pt x="53" y="125"/>
                  </a:lnTo>
                  <a:lnTo>
                    <a:pt x="57" y="116"/>
                  </a:lnTo>
                  <a:lnTo>
                    <a:pt x="57" y="116"/>
                  </a:lnTo>
                  <a:lnTo>
                    <a:pt x="58" y="122"/>
                  </a:lnTo>
                  <a:lnTo>
                    <a:pt x="60" y="125"/>
                  </a:lnTo>
                  <a:lnTo>
                    <a:pt x="58" y="127"/>
                  </a:lnTo>
                  <a:lnTo>
                    <a:pt x="58" y="127"/>
                  </a:lnTo>
                  <a:lnTo>
                    <a:pt x="53" y="134"/>
                  </a:lnTo>
                  <a:lnTo>
                    <a:pt x="51" y="138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1" y="151"/>
                  </a:lnTo>
                  <a:lnTo>
                    <a:pt x="53" y="156"/>
                  </a:lnTo>
                  <a:lnTo>
                    <a:pt x="57" y="163"/>
                  </a:lnTo>
                  <a:lnTo>
                    <a:pt x="58" y="172"/>
                  </a:lnTo>
                  <a:lnTo>
                    <a:pt x="58" y="172"/>
                  </a:lnTo>
                  <a:lnTo>
                    <a:pt x="58" y="189"/>
                  </a:lnTo>
                  <a:lnTo>
                    <a:pt x="60" y="194"/>
                  </a:lnTo>
                  <a:lnTo>
                    <a:pt x="62" y="205"/>
                  </a:lnTo>
                  <a:lnTo>
                    <a:pt x="62" y="205"/>
                  </a:lnTo>
                  <a:lnTo>
                    <a:pt x="68" y="216"/>
                  </a:lnTo>
                  <a:lnTo>
                    <a:pt x="69" y="220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8" y="243"/>
                  </a:lnTo>
                  <a:lnTo>
                    <a:pt x="82" y="254"/>
                  </a:lnTo>
                  <a:lnTo>
                    <a:pt x="86" y="260"/>
                  </a:lnTo>
                  <a:lnTo>
                    <a:pt x="89" y="263"/>
                  </a:lnTo>
                  <a:lnTo>
                    <a:pt x="95" y="271"/>
                  </a:lnTo>
                  <a:lnTo>
                    <a:pt x="102" y="274"/>
                  </a:lnTo>
                  <a:lnTo>
                    <a:pt x="102" y="274"/>
                  </a:lnTo>
                  <a:lnTo>
                    <a:pt x="115" y="278"/>
                  </a:lnTo>
                  <a:lnTo>
                    <a:pt x="127" y="281"/>
                  </a:lnTo>
                  <a:lnTo>
                    <a:pt x="140" y="281"/>
                  </a:lnTo>
                  <a:lnTo>
                    <a:pt x="149" y="280"/>
                  </a:lnTo>
                  <a:lnTo>
                    <a:pt x="149" y="280"/>
                  </a:lnTo>
                  <a:lnTo>
                    <a:pt x="153" y="278"/>
                  </a:lnTo>
                  <a:lnTo>
                    <a:pt x="160" y="276"/>
                  </a:lnTo>
                  <a:lnTo>
                    <a:pt x="166" y="269"/>
                  </a:lnTo>
                  <a:lnTo>
                    <a:pt x="173" y="260"/>
                  </a:lnTo>
                  <a:lnTo>
                    <a:pt x="176" y="252"/>
                  </a:lnTo>
                  <a:lnTo>
                    <a:pt x="176" y="252"/>
                  </a:lnTo>
                  <a:lnTo>
                    <a:pt x="182" y="247"/>
                  </a:lnTo>
                  <a:lnTo>
                    <a:pt x="184" y="240"/>
                  </a:lnTo>
                  <a:lnTo>
                    <a:pt x="186" y="232"/>
                  </a:lnTo>
                  <a:lnTo>
                    <a:pt x="186" y="223"/>
                  </a:lnTo>
                  <a:lnTo>
                    <a:pt x="186" y="223"/>
                  </a:lnTo>
                  <a:lnTo>
                    <a:pt x="182" y="200"/>
                  </a:lnTo>
                  <a:lnTo>
                    <a:pt x="182" y="187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9" y="140"/>
                  </a:lnTo>
                  <a:lnTo>
                    <a:pt x="189" y="127"/>
                  </a:lnTo>
                  <a:lnTo>
                    <a:pt x="189" y="122"/>
                  </a:lnTo>
                  <a:lnTo>
                    <a:pt x="187" y="112"/>
                  </a:lnTo>
                  <a:lnTo>
                    <a:pt x="187" y="112"/>
                  </a:lnTo>
                  <a:lnTo>
                    <a:pt x="186" y="107"/>
                  </a:lnTo>
                  <a:lnTo>
                    <a:pt x="182" y="102"/>
                  </a:lnTo>
                  <a:lnTo>
                    <a:pt x="176" y="92"/>
                  </a:lnTo>
                  <a:lnTo>
                    <a:pt x="171" y="85"/>
                  </a:lnTo>
                  <a:lnTo>
                    <a:pt x="169" y="82"/>
                  </a:lnTo>
                  <a:lnTo>
                    <a:pt x="169" y="76"/>
                  </a:lnTo>
                  <a:lnTo>
                    <a:pt x="169" y="76"/>
                  </a:lnTo>
                  <a:lnTo>
                    <a:pt x="167" y="63"/>
                  </a:lnTo>
                  <a:lnTo>
                    <a:pt x="166" y="45"/>
                  </a:lnTo>
                  <a:lnTo>
                    <a:pt x="162" y="20"/>
                  </a:lnTo>
                  <a:lnTo>
                    <a:pt x="155" y="23"/>
                  </a:lnTo>
                  <a:lnTo>
                    <a:pt x="147" y="20"/>
                  </a:lnTo>
                  <a:lnTo>
                    <a:pt x="147" y="11"/>
                  </a:lnTo>
                  <a:lnTo>
                    <a:pt x="147" y="11"/>
                  </a:lnTo>
                  <a:lnTo>
                    <a:pt x="144" y="13"/>
                  </a:lnTo>
                  <a:lnTo>
                    <a:pt x="142" y="14"/>
                  </a:lnTo>
                  <a:lnTo>
                    <a:pt x="140" y="14"/>
                  </a:lnTo>
                  <a:lnTo>
                    <a:pt x="140" y="14"/>
                  </a:lnTo>
                  <a:lnTo>
                    <a:pt x="133" y="11"/>
                  </a:lnTo>
                  <a:lnTo>
                    <a:pt x="129" y="9"/>
                  </a:lnTo>
                  <a:lnTo>
                    <a:pt x="126" y="5"/>
                  </a:lnTo>
                  <a:lnTo>
                    <a:pt x="111" y="11"/>
                  </a:lnTo>
                  <a:lnTo>
                    <a:pt x="109" y="7"/>
                  </a:lnTo>
                  <a:lnTo>
                    <a:pt x="100" y="0"/>
                  </a:lnTo>
                  <a:lnTo>
                    <a:pt x="95" y="2"/>
                  </a:lnTo>
                  <a:lnTo>
                    <a:pt x="100" y="9"/>
                  </a:lnTo>
                  <a:lnTo>
                    <a:pt x="82" y="11"/>
                  </a:lnTo>
                  <a:lnTo>
                    <a:pt x="66" y="23"/>
                  </a:lnTo>
                  <a:lnTo>
                    <a:pt x="66" y="42"/>
                  </a:lnTo>
                  <a:lnTo>
                    <a:pt x="58" y="51"/>
                  </a:lnTo>
                  <a:lnTo>
                    <a:pt x="53" y="62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24" y="63"/>
                  </a:lnTo>
                  <a:lnTo>
                    <a:pt x="17" y="63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8" y="67"/>
                  </a:lnTo>
                  <a:lnTo>
                    <a:pt x="6" y="69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6" y="91"/>
                  </a:lnTo>
                  <a:lnTo>
                    <a:pt x="8" y="96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15" y="103"/>
                  </a:lnTo>
                  <a:lnTo>
                    <a:pt x="18" y="107"/>
                  </a:lnTo>
                  <a:lnTo>
                    <a:pt x="20" y="114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2" y="1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4" name="Freeform 76">
              <a:extLst>
                <a:ext uri="{FF2B5EF4-FFF2-40B4-BE49-F238E27FC236}">
                  <a16:creationId xmlns:a16="http://schemas.microsoft.com/office/drawing/2014/main" id="{1CEBD041-5B9C-244B-A462-4013A2CF7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948" y="3354482"/>
              <a:ext cx="202762" cy="261799"/>
            </a:xfrm>
            <a:custGeom>
              <a:avLst/>
              <a:gdLst>
                <a:gd name="T0" fmla="*/ 29 w 140"/>
                <a:gd name="T1" fmla="*/ 174 h 183"/>
                <a:gd name="T2" fmla="*/ 33 w 140"/>
                <a:gd name="T3" fmla="*/ 183 h 183"/>
                <a:gd name="T4" fmla="*/ 42 w 140"/>
                <a:gd name="T5" fmla="*/ 170 h 183"/>
                <a:gd name="T6" fmla="*/ 56 w 140"/>
                <a:gd name="T7" fmla="*/ 167 h 183"/>
                <a:gd name="T8" fmla="*/ 58 w 140"/>
                <a:gd name="T9" fmla="*/ 165 h 183"/>
                <a:gd name="T10" fmla="*/ 60 w 140"/>
                <a:gd name="T11" fmla="*/ 156 h 183"/>
                <a:gd name="T12" fmla="*/ 66 w 140"/>
                <a:gd name="T13" fmla="*/ 143 h 183"/>
                <a:gd name="T14" fmla="*/ 75 w 140"/>
                <a:gd name="T15" fmla="*/ 136 h 183"/>
                <a:gd name="T16" fmla="*/ 82 w 140"/>
                <a:gd name="T17" fmla="*/ 134 h 183"/>
                <a:gd name="T18" fmla="*/ 80 w 140"/>
                <a:gd name="T19" fmla="*/ 129 h 183"/>
                <a:gd name="T20" fmla="*/ 82 w 140"/>
                <a:gd name="T21" fmla="*/ 121 h 183"/>
                <a:gd name="T22" fmla="*/ 91 w 140"/>
                <a:gd name="T23" fmla="*/ 120 h 183"/>
                <a:gd name="T24" fmla="*/ 93 w 140"/>
                <a:gd name="T25" fmla="*/ 118 h 183"/>
                <a:gd name="T26" fmla="*/ 96 w 140"/>
                <a:gd name="T27" fmla="*/ 110 h 183"/>
                <a:gd name="T28" fmla="*/ 100 w 140"/>
                <a:gd name="T29" fmla="*/ 107 h 183"/>
                <a:gd name="T30" fmla="*/ 105 w 140"/>
                <a:gd name="T31" fmla="*/ 110 h 183"/>
                <a:gd name="T32" fmla="*/ 115 w 140"/>
                <a:gd name="T33" fmla="*/ 101 h 183"/>
                <a:gd name="T34" fmla="*/ 118 w 140"/>
                <a:gd name="T35" fmla="*/ 94 h 183"/>
                <a:gd name="T36" fmla="*/ 116 w 140"/>
                <a:gd name="T37" fmla="*/ 87 h 183"/>
                <a:gd name="T38" fmla="*/ 116 w 140"/>
                <a:gd name="T39" fmla="*/ 78 h 183"/>
                <a:gd name="T40" fmla="*/ 116 w 140"/>
                <a:gd name="T41" fmla="*/ 70 h 183"/>
                <a:gd name="T42" fmla="*/ 122 w 140"/>
                <a:gd name="T43" fmla="*/ 69 h 183"/>
                <a:gd name="T44" fmla="*/ 133 w 140"/>
                <a:gd name="T45" fmla="*/ 69 h 183"/>
                <a:gd name="T46" fmla="*/ 131 w 140"/>
                <a:gd name="T47" fmla="*/ 61 h 183"/>
                <a:gd name="T48" fmla="*/ 133 w 140"/>
                <a:gd name="T49" fmla="*/ 51 h 183"/>
                <a:gd name="T50" fmla="*/ 136 w 140"/>
                <a:gd name="T51" fmla="*/ 43 h 183"/>
                <a:gd name="T52" fmla="*/ 140 w 140"/>
                <a:gd name="T53" fmla="*/ 32 h 183"/>
                <a:gd name="T54" fmla="*/ 135 w 140"/>
                <a:gd name="T55" fmla="*/ 18 h 183"/>
                <a:gd name="T56" fmla="*/ 135 w 140"/>
                <a:gd name="T57" fmla="*/ 14 h 183"/>
                <a:gd name="T58" fmla="*/ 136 w 140"/>
                <a:gd name="T59" fmla="*/ 7 h 183"/>
                <a:gd name="T60" fmla="*/ 133 w 140"/>
                <a:gd name="T61" fmla="*/ 0 h 183"/>
                <a:gd name="T62" fmla="*/ 115 w 140"/>
                <a:gd name="T63" fmla="*/ 0 h 183"/>
                <a:gd name="T64" fmla="*/ 100 w 140"/>
                <a:gd name="T65" fmla="*/ 12 h 183"/>
                <a:gd name="T66" fmla="*/ 91 w 140"/>
                <a:gd name="T67" fmla="*/ 20 h 183"/>
                <a:gd name="T68" fmla="*/ 82 w 140"/>
                <a:gd name="T69" fmla="*/ 29 h 183"/>
                <a:gd name="T70" fmla="*/ 56 w 140"/>
                <a:gd name="T71" fmla="*/ 31 h 183"/>
                <a:gd name="T72" fmla="*/ 53 w 140"/>
                <a:gd name="T73" fmla="*/ 45 h 183"/>
                <a:gd name="T74" fmla="*/ 29 w 140"/>
                <a:gd name="T75" fmla="*/ 54 h 183"/>
                <a:gd name="T76" fmla="*/ 27 w 140"/>
                <a:gd name="T77" fmla="*/ 65 h 183"/>
                <a:gd name="T78" fmla="*/ 0 w 140"/>
                <a:gd name="T79" fmla="*/ 87 h 183"/>
                <a:gd name="T80" fmla="*/ 9 w 140"/>
                <a:gd name="T81" fmla="*/ 112 h 183"/>
                <a:gd name="T82" fmla="*/ 0 w 140"/>
                <a:gd name="T83" fmla="*/ 127 h 183"/>
                <a:gd name="T84" fmla="*/ 15 w 140"/>
                <a:gd name="T85" fmla="*/ 138 h 183"/>
                <a:gd name="T86" fmla="*/ 20 w 140"/>
                <a:gd name="T87" fmla="*/ 152 h 183"/>
                <a:gd name="T88" fmla="*/ 16 w 140"/>
                <a:gd name="T89" fmla="*/ 169 h 183"/>
                <a:gd name="T90" fmla="*/ 27 w 140"/>
                <a:gd name="T91" fmla="*/ 169 h 183"/>
                <a:gd name="T92" fmla="*/ 27 w 140"/>
                <a:gd name="T93" fmla="*/ 16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0" h="183">
                  <a:moveTo>
                    <a:pt x="27" y="169"/>
                  </a:moveTo>
                  <a:lnTo>
                    <a:pt x="27" y="169"/>
                  </a:lnTo>
                  <a:lnTo>
                    <a:pt x="29" y="174"/>
                  </a:lnTo>
                  <a:lnTo>
                    <a:pt x="29" y="178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6" y="178"/>
                  </a:lnTo>
                  <a:lnTo>
                    <a:pt x="40" y="176"/>
                  </a:lnTo>
                  <a:lnTo>
                    <a:pt x="42" y="170"/>
                  </a:lnTo>
                  <a:lnTo>
                    <a:pt x="42" y="170"/>
                  </a:lnTo>
                  <a:lnTo>
                    <a:pt x="53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0"/>
                  </a:lnTo>
                  <a:lnTo>
                    <a:pt x="60" y="156"/>
                  </a:lnTo>
                  <a:lnTo>
                    <a:pt x="60" y="156"/>
                  </a:lnTo>
                  <a:lnTo>
                    <a:pt x="62" y="152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69" y="138"/>
                  </a:lnTo>
                  <a:lnTo>
                    <a:pt x="71" y="138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0" y="129"/>
                  </a:lnTo>
                  <a:lnTo>
                    <a:pt x="80" y="125"/>
                  </a:lnTo>
                  <a:lnTo>
                    <a:pt x="82" y="123"/>
                  </a:lnTo>
                  <a:lnTo>
                    <a:pt x="82" y="121"/>
                  </a:lnTo>
                  <a:lnTo>
                    <a:pt x="82" y="121"/>
                  </a:lnTo>
                  <a:lnTo>
                    <a:pt x="86" y="120"/>
                  </a:lnTo>
                  <a:lnTo>
                    <a:pt x="91" y="120"/>
                  </a:lnTo>
                  <a:lnTo>
                    <a:pt x="93" y="120"/>
                  </a:lnTo>
                  <a:lnTo>
                    <a:pt x="93" y="118"/>
                  </a:lnTo>
                  <a:lnTo>
                    <a:pt x="93" y="118"/>
                  </a:lnTo>
                  <a:lnTo>
                    <a:pt x="93" y="114"/>
                  </a:lnTo>
                  <a:lnTo>
                    <a:pt x="93" y="112"/>
                  </a:lnTo>
                  <a:lnTo>
                    <a:pt x="96" y="110"/>
                  </a:lnTo>
                  <a:lnTo>
                    <a:pt x="98" y="110"/>
                  </a:lnTo>
                  <a:lnTo>
                    <a:pt x="98" y="110"/>
                  </a:lnTo>
                  <a:lnTo>
                    <a:pt x="100" y="107"/>
                  </a:lnTo>
                  <a:lnTo>
                    <a:pt x="102" y="110"/>
                  </a:lnTo>
                  <a:lnTo>
                    <a:pt x="102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11" y="105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8" y="98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6" y="90"/>
                  </a:lnTo>
                  <a:lnTo>
                    <a:pt x="116" y="87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6" y="78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70"/>
                  </a:lnTo>
                  <a:lnTo>
                    <a:pt x="118" y="69"/>
                  </a:lnTo>
                  <a:lnTo>
                    <a:pt x="122" y="69"/>
                  </a:lnTo>
                  <a:lnTo>
                    <a:pt x="122" y="69"/>
                  </a:lnTo>
                  <a:lnTo>
                    <a:pt x="127" y="69"/>
                  </a:lnTo>
                  <a:lnTo>
                    <a:pt x="133" y="69"/>
                  </a:lnTo>
                  <a:lnTo>
                    <a:pt x="133" y="69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1" y="61"/>
                  </a:lnTo>
                  <a:lnTo>
                    <a:pt x="133" y="58"/>
                  </a:lnTo>
                  <a:lnTo>
                    <a:pt x="133" y="54"/>
                  </a:lnTo>
                  <a:lnTo>
                    <a:pt x="133" y="51"/>
                  </a:lnTo>
                  <a:lnTo>
                    <a:pt x="133" y="51"/>
                  </a:lnTo>
                  <a:lnTo>
                    <a:pt x="135" y="45"/>
                  </a:lnTo>
                  <a:lnTo>
                    <a:pt x="136" y="43"/>
                  </a:lnTo>
                  <a:lnTo>
                    <a:pt x="140" y="36"/>
                  </a:lnTo>
                  <a:lnTo>
                    <a:pt x="140" y="36"/>
                  </a:lnTo>
                  <a:lnTo>
                    <a:pt x="140" y="32"/>
                  </a:lnTo>
                  <a:lnTo>
                    <a:pt x="140" y="25"/>
                  </a:lnTo>
                  <a:lnTo>
                    <a:pt x="136" y="21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3" y="16"/>
                  </a:lnTo>
                  <a:lnTo>
                    <a:pt x="135" y="14"/>
                  </a:lnTo>
                  <a:lnTo>
                    <a:pt x="136" y="11"/>
                  </a:lnTo>
                  <a:lnTo>
                    <a:pt x="136" y="7"/>
                  </a:lnTo>
                  <a:lnTo>
                    <a:pt x="136" y="7"/>
                  </a:lnTo>
                  <a:lnTo>
                    <a:pt x="135" y="3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24" y="0"/>
                  </a:lnTo>
                  <a:lnTo>
                    <a:pt x="120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05" y="7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6" y="16"/>
                  </a:lnTo>
                  <a:lnTo>
                    <a:pt x="91" y="20"/>
                  </a:lnTo>
                  <a:lnTo>
                    <a:pt x="86" y="23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75" y="25"/>
                  </a:lnTo>
                  <a:lnTo>
                    <a:pt x="64" y="25"/>
                  </a:lnTo>
                  <a:lnTo>
                    <a:pt x="56" y="31"/>
                  </a:lnTo>
                  <a:lnTo>
                    <a:pt x="58" y="34"/>
                  </a:lnTo>
                  <a:lnTo>
                    <a:pt x="55" y="38"/>
                  </a:lnTo>
                  <a:lnTo>
                    <a:pt x="53" y="45"/>
                  </a:lnTo>
                  <a:lnTo>
                    <a:pt x="42" y="49"/>
                  </a:lnTo>
                  <a:lnTo>
                    <a:pt x="36" y="52"/>
                  </a:lnTo>
                  <a:lnTo>
                    <a:pt x="29" y="54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27" y="65"/>
                  </a:lnTo>
                  <a:lnTo>
                    <a:pt x="15" y="78"/>
                  </a:lnTo>
                  <a:lnTo>
                    <a:pt x="0" y="83"/>
                  </a:lnTo>
                  <a:lnTo>
                    <a:pt x="0" y="87"/>
                  </a:lnTo>
                  <a:lnTo>
                    <a:pt x="7" y="96"/>
                  </a:lnTo>
                  <a:lnTo>
                    <a:pt x="2" y="103"/>
                  </a:lnTo>
                  <a:lnTo>
                    <a:pt x="9" y="112"/>
                  </a:lnTo>
                  <a:lnTo>
                    <a:pt x="13" y="121"/>
                  </a:lnTo>
                  <a:lnTo>
                    <a:pt x="6" y="123"/>
                  </a:lnTo>
                  <a:lnTo>
                    <a:pt x="0" y="127"/>
                  </a:lnTo>
                  <a:lnTo>
                    <a:pt x="7" y="134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6" y="143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18" y="160"/>
                  </a:lnTo>
                  <a:lnTo>
                    <a:pt x="18" y="165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22" y="167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5" name="Freeform 78">
              <a:extLst>
                <a:ext uri="{FF2B5EF4-FFF2-40B4-BE49-F238E27FC236}">
                  <a16:creationId xmlns:a16="http://schemas.microsoft.com/office/drawing/2014/main" id="{7D056A94-F627-2246-98B8-42DC01630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4991" y="3202838"/>
              <a:ext cx="1510575" cy="1586532"/>
            </a:xfrm>
            <a:custGeom>
              <a:avLst/>
              <a:gdLst>
                <a:gd name="T0" fmla="*/ 104 w 1043"/>
                <a:gd name="T1" fmla="*/ 393 h 1109"/>
                <a:gd name="T2" fmla="*/ 64 w 1043"/>
                <a:gd name="T3" fmla="*/ 478 h 1109"/>
                <a:gd name="T4" fmla="*/ 0 w 1043"/>
                <a:gd name="T5" fmla="*/ 511 h 1109"/>
                <a:gd name="T6" fmla="*/ 18 w 1043"/>
                <a:gd name="T7" fmla="*/ 676 h 1109"/>
                <a:gd name="T8" fmla="*/ 33 w 1043"/>
                <a:gd name="T9" fmla="*/ 727 h 1109"/>
                <a:gd name="T10" fmla="*/ 49 w 1043"/>
                <a:gd name="T11" fmla="*/ 780 h 1109"/>
                <a:gd name="T12" fmla="*/ 78 w 1043"/>
                <a:gd name="T13" fmla="*/ 816 h 1109"/>
                <a:gd name="T14" fmla="*/ 115 w 1043"/>
                <a:gd name="T15" fmla="*/ 869 h 1109"/>
                <a:gd name="T16" fmla="*/ 127 w 1043"/>
                <a:gd name="T17" fmla="*/ 901 h 1109"/>
                <a:gd name="T18" fmla="*/ 146 w 1043"/>
                <a:gd name="T19" fmla="*/ 989 h 1109"/>
                <a:gd name="T20" fmla="*/ 175 w 1043"/>
                <a:gd name="T21" fmla="*/ 1045 h 1109"/>
                <a:gd name="T22" fmla="*/ 236 w 1043"/>
                <a:gd name="T23" fmla="*/ 1041 h 1109"/>
                <a:gd name="T24" fmla="*/ 275 w 1043"/>
                <a:gd name="T25" fmla="*/ 983 h 1109"/>
                <a:gd name="T26" fmla="*/ 349 w 1043"/>
                <a:gd name="T27" fmla="*/ 976 h 1109"/>
                <a:gd name="T28" fmla="*/ 398 w 1043"/>
                <a:gd name="T29" fmla="*/ 992 h 1109"/>
                <a:gd name="T30" fmla="*/ 434 w 1043"/>
                <a:gd name="T31" fmla="*/ 1072 h 1109"/>
                <a:gd name="T32" fmla="*/ 482 w 1043"/>
                <a:gd name="T33" fmla="*/ 1092 h 1109"/>
                <a:gd name="T34" fmla="*/ 538 w 1043"/>
                <a:gd name="T35" fmla="*/ 1094 h 1109"/>
                <a:gd name="T36" fmla="*/ 596 w 1043"/>
                <a:gd name="T37" fmla="*/ 1094 h 1109"/>
                <a:gd name="T38" fmla="*/ 649 w 1043"/>
                <a:gd name="T39" fmla="*/ 1103 h 1109"/>
                <a:gd name="T40" fmla="*/ 680 w 1043"/>
                <a:gd name="T41" fmla="*/ 1103 h 1109"/>
                <a:gd name="T42" fmla="*/ 712 w 1043"/>
                <a:gd name="T43" fmla="*/ 1094 h 1109"/>
                <a:gd name="T44" fmla="*/ 754 w 1043"/>
                <a:gd name="T45" fmla="*/ 1067 h 1109"/>
                <a:gd name="T46" fmla="*/ 796 w 1043"/>
                <a:gd name="T47" fmla="*/ 1001 h 1109"/>
                <a:gd name="T48" fmla="*/ 779 w 1043"/>
                <a:gd name="T49" fmla="*/ 960 h 1109"/>
                <a:gd name="T50" fmla="*/ 778 w 1043"/>
                <a:gd name="T51" fmla="*/ 914 h 1109"/>
                <a:gd name="T52" fmla="*/ 783 w 1043"/>
                <a:gd name="T53" fmla="*/ 838 h 1109"/>
                <a:gd name="T54" fmla="*/ 836 w 1043"/>
                <a:gd name="T55" fmla="*/ 798 h 1109"/>
                <a:gd name="T56" fmla="*/ 872 w 1043"/>
                <a:gd name="T57" fmla="*/ 769 h 1109"/>
                <a:gd name="T58" fmla="*/ 881 w 1043"/>
                <a:gd name="T59" fmla="*/ 749 h 1109"/>
                <a:gd name="T60" fmla="*/ 847 w 1043"/>
                <a:gd name="T61" fmla="*/ 689 h 1109"/>
                <a:gd name="T62" fmla="*/ 861 w 1043"/>
                <a:gd name="T63" fmla="*/ 662 h 1109"/>
                <a:gd name="T64" fmla="*/ 856 w 1043"/>
                <a:gd name="T65" fmla="*/ 603 h 1109"/>
                <a:gd name="T66" fmla="*/ 901 w 1043"/>
                <a:gd name="T67" fmla="*/ 596 h 1109"/>
                <a:gd name="T68" fmla="*/ 928 w 1043"/>
                <a:gd name="T69" fmla="*/ 576 h 1109"/>
                <a:gd name="T70" fmla="*/ 954 w 1043"/>
                <a:gd name="T71" fmla="*/ 580 h 1109"/>
                <a:gd name="T72" fmla="*/ 925 w 1043"/>
                <a:gd name="T73" fmla="*/ 500 h 1109"/>
                <a:gd name="T74" fmla="*/ 921 w 1043"/>
                <a:gd name="T75" fmla="*/ 436 h 1109"/>
                <a:gd name="T76" fmla="*/ 947 w 1043"/>
                <a:gd name="T77" fmla="*/ 413 h 1109"/>
                <a:gd name="T78" fmla="*/ 963 w 1043"/>
                <a:gd name="T79" fmla="*/ 389 h 1109"/>
                <a:gd name="T80" fmla="*/ 987 w 1043"/>
                <a:gd name="T81" fmla="*/ 380 h 1109"/>
                <a:gd name="T82" fmla="*/ 1010 w 1043"/>
                <a:gd name="T83" fmla="*/ 344 h 1109"/>
                <a:gd name="T84" fmla="*/ 990 w 1043"/>
                <a:gd name="T85" fmla="*/ 311 h 1109"/>
                <a:gd name="T86" fmla="*/ 979 w 1043"/>
                <a:gd name="T87" fmla="*/ 269 h 1109"/>
                <a:gd name="T88" fmla="*/ 981 w 1043"/>
                <a:gd name="T89" fmla="*/ 238 h 1109"/>
                <a:gd name="T90" fmla="*/ 1028 w 1043"/>
                <a:gd name="T91" fmla="*/ 169 h 1109"/>
                <a:gd name="T92" fmla="*/ 977 w 1043"/>
                <a:gd name="T93" fmla="*/ 78 h 1109"/>
                <a:gd name="T94" fmla="*/ 950 w 1043"/>
                <a:gd name="T95" fmla="*/ 6 h 1109"/>
                <a:gd name="T96" fmla="*/ 885 w 1043"/>
                <a:gd name="T97" fmla="*/ 11 h 1109"/>
                <a:gd name="T98" fmla="*/ 772 w 1043"/>
                <a:gd name="T99" fmla="*/ 89 h 1109"/>
                <a:gd name="T100" fmla="*/ 696 w 1043"/>
                <a:gd name="T101" fmla="*/ 86 h 1109"/>
                <a:gd name="T102" fmla="*/ 601 w 1043"/>
                <a:gd name="T103" fmla="*/ 109 h 1109"/>
                <a:gd name="T104" fmla="*/ 547 w 1043"/>
                <a:gd name="T105" fmla="*/ 151 h 1109"/>
                <a:gd name="T106" fmla="*/ 547 w 1043"/>
                <a:gd name="T107" fmla="*/ 175 h 1109"/>
                <a:gd name="T108" fmla="*/ 531 w 1043"/>
                <a:gd name="T109" fmla="*/ 226 h 1109"/>
                <a:gd name="T110" fmla="*/ 467 w 1043"/>
                <a:gd name="T111" fmla="*/ 266 h 1109"/>
                <a:gd name="T112" fmla="*/ 429 w 1043"/>
                <a:gd name="T113" fmla="*/ 316 h 1109"/>
                <a:gd name="T114" fmla="*/ 336 w 1043"/>
                <a:gd name="T115" fmla="*/ 209 h 1109"/>
                <a:gd name="T116" fmla="*/ 258 w 1043"/>
                <a:gd name="T117" fmla="*/ 229 h 1109"/>
                <a:gd name="T118" fmla="*/ 196 w 1043"/>
                <a:gd name="T119" fmla="*/ 273 h 1109"/>
                <a:gd name="T120" fmla="*/ 147 w 1043"/>
                <a:gd name="T121" fmla="*/ 258 h 1109"/>
                <a:gd name="T122" fmla="*/ 73 w 1043"/>
                <a:gd name="T123" fmla="*/ 267 h 1109"/>
                <a:gd name="T124" fmla="*/ 66 w 1043"/>
                <a:gd name="T125" fmla="*/ 327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3" h="1109">
                  <a:moveTo>
                    <a:pt x="66" y="327"/>
                  </a:moveTo>
                  <a:lnTo>
                    <a:pt x="66" y="327"/>
                  </a:lnTo>
                  <a:lnTo>
                    <a:pt x="66" y="335"/>
                  </a:lnTo>
                  <a:lnTo>
                    <a:pt x="69" y="338"/>
                  </a:lnTo>
                  <a:lnTo>
                    <a:pt x="71" y="338"/>
                  </a:lnTo>
                  <a:lnTo>
                    <a:pt x="73" y="344"/>
                  </a:lnTo>
                  <a:lnTo>
                    <a:pt x="82" y="347"/>
                  </a:lnTo>
                  <a:lnTo>
                    <a:pt x="86" y="349"/>
                  </a:lnTo>
                  <a:lnTo>
                    <a:pt x="89" y="351"/>
                  </a:lnTo>
                  <a:lnTo>
                    <a:pt x="89" y="351"/>
                  </a:lnTo>
                  <a:lnTo>
                    <a:pt x="89" y="355"/>
                  </a:lnTo>
                  <a:lnTo>
                    <a:pt x="91" y="358"/>
                  </a:lnTo>
                  <a:lnTo>
                    <a:pt x="93" y="367"/>
                  </a:lnTo>
                  <a:lnTo>
                    <a:pt x="95" y="380"/>
                  </a:lnTo>
                  <a:lnTo>
                    <a:pt x="95" y="380"/>
                  </a:lnTo>
                  <a:lnTo>
                    <a:pt x="97" y="387"/>
                  </a:lnTo>
                  <a:lnTo>
                    <a:pt x="104" y="393"/>
                  </a:lnTo>
                  <a:lnTo>
                    <a:pt x="109" y="402"/>
                  </a:lnTo>
                  <a:lnTo>
                    <a:pt x="109" y="402"/>
                  </a:lnTo>
                  <a:lnTo>
                    <a:pt x="104" y="411"/>
                  </a:lnTo>
                  <a:lnTo>
                    <a:pt x="97" y="416"/>
                  </a:lnTo>
                  <a:lnTo>
                    <a:pt x="89" y="425"/>
                  </a:lnTo>
                  <a:lnTo>
                    <a:pt x="89" y="425"/>
                  </a:lnTo>
                  <a:lnTo>
                    <a:pt x="69" y="438"/>
                  </a:lnTo>
                  <a:lnTo>
                    <a:pt x="73" y="449"/>
                  </a:lnTo>
                  <a:lnTo>
                    <a:pt x="73" y="449"/>
                  </a:lnTo>
                  <a:lnTo>
                    <a:pt x="69" y="453"/>
                  </a:lnTo>
                  <a:lnTo>
                    <a:pt x="62" y="460"/>
                  </a:lnTo>
                  <a:lnTo>
                    <a:pt x="62" y="460"/>
                  </a:lnTo>
                  <a:lnTo>
                    <a:pt x="60" y="462"/>
                  </a:lnTo>
                  <a:lnTo>
                    <a:pt x="60" y="462"/>
                  </a:lnTo>
                  <a:lnTo>
                    <a:pt x="62" y="469"/>
                  </a:lnTo>
                  <a:lnTo>
                    <a:pt x="64" y="473"/>
                  </a:lnTo>
                  <a:lnTo>
                    <a:pt x="64" y="478"/>
                  </a:lnTo>
                  <a:lnTo>
                    <a:pt x="64" y="478"/>
                  </a:lnTo>
                  <a:lnTo>
                    <a:pt x="62" y="482"/>
                  </a:lnTo>
                  <a:lnTo>
                    <a:pt x="60" y="482"/>
                  </a:lnTo>
                  <a:lnTo>
                    <a:pt x="55" y="482"/>
                  </a:lnTo>
                  <a:lnTo>
                    <a:pt x="49" y="482"/>
                  </a:lnTo>
                  <a:lnTo>
                    <a:pt x="49" y="482"/>
                  </a:lnTo>
                  <a:lnTo>
                    <a:pt x="46" y="480"/>
                  </a:lnTo>
                  <a:lnTo>
                    <a:pt x="46" y="482"/>
                  </a:lnTo>
                  <a:lnTo>
                    <a:pt x="42" y="484"/>
                  </a:lnTo>
                  <a:lnTo>
                    <a:pt x="40" y="489"/>
                  </a:lnTo>
                  <a:lnTo>
                    <a:pt x="38" y="491"/>
                  </a:lnTo>
                  <a:lnTo>
                    <a:pt x="38" y="491"/>
                  </a:lnTo>
                  <a:lnTo>
                    <a:pt x="24" y="496"/>
                  </a:lnTo>
                  <a:lnTo>
                    <a:pt x="11" y="502"/>
                  </a:lnTo>
                  <a:lnTo>
                    <a:pt x="2" y="505"/>
                  </a:lnTo>
                  <a:lnTo>
                    <a:pt x="2" y="505"/>
                  </a:lnTo>
                  <a:lnTo>
                    <a:pt x="0" y="511"/>
                  </a:lnTo>
                  <a:lnTo>
                    <a:pt x="0" y="514"/>
                  </a:lnTo>
                  <a:lnTo>
                    <a:pt x="4" y="516"/>
                  </a:lnTo>
                  <a:lnTo>
                    <a:pt x="8" y="520"/>
                  </a:lnTo>
                  <a:lnTo>
                    <a:pt x="17" y="529"/>
                  </a:lnTo>
                  <a:lnTo>
                    <a:pt x="18" y="531"/>
                  </a:lnTo>
                  <a:lnTo>
                    <a:pt x="20" y="534"/>
                  </a:lnTo>
                  <a:lnTo>
                    <a:pt x="20" y="534"/>
                  </a:lnTo>
                  <a:lnTo>
                    <a:pt x="24" y="578"/>
                  </a:lnTo>
                  <a:lnTo>
                    <a:pt x="26" y="616"/>
                  </a:lnTo>
                  <a:lnTo>
                    <a:pt x="26" y="616"/>
                  </a:lnTo>
                  <a:lnTo>
                    <a:pt x="6" y="640"/>
                  </a:lnTo>
                  <a:lnTo>
                    <a:pt x="6" y="640"/>
                  </a:lnTo>
                  <a:lnTo>
                    <a:pt x="4" y="642"/>
                  </a:lnTo>
                  <a:lnTo>
                    <a:pt x="6" y="645"/>
                  </a:lnTo>
                  <a:lnTo>
                    <a:pt x="11" y="649"/>
                  </a:lnTo>
                  <a:lnTo>
                    <a:pt x="18" y="658"/>
                  </a:lnTo>
                  <a:lnTo>
                    <a:pt x="18" y="676"/>
                  </a:lnTo>
                  <a:lnTo>
                    <a:pt x="18" y="676"/>
                  </a:lnTo>
                  <a:lnTo>
                    <a:pt x="20" y="682"/>
                  </a:lnTo>
                  <a:lnTo>
                    <a:pt x="22" y="683"/>
                  </a:lnTo>
                  <a:lnTo>
                    <a:pt x="24" y="685"/>
                  </a:lnTo>
                  <a:lnTo>
                    <a:pt x="24" y="685"/>
                  </a:lnTo>
                  <a:lnTo>
                    <a:pt x="26" y="687"/>
                  </a:lnTo>
                  <a:lnTo>
                    <a:pt x="26" y="691"/>
                  </a:lnTo>
                  <a:lnTo>
                    <a:pt x="28" y="702"/>
                  </a:lnTo>
                  <a:lnTo>
                    <a:pt x="28" y="702"/>
                  </a:lnTo>
                  <a:lnTo>
                    <a:pt x="28" y="707"/>
                  </a:lnTo>
                  <a:lnTo>
                    <a:pt x="31" y="711"/>
                  </a:lnTo>
                  <a:lnTo>
                    <a:pt x="33" y="714"/>
                  </a:lnTo>
                  <a:lnTo>
                    <a:pt x="38" y="720"/>
                  </a:lnTo>
                  <a:lnTo>
                    <a:pt x="38" y="720"/>
                  </a:lnTo>
                  <a:lnTo>
                    <a:pt x="38" y="720"/>
                  </a:lnTo>
                  <a:lnTo>
                    <a:pt x="38" y="722"/>
                  </a:lnTo>
                  <a:lnTo>
                    <a:pt x="33" y="727"/>
                  </a:lnTo>
                  <a:lnTo>
                    <a:pt x="28" y="731"/>
                  </a:lnTo>
                  <a:lnTo>
                    <a:pt x="24" y="740"/>
                  </a:lnTo>
                  <a:lnTo>
                    <a:pt x="24" y="740"/>
                  </a:lnTo>
                  <a:lnTo>
                    <a:pt x="20" y="745"/>
                  </a:lnTo>
                  <a:lnTo>
                    <a:pt x="20" y="751"/>
                  </a:lnTo>
                  <a:lnTo>
                    <a:pt x="18" y="765"/>
                  </a:lnTo>
                  <a:lnTo>
                    <a:pt x="18" y="765"/>
                  </a:lnTo>
                  <a:lnTo>
                    <a:pt x="18" y="769"/>
                  </a:lnTo>
                  <a:lnTo>
                    <a:pt x="18" y="771"/>
                  </a:lnTo>
                  <a:lnTo>
                    <a:pt x="22" y="774"/>
                  </a:lnTo>
                  <a:lnTo>
                    <a:pt x="28" y="774"/>
                  </a:lnTo>
                  <a:lnTo>
                    <a:pt x="28" y="774"/>
                  </a:lnTo>
                  <a:lnTo>
                    <a:pt x="31" y="776"/>
                  </a:lnTo>
                  <a:lnTo>
                    <a:pt x="38" y="776"/>
                  </a:lnTo>
                  <a:lnTo>
                    <a:pt x="44" y="776"/>
                  </a:lnTo>
                  <a:lnTo>
                    <a:pt x="49" y="780"/>
                  </a:lnTo>
                  <a:lnTo>
                    <a:pt x="49" y="780"/>
                  </a:lnTo>
                  <a:lnTo>
                    <a:pt x="60" y="780"/>
                  </a:lnTo>
                  <a:lnTo>
                    <a:pt x="69" y="780"/>
                  </a:lnTo>
                  <a:lnTo>
                    <a:pt x="82" y="780"/>
                  </a:lnTo>
                  <a:lnTo>
                    <a:pt x="82" y="780"/>
                  </a:lnTo>
                  <a:lnTo>
                    <a:pt x="82" y="782"/>
                  </a:lnTo>
                  <a:lnTo>
                    <a:pt x="91" y="802"/>
                  </a:lnTo>
                  <a:lnTo>
                    <a:pt x="91" y="802"/>
                  </a:lnTo>
                  <a:lnTo>
                    <a:pt x="93" y="805"/>
                  </a:lnTo>
                  <a:lnTo>
                    <a:pt x="93" y="807"/>
                  </a:lnTo>
                  <a:lnTo>
                    <a:pt x="91" y="809"/>
                  </a:lnTo>
                  <a:lnTo>
                    <a:pt x="89" y="809"/>
                  </a:lnTo>
                  <a:lnTo>
                    <a:pt x="84" y="811"/>
                  </a:lnTo>
                  <a:lnTo>
                    <a:pt x="82" y="812"/>
                  </a:lnTo>
                  <a:lnTo>
                    <a:pt x="78" y="812"/>
                  </a:lnTo>
                  <a:lnTo>
                    <a:pt x="78" y="812"/>
                  </a:lnTo>
                  <a:lnTo>
                    <a:pt x="78" y="816"/>
                  </a:lnTo>
                  <a:lnTo>
                    <a:pt x="78" y="816"/>
                  </a:lnTo>
                  <a:lnTo>
                    <a:pt x="84" y="816"/>
                  </a:lnTo>
                  <a:lnTo>
                    <a:pt x="91" y="816"/>
                  </a:lnTo>
                  <a:lnTo>
                    <a:pt x="102" y="822"/>
                  </a:lnTo>
                  <a:lnTo>
                    <a:pt x="102" y="822"/>
                  </a:lnTo>
                  <a:lnTo>
                    <a:pt x="106" y="823"/>
                  </a:lnTo>
                  <a:lnTo>
                    <a:pt x="109" y="825"/>
                  </a:lnTo>
                  <a:lnTo>
                    <a:pt x="111" y="831"/>
                  </a:lnTo>
                  <a:lnTo>
                    <a:pt x="113" y="834"/>
                  </a:lnTo>
                  <a:lnTo>
                    <a:pt x="115" y="845"/>
                  </a:lnTo>
                  <a:lnTo>
                    <a:pt x="117" y="847"/>
                  </a:lnTo>
                  <a:lnTo>
                    <a:pt x="120" y="851"/>
                  </a:lnTo>
                  <a:lnTo>
                    <a:pt x="120" y="851"/>
                  </a:lnTo>
                  <a:lnTo>
                    <a:pt x="122" y="852"/>
                  </a:lnTo>
                  <a:lnTo>
                    <a:pt x="122" y="852"/>
                  </a:lnTo>
                  <a:lnTo>
                    <a:pt x="122" y="856"/>
                  </a:lnTo>
                  <a:lnTo>
                    <a:pt x="120" y="860"/>
                  </a:lnTo>
                  <a:lnTo>
                    <a:pt x="115" y="869"/>
                  </a:lnTo>
                  <a:lnTo>
                    <a:pt x="115" y="869"/>
                  </a:lnTo>
                  <a:lnTo>
                    <a:pt x="115" y="872"/>
                  </a:lnTo>
                  <a:lnTo>
                    <a:pt x="115" y="874"/>
                  </a:lnTo>
                  <a:lnTo>
                    <a:pt x="117" y="876"/>
                  </a:lnTo>
                  <a:lnTo>
                    <a:pt x="120" y="876"/>
                  </a:lnTo>
                  <a:lnTo>
                    <a:pt x="126" y="876"/>
                  </a:lnTo>
                  <a:lnTo>
                    <a:pt x="129" y="876"/>
                  </a:lnTo>
                  <a:lnTo>
                    <a:pt x="131" y="878"/>
                  </a:lnTo>
                  <a:lnTo>
                    <a:pt x="131" y="878"/>
                  </a:lnTo>
                  <a:lnTo>
                    <a:pt x="135" y="878"/>
                  </a:lnTo>
                  <a:lnTo>
                    <a:pt x="135" y="883"/>
                  </a:lnTo>
                  <a:lnTo>
                    <a:pt x="135" y="885"/>
                  </a:lnTo>
                  <a:lnTo>
                    <a:pt x="135" y="889"/>
                  </a:lnTo>
                  <a:lnTo>
                    <a:pt x="133" y="896"/>
                  </a:lnTo>
                  <a:lnTo>
                    <a:pt x="129" y="901"/>
                  </a:lnTo>
                  <a:lnTo>
                    <a:pt x="129" y="901"/>
                  </a:lnTo>
                  <a:lnTo>
                    <a:pt x="127" y="901"/>
                  </a:lnTo>
                  <a:lnTo>
                    <a:pt x="127" y="907"/>
                  </a:lnTo>
                  <a:lnTo>
                    <a:pt x="129" y="911"/>
                  </a:lnTo>
                  <a:lnTo>
                    <a:pt x="131" y="918"/>
                  </a:lnTo>
                  <a:lnTo>
                    <a:pt x="133" y="921"/>
                  </a:lnTo>
                  <a:lnTo>
                    <a:pt x="133" y="921"/>
                  </a:lnTo>
                  <a:lnTo>
                    <a:pt x="135" y="925"/>
                  </a:lnTo>
                  <a:lnTo>
                    <a:pt x="137" y="929"/>
                  </a:lnTo>
                  <a:lnTo>
                    <a:pt x="144" y="932"/>
                  </a:lnTo>
                  <a:lnTo>
                    <a:pt x="157" y="940"/>
                  </a:lnTo>
                  <a:lnTo>
                    <a:pt x="157" y="940"/>
                  </a:lnTo>
                  <a:lnTo>
                    <a:pt x="158" y="940"/>
                  </a:lnTo>
                  <a:lnTo>
                    <a:pt x="158" y="943"/>
                  </a:lnTo>
                  <a:lnTo>
                    <a:pt x="158" y="951"/>
                  </a:lnTo>
                  <a:lnTo>
                    <a:pt x="155" y="963"/>
                  </a:lnTo>
                  <a:lnTo>
                    <a:pt x="155" y="963"/>
                  </a:lnTo>
                  <a:lnTo>
                    <a:pt x="147" y="980"/>
                  </a:lnTo>
                  <a:lnTo>
                    <a:pt x="146" y="989"/>
                  </a:lnTo>
                  <a:lnTo>
                    <a:pt x="146" y="1000"/>
                  </a:lnTo>
                  <a:lnTo>
                    <a:pt x="146" y="1000"/>
                  </a:lnTo>
                  <a:lnTo>
                    <a:pt x="144" y="1012"/>
                  </a:lnTo>
                  <a:lnTo>
                    <a:pt x="142" y="1021"/>
                  </a:lnTo>
                  <a:lnTo>
                    <a:pt x="138" y="1032"/>
                  </a:lnTo>
                  <a:lnTo>
                    <a:pt x="138" y="1038"/>
                  </a:lnTo>
                  <a:lnTo>
                    <a:pt x="138" y="1040"/>
                  </a:lnTo>
                  <a:lnTo>
                    <a:pt x="138" y="1040"/>
                  </a:lnTo>
                  <a:lnTo>
                    <a:pt x="144" y="1045"/>
                  </a:lnTo>
                  <a:lnTo>
                    <a:pt x="151" y="1050"/>
                  </a:lnTo>
                  <a:lnTo>
                    <a:pt x="158" y="1052"/>
                  </a:lnTo>
                  <a:lnTo>
                    <a:pt x="167" y="1054"/>
                  </a:lnTo>
                  <a:lnTo>
                    <a:pt x="167" y="1054"/>
                  </a:lnTo>
                  <a:lnTo>
                    <a:pt x="171" y="1052"/>
                  </a:lnTo>
                  <a:lnTo>
                    <a:pt x="173" y="1052"/>
                  </a:lnTo>
                  <a:lnTo>
                    <a:pt x="175" y="1050"/>
                  </a:lnTo>
                  <a:lnTo>
                    <a:pt x="175" y="1045"/>
                  </a:lnTo>
                  <a:lnTo>
                    <a:pt x="175" y="1043"/>
                  </a:lnTo>
                  <a:lnTo>
                    <a:pt x="176" y="1041"/>
                  </a:lnTo>
                  <a:lnTo>
                    <a:pt x="178" y="1040"/>
                  </a:lnTo>
                  <a:lnTo>
                    <a:pt x="184" y="1040"/>
                  </a:lnTo>
                  <a:lnTo>
                    <a:pt x="184" y="1040"/>
                  </a:lnTo>
                  <a:lnTo>
                    <a:pt x="186" y="1040"/>
                  </a:lnTo>
                  <a:lnTo>
                    <a:pt x="193" y="1038"/>
                  </a:lnTo>
                  <a:lnTo>
                    <a:pt x="206" y="1034"/>
                  </a:lnTo>
                  <a:lnTo>
                    <a:pt x="216" y="1027"/>
                  </a:lnTo>
                  <a:lnTo>
                    <a:pt x="220" y="1025"/>
                  </a:lnTo>
                  <a:lnTo>
                    <a:pt x="226" y="1023"/>
                  </a:lnTo>
                  <a:lnTo>
                    <a:pt x="226" y="1023"/>
                  </a:lnTo>
                  <a:lnTo>
                    <a:pt x="229" y="1025"/>
                  </a:lnTo>
                  <a:lnTo>
                    <a:pt x="231" y="1025"/>
                  </a:lnTo>
                  <a:lnTo>
                    <a:pt x="233" y="1032"/>
                  </a:lnTo>
                  <a:lnTo>
                    <a:pt x="236" y="1041"/>
                  </a:lnTo>
                  <a:lnTo>
                    <a:pt x="236" y="1041"/>
                  </a:lnTo>
                  <a:lnTo>
                    <a:pt x="240" y="1038"/>
                  </a:lnTo>
                  <a:lnTo>
                    <a:pt x="246" y="1034"/>
                  </a:lnTo>
                  <a:lnTo>
                    <a:pt x="251" y="1034"/>
                  </a:lnTo>
                  <a:lnTo>
                    <a:pt x="251" y="1034"/>
                  </a:lnTo>
                  <a:lnTo>
                    <a:pt x="253" y="1032"/>
                  </a:lnTo>
                  <a:lnTo>
                    <a:pt x="255" y="1030"/>
                  </a:lnTo>
                  <a:lnTo>
                    <a:pt x="255" y="1025"/>
                  </a:lnTo>
                  <a:lnTo>
                    <a:pt x="255" y="1021"/>
                  </a:lnTo>
                  <a:lnTo>
                    <a:pt x="255" y="1018"/>
                  </a:lnTo>
                  <a:lnTo>
                    <a:pt x="255" y="1018"/>
                  </a:lnTo>
                  <a:lnTo>
                    <a:pt x="255" y="1016"/>
                  </a:lnTo>
                  <a:lnTo>
                    <a:pt x="255" y="1012"/>
                  </a:lnTo>
                  <a:lnTo>
                    <a:pt x="258" y="1003"/>
                  </a:lnTo>
                  <a:lnTo>
                    <a:pt x="265" y="996"/>
                  </a:lnTo>
                  <a:lnTo>
                    <a:pt x="271" y="989"/>
                  </a:lnTo>
                  <a:lnTo>
                    <a:pt x="271" y="989"/>
                  </a:lnTo>
                  <a:lnTo>
                    <a:pt x="275" y="983"/>
                  </a:lnTo>
                  <a:lnTo>
                    <a:pt x="278" y="980"/>
                  </a:lnTo>
                  <a:lnTo>
                    <a:pt x="282" y="969"/>
                  </a:lnTo>
                  <a:lnTo>
                    <a:pt x="287" y="958"/>
                  </a:lnTo>
                  <a:lnTo>
                    <a:pt x="289" y="954"/>
                  </a:lnTo>
                  <a:lnTo>
                    <a:pt x="291" y="952"/>
                  </a:lnTo>
                  <a:lnTo>
                    <a:pt x="291" y="952"/>
                  </a:lnTo>
                  <a:lnTo>
                    <a:pt x="295" y="951"/>
                  </a:lnTo>
                  <a:lnTo>
                    <a:pt x="296" y="949"/>
                  </a:lnTo>
                  <a:lnTo>
                    <a:pt x="304" y="949"/>
                  </a:lnTo>
                  <a:lnTo>
                    <a:pt x="320" y="951"/>
                  </a:lnTo>
                  <a:lnTo>
                    <a:pt x="320" y="951"/>
                  </a:lnTo>
                  <a:lnTo>
                    <a:pt x="325" y="952"/>
                  </a:lnTo>
                  <a:lnTo>
                    <a:pt x="336" y="956"/>
                  </a:lnTo>
                  <a:lnTo>
                    <a:pt x="349" y="961"/>
                  </a:lnTo>
                  <a:lnTo>
                    <a:pt x="344" y="972"/>
                  </a:lnTo>
                  <a:lnTo>
                    <a:pt x="344" y="972"/>
                  </a:lnTo>
                  <a:lnTo>
                    <a:pt x="349" y="976"/>
                  </a:lnTo>
                  <a:lnTo>
                    <a:pt x="351" y="980"/>
                  </a:lnTo>
                  <a:lnTo>
                    <a:pt x="353" y="989"/>
                  </a:lnTo>
                  <a:lnTo>
                    <a:pt x="353" y="989"/>
                  </a:lnTo>
                  <a:lnTo>
                    <a:pt x="354" y="989"/>
                  </a:lnTo>
                  <a:lnTo>
                    <a:pt x="356" y="990"/>
                  </a:lnTo>
                  <a:lnTo>
                    <a:pt x="362" y="989"/>
                  </a:lnTo>
                  <a:lnTo>
                    <a:pt x="367" y="985"/>
                  </a:lnTo>
                  <a:lnTo>
                    <a:pt x="374" y="983"/>
                  </a:lnTo>
                  <a:lnTo>
                    <a:pt x="374" y="983"/>
                  </a:lnTo>
                  <a:lnTo>
                    <a:pt x="378" y="983"/>
                  </a:lnTo>
                  <a:lnTo>
                    <a:pt x="382" y="981"/>
                  </a:lnTo>
                  <a:lnTo>
                    <a:pt x="384" y="980"/>
                  </a:lnTo>
                  <a:lnTo>
                    <a:pt x="391" y="981"/>
                  </a:lnTo>
                  <a:lnTo>
                    <a:pt x="391" y="981"/>
                  </a:lnTo>
                  <a:lnTo>
                    <a:pt x="393" y="983"/>
                  </a:lnTo>
                  <a:lnTo>
                    <a:pt x="394" y="985"/>
                  </a:lnTo>
                  <a:lnTo>
                    <a:pt x="398" y="992"/>
                  </a:lnTo>
                  <a:lnTo>
                    <a:pt x="398" y="1000"/>
                  </a:lnTo>
                  <a:lnTo>
                    <a:pt x="407" y="1025"/>
                  </a:lnTo>
                  <a:lnTo>
                    <a:pt x="418" y="1027"/>
                  </a:lnTo>
                  <a:lnTo>
                    <a:pt x="422" y="1041"/>
                  </a:lnTo>
                  <a:lnTo>
                    <a:pt x="422" y="1043"/>
                  </a:lnTo>
                  <a:lnTo>
                    <a:pt x="422" y="1043"/>
                  </a:lnTo>
                  <a:lnTo>
                    <a:pt x="422" y="1043"/>
                  </a:lnTo>
                  <a:lnTo>
                    <a:pt x="423" y="1043"/>
                  </a:lnTo>
                  <a:lnTo>
                    <a:pt x="423" y="1043"/>
                  </a:lnTo>
                  <a:lnTo>
                    <a:pt x="425" y="1054"/>
                  </a:lnTo>
                  <a:lnTo>
                    <a:pt x="427" y="1063"/>
                  </a:lnTo>
                  <a:lnTo>
                    <a:pt x="427" y="1063"/>
                  </a:lnTo>
                  <a:lnTo>
                    <a:pt x="429" y="1065"/>
                  </a:lnTo>
                  <a:lnTo>
                    <a:pt x="433" y="1067"/>
                  </a:lnTo>
                  <a:lnTo>
                    <a:pt x="434" y="1069"/>
                  </a:lnTo>
                  <a:lnTo>
                    <a:pt x="434" y="1072"/>
                  </a:lnTo>
                  <a:lnTo>
                    <a:pt x="434" y="1072"/>
                  </a:lnTo>
                  <a:lnTo>
                    <a:pt x="436" y="1072"/>
                  </a:lnTo>
                  <a:lnTo>
                    <a:pt x="438" y="1074"/>
                  </a:lnTo>
                  <a:lnTo>
                    <a:pt x="438" y="1076"/>
                  </a:lnTo>
                  <a:lnTo>
                    <a:pt x="440" y="1074"/>
                  </a:lnTo>
                  <a:lnTo>
                    <a:pt x="440" y="1074"/>
                  </a:lnTo>
                  <a:lnTo>
                    <a:pt x="440" y="1072"/>
                  </a:lnTo>
                  <a:lnTo>
                    <a:pt x="440" y="1074"/>
                  </a:lnTo>
                  <a:lnTo>
                    <a:pt x="443" y="1078"/>
                  </a:lnTo>
                  <a:lnTo>
                    <a:pt x="443" y="1078"/>
                  </a:lnTo>
                  <a:lnTo>
                    <a:pt x="445" y="1081"/>
                  </a:lnTo>
                  <a:lnTo>
                    <a:pt x="456" y="1083"/>
                  </a:lnTo>
                  <a:lnTo>
                    <a:pt x="463" y="1103"/>
                  </a:lnTo>
                  <a:lnTo>
                    <a:pt x="463" y="1103"/>
                  </a:lnTo>
                  <a:lnTo>
                    <a:pt x="469" y="1099"/>
                  </a:lnTo>
                  <a:lnTo>
                    <a:pt x="478" y="1096"/>
                  </a:lnTo>
                  <a:lnTo>
                    <a:pt x="478" y="1096"/>
                  </a:lnTo>
                  <a:lnTo>
                    <a:pt x="482" y="1092"/>
                  </a:lnTo>
                  <a:lnTo>
                    <a:pt x="487" y="1089"/>
                  </a:lnTo>
                  <a:lnTo>
                    <a:pt x="493" y="1087"/>
                  </a:lnTo>
                  <a:lnTo>
                    <a:pt x="496" y="1085"/>
                  </a:lnTo>
                  <a:lnTo>
                    <a:pt x="496" y="1085"/>
                  </a:lnTo>
                  <a:lnTo>
                    <a:pt x="503" y="1085"/>
                  </a:lnTo>
                  <a:lnTo>
                    <a:pt x="507" y="1085"/>
                  </a:lnTo>
                  <a:lnTo>
                    <a:pt x="509" y="1087"/>
                  </a:lnTo>
                  <a:lnTo>
                    <a:pt x="509" y="1087"/>
                  </a:lnTo>
                  <a:lnTo>
                    <a:pt x="512" y="1089"/>
                  </a:lnTo>
                  <a:lnTo>
                    <a:pt x="518" y="1094"/>
                  </a:lnTo>
                  <a:lnTo>
                    <a:pt x="520" y="1096"/>
                  </a:lnTo>
                  <a:lnTo>
                    <a:pt x="522" y="1096"/>
                  </a:lnTo>
                  <a:lnTo>
                    <a:pt x="523" y="1096"/>
                  </a:lnTo>
                  <a:lnTo>
                    <a:pt x="523" y="1096"/>
                  </a:lnTo>
                  <a:lnTo>
                    <a:pt x="529" y="1094"/>
                  </a:lnTo>
                  <a:lnTo>
                    <a:pt x="532" y="1092"/>
                  </a:lnTo>
                  <a:lnTo>
                    <a:pt x="538" y="1094"/>
                  </a:lnTo>
                  <a:lnTo>
                    <a:pt x="538" y="1094"/>
                  </a:lnTo>
                  <a:lnTo>
                    <a:pt x="545" y="1098"/>
                  </a:lnTo>
                  <a:lnTo>
                    <a:pt x="551" y="1099"/>
                  </a:lnTo>
                  <a:lnTo>
                    <a:pt x="552" y="1098"/>
                  </a:lnTo>
                  <a:lnTo>
                    <a:pt x="552" y="1098"/>
                  </a:lnTo>
                  <a:lnTo>
                    <a:pt x="558" y="1094"/>
                  </a:lnTo>
                  <a:lnTo>
                    <a:pt x="558" y="1092"/>
                  </a:lnTo>
                  <a:lnTo>
                    <a:pt x="562" y="1094"/>
                  </a:lnTo>
                  <a:lnTo>
                    <a:pt x="562" y="1094"/>
                  </a:lnTo>
                  <a:lnTo>
                    <a:pt x="565" y="1096"/>
                  </a:lnTo>
                  <a:lnTo>
                    <a:pt x="569" y="1096"/>
                  </a:lnTo>
                  <a:lnTo>
                    <a:pt x="574" y="1096"/>
                  </a:lnTo>
                  <a:lnTo>
                    <a:pt x="580" y="1094"/>
                  </a:lnTo>
                  <a:lnTo>
                    <a:pt x="580" y="1094"/>
                  </a:lnTo>
                  <a:lnTo>
                    <a:pt x="587" y="1092"/>
                  </a:lnTo>
                  <a:lnTo>
                    <a:pt x="592" y="1092"/>
                  </a:lnTo>
                  <a:lnTo>
                    <a:pt x="596" y="1094"/>
                  </a:lnTo>
                  <a:lnTo>
                    <a:pt x="596" y="1094"/>
                  </a:lnTo>
                  <a:lnTo>
                    <a:pt x="607" y="1099"/>
                  </a:lnTo>
                  <a:lnTo>
                    <a:pt x="611" y="1103"/>
                  </a:lnTo>
                  <a:lnTo>
                    <a:pt x="614" y="1105"/>
                  </a:lnTo>
                  <a:lnTo>
                    <a:pt x="614" y="1105"/>
                  </a:lnTo>
                  <a:lnTo>
                    <a:pt x="620" y="1109"/>
                  </a:lnTo>
                  <a:lnTo>
                    <a:pt x="620" y="1109"/>
                  </a:lnTo>
                  <a:lnTo>
                    <a:pt x="621" y="1107"/>
                  </a:lnTo>
                  <a:lnTo>
                    <a:pt x="621" y="1107"/>
                  </a:lnTo>
                  <a:lnTo>
                    <a:pt x="625" y="1107"/>
                  </a:lnTo>
                  <a:lnTo>
                    <a:pt x="631" y="1107"/>
                  </a:lnTo>
                  <a:lnTo>
                    <a:pt x="631" y="1107"/>
                  </a:lnTo>
                  <a:lnTo>
                    <a:pt x="638" y="1103"/>
                  </a:lnTo>
                  <a:lnTo>
                    <a:pt x="645" y="1103"/>
                  </a:lnTo>
                  <a:lnTo>
                    <a:pt x="645" y="1103"/>
                  </a:lnTo>
                  <a:lnTo>
                    <a:pt x="647" y="1103"/>
                  </a:lnTo>
                  <a:lnTo>
                    <a:pt x="649" y="1103"/>
                  </a:lnTo>
                  <a:lnTo>
                    <a:pt x="651" y="1103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6" y="1103"/>
                  </a:lnTo>
                  <a:lnTo>
                    <a:pt x="658" y="1101"/>
                  </a:lnTo>
                  <a:lnTo>
                    <a:pt x="661" y="1099"/>
                  </a:lnTo>
                  <a:lnTo>
                    <a:pt x="663" y="1099"/>
                  </a:lnTo>
                  <a:lnTo>
                    <a:pt x="663" y="1099"/>
                  </a:lnTo>
                  <a:lnTo>
                    <a:pt x="665" y="1099"/>
                  </a:lnTo>
                  <a:lnTo>
                    <a:pt x="669" y="1101"/>
                  </a:lnTo>
                  <a:lnTo>
                    <a:pt x="670" y="1103"/>
                  </a:lnTo>
                  <a:lnTo>
                    <a:pt x="672" y="1105"/>
                  </a:lnTo>
                  <a:lnTo>
                    <a:pt x="672" y="1105"/>
                  </a:lnTo>
                  <a:lnTo>
                    <a:pt x="674" y="1107"/>
                  </a:lnTo>
                  <a:lnTo>
                    <a:pt x="676" y="1105"/>
                  </a:lnTo>
                  <a:lnTo>
                    <a:pt x="680" y="1103"/>
                  </a:lnTo>
                  <a:lnTo>
                    <a:pt x="680" y="1103"/>
                  </a:lnTo>
                  <a:lnTo>
                    <a:pt x="683" y="1101"/>
                  </a:lnTo>
                  <a:lnTo>
                    <a:pt x="687" y="1099"/>
                  </a:lnTo>
                  <a:lnTo>
                    <a:pt x="687" y="1099"/>
                  </a:lnTo>
                  <a:lnTo>
                    <a:pt x="689" y="1099"/>
                  </a:lnTo>
                  <a:lnTo>
                    <a:pt x="692" y="1099"/>
                  </a:lnTo>
                  <a:lnTo>
                    <a:pt x="694" y="1099"/>
                  </a:lnTo>
                  <a:lnTo>
                    <a:pt x="696" y="1098"/>
                  </a:lnTo>
                  <a:lnTo>
                    <a:pt x="696" y="1098"/>
                  </a:lnTo>
                  <a:lnTo>
                    <a:pt x="696" y="1096"/>
                  </a:lnTo>
                  <a:lnTo>
                    <a:pt x="698" y="1092"/>
                  </a:lnTo>
                  <a:lnTo>
                    <a:pt x="700" y="1092"/>
                  </a:lnTo>
                  <a:lnTo>
                    <a:pt x="700" y="1092"/>
                  </a:lnTo>
                  <a:lnTo>
                    <a:pt x="705" y="1092"/>
                  </a:lnTo>
                  <a:lnTo>
                    <a:pt x="707" y="1092"/>
                  </a:lnTo>
                  <a:lnTo>
                    <a:pt x="710" y="1094"/>
                  </a:lnTo>
                  <a:lnTo>
                    <a:pt x="712" y="1094"/>
                  </a:lnTo>
                  <a:lnTo>
                    <a:pt x="712" y="1094"/>
                  </a:lnTo>
                  <a:lnTo>
                    <a:pt x="714" y="1092"/>
                  </a:lnTo>
                  <a:lnTo>
                    <a:pt x="714" y="1089"/>
                  </a:lnTo>
                  <a:lnTo>
                    <a:pt x="714" y="1085"/>
                  </a:lnTo>
                  <a:lnTo>
                    <a:pt x="716" y="1083"/>
                  </a:lnTo>
                  <a:lnTo>
                    <a:pt x="716" y="1083"/>
                  </a:lnTo>
                  <a:lnTo>
                    <a:pt x="721" y="1081"/>
                  </a:lnTo>
                  <a:lnTo>
                    <a:pt x="730" y="1078"/>
                  </a:lnTo>
                  <a:lnTo>
                    <a:pt x="730" y="1078"/>
                  </a:lnTo>
                  <a:lnTo>
                    <a:pt x="741" y="1080"/>
                  </a:lnTo>
                  <a:lnTo>
                    <a:pt x="750" y="1080"/>
                  </a:lnTo>
                  <a:lnTo>
                    <a:pt x="750" y="1078"/>
                  </a:lnTo>
                  <a:lnTo>
                    <a:pt x="754" y="1078"/>
                  </a:lnTo>
                  <a:lnTo>
                    <a:pt x="754" y="1078"/>
                  </a:lnTo>
                  <a:lnTo>
                    <a:pt x="754" y="1076"/>
                  </a:lnTo>
                  <a:lnTo>
                    <a:pt x="754" y="1072"/>
                  </a:lnTo>
                  <a:lnTo>
                    <a:pt x="754" y="1069"/>
                  </a:lnTo>
                  <a:lnTo>
                    <a:pt x="754" y="1067"/>
                  </a:lnTo>
                  <a:lnTo>
                    <a:pt x="754" y="1065"/>
                  </a:lnTo>
                  <a:lnTo>
                    <a:pt x="754" y="1065"/>
                  </a:lnTo>
                  <a:lnTo>
                    <a:pt x="792" y="1047"/>
                  </a:lnTo>
                  <a:lnTo>
                    <a:pt x="792" y="1047"/>
                  </a:lnTo>
                  <a:lnTo>
                    <a:pt x="798" y="1045"/>
                  </a:lnTo>
                  <a:lnTo>
                    <a:pt x="805" y="1043"/>
                  </a:lnTo>
                  <a:lnTo>
                    <a:pt x="801" y="1038"/>
                  </a:lnTo>
                  <a:lnTo>
                    <a:pt x="798" y="1032"/>
                  </a:lnTo>
                  <a:lnTo>
                    <a:pt x="798" y="1032"/>
                  </a:lnTo>
                  <a:lnTo>
                    <a:pt x="796" y="1025"/>
                  </a:lnTo>
                  <a:lnTo>
                    <a:pt x="796" y="1021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8" y="1016"/>
                  </a:lnTo>
                  <a:lnTo>
                    <a:pt x="796" y="1010"/>
                  </a:lnTo>
                  <a:lnTo>
                    <a:pt x="796" y="1005"/>
                  </a:lnTo>
                  <a:lnTo>
                    <a:pt x="796" y="1001"/>
                  </a:lnTo>
                  <a:lnTo>
                    <a:pt x="796" y="1001"/>
                  </a:lnTo>
                  <a:lnTo>
                    <a:pt x="796" y="1001"/>
                  </a:lnTo>
                  <a:lnTo>
                    <a:pt x="799" y="998"/>
                  </a:lnTo>
                  <a:lnTo>
                    <a:pt x="801" y="998"/>
                  </a:lnTo>
                  <a:lnTo>
                    <a:pt x="809" y="996"/>
                  </a:lnTo>
                  <a:lnTo>
                    <a:pt x="809" y="996"/>
                  </a:lnTo>
                  <a:lnTo>
                    <a:pt x="805" y="989"/>
                  </a:lnTo>
                  <a:lnTo>
                    <a:pt x="803" y="983"/>
                  </a:lnTo>
                  <a:lnTo>
                    <a:pt x="801" y="980"/>
                  </a:lnTo>
                  <a:lnTo>
                    <a:pt x="801" y="980"/>
                  </a:lnTo>
                  <a:lnTo>
                    <a:pt x="794" y="976"/>
                  </a:lnTo>
                  <a:lnTo>
                    <a:pt x="787" y="970"/>
                  </a:lnTo>
                  <a:lnTo>
                    <a:pt x="787" y="970"/>
                  </a:lnTo>
                  <a:lnTo>
                    <a:pt x="776" y="963"/>
                  </a:lnTo>
                  <a:lnTo>
                    <a:pt x="776" y="960"/>
                  </a:lnTo>
                  <a:lnTo>
                    <a:pt x="776" y="960"/>
                  </a:lnTo>
                  <a:lnTo>
                    <a:pt x="779" y="960"/>
                  </a:lnTo>
                  <a:lnTo>
                    <a:pt x="783" y="960"/>
                  </a:lnTo>
                  <a:lnTo>
                    <a:pt x="787" y="960"/>
                  </a:lnTo>
                  <a:lnTo>
                    <a:pt x="787" y="958"/>
                  </a:lnTo>
                  <a:lnTo>
                    <a:pt x="787" y="958"/>
                  </a:lnTo>
                  <a:lnTo>
                    <a:pt x="783" y="952"/>
                  </a:lnTo>
                  <a:lnTo>
                    <a:pt x="781" y="943"/>
                  </a:lnTo>
                  <a:lnTo>
                    <a:pt x="781" y="943"/>
                  </a:lnTo>
                  <a:lnTo>
                    <a:pt x="781" y="941"/>
                  </a:lnTo>
                  <a:lnTo>
                    <a:pt x="787" y="938"/>
                  </a:lnTo>
                  <a:lnTo>
                    <a:pt x="789" y="934"/>
                  </a:lnTo>
                  <a:lnTo>
                    <a:pt x="778" y="927"/>
                  </a:lnTo>
                  <a:lnTo>
                    <a:pt x="761" y="916"/>
                  </a:lnTo>
                  <a:lnTo>
                    <a:pt x="761" y="916"/>
                  </a:lnTo>
                  <a:lnTo>
                    <a:pt x="763" y="914"/>
                  </a:lnTo>
                  <a:lnTo>
                    <a:pt x="767" y="914"/>
                  </a:lnTo>
                  <a:lnTo>
                    <a:pt x="767" y="914"/>
                  </a:lnTo>
                  <a:lnTo>
                    <a:pt x="778" y="914"/>
                  </a:lnTo>
                  <a:lnTo>
                    <a:pt x="776" y="909"/>
                  </a:lnTo>
                  <a:lnTo>
                    <a:pt x="776" y="901"/>
                  </a:lnTo>
                  <a:lnTo>
                    <a:pt x="772" y="894"/>
                  </a:lnTo>
                  <a:lnTo>
                    <a:pt x="776" y="889"/>
                  </a:lnTo>
                  <a:lnTo>
                    <a:pt x="776" y="883"/>
                  </a:lnTo>
                  <a:lnTo>
                    <a:pt x="774" y="872"/>
                  </a:lnTo>
                  <a:lnTo>
                    <a:pt x="776" y="871"/>
                  </a:lnTo>
                  <a:lnTo>
                    <a:pt x="776" y="863"/>
                  </a:lnTo>
                  <a:lnTo>
                    <a:pt x="774" y="858"/>
                  </a:lnTo>
                  <a:lnTo>
                    <a:pt x="774" y="858"/>
                  </a:lnTo>
                  <a:lnTo>
                    <a:pt x="774" y="852"/>
                  </a:lnTo>
                  <a:lnTo>
                    <a:pt x="776" y="849"/>
                  </a:lnTo>
                  <a:lnTo>
                    <a:pt x="778" y="849"/>
                  </a:lnTo>
                  <a:lnTo>
                    <a:pt x="778" y="849"/>
                  </a:lnTo>
                  <a:lnTo>
                    <a:pt x="781" y="845"/>
                  </a:lnTo>
                  <a:lnTo>
                    <a:pt x="783" y="838"/>
                  </a:lnTo>
                  <a:lnTo>
                    <a:pt x="783" y="838"/>
                  </a:lnTo>
                  <a:lnTo>
                    <a:pt x="792" y="838"/>
                  </a:lnTo>
                  <a:lnTo>
                    <a:pt x="792" y="838"/>
                  </a:lnTo>
                  <a:lnTo>
                    <a:pt x="799" y="834"/>
                  </a:lnTo>
                  <a:lnTo>
                    <a:pt x="812" y="832"/>
                  </a:lnTo>
                  <a:lnTo>
                    <a:pt x="816" y="829"/>
                  </a:lnTo>
                  <a:lnTo>
                    <a:pt x="819" y="829"/>
                  </a:lnTo>
                  <a:lnTo>
                    <a:pt x="832" y="827"/>
                  </a:lnTo>
                  <a:lnTo>
                    <a:pt x="829" y="816"/>
                  </a:lnTo>
                  <a:lnTo>
                    <a:pt x="829" y="816"/>
                  </a:lnTo>
                  <a:lnTo>
                    <a:pt x="829" y="812"/>
                  </a:lnTo>
                  <a:lnTo>
                    <a:pt x="829" y="812"/>
                  </a:lnTo>
                  <a:lnTo>
                    <a:pt x="829" y="809"/>
                  </a:lnTo>
                  <a:lnTo>
                    <a:pt x="829" y="809"/>
                  </a:lnTo>
                  <a:lnTo>
                    <a:pt x="832" y="802"/>
                  </a:lnTo>
                  <a:lnTo>
                    <a:pt x="832" y="798"/>
                  </a:lnTo>
                  <a:lnTo>
                    <a:pt x="836" y="798"/>
                  </a:lnTo>
                  <a:lnTo>
                    <a:pt x="836" y="798"/>
                  </a:lnTo>
                  <a:lnTo>
                    <a:pt x="843" y="796"/>
                  </a:lnTo>
                  <a:lnTo>
                    <a:pt x="850" y="796"/>
                  </a:lnTo>
                  <a:lnTo>
                    <a:pt x="850" y="796"/>
                  </a:lnTo>
                  <a:lnTo>
                    <a:pt x="852" y="794"/>
                  </a:lnTo>
                  <a:lnTo>
                    <a:pt x="856" y="794"/>
                  </a:lnTo>
                  <a:lnTo>
                    <a:pt x="859" y="794"/>
                  </a:lnTo>
                  <a:lnTo>
                    <a:pt x="859" y="792"/>
                  </a:lnTo>
                  <a:lnTo>
                    <a:pt x="859" y="792"/>
                  </a:lnTo>
                  <a:lnTo>
                    <a:pt x="865" y="789"/>
                  </a:lnTo>
                  <a:lnTo>
                    <a:pt x="867" y="785"/>
                  </a:lnTo>
                  <a:lnTo>
                    <a:pt x="870" y="782"/>
                  </a:lnTo>
                  <a:lnTo>
                    <a:pt x="870" y="782"/>
                  </a:lnTo>
                  <a:lnTo>
                    <a:pt x="874" y="774"/>
                  </a:lnTo>
                  <a:lnTo>
                    <a:pt x="874" y="772"/>
                  </a:lnTo>
                  <a:lnTo>
                    <a:pt x="874" y="771"/>
                  </a:lnTo>
                  <a:lnTo>
                    <a:pt x="874" y="771"/>
                  </a:lnTo>
                  <a:lnTo>
                    <a:pt x="872" y="769"/>
                  </a:lnTo>
                  <a:lnTo>
                    <a:pt x="872" y="767"/>
                  </a:lnTo>
                  <a:lnTo>
                    <a:pt x="872" y="765"/>
                  </a:lnTo>
                  <a:lnTo>
                    <a:pt x="874" y="763"/>
                  </a:lnTo>
                  <a:lnTo>
                    <a:pt x="874" y="763"/>
                  </a:lnTo>
                  <a:lnTo>
                    <a:pt x="878" y="760"/>
                  </a:lnTo>
                  <a:lnTo>
                    <a:pt x="879" y="754"/>
                  </a:lnTo>
                  <a:lnTo>
                    <a:pt x="881" y="754"/>
                  </a:lnTo>
                  <a:lnTo>
                    <a:pt x="881" y="756"/>
                  </a:lnTo>
                  <a:lnTo>
                    <a:pt x="881" y="756"/>
                  </a:lnTo>
                  <a:lnTo>
                    <a:pt x="883" y="760"/>
                  </a:lnTo>
                  <a:lnTo>
                    <a:pt x="885" y="760"/>
                  </a:lnTo>
                  <a:lnTo>
                    <a:pt x="885" y="760"/>
                  </a:lnTo>
                  <a:lnTo>
                    <a:pt x="885" y="760"/>
                  </a:lnTo>
                  <a:lnTo>
                    <a:pt x="885" y="756"/>
                  </a:lnTo>
                  <a:lnTo>
                    <a:pt x="885" y="754"/>
                  </a:lnTo>
                  <a:lnTo>
                    <a:pt x="881" y="749"/>
                  </a:lnTo>
                  <a:lnTo>
                    <a:pt x="881" y="749"/>
                  </a:lnTo>
                  <a:lnTo>
                    <a:pt x="876" y="740"/>
                  </a:lnTo>
                  <a:lnTo>
                    <a:pt x="874" y="732"/>
                  </a:lnTo>
                  <a:lnTo>
                    <a:pt x="872" y="727"/>
                  </a:lnTo>
                  <a:lnTo>
                    <a:pt x="872" y="727"/>
                  </a:lnTo>
                  <a:lnTo>
                    <a:pt x="872" y="725"/>
                  </a:lnTo>
                  <a:lnTo>
                    <a:pt x="870" y="723"/>
                  </a:lnTo>
                  <a:lnTo>
                    <a:pt x="867" y="720"/>
                  </a:lnTo>
                  <a:lnTo>
                    <a:pt x="867" y="720"/>
                  </a:lnTo>
                  <a:lnTo>
                    <a:pt x="863" y="711"/>
                  </a:lnTo>
                  <a:lnTo>
                    <a:pt x="863" y="709"/>
                  </a:lnTo>
                  <a:lnTo>
                    <a:pt x="859" y="707"/>
                  </a:lnTo>
                  <a:lnTo>
                    <a:pt x="859" y="707"/>
                  </a:lnTo>
                  <a:lnTo>
                    <a:pt x="854" y="705"/>
                  </a:lnTo>
                  <a:lnTo>
                    <a:pt x="850" y="700"/>
                  </a:lnTo>
                  <a:lnTo>
                    <a:pt x="850" y="700"/>
                  </a:lnTo>
                  <a:lnTo>
                    <a:pt x="847" y="691"/>
                  </a:lnTo>
                  <a:lnTo>
                    <a:pt x="847" y="689"/>
                  </a:lnTo>
                  <a:lnTo>
                    <a:pt x="850" y="687"/>
                  </a:lnTo>
                  <a:lnTo>
                    <a:pt x="850" y="687"/>
                  </a:lnTo>
                  <a:lnTo>
                    <a:pt x="850" y="683"/>
                  </a:lnTo>
                  <a:lnTo>
                    <a:pt x="852" y="682"/>
                  </a:lnTo>
                  <a:lnTo>
                    <a:pt x="852" y="682"/>
                  </a:lnTo>
                  <a:lnTo>
                    <a:pt x="850" y="678"/>
                  </a:lnTo>
                  <a:lnTo>
                    <a:pt x="850" y="678"/>
                  </a:lnTo>
                  <a:lnTo>
                    <a:pt x="850" y="676"/>
                  </a:lnTo>
                  <a:lnTo>
                    <a:pt x="850" y="676"/>
                  </a:lnTo>
                  <a:lnTo>
                    <a:pt x="854" y="671"/>
                  </a:lnTo>
                  <a:lnTo>
                    <a:pt x="856" y="671"/>
                  </a:lnTo>
                  <a:lnTo>
                    <a:pt x="856" y="669"/>
                  </a:lnTo>
                  <a:lnTo>
                    <a:pt x="856" y="669"/>
                  </a:lnTo>
                  <a:lnTo>
                    <a:pt x="856" y="667"/>
                  </a:lnTo>
                  <a:lnTo>
                    <a:pt x="856" y="665"/>
                  </a:lnTo>
                  <a:lnTo>
                    <a:pt x="859" y="663"/>
                  </a:lnTo>
                  <a:lnTo>
                    <a:pt x="861" y="662"/>
                  </a:lnTo>
                  <a:lnTo>
                    <a:pt x="861" y="662"/>
                  </a:lnTo>
                  <a:lnTo>
                    <a:pt x="863" y="658"/>
                  </a:lnTo>
                  <a:lnTo>
                    <a:pt x="865" y="654"/>
                  </a:lnTo>
                  <a:lnTo>
                    <a:pt x="865" y="649"/>
                  </a:lnTo>
                  <a:lnTo>
                    <a:pt x="865" y="647"/>
                  </a:lnTo>
                  <a:lnTo>
                    <a:pt x="865" y="647"/>
                  </a:lnTo>
                  <a:lnTo>
                    <a:pt x="858" y="627"/>
                  </a:lnTo>
                  <a:lnTo>
                    <a:pt x="858" y="627"/>
                  </a:lnTo>
                  <a:lnTo>
                    <a:pt x="859" y="623"/>
                  </a:lnTo>
                  <a:lnTo>
                    <a:pt x="861" y="623"/>
                  </a:lnTo>
                  <a:lnTo>
                    <a:pt x="861" y="622"/>
                  </a:lnTo>
                  <a:lnTo>
                    <a:pt x="861" y="622"/>
                  </a:lnTo>
                  <a:lnTo>
                    <a:pt x="856" y="614"/>
                  </a:lnTo>
                  <a:lnTo>
                    <a:pt x="856" y="607"/>
                  </a:lnTo>
                  <a:lnTo>
                    <a:pt x="856" y="605"/>
                  </a:lnTo>
                  <a:lnTo>
                    <a:pt x="856" y="603"/>
                  </a:lnTo>
                  <a:lnTo>
                    <a:pt x="856" y="603"/>
                  </a:lnTo>
                  <a:lnTo>
                    <a:pt x="859" y="600"/>
                  </a:lnTo>
                  <a:lnTo>
                    <a:pt x="859" y="600"/>
                  </a:lnTo>
                  <a:lnTo>
                    <a:pt x="859" y="596"/>
                  </a:lnTo>
                  <a:lnTo>
                    <a:pt x="859" y="594"/>
                  </a:lnTo>
                  <a:lnTo>
                    <a:pt x="859" y="593"/>
                  </a:lnTo>
                  <a:lnTo>
                    <a:pt x="859" y="593"/>
                  </a:lnTo>
                  <a:lnTo>
                    <a:pt x="867" y="594"/>
                  </a:lnTo>
                  <a:lnTo>
                    <a:pt x="867" y="594"/>
                  </a:lnTo>
                  <a:lnTo>
                    <a:pt x="874" y="594"/>
                  </a:lnTo>
                  <a:lnTo>
                    <a:pt x="878" y="596"/>
                  </a:lnTo>
                  <a:lnTo>
                    <a:pt x="878" y="596"/>
                  </a:lnTo>
                  <a:lnTo>
                    <a:pt x="890" y="600"/>
                  </a:lnTo>
                  <a:lnTo>
                    <a:pt x="896" y="600"/>
                  </a:lnTo>
                  <a:lnTo>
                    <a:pt x="898" y="600"/>
                  </a:lnTo>
                  <a:lnTo>
                    <a:pt x="898" y="600"/>
                  </a:lnTo>
                  <a:lnTo>
                    <a:pt x="898" y="600"/>
                  </a:lnTo>
                  <a:lnTo>
                    <a:pt x="901" y="596"/>
                  </a:lnTo>
                  <a:lnTo>
                    <a:pt x="901" y="596"/>
                  </a:lnTo>
                  <a:lnTo>
                    <a:pt x="905" y="596"/>
                  </a:lnTo>
                  <a:lnTo>
                    <a:pt x="905" y="596"/>
                  </a:lnTo>
                  <a:lnTo>
                    <a:pt x="908" y="598"/>
                  </a:lnTo>
                  <a:lnTo>
                    <a:pt x="912" y="600"/>
                  </a:lnTo>
                  <a:lnTo>
                    <a:pt x="914" y="598"/>
                  </a:lnTo>
                  <a:lnTo>
                    <a:pt x="914" y="598"/>
                  </a:lnTo>
                  <a:lnTo>
                    <a:pt x="917" y="596"/>
                  </a:lnTo>
                  <a:lnTo>
                    <a:pt x="917" y="593"/>
                  </a:lnTo>
                  <a:lnTo>
                    <a:pt x="917" y="593"/>
                  </a:lnTo>
                  <a:lnTo>
                    <a:pt x="919" y="589"/>
                  </a:lnTo>
                  <a:lnTo>
                    <a:pt x="919" y="589"/>
                  </a:lnTo>
                  <a:lnTo>
                    <a:pt x="923" y="587"/>
                  </a:lnTo>
                  <a:lnTo>
                    <a:pt x="925" y="587"/>
                  </a:lnTo>
                  <a:lnTo>
                    <a:pt x="925" y="576"/>
                  </a:lnTo>
                  <a:lnTo>
                    <a:pt x="925" y="576"/>
                  </a:lnTo>
                  <a:lnTo>
                    <a:pt x="928" y="576"/>
                  </a:lnTo>
                  <a:lnTo>
                    <a:pt x="936" y="576"/>
                  </a:lnTo>
                  <a:lnTo>
                    <a:pt x="937" y="578"/>
                  </a:lnTo>
                  <a:lnTo>
                    <a:pt x="937" y="578"/>
                  </a:lnTo>
                  <a:lnTo>
                    <a:pt x="939" y="580"/>
                  </a:lnTo>
                  <a:lnTo>
                    <a:pt x="939" y="580"/>
                  </a:lnTo>
                  <a:lnTo>
                    <a:pt x="943" y="580"/>
                  </a:lnTo>
                  <a:lnTo>
                    <a:pt x="943" y="580"/>
                  </a:lnTo>
                  <a:lnTo>
                    <a:pt x="943" y="576"/>
                  </a:lnTo>
                  <a:lnTo>
                    <a:pt x="943" y="574"/>
                  </a:lnTo>
                  <a:lnTo>
                    <a:pt x="943" y="573"/>
                  </a:lnTo>
                  <a:lnTo>
                    <a:pt x="945" y="573"/>
                  </a:lnTo>
                  <a:lnTo>
                    <a:pt x="945" y="573"/>
                  </a:lnTo>
                  <a:lnTo>
                    <a:pt x="947" y="576"/>
                  </a:lnTo>
                  <a:lnTo>
                    <a:pt x="947" y="578"/>
                  </a:lnTo>
                  <a:lnTo>
                    <a:pt x="950" y="580"/>
                  </a:lnTo>
                  <a:lnTo>
                    <a:pt x="950" y="580"/>
                  </a:lnTo>
                  <a:lnTo>
                    <a:pt x="954" y="580"/>
                  </a:lnTo>
                  <a:lnTo>
                    <a:pt x="954" y="580"/>
                  </a:lnTo>
                  <a:lnTo>
                    <a:pt x="957" y="576"/>
                  </a:lnTo>
                  <a:lnTo>
                    <a:pt x="959" y="573"/>
                  </a:lnTo>
                  <a:lnTo>
                    <a:pt x="959" y="565"/>
                  </a:lnTo>
                  <a:lnTo>
                    <a:pt x="959" y="562"/>
                  </a:lnTo>
                  <a:lnTo>
                    <a:pt x="959" y="562"/>
                  </a:lnTo>
                  <a:lnTo>
                    <a:pt x="957" y="553"/>
                  </a:lnTo>
                  <a:lnTo>
                    <a:pt x="957" y="553"/>
                  </a:lnTo>
                  <a:lnTo>
                    <a:pt x="954" y="534"/>
                  </a:lnTo>
                  <a:lnTo>
                    <a:pt x="954" y="534"/>
                  </a:lnTo>
                  <a:lnTo>
                    <a:pt x="950" y="525"/>
                  </a:lnTo>
                  <a:lnTo>
                    <a:pt x="948" y="522"/>
                  </a:lnTo>
                  <a:lnTo>
                    <a:pt x="947" y="516"/>
                  </a:lnTo>
                  <a:lnTo>
                    <a:pt x="947" y="516"/>
                  </a:lnTo>
                  <a:lnTo>
                    <a:pt x="937" y="505"/>
                  </a:lnTo>
                  <a:lnTo>
                    <a:pt x="925" y="500"/>
                  </a:lnTo>
                  <a:lnTo>
                    <a:pt x="925" y="500"/>
                  </a:lnTo>
                  <a:lnTo>
                    <a:pt x="925" y="493"/>
                  </a:lnTo>
                  <a:lnTo>
                    <a:pt x="925" y="487"/>
                  </a:lnTo>
                  <a:lnTo>
                    <a:pt x="921" y="480"/>
                  </a:lnTo>
                  <a:lnTo>
                    <a:pt x="921" y="480"/>
                  </a:lnTo>
                  <a:lnTo>
                    <a:pt x="919" y="478"/>
                  </a:lnTo>
                  <a:lnTo>
                    <a:pt x="917" y="473"/>
                  </a:lnTo>
                  <a:lnTo>
                    <a:pt x="916" y="469"/>
                  </a:lnTo>
                  <a:lnTo>
                    <a:pt x="916" y="469"/>
                  </a:lnTo>
                  <a:lnTo>
                    <a:pt x="917" y="462"/>
                  </a:lnTo>
                  <a:lnTo>
                    <a:pt x="919" y="458"/>
                  </a:lnTo>
                  <a:lnTo>
                    <a:pt x="919" y="454"/>
                  </a:lnTo>
                  <a:lnTo>
                    <a:pt x="919" y="454"/>
                  </a:lnTo>
                  <a:lnTo>
                    <a:pt x="917" y="447"/>
                  </a:lnTo>
                  <a:lnTo>
                    <a:pt x="916" y="442"/>
                  </a:lnTo>
                  <a:lnTo>
                    <a:pt x="916" y="442"/>
                  </a:lnTo>
                  <a:lnTo>
                    <a:pt x="919" y="440"/>
                  </a:lnTo>
                  <a:lnTo>
                    <a:pt x="921" y="436"/>
                  </a:lnTo>
                  <a:lnTo>
                    <a:pt x="925" y="436"/>
                  </a:lnTo>
                  <a:lnTo>
                    <a:pt x="925" y="436"/>
                  </a:lnTo>
                  <a:lnTo>
                    <a:pt x="934" y="434"/>
                  </a:lnTo>
                  <a:lnTo>
                    <a:pt x="937" y="434"/>
                  </a:lnTo>
                  <a:lnTo>
                    <a:pt x="937" y="429"/>
                  </a:lnTo>
                  <a:lnTo>
                    <a:pt x="941" y="425"/>
                  </a:lnTo>
                  <a:lnTo>
                    <a:pt x="941" y="425"/>
                  </a:lnTo>
                  <a:lnTo>
                    <a:pt x="947" y="429"/>
                  </a:lnTo>
                  <a:lnTo>
                    <a:pt x="950" y="431"/>
                  </a:lnTo>
                  <a:lnTo>
                    <a:pt x="954" y="433"/>
                  </a:lnTo>
                  <a:lnTo>
                    <a:pt x="956" y="431"/>
                  </a:lnTo>
                  <a:lnTo>
                    <a:pt x="956" y="431"/>
                  </a:lnTo>
                  <a:lnTo>
                    <a:pt x="954" y="420"/>
                  </a:lnTo>
                  <a:lnTo>
                    <a:pt x="950" y="415"/>
                  </a:lnTo>
                  <a:lnTo>
                    <a:pt x="948" y="413"/>
                  </a:lnTo>
                  <a:lnTo>
                    <a:pt x="947" y="413"/>
                  </a:lnTo>
                  <a:lnTo>
                    <a:pt x="947" y="413"/>
                  </a:lnTo>
                  <a:lnTo>
                    <a:pt x="945" y="413"/>
                  </a:lnTo>
                  <a:lnTo>
                    <a:pt x="943" y="411"/>
                  </a:lnTo>
                  <a:lnTo>
                    <a:pt x="939" y="409"/>
                  </a:lnTo>
                  <a:lnTo>
                    <a:pt x="939" y="409"/>
                  </a:lnTo>
                  <a:lnTo>
                    <a:pt x="939" y="402"/>
                  </a:lnTo>
                  <a:lnTo>
                    <a:pt x="939" y="398"/>
                  </a:lnTo>
                  <a:lnTo>
                    <a:pt x="939" y="396"/>
                  </a:lnTo>
                  <a:lnTo>
                    <a:pt x="939" y="396"/>
                  </a:lnTo>
                  <a:lnTo>
                    <a:pt x="943" y="396"/>
                  </a:lnTo>
                  <a:lnTo>
                    <a:pt x="945" y="396"/>
                  </a:lnTo>
                  <a:lnTo>
                    <a:pt x="948" y="396"/>
                  </a:lnTo>
                  <a:lnTo>
                    <a:pt x="950" y="396"/>
                  </a:lnTo>
                  <a:lnTo>
                    <a:pt x="950" y="396"/>
                  </a:lnTo>
                  <a:lnTo>
                    <a:pt x="956" y="393"/>
                  </a:lnTo>
                  <a:lnTo>
                    <a:pt x="959" y="393"/>
                  </a:lnTo>
                  <a:lnTo>
                    <a:pt x="963" y="389"/>
                  </a:lnTo>
                  <a:lnTo>
                    <a:pt x="963" y="389"/>
                  </a:lnTo>
                  <a:lnTo>
                    <a:pt x="965" y="387"/>
                  </a:lnTo>
                  <a:lnTo>
                    <a:pt x="965" y="387"/>
                  </a:lnTo>
                  <a:lnTo>
                    <a:pt x="963" y="380"/>
                  </a:lnTo>
                  <a:lnTo>
                    <a:pt x="965" y="376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67" y="375"/>
                  </a:lnTo>
                  <a:lnTo>
                    <a:pt x="974" y="375"/>
                  </a:lnTo>
                  <a:lnTo>
                    <a:pt x="976" y="376"/>
                  </a:lnTo>
                  <a:lnTo>
                    <a:pt x="977" y="376"/>
                  </a:lnTo>
                  <a:lnTo>
                    <a:pt x="979" y="380"/>
                  </a:lnTo>
                  <a:lnTo>
                    <a:pt x="979" y="380"/>
                  </a:lnTo>
                  <a:lnTo>
                    <a:pt x="979" y="380"/>
                  </a:lnTo>
                  <a:lnTo>
                    <a:pt x="981" y="380"/>
                  </a:lnTo>
                  <a:lnTo>
                    <a:pt x="985" y="380"/>
                  </a:lnTo>
                  <a:lnTo>
                    <a:pt x="987" y="380"/>
                  </a:lnTo>
                  <a:lnTo>
                    <a:pt x="987" y="380"/>
                  </a:lnTo>
                  <a:lnTo>
                    <a:pt x="990" y="376"/>
                  </a:lnTo>
                  <a:lnTo>
                    <a:pt x="996" y="375"/>
                  </a:lnTo>
                  <a:lnTo>
                    <a:pt x="996" y="375"/>
                  </a:lnTo>
                  <a:lnTo>
                    <a:pt x="990" y="375"/>
                  </a:lnTo>
                  <a:lnTo>
                    <a:pt x="988" y="371"/>
                  </a:lnTo>
                  <a:lnTo>
                    <a:pt x="990" y="371"/>
                  </a:lnTo>
                  <a:lnTo>
                    <a:pt x="990" y="371"/>
                  </a:lnTo>
                  <a:lnTo>
                    <a:pt x="996" y="367"/>
                  </a:lnTo>
                  <a:lnTo>
                    <a:pt x="996" y="365"/>
                  </a:lnTo>
                  <a:lnTo>
                    <a:pt x="997" y="364"/>
                  </a:lnTo>
                  <a:lnTo>
                    <a:pt x="997" y="364"/>
                  </a:lnTo>
                  <a:lnTo>
                    <a:pt x="999" y="358"/>
                  </a:lnTo>
                  <a:lnTo>
                    <a:pt x="999" y="356"/>
                  </a:lnTo>
                  <a:lnTo>
                    <a:pt x="999" y="356"/>
                  </a:lnTo>
                  <a:lnTo>
                    <a:pt x="1005" y="349"/>
                  </a:lnTo>
                  <a:lnTo>
                    <a:pt x="1010" y="344"/>
                  </a:lnTo>
                  <a:lnTo>
                    <a:pt x="1010" y="344"/>
                  </a:lnTo>
                  <a:lnTo>
                    <a:pt x="1012" y="342"/>
                  </a:lnTo>
                  <a:lnTo>
                    <a:pt x="1016" y="338"/>
                  </a:lnTo>
                  <a:lnTo>
                    <a:pt x="1016" y="338"/>
                  </a:lnTo>
                  <a:lnTo>
                    <a:pt x="1016" y="338"/>
                  </a:lnTo>
                  <a:lnTo>
                    <a:pt x="1012" y="336"/>
                  </a:lnTo>
                  <a:lnTo>
                    <a:pt x="1012" y="335"/>
                  </a:lnTo>
                  <a:lnTo>
                    <a:pt x="1012" y="327"/>
                  </a:lnTo>
                  <a:lnTo>
                    <a:pt x="1012" y="327"/>
                  </a:lnTo>
                  <a:lnTo>
                    <a:pt x="1010" y="318"/>
                  </a:lnTo>
                  <a:lnTo>
                    <a:pt x="1008" y="316"/>
                  </a:lnTo>
                  <a:lnTo>
                    <a:pt x="1006" y="316"/>
                  </a:lnTo>
                  <a:lnTo>
                    <a:pt x="1006" y="316"/>
                  </a:lnTo>
                  <a:lnTo>
                    <a:pt x="1003" y="315"/>
                  </a:lnTo>
                  <a:lnTo>
                    <a:pt x="999" y="315"/>
                  </a:lnTo>
                  <a:lnTo>
                    <a:pt x="996" y="313"/>
                  </a:lnTo>
                  <a:lnTo>
                    <a:pt x="990" y="311"/>
                  </a:lnTo>
                  <a:lnTo>
                    <a:pt x="990" y="311"/>
                  </a:lnTo>
                  <a:lnTo>
                    <a:pt x="988" y="307"/>
                  </a:lnTo>
                  <a:lnTo>
                    <a:pt x="988" y="304"/>
                  </a:lnTo>
                  <a:lnTo>
                    <a:pt x="990" y="302"/>
                  </a:lnTo>
                  <a:lnTo>
                    <a:pt x="990" y="302"/>
                  </a:lnTo>
                  <a:lnTo>
                    <a:pt x="992" y="300"/>
                  </a:lnTo>
                  <a:lnTo>
                    <a:pt x="996" y="296"/>
                  </a:lnTo>
                  <a:lnTo>
                    <a:pt x="996" y="293"/>
                  </a:lnTo>
                  <a:lnTo>
                    <a:pt x="996" y="291"/>
                  </a:lnTo>
                  <a:lnTo>
                    <a:pt x="996" y="291"/>
                  </a:lnTo>
                  <a:lnTo>
                    <a:pt x="996" y="284"/>
                  </a:lnTo>
                  <a:lnTo>
                    <a:pt x="988" y="282"/>
                  </a:lnTo>
                  <a:lnTo>
                    <a:pt x="988" y="282"/>
                  </a:lnTo>
                  <a:lnTo>
                    <a:pt x="988" y="276"/>
                  </a:lnTo>
                  <a:lnTo>
                    <a:pt x="987" y="273"/>
                  </a:lnTo>
                  <a:lnTo>
                    <a:pt x="987" y="271"/>
                  </a:lnTo>
                  <a:lnTo>
                    <a:pt x="987" y="271"/>
                  </a:lnTo>
                  <a:lnTo>
                    <a:pt x="979" y="269"/>
                  </a:lnTo>
                  <a:lnTo>
                    <a:pt x="979" y="269"/>
                  </a:lnTo>
                  <a:lnTo>
                    <a:pt x="979" y="269"/>
                  </a:lnTo>
                  <a:lnTo>
                    <a:pt x="979" y="267"/>
                  </a:lnTo>
                  <a:lnTo>
                    <a:pt x="979" y="267"/>
                  </a:lnTo>
                  <a:lnTo>
                    <a:pt x="988" y="262"/>
                  </a:lnTo>
                  <a:lnTo>
                    <a:pt x="990" y="260"/>
                  </a:lnTo>
                  <a:lnTo>
                    <a:pt x="990" y="260"/>
                  </a:lnTo>
                  <a:lnTo>
                    <a:pt x="990" y="253"/>
                  </a:lnTo>
                  <a:lnTo>
                    <a:pt x="988" y="249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3" y="247"/>
                  </a:lnTo>
                  <a:lnTo>
                    <a:pt x="983" y="247"/>
                  </a:lnTo>
                  <a:lnTo>
                    <a:pt x="979" y="244"/>
                  </a:lnTo>
                  <a:lnTo>
                    <a:pt x="979" y="240"/>
                  </a:lnTo>
                  <a:lnTo>
                    <a:pt x="979" y="238"/>
                  </a:lnTo>
                  <a:lnTo>
                    <a:pt x="981" y="238"/>
                  </a:lnTo>
                  <a:lnTo>
                    <a:pt x="981" y="238"/>
                  </a:lnTo>
                  <a:lnTo>
                    <a:pt x="988" y="233"/>
                  </a:lnTo>
                  <a:lnTo>
                    <a:pt x="990" y="233"/>
                  </a:lnTo>
                  <a:lnTo>
                    <a:pt x="992" y="227"/>
                  </a:lnTo>
                  <a:lnTo>
                    <a:pt x="1016" y="216"/>
                  </a:lnTo>
                  <a:lnTo>
                    <a:pt x="1012" y="207"/>
                  </a:lnTo>
                  <a:lnTo>
                    <a:pt x="1023" y="206"/>
                  </a:lnTo>
                  <a:lnTo>
                    <a:pt x="1037" y="204"/>
                  </a:lnTo>
                  <a:lnTo>
                    <a:pt x="1034" y="191"/>
                  </a:lnTo>
                  <a:lnTo>
                    <a:pt x="1039" y="182"/>
                  </a:lnTo>
                  <a:lnTo>
                    <a:pt x="1043" y="180"/>
                  </a:lnTo>
                  <a:lnTo>
                    <a:pt x="1043" y="180"/>
                  </a:lnTo>
                  <a:lnTo>
                    <a:pt x="1039" y="175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28" y="169"/>
                  </a:lnTo>
                  <a:lnTo>
                    <a:pt x="1028" y="169"/>
                  </a:lnTo>
                  <a:lnTo>
                    <a:pt x="1026" y="167"/>
                  </a:lnTo>
                  <a:lnTo>
                    <a:pt x="1019" y="147"/>
                  </a:lnTo>
                  <a:lnTo>
                    <a:pt x="1010" y="142"/>
                  </a:lnTo>
                  <a:lnTo>
                    <a:pt x="997" y="144"/>
                  </a:lnTo>
                  <a:lnTo>
                    <a:pt x="987" y="147"/>
                  </a:lnTo>
                  <a:lnTo>
                    <a:pt x="979" y="144"/>
                  </a:lnTo>
                  <a:lnTo>
                    <a:pt x="970" y="142"/>
                  </a:lnTo>
                  <a:lnTo>
                    <a:pt x="967" y="131"/>
                  </a:lnTo>
                  <a:lnTo>
                    <a:pt x="976" y="124"/>
                  </a:lnTo>
                  <a:lnTo>
                    <a:pt x="970" y="124"/>
                  </a:lnTo>
                  <a:lnTo>
                    <a:pt x="967" y="126"/>
                  </a:lnTo>
                  <a:lnTo>
                    <a:pt x="965" y="122"/>
                  </a:lnTo>
                  <a:lnTo>
                    <a:pt x="959" y="107"/>
                  </a:lnTo>
                  <a:lnTo>
                    <a:pt x="965" y="102"/>
                  </a:lnTo>
                  <a:lnTo>
                    <a:pt x="967" y="93"/>
                  </a:lnTo>
                  <a:lnTo>
                    <a:pt x="977" y="78"/>
                  </a:lnTo>
                  <a:lnTo>
                    <a:pt x="977" y="78"/>
                  </a:lnTo>
                  <a:lnTo>
                    <a:pt x="983" y="75"/>
                  </a:lnTo>
                  <a:lnTo>
                    <a:pt x="985" y="67"/>
                  </a:lnTo>
                  <a:lnTo>
                    <a:pt x="987" y="66"/>
                  </a:lnTo>
                  <a:lnTo>
                    <a:pt x="987" y="66"/>
                  </a:lnTo>
                  <a:lnTo>
                    <a:pt x="987" y="55"/>
                  </a:lnTo>
                  <a:lnTo>
                    <a:pt x="1003" y="40"/>
                  </a:lnTo>
                  <a:lnTo>
                    <a:pt x="988" y="29"/>
                  </a:lnTo>
                  <a:lnTo>
                    <a:pt x="983" y="24"/>
                  </a:lnTo>
                  <a:lnTo>
                    <a:pt x="983" y="18"/>
                  </a:lnTo>
                  <a:lnTo>
                    <a:pt x="976" y="18"/>
                  </a:lnTo>
                  <a:lnTo>
                    <a:pt x="968" y="17"/>
                  </a:lnTo>
                  <a:lnTo>
                    <a:pt x="968" y="17"/>
                  </a:lnTo>
                  <a:lnTo>
                    <a:pt x="968" y="13"/>
                  </a:lnTo>
                  <a:lnTo>
                    <a:pt x="968" y="9"/>
                  </a:lnTo>
                  <a:lnTo>
                    <a:pt x="968" y="9"/>
                  </a:lnTo>
                  <a:lnTo>
                    <a:pt x="959" y="6"/>
                  </a:lnTo>
                  <a:lnTo>
                    <a:pt x="950" y="6"/>
                  </a:lnTo>
                  <a:lnTo>
                    <a:pt x="943" y="0"/>
                  </a:lnTo>
                  <a:lnTo>
                    <a:pt x="943" y="0"/>
                  </a:lnTo>
                  <a:lnTo>
                    <a:pt x="939" y="6"/>
                  </a:lnTo>
                  <a:lnTo>
                    <a:pt x="939" y="6"/>
                  </a:lnTo>
                  <a:lnTo>
                    <a:pt x="934" y="15"/>
                  </a:lnTo>
                  <a:lnTo>
                    <a:pt x="921" y="22"/>
                  </a:lnTo>
                  <a:lnTo>
                    <a:pt x="914" y="31"/>
                  </a:lnTo>
                  <a:lnTo>
                    <a:pt x="908" y="33"/>
                  </a:lnTo>
                  <a:lnTo>
                    <a:pt x="905" y="33"/>
                  </a:lnTo>
                  <a:lnTo>
                    <a:pt x="905" y="33"/>
                  </a:lnTo>
                  <a:lnTo>
                    <a:pt x="901" y="33"/>
                  </a:lnTo>
                  <a:lnTo>
                    <a:pt x="899" y="31"/>
                  </a:lnTo>
                  <a:lnTo>
                    <a:pt x="898" y="24"/>
                  </a:lnTo>
                  <a:lnTo>
                    <a:pt x="892" y="17"/>
                  </a:lnTo>
                  <a:lnTo>
                    <a:pt x="890" y="13"/>
                  </a:lnTo>
                  <a:lnTo>
                    <a:pt x="885" y="11"/>
                  </a:lnTo>
                  <a:lnTo>
                    <a:pt x="885" y="11"/>
                  </a:lnTo>
                  <a:lnTo>
                    <a:pt x="878" y="6"/>
                  </a:lnTo>
                  <a:lnTo>
                    <a:pt x="870" y="6"/>
                  </a:lnTo>
                  <a:lnTo>
                    <a:pt x="863" y="6"/>
                  </a:lnTo>
                  <a:lnTo>
                    <a:pt x="858" y="6"/>
                  </a:lnTo>
                  <a:lnTo>
                    <a:pt x="852" y="9"/>
                  </a:lnTo>
                  <a:lnTo>
                    <a:pt x="843" y="11"/>
                  </a:lnTo>
                  <a:lnTo>
                    <a:pt x="843" y="11"/>
                  </a:lnTo>
                  <a:lnTo>
                    <a:pt x="836" y="15"/>
                  </a:lnTo>
                  <a:lnTo>
                    <a:pt x="829" y="20"/>
                  </a:lnTo>
                  <a:lnTo>
                    <a:pt x="812" y="33"/>
                  </a:lnTo>
                  <a:lnTo>
                    <a:pt x="805" y="40"/>
                  </a:lnTo>
                  <a:lnTo>
                    <a:pt x="799" y="46"/>
                  </a:lnTo>
                  <a:lnTo>
                    <a:pt x="794" y="55"/>
                  </a:lnTo>
                  <a:lnTo>
                    <a:pt x="790" y="64"/>
                  </a:lnTo>
                  <a:lnTo>
                    <a:pt x="790" y="64"/>
                  </a:lnTo>
                  <a:lnTo>
                    <a:pt x="779" y="78"/>
                  </a:lnTo>
                  <a:lnTo>
                    <a:pt x="772" y="89"/>
                  </a:lnTo>
                  <a:lnTo>
                    <a:pt x="767" y="95"/>
                  </a:lnTo>
                  <a:lnTo>
                    <a:pt x="761" y="97"/>
                  </a:lnTo>
                  <a:lnTo>
                    <a:pt x="758" y="98"/>
                  </a:lnTo>
                  <a:lnTo>
                    <a:pt x="754" y="97"/>
                  </a:lnTo>
                  <a:lnTo>
                    <a:pt x="754" y="97"/>
                  </a:lnTo>
                  <a:lnTo>
                    <a:pt x="740" y="93"/>
                  </a:lnTo>
                  <a:lnTo>
                    <a:pt x="727" y="89"/>
                  </a:lnTo>
                  <a:lnTo>
                    <a:pt x="727" y="89"/>
                  </a:lnTo>
                  <a:lnTo>
                    <a:pt x="718" y="93"/>
                  </a:lnTo>
                  <a:lnTo>
                    <a:pt x="709" y="95"/>
                  </a:lnTo>
                  <a:lnTo>
                    <a:pt x="703" y="98"/>
                  </a:lnTo>
                  <a:lnTo>
                    <a:pt x="696" y="98"/>
                  </a:lnTo>
                  <a:lnTo>
                    <a:pt x="696" y="98"/>
                  </a:lnTo>
                  <a:lnTo>
                    <a:pt x="694" y="98"/>
                  </a:lnTo>
                  <a:lnTo>
                    <a:pt x="694" y="97"/>
                  </a:lnTo>
                  <a:lnTo>
                    <a:pt x="696" y="93"/>
                  </a:lnTo>
                  <a:lnTo>
                    <a:pt x="696" y="86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2"/>
                  </a:lnTo>
                  <a:lnTo>
                    <a:pt x="689" y="80"/>
                  </a:lnTo>
                  <a:lnTo>
                    <a:pt x="680" y="78"/>
                  </a:lnTo>
                  <a:lnTo>
                    <a:pt x="672" y="78"/>
                  </a:lnTo>
                  <a:lnTo>
                    <a:pt x="669" y="78"/>
                  </a:lnTo>
                  <a:lnTo>
                    <a:pt x="663" y="82"/>
                  </a:lnTo>
                  <a:lnTo>
                    <a:pt x="656" y="86"/>
                  </a:lnTo>
                  <a:lnTo>
                    <a:pt x="656" y="86"/>
                  </a:lnTo>
                  <a:lnTo>
                    <a:pt x="645" y="95"/>
                  </a:lnTo>
                  <a:lnTo>
                    <a:pt x="632" y="100"/>
                  </a:lnTo>
                  <a:lnTo>
                    <a:pt x="621" y="102"/>
                  </a:lnTo>
                  <a:lnTo>
                    <a:pt x="611" y="106"/>
                  </a:lnTo>
                  <a:lnTo>
                    <a:pt x="611" y="106"/>
                  </a:lnTo>
                  <a:lnTo>
                    <a:pt x="607" y="106"/>
                  </a:lnTo>
                  <a:lnTo>
                    <a:pt x="601" y="109"/>
                  </a:lnTo>
                  <a:lnTo>
                    <a:pt x="589" y="118"/>
                  </a:lnTo>
                  <a:lnTo>
                    <a:pt x="574" y="124"/>
                  </a:lnTo>
                  <a:lnTo>
                    <a:pt x="565" y="129"/>
                  </a:lnTo>
                  <a:lnTo>
                    <a:pt x="565" y="129"/>
                  </a:lnTo>
                  <a:lnTo>
                    <a:pt x="554" y="135"/>
                  </a:lnTo>
                  <a:lnTo>
                    <a:pt x="545" y="135"/>
                  </a:lnTo>
                  <a:lnTo>
                    <a:pt x="542" y="135"/>
                  </a:lnTo>
                  <a:lnTo>
                    <a:pt x="538" y="137"/>
                  </a:lnTo>
                  <a:lnTo>
                    <a:pt x="538" y="137"/>
                  </a:lnTo>
                  <a:lnTo>
                    <a:pt x="538" y="138"/>
                  </a:lnTo>
                  <a:lnTo>
                    <a:pt x="540" y="138"/>
                  </a:lnTo>
                  <a:lnTo>
                    <a:pt x="543" y="142"/>
                  </a:lnTo>
                  <a:lnTo>
                    <a:pt x="545" y="144"/>
                  </a:lnTo>
                  <a:lnTo>
                    <a:pt x="547" y="147"/>
                  </a:lnTo>
                  <a:lnTo>
                    <a:pt x="549" y="149"/>
                  </a:lnTo>
                  <a:lnTo>
                    <a:pt x="547" y="151"/>
                  </a:lnTo>
                  <a:lnTo>
                    <a:pt x="547" y="151"/>
                  </a:lnTo>
                  <a:lnTo>
                    <a:pt x="542" y="157"/>
                  </a:lnTo>
                  <a:lnTo>
                    <a:pt x="534" y="164"/>
                  </a:lnTo>
                  <a:lnTo>
                    <a:pt x="531" y="167"/>
                  </a:lnTo>
                  <a:lnTo>
                    <a:pt x="531" y="171"/>
                  </a:lnTo>
                  <a:lnTo>
                    <a:pt x="531" y="175"/>
                  </a:lnTo>
                  <a:lnTo>
                    <a:pt x="531" y="175"/>
                  </a:lnTo>
                  <a:lnTo>
                    <a:pt x="532" y="180"/>
                  </a:lnTo>
                  <a:lnTo>
                    <a:pt x="534" y="182"/>
                  </a:lnTo>
                  <a:lnTo>
                    <a:pt x="538" y="184"/>
                  </a:lnTo>
                  <a:lnTo>
                    <a:pt x="540" y="180"/>
                  </a:lnTo>
                  <a:lnTo>
                    <a:pt x="540" y="180"/>
                  </a:lnTo>
                  <a:lnTo>
                    <a:pt x="542" y="176"/>
                  </a:lnTo>
                  <a:lnTo>
                    <a:pt x="543" y="175"/>
                  </a:lnTo>
                  <a:lnTo>
                    <a:pt x="545" y="171"/>
                  </a:lnTo>
                  <a:lnTo>
                    <a:pt x="547" y="171"/>
                  </a:lnTo>
                  <a:lnTo>
                    <a:pt x="547" y="175"/>
                  </a:lnTo>
                  <a:lnTo>
                    <a:pt x="547" y="175"/>
                  </a:lnTo>
                  <a:lnTo>
                    <a:pt x="549" y="184"/>
                  </a:lnTo>
                  <a:lnTo>
                    <a:pt x="549" y="191"/>
                  </a:lnTo>
                  <a:lnTo>
                    <a:pt x="552" y="193"/>
                  </a:lnTo>
                  <a:lnTo>
                    <a:pt x="552" y="193"/>
                  </a:lnTo>
                  <a:lnTo>
                    <a:pt x="558" y="196"/>
                  </a:lnTo>
                  <a:lnTo>
                    <a:pt x="563" y="202"/>
                  </a:lnTo>
                  <a:lnTo>
                    <a:pt x="565" y="207"/>
                  </a:lnTo>
                  <a:lnTo>
                    <a:pt x="565" y="207"/>
                  </a:lnTo>
                  <a:lnTo>
                    <a:pt x="565" y="211"/>
                  </a:lnTo>
                  <a:lnTo>
                    <a:pt x="565" y="211"/>
                  </a:lnTo>
                  <a:lnTo>
                    <a:pt x="563" y="211"/>
                  </a:lnTo>
                  <a:lnTo>
                    <a:pt x="560" y="213"/>
                  </a:lnTo>
                  <a:lnTo>
                    <a:pt x="551" y="211"/>
                  </a:lnTo>
                  <a:lnTo>
                    <a:pt x="551" y="211"/>
                  </a:lnTo>
                  <a:lnTo>
                    <a:pt x="547" y="216"/>
                  </a:lnTo>
                  <a:lnTo>
                    <a:pt x="542" y="218"/>
                  </a:lnTo>
                  <a:lnTo>
                    <a:pt x="531" y="226"/>
                  </a:lnTo>
                  <a:lnTo>
                    <a:pt x="531" y="226"/>
                  </a:lnTo>
                  <a:lnTo>
                    <a:pt x="523" y="231"/>
                  </a:lnTo>
                  <a:lnTo>
                    <a:pt x="520" y="233"/>
                  </a:lnTo>
                  <a:lnTo>
                    <a:pt x="512" y="235"/>
                  </a:lnTo>
                  <a:lnTo>
                    <a:pt x="512" y="235"/>
                  </a:lnTo>
                  <a:lnTo>
                    <a:pt x="507" y="238"/>
                  </a:lnTo>
                  <a:lnTo>
                    <a:pt x="502" y="240"/>
                  </a:lnTo>
                  <a:lnTo>
                    <a:pt x="498" y="244"/>
                  </a:lnTo>
                  <a:lnTo>
                    <a:pt x="493" y="247"/>
                  </a:lnTo>
                  <a:lnTo>
                    <a:pt x="493" y="247"/>
                  </a:lnTo>
                  <a:lnTo>
                    <a:pt x="491" y="253"/>
                  </a:lnTo>
                  <a:lnTo>
                    <a:pt x="483" y="262"/>
                  </a:lnTo>
                  <a:lnTo>
                    <a:pt x="482" y="266"/>
                  </a:lnTo>
                  <a:lnTo>
                    <a:pt x="478" y="266"/>
                  </a:lnTo>
                  <a:lnTo>
                    <a:pt x="471" y="267"/>
                  </a:lnTo>
                  <a:lnTo>
                    <a:pt x="467" y="266"/>
                  </a:lnTo>
                  <a:lnTo>
                    <a:pt x="467" y="266"/>
                  </a:lnTo>
                  <a:lnTo>
                    <a:pt x="458" y="262"/>
                  </a:lnTo>
                  <a:lnTo>
                    <a:pt x="449" y="258"/>
                  </a:lnTo>
                  <a:lnTo>
                    <a:pt x="443" y="251"/>
                  </a:lnTo>
                  <a:lnTo>
                    <a:pt x="443" y="251"/>
                  </a:lnTo>
                  <a:lnTo>
                    <a:pt x="443" y="258"/>
                  </a:lnTo>
                  <a:lnTo>
                    <a:pt x="443" y="264"/>
                  </a:lnTo>
                  <a:lnTo>
                    <a:pt x="443" y="269"/>
                  </a:lnTo>
                  <a:lnTo>
                    <a:pt x="443" y="269"/>
                  </a:lnTo>
                  <a:lnTo>
                    <a:pt x="449" y="293"/>
                  </a:lnTo>
                  <a:lnTo>
                    <a:pt x="451" y="307"/>
                  </a:lnTo>
                  <a:lnTo>
                    <a:pt x="451" y="313"/>
                  </a:lnTo>
                  <a:lnTo>
                    <a:pt x="449" y="315"/>
                  </a:lnTo>
                  <a:lnTo>
                    <a:pt x="449" y="315"/>
                  </a:lnTo>
                  <a:lnTo>
                    <a:pt x="449" y="316"/>
                  </a:lnTo>
                  <a:lnTo>
                    <a:pt x="445" y="318"/>
                  </a:lnTo>
                  <a:lnTo>
                    <a:pt x="440" y="318"/>
                  </a:lnTo>
                  <a:lnTo>
                    <a:pt x="429" y="316"/>
                  </a:lnTo>
                  <a:lnTo>
                    <a:pt x="422" y="315"/>
                  </a:lnTo>
                  <a:lnTo>
                    <a:pt x="422" y="315"/>
                  </a:lnTo>
                  <a:lnTo>
                    <a:pt x="409" y="305"/>
                  </a:lnTo>
                  <a:lnTo>
                    <a:pt x="400" y="295"/>
                  </a:lnTo>
                  <a:lnTo>
                    <a:pt x="393" y="284"/>
                  </a:lnTo>
                  <a:lnTo>
                    <a:pt x="391" y="276"/>
                  </a:lnTo>
                  <a:lnTo>
                    <a:pt x="387" y="273"/>
                  </a:lnTo>
                  <a:lnTo>
                    <a:pt x="387" y="273"/>
                  </a:lnTo>
                  <a:lnTo>
                    <a:pt x="384" y="262"/>
                  </a:lnTo>
                  <a:lnTo>
                    <a:pt x="380" y="249"/>
                  </a:lnTo>
                  <a:lnTo>
                    <a:pt x="374" y="238"/>
                  </a:lnTo>
                  <a:lnTo>
                    <a:pt x="365" y="226"/>
                  </a:lnTo>
                  <a:lnTo>
                    <a:pt x="365" y="226"/>
                  </a:lnTo>
                  <a:lnTo>
                    <a:pt x="360" y="220"/>
                  </a:lnTo>
                  <a:lnTo>
                    <a:pt x="349" y="213"/>
                  </a:lnTo>
                  <a:lnTo>
                    <a:pt x="342" y="211"/>
                  </a:lnTo>
                  <a:lnTo>
                    <a:pt x="336" y="209"/>
                  </a:lnTo>
                  <a:lnTo>
                    <a:pt x="331" y="209"/>
                  </a:lnTo>
                  <a:lnTo>
                    <a:pt x="325" y="211"/>
                  </a:lnTo>
                  <a:lnTo>
                    <a:pt x="325" y="211"/>
                  </a:lnTo>
                  <a:lnTo>
                    <a:pt x="311" y="220"/>
                  </a:lnTo>
                  <a:lnTo>
                    <a:pt x="304" y="222"/>
                  </a:lnTo>
                  <a:lnTo>
                    <a:pt x="300" y="222"/>
                  </a:lnTo>
                  <a:lnTo>
                    <a:pt x="298" y="222"/>
                  </a:lnTo>
                  <a:lnTo>
                    <a:pt x="298" y="222"/>
                  </a:lnTo>
                  <a:lnTo>
                    <a:pt x="291" y="220"/>
                  </a:lnTo>
                  <a:lnTo>
                    <a:pt x="282" y="218"/>
                  </a:lnTo>
                  <a:lnTo>
                    <a:pt x="275" y="218"/>
                  </a:lnTo>
                  <a:lnTo>
                    <a:pt x="271" y="218"/>
                  </a:lnTo>
                  <a:lnTo>
                    <a:pt x="267" y="220"/>
                  </a:lnTo>
                  <a:lnTo>
                    <a:pt x="267" y="220"/>
                  </a:lnTo>
                  <a:lnTo>
                    <a:pt x="262" y="224"/>
                  </a:lnTo>
                  <a:lnTo>
                    <a:pt x="258" y="227"/>
                  </a:lnTo>
                  <a:lnTo>
                    <a:pt x="258" y="229"/>
                  </a:lnTo>
                  <a:lnTo>
                    <a:pt x="258" y="233"/>
                  </a:lnTo>
                  <a:lnTo>
                    <a:pt x="260" y="238"/>
                  </a:lnTo>
                  <a:lnTo>
                    <a:pt x="262" y="242"/>
                  </a:lnTo>
                  <a:lnTo>
                    <a:pt x="262" y="242"/>
                  </a:lnTo>
                  <a:lnTo>
                    <a:pt x="269" y="249"/>
                  </a:lnTo>
                  <a:lnTo>
                    <a:pt x="271" y="253"/>
                  </a:lnTo>
                  <a:lnTo>
                    <a:pt x="269" y="258"/>
                  </a:lnTo>
                  <a:lnTo>
                    <a:pt x="265" y="262"/>
                  </a:lnTo>
                  <a:lnTo>
                    <a:pt x="265" y="262"/>
                  </a:lnTo>
                  <a:lnTo>
                    <a:pt x="256" y="266"/>
                  </a:lnTo>
                  <a:lnTo>
                    <a:pt x="247" y="269"/>
                  </a:lnTo>
                  <a:lnTo>
                    <a:pt x="235" y="273"/>
                  </a:lnTo>
                  <a:lnTo>
                    <a:pt x="229" y="273"/>
                  </a:lnTo>
                  <a:lnTo>
                    <a:pt x="229" y="273"/>
                  </a:lnTo>
                  <a:lnTo>
                    <a:pt x="218" y="273"/>
                  </a:lnTo>
                  <a:lnTo>
                    <a:pt x="206" y="273"/>
                  </a:lnTo>
                  <a:lnTo>
                    <a:pt x="196" y="273"/>
                  </a:lnTo>
                  <a:lnTo>
                    <a:pt x="193" y="273"/>
                  </a:lnTo>
                  <a:lnTo>
                    <a:pt x="187" y="271"/>
                  </a:lnTo>
                  <a:lnTo>
                    <a:pt x="186" y="269"/>
                  </a:lnTo>
                  <a:lnTo>
                    <a:pt x="186" y="269"/>
                  </a:lnTo>
                  <a:lnTo>
                    <a:pt x="186" y="269"/>
                  </a:lnTo>
                  <a:lnTo>
                    <a:pt x="186" y="267"/>
                  </a:lnTo>
                  <a:lnTo>
                    <a:pt x="187" y="266"/>
                  </a:lnTo>
                  <a:lnTo>
                    <a:pt x="189" y="262"/>
                  </a:lnTo>
                  <a:lnTo>
                    <a:pt x="193" y="262"/>
                  </a:lnTo>
                  <a:lnTo>
                    <a:pt x="193" y="260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89" y="255"/>
                  </a:lnTo>
                  <a:lnTo>
                    <a:pt x="187" y="255"/>
                  </a:lnTo>
                  <a:lnTo>
                    <a:pt x="176" y="253"/>
                  </a:lnTo>
                  <a:lnTo>
                    <a:pt x="164" y="255"/>
                  </a:lnTo>
                  <a:lnTo>
                    <a:pt x="147" y="258"/>
                  </a:lnTo>
                  <a:lnTo>
                    <a:pt x="147" y="258"/>
                  </a:lnTo>
                  <a:lnTo>
                    <a:pt x="135" y="262"/>
                  </a:lnTo>
                  <a:lnTo>
                    <a:pt x="122" y="266"/>
                  </a:lnTo>
                  <a:lnTo>
                    <a:pt x="113" y="269"/>
                  </a:lnTo>
                  <a:lnTo>
                    <a:pt x="107" y="271"/>
                  </a:lnTo>
                  <a:lnTo>
                    <a:pt x="107" y="271"/>
                  </a:lnTo>
                  <a:lnTo>
                    <a:pt x="107" y="273"/>
                  </a:lnTo>
                  <a:lnTo>
                    <a:pt x="106" y="273"/>
                  </a:lnTo>
                  <a:lnTo>
                    <a:pt x="102" y="269"/>
                  </a:lnTo>
                  <a:lnTo>
                    <a:pt x="97" y="267"/>
                  </a:lnTo>
                  <a:lnTo>
                    <a:pt x="95" y="262"/>
                  </a:lnTo>
                  <a:lnTo>
                    <a:pt x="95" y="262"/>
                  </a:lnTo>
                  <a:lnTo>
                    <a:pt x="93" y="260"/>
                  </a:lnTo>
                  <a:lnTo>
                    <a:pt x="91" y="260"/>
                  </a:lnTo>
                  <a:lnTo>
                    <a:pt x="86" y="264"/>
                  </a:lnTo>
                  <a:lnTo>
                    <a:pt x="78" y="267"/>
                  </a:lnTo>
                  <a:lnTo>
                    <a:pt x="73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2" y="282"/>
                  </a:lnTo>
                  <a:lnTo>
                    <a:pt x="60" y="289"/>
                  </a:lnTo>
                  <a:lnTo>
                    <a:pt x="55" y="295"/>
                  </a:lnTo>
                  <a:lnTo>
                    <a:pt x="55" y="295"/>
                  </a:lnTo>
                  <a:lnTo>
                    <a:pt x="53" y="300"/>
                  </a:lnTo>
                  <a:lnTo>
                    <a:pt x="53" y="304"/>
                  </a:lnTo>
                  <a:lnTo>
                    <a:pt x="55" y="305"/>
                  </a:lnTo>
                  <a:lnTo>
                    <a:pt x="58" y="309"/>
                  </a:lnTo>
                  <a:lnTo>
                    <a:pt x="64" y="315"/>
                  </a:lnTo>
                  <a:lnTo>
                    <a:pt x="66" y="322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66" y="3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6" name="Freeform 79">
              <a:extLst>
                <a:ext uri="{FF2B5EF4-FFF2-40B4-BE49-F238E27FC236}">
                  <a16:creationId xmlns:a16="http://schemas.microsoft.com/office/drawing/2014/main" id="{54E2279A-DCD1-A640-A412-E315FD20F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736" y="2581959"/>
              <a:ext cx="757460" cy="872664"/>
            </a:xfrm>
            <a:custGeom>
              <a:avLst/>
              <a:gdLst>
                <a:gd name="T0" fmla="*/ 40 w 523"/>
                <a:gd name="T1" fmla="*/ 458 h 610"/>
                <a:gd name="T2" fmla="*/ 42 w 523"/>
                <a:gd name="T3" fmla="*/ 501 h 610"/>
                <a:gd name="T4" fmla="*/ 24 w 523"/>
                <a:gd name="T5" fmla="*/ 560 h 610"/>
                <a:gd name="T6" fmla="*/ 54 w 523"/>
                <a:gd name="T7" fmla="*/ 578 h 610"/>
                <a:gd name="T8" fmla="*/ 103 w 523"/>
                <a:gd name="T9" fmla="*/ 596 h 610"/>
                <a:gd name="T10" fmla="*/ 133 w 523"/>
                <a:gd name="T11" fmla="*/ 605 h 610"/>
                <a:gd name="T12" fmla="*/ 171 w 523"/>
                <a:gd name="T13" fmla="*/ 603 h 610"/>
                <a:gd name="T14" fmla="*/ 192 w 523"/>
                <a:gd name="T15" fmla="*/ 594 h 610"/>
                <a:gd name="T16" fmla="*/ 220 w 523"/>
                <a:gd name="T17" fmla="*/ 576 h 610"/>
                <a:gd name="T18" fmla="*/ 269 w 523"/>
                <a:gd name="T19" fmla="*/ 529 h 610"/>
                <a:gd name="T20" fmla="*/ 358 w 523"/>
                <a:gd name="T21" fmla="*/ 480 h 610"/>
                <a:gd name="T22" fmla="*/ 419 w 523"/>
                <a:gd name="T23" fmla="*/ 505 h 610"/>
                <a:gd name="T24" fmla="*/ 438 w 523"/>
                <a:gd name="T25" fmla="*/ 463 h 610"/>
                <a:gd name="T26" fmla="*/ 454 w 523"/>
                <a:gd name="T27" fmla="*/ 432 h 610"/>
                <a:gd name="T28" fmla="*/ 474 w 523"/>
                <a:gd name="T29" fmla="*/ 416 h 610"/>
                <a:gd name="T30" fmla="*/ 492 w 523"/>
                <a:gd name="T31" fmla="*/ 351 h 610"/>
                <a:gd name="T32" fmla="*/ 505 w 523"/>
                <a:gd name="T33" fmla="*/ 325 h 610"/>
                <a:gd name="T34" fmla="*/ 516 w 523"/>
                <a:gd name="T35" fmla="*/ 291 h 610"/>
                <a:gd name="T36" fmla="*/ 450 w 523"/>
                <a:gd name="T37" fmla="*/ 287 h 610"/>
                <a:gd name="T38" fmla="*/ 409 w 523"/>
                <a:gd name="T39" fmla="*/ 298 h 610"/>
                <a:gd name="T40" fmla="*/ 398 w 523"/>
                <a:gd name="T41" fmla="*/ 282 h 610"/>
                <a:gd name="T42" fmla="*/ 398 w 523"/>
                <a:gd name="T43" fmla="*/ 238 h 610"/>
                <a:gd name="T44" fmla="*/ 380 w 523"/>
                <a:gd name="T45" fmla="*/ 211 h 610"/>
                <a:gd name="T46" fmla="*/ 347 w 523"/>
                <a:gd name="T47" fmla="*/ 214 h 610"/>
                <a:gd name="T48" fmla="*/ 352 w 523"/>
                <a:gd name="T49" fmla="*/ 193 h 610"/>
                <a:gd name="T50" fmla="*/ 380 w 523"/>
                <a:gd name="T51" fmla="*/ 196 h 610"/>
                <a:gd name="T52" fmla="*/ 398 w 523"/>
                <a:gd name="T53" fmla="*/ 176 h 610"/>
                <a:gd name="T54" fmla="*/ 394 w 523"/>
                <a:gd name="T55" fmla="*/ 158 h 610"/>
                <a:gd name="T56" fmla="*/ 429 w 523"/>
                <a:gd name="T57" fmla="*/ 145 h 610"/>
                <a:gd name="T58" fmla="*/ 445 w 523"/>
                <a:gd name="T59" fmla="*/ 131 h 610"/>
                <a:gd name="T60" fmla="*/ 478 w 523"/>
                <a:gd name="T61" fmla="*/ 113 h 610"/>
                <a:gd name="T62" fmla="*/ 485 w 523"/>
                <a:gd name="T63" fmla="*/ 85 h 610"/>
                <a:gd name="T64" fmla="*/ 470 w 523"/>
                <a:gd name="T65" fmla="*/ 73 h 610"/>
                <a:gd name="T66" fmla="*/ 434 w 523"/>
                <a:gd name="T67" fmla="*/ 64 h 610"/>
                <a:gd name="T68" fmla="*/ 434 w 523"/>
                <a:gd name="T69" fmla="*/ 42 h 610"/>
                <a:gd name="T70" fmla="*/ 429 w 523"/>
                <a:gd name="T71" fmla="*/ 20 h 610"/>
                <a:gd name="T72" fmla="*/ 416 w 523"/>
                <a:gd name="T73" fmla="*/ 2 h 610"/>
                <a:gd name="T74" fmla="*/ 399 w 523"/>
                <a:gd name="T75" fmla="*/ 13 h 610"/>
                <a:gd name="T76" fmla="*/ 358 w 523"/>
                <a:gd name="T77" fmla="*/ 31 h 610"/>
                <a:gd name="T78" fmla="*/ 350 w 523"/>
                <a:gd name="T79" fmla="*/ 51 h 610"/>
                <a:gd name="T80" fmla="*/ 336 w 523"/>
                <a:gd name="T81" fmla="*/ 82 h 610"/>
                <a:gd name="T82" fmla="*/ 358 w 523"/>
                <a:gd name="T83" fmla="*/ 84 h 610"/>
                <a:gd name="T84" fmla="*/ 343 w 523"/>
                <a:gd name="T85" fmla="*/ 96 h 610"/>
                <a:gd name="T86" fmla="*/ 310 w 523"/>
                <a:gd name="T87" fmla="*/ 94 h 610"/>
                <a:gd name="T88" fmla="*/ 234 w 523"/>
                <a:gd name="T89" fmla="*/ 136 h 610"/>
                <a:gd name="T90" fmla="*/ 198 w 523"/>
                <a:gd name="T91" fmla="*/ 162 h 610"/>
                <a:gd name="T92" fmla="*/ 151 w 523"/>
                <a:gd name="T93" fmla="*/ 189 h 610"/>
                <a:gd name="T94" fmla="*/ 89 w 523"/>
                <a:gd name="T95" fmla="*/ 265 h 610"/>
                <a:gd name="T96" fmla="*/ 67 w 523"/>
                <a:gd name="T97" fmla="*/ 296 h 610"/>
                <a:gd name="T98" fmla="*/ 109 w 523"/>
                <a:gd name="T99" fmla="*/ 309 h 610"/>
                <a:gd name="T100" fmla="*/ 122 w 523"/>
                <a:gd name="T101" fmla="*/ 338 h 610"/>
                <a:gd name="T102" fmla="*/ 102 w 523"/>
                <a:gd name="T103" fmla="*/ 343 h 610"/>
                <a:gd name="T104" fmla="*/ 69 w 523"/>
                <a:gd name="T105" fmla="*/ 347 h 610"/>
                <a:gd name="T106" fmla="*/ 53 w 523"/>
                <a:gd name="T107" fmla="*/ 347 h 610"/>
                <a:gd name="T108" fmla="*/ 36 w 523"/>
                <a:gd name="T109" fmla="*/ 394 h 610"/>
                <a:gd name="T110" fmla="*/ 11 w 523"/>
                <a:gd name="T111" fmla="*/ 416 h 610"/>
                <a:gd name="T112" fmla="*/ 25 w 523"/>
                <a:gd name="T113" fmla="*/ 443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3" h="610">
                  <a:moveTo>
                    <a:pt x="25" y="443"/>
                  </a:moveTo>
                  <a:lnTo>
                    <a:pt x="25" y="443"/>
                  </a:lnTo>
                  <a:lnTo>
                    <a:pt x="25" y="447"/>
                  </a:lnTo>
                  <a:lnTo>
                    <a:pt x="25" y="451"/>
                  </a:lnTo>
                  <a:lnTo>
                    <a:pt x="33" y="452"/>
                  </a:lnTo>
                  <a:lnTo>
                    <a:pt x="40" y="452"/>
                  </a:lnTo>
                  <a:lnTo>
                    <a:pt x="40" y="458"/>
                  </a:lnTo>
                  <a:lnTo>
                    <a:pt x="45" y="463"/>
                  </a:lnTo>
                  <a:lnTo>
                    <a:pt x="60" y="474"/>
                  </a:lnTo>
                  <a:lnTo>
                    <a:pt x="44" y="489"/>
                  </a:lnTo>
                  <a:lnTo>
                    <a:pt x="44" y="489"/>
                  </a:lnTo>
                  <a:lnTo>
                    <a:pt x="44" y="500"/>
                  </a:lnTo>
                  <a:lnTo>
                    <a:pt x="44" y="500"/>
                  </a:lnTo>
                  <a:lnTo>
                    <a:pt x="42" y="501"/>
                  </a:lnTo>
                  <a:lnTo>
                    <a:pt x="40" y="509"/>
                  </a:lnTo>
                  <a:lnTo>
                    <a:pt x="34" y="512"/>
                  </a:lnTo>
                  <a:lnTo>
                    <a:pt x="24" y="527"/>
                  </a:lnTo>
                  <a:lnTo>
                    <a:pt x="22" y="536"/>
                  </a:lnTo>
                  <a:lnTo>
                    <a:pt x="16" y="541"/>
                  </a:lnTo>
                  <a:lnTo>
                    <a:pt x="22" y="556"/>
                  </a:lnTo>
                  <a:lnTo>
                    <a:pt x="24" y="560"/>
                  </a:lnTo>
                  <a:lnTo>
                    <a:pt x="27" y="558"/>
                  </a:lnTo>
                  <a:lnTo>
                    <a:pt x="33" y="558"/>
                  </a:lnTo>
                  <a:lnTo>
                    <a:pt x="24" y="565"/>
                  </a:lnTo>
                  <a:lnTo>
                    <a:pt x="27" y="576"/>
                  </a:lnTo>
                  <a:lnTo>
                    <a:pt x="36" y="578"/>
                  </a:lnTo>
                  <a:lnTo>
                    <a:pt x="44" y="581"/>
                  </a:lnTo>
                  <a:lnTo>
                    <a:pt x="54" y="578"/>
                  </a:lnTo>
                  <a:lnTo>
                    <a:pt x="67" y="576"/>
                  </a:lnTo>
                  <a:lnTo>
                    <a:pt x="76" y="581"/>
                  </a:lnTo>
                  <a:lnTo>
                    <a:pt x="83" y="601"/>
                  </a:lnTo>
                  <a:lnTo>
                    <a:pt x="83" y="601"/>
                  </a:lnTo>
                  <a:lnTo>
                    <a:pt x="85" y="603"/>
                  </a:lnTo>
                  <a:lnTo>
                    <a:pt x="103" y="596"/>
                  </a:lnTo>
                  <a:lnTo>
                    <a:pt x="103" y="596"/>
                  </a:lnTo>
                  <a:lnTo>
                    <a:pt x="109" y="603"/>
                  </a:lnTo>
                  <a:lnTo>
                    <a:pt x="116" y="609"/>
                  </a:lnTo>
                  <a:lnTo>
                    <a:pt x="118" y="610"/>
                  </a:lnTo>
                  <a:lnTo>
                    <a:pt x="120" y="610"/>
                  </a:lnTo>
                  <a:lnTo>
                    <a:pt x="120" y="610"/>
                  </a:lnTo>
                  <a:lnTo>
                    <a:pt x="125" y="610"/>
                  </a:lnTo>
                  <a:lnTo>
                    <a:pt x="133" y="605"/>
                  </a:lnTo>
                  <a:lnTo>
                    <a:pt x="143" y="605"/>
                  </a:lnTo>
                  <a:lnTo>
                    <a:pt x="149" y="603"/>
                  </a:lnTo>
                  <a:lnTo>
                    <a:pt x="149" y="603"/>
                  </a:lnTo>
                  <a:lnTo>
                    <a:pt x="158" y="605"/>
                  </a:lnTo>
                  <a:lnTo>
                    <a:pt x="163" y="605"/>
                  </a:lnTo>
                  <a:lnTo>
                    <a:pt x="167" y="605"/>
                  </a:lnTo>
                  <a:lnTo>
                    <a:pt x="171" y="603"/>
                  </a:lnTo>
                  <a:lnTo>
                    <a:pt x="171" y="601"/>
                  </a:lnTo>
                  <a:lnTo>
                    <a:pt x="171" y="601"/>
                  </a:lnTo>
                  <a:lnTo>
                    <a:pt x="178" y="598"/>
                  </a:lnTo>
                  <a:lnTo>
                    <a:pt x="183" y="594"/>
                  </a:lnTo>
                  <a:lnTo>
                    <a:pt x="187" y="594"/>
                  </a:lnTo>
                  <a:lnTo>
                    <a:pt x="192" y="594"/>
                  </a:lnTo>
                  <a:lnTo>
                    <a:pt x="192" y="594"/>
                  </a:lnTo>
                  <a:lnTo>
                    <a:pt x="202" y="594"/>
                  </a:lnTo>
                  <a:lnTo>
                    <a:pt x="207" y="591"/>
                  </a:lnTo>
                  <a:lnTo>
                    <a:pt x="211" y="589"/>
                  </a:lnTo>
                  <a:lnTo>
                    <a:pt x="214" y="583"/>
                  </a:lnTo>
                  <a:lnTo>
                    <a:pt x="214" y="583"/>
                  </a:lnTo>
                  <a:lnTo>
                    <a:pt x="216" y="581"/>
                  </a:lnTo>
                  <a:lnTo>
                    <a:pt x="220" y="576"/>
                  </a:lnTo>
                  <a:lnTo>
                    <a:pt x="216" y="572"/>
                  </a:lnTo>
                  <a:lnTo>
                    <a:pt x="220" y="571"/>
                  </a:lnTo>
                  <a:lnTo>
                    <a:pt x="225" y="560"/>
                  </a:lnTo>
                  <a:lnTo>
                    <a:pt x="234" y="547"/>
                  </a:lnTo>
                  <a:lnTo>
                    <a:pt x="247" y="540"/>
                  </a:lnTo>
                  <a:lnTo>
                    <a:pt x="245" y="536"/>
                  </a:lnTo>
                  <a:lnTo>
                    <a:pt x="269" y="529"/>
                  </a:lnTo>
                  <a:lnTo>
                    <a:pt x="283" y="512"/>
                  </a:lnTo>
                  <a:lnTo>
                    <a:pt x="281" y="501"/>
                  </a:lnTo>
                  <a:lnTo>
                    <a:pt x="298" y="500"/>
                  </a:lnTo>
                  <a:lnTo>
                    <a:pt x="312" y="489"/>
                  </a:lnTo>
                  <a:lnTo>
                    <a:pt x="332" y="485"/>
                  </a:lnTo>
                  <a:lnTo>
                    <a:pt x="343" y="480"/>
                  </a:lnTo>
                  <a:lnTo>
                    <a:pt x="358" y="480"/>
                  </a:lnTo>
                  <a:lnTo>
                    <a:pt x="361" y="500"/>
                  </a:lnTo>
                  <a:lnTo>
                    <a:pt x="369" y="514"/>
                  </a:lnTo>
                  <a:lnTo>
                    <a:pt x="385" y="509"/>
                  </a:lnTo>
                  <a:lnTo>
                    <a:pt x="385" y="509"/>
                  </a:lnTo>
                  <a:lnTo>
                    <a:pt x="414" y="507"/>
                  </a:lnTo>
                  <a:lnTo>
                    <a:pt x="414" y="507"/>
                  </a:lnTo>
                  <a:lnTo>
                    <a:pt x="419" y="505"/>
                  </a:lnTo>
                  <a:lnTo>
                    <a:pt x="423" y="505"/>
                  </a:lnTo>
                  <a:lnTo>
                    <a:pt x="429" y="500"/>
                  </a:lnTo>
                  <a:lnTo>
                    <a:pt x="438" y="480"/>
                  </a:lnTo>
                  <a:lnTo>
                    <a:pt x="438" y="480"/>
                  </a:lnTo>
                  <a:lnTo>
                    <a:pt x="438" y="472"/>
                  </a:lnTo>
                  <a:lnTo>
                    <a:pt x="438" y="467"/>
                  </a:lnTo>
                  <a:lnTo>
                    <a:pt x="438" y="463"/>
                  </a:lnTo>
                  <a:lnTo>
                    <a:pt x="441" y="460"/>
                  </a:lnTo>
                  <a:lnTo>
                    <a:pt x="441" y="460"/>
                  </a:lnTo>
                  <a:lnTo>
                    <a:pt x="450" y="449"/>
                  </a:lnTo>
                  <a:lnTo>
                    <a:pt x="452" y="443"/>
                  </a:lnTo>
                  <a:lnTo>
                    <a:pt x="454" y="438"/>
                  </a:lnTo>
                  <a:lnTo>
                    <a:pt x="454" y="438"/>
                  </a:lnTo>
                  <a:lnTo>
                    <a:pt x="454" y="432"/>
                  </a:lnTo>
                  <a:lnTo>
                    <a:pt x="456" y="425"/>
                  </a:lnTo>
                  <a:lnTo>
                    <a:pt x="458" y="418"/>
                  </a:lnTo>
                  <a:lnTo>
                    <a:pt x="459" y="416"/>
                  </a:lnTo>
                  <a:lnTo>
                    <a:pt x="461" y="414"/>
                  </a:lnTo>
                  <a:lnTo>
                    <a:pt x="461" y="414"/>
                  </a:lnTo>
                  <a:lnTo>
                    <a:pt x="468" y="414"/>
                  </a:lnTo>
                  <a:lnTo>
                    <a:pt x="474" y="416"/>
                  </a:lnTo>
                  <a:lnTo>
                    <a:pt x="478" y="416"/>
                  </a:lnTo>
                  <a:lnTo>
                    <a:pt x="496" y="416"/>
                  </a:lnTo>
                  <a:lnTo>
                    <a:pt x="496" y="416"/>
                  </a:lnTo>
                  <a:lnTo>
                    <a:pt x="496" y="376"/>
                  </a:lnTo>
                  <a:lnTo>
                    <a:pt x="496" y="376"/>
                  </a:lnTo>
                  <a:lnTo>
                    <a:pt x="494" y="365"/>
                  </a:lnTo>
                  <a:lnTo>
                    <a:pt x="492" y="351"/>
                  </a:lnTo>
                  <a:lnTo>
                    <a:pt x="492" y="345"/>
                  </a:lnTo>
                  <a:lnTo>
                    <a:pt x="492" y="342"/>
                  </a:lnTo>
                  <a:lnTo>
                    <a:pt x="494" y="338"/>
                  </a:lnTo>
                  <a:lnTo>
                    <a:pt x="496" y="331"/>
                  </a:lnTo>
                  <a:lnTo>
                    <a:pt x="496" y="331"/>
                  </a:lnTo>
                  <a:lnTo>
                    <a:pt x="501" y="327"/>
                  </a:lnTo>
                  <a:lnTo>
                    <a:pt x="505" y="325"/>
                  </a:lnTo>
                  <a:lnTo>
                    <a:pt x="516" y="320"/>
                  </a:lnTo>
                  <a:lnTo>
                    <a:pt x="523" y="314"/>
                  </a:lnTo>
                  <a:lnTo>
                    <a:pt x="523" y="311"/>
                  </a:lnTo>
                  <a:lnTo>
                    <a:pt x="523" y="307"/>
                  </a:lnTo>
                  <a:lnTo>
                    <a:pt x="523" y="307"/>
                  </a:lnTo>
                  <a:lnTo>
                    <a:pt x="519" y="298"/>
                  </a:lnTo>
                  <a:lnTo>
                    <a:pt x="516" y="291"/>
                  </a:lnTo>
                  <a:lnTo>
                    <a:pt x="507" y="289"/>
                  </a:lnTo>
                  <a:lnTo>
                    <a:pt x="507" y="289"/>
                  </a:lnTo>
                  <a:lnTo>
                    <a:pt x="501" y="287"/>
                  </a:lnTo>
                  <a:lnTo>
                    <a:pt x="492" y="287"/>
                  </a:lnTo>
                  <a:lnTo>
                    <a:pt x="474" y="289"/>
                  </a:lnTo>
                  <a:lnTo>
                    <a:pt x="474" y="289"/>
                  </a:lnTo>
                  <a:lnTo>
                    <a:pt x="450" y="287"/>
                  </a:lnTo>
                  <a:lnTo>
                    <a:pt x="427" y="283"/>
                  </a:lnTo>
                  <a:lnTo>
                    <a:pt x="427" y="283"/>
                  </a:lnTo>
                  <a:lnTo>
                    <a:pt x="421" y="283"/>
                  </a:lnTo>
                  <a:lnTo>
                    <a:pt x="421" y="287"/>
                  </a:lnTo>
                  <a:lnTo>
                    <a:pt x="416" y="291"/>
                  </a:lnTo>
                  <a:lnTo>
                    <a:pt x="412" y="296"/>
                  </a:lnTo>
                  <a:lnTo>
                    <a:pt x="409" y="298"/>
                  </a:lnTo>
                  <a:lnTo>
                    <a:pt x="403" y="298"/>
                  </a:lnTo>
                  <a:lnTo>
                    <a:pt x="403" y="298"/>
                  </a:lnTo>
                  <a:lnTo>
                    <a:pt x="399" y="296"/>
                  </a:lnTo>
                  <a:lnTo>
                    <a:pt x="396" y="296"/>
                  </a:lnTo>
                  <a:lnTo>
                    <a:pt x="392" y="291"/>
                  </a:lnTo>
                  <a:lnTo>
                    <a:pt x="392" y="291"/>
                  </a:lnTo>
                  <a:lnTo>
                    <a:pt x="398" y="282"/>
                  </a:lnTo>
                  <a:lnTo>
                    <a:pt x="401" y="273"/>
                  </a:lnTo>
                  <a:lnTo>
                    <a:pt x="403" y="265"/>
                  </a:lnTo>
                  <a:lnTo>
                    <a:pt x="403" y="265"/>
                  </a:lnTo>
                  <a:lnTo>
                    <a:pt x="403" y="260"/>
                  </a:lnTo>
                  <a:lnTo>
                    <a:pt x="401" y="254"/>
                  </a:lnTo>
                  <a:lnTo>
                    <a:pt x="398" y="238"/>
                  </a:lnTo>
                  <a:lnTo>
                    <a:pt x="398" y="238"/>
                  </a:lnTo>
                  <a:lnTo>
                    <a:pt x="394" y="229"/>
                  </a:lnTo>
                  <a:lnTo>
                    <a:pt x="389" y="225"/>
                  </a:lnTo>
                  <a:lnTo>
                    <a:pt x="385" y="222"/>
                  </a:lnTo>
                  <a:lnTo>
                    <a:pt x="380" y="216"/>
                  </a:lnTo>
                  <a:lnTo>
                    <a:pt x="380" y="216"/>
                  </a:lnTo>
                  <a:lnTo>
                    <a:pt x="380" y="214"/>
                  </a:lnTo>
                  <a:lnTo>
                    <a:pt x="380" y="211"/>
                  </a:lnTo>
                  <a:lnTo>
                    <a:pt x="372" y="211"/>
                  </a:lnTo>
                  <a:lnTo>
                    <a:pt x="372" y="211"/>
                  </a:lnTo>
                  <a:lnTo>
                    <a:pt x="361" y="214"/>
                  </a:lnTo>
                  <a:lnTo>
                    <a:pt x="356" y="216"/>
                  </a:lnTo>
                  <a:lnTo>
                    <a:pt x="352" y="216"/>
                  </a:lnTo>
                  <a:lnTo>
                    <a:pt x="349" y="214"/>
                  </a:lnTo>
                  <a:lnTo>
                    <a:pt x="347" y="214"/>
                  </a:lnTo>
                  <a:lnTo>
                    <a:pt x="347" y="209"/>
                  </a:lnTo>
                  <a:lnTo>
                    <a:pt x="347" y="209"/>
                  </a:lnTo>
                  <a:lnTo>
                    <a:pt x="347" y="198"/>
                  </a:lnTo>
                  <a:lnTo>
                    <a:pt x="349" y="194"/>
                  </a:lnTo>
                  <a:lnTo>
                    <a:pt x="349" y="193"/>
                  </a:lnTo>
                  <a:lnTo>
                    <a:pt x="349" y="193"/>
                  </a:lnTo>
                  <a:lnTo>
                    <a:pt x="352" y="193"/>
                  </a:lnTo>
                  <a:lnTo>
                    <a:pt x="352" y="193"/>
                  </a:lnTo>
                  <a:lnTo>
                    <a:pt x="358" y="194"/>
                  </a:lnTo>
                  <a:lnTo>
                    <a:pt x="361" y="194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74" y="196"/>
                  </a:lnTo>
                  <a:lnTo>
                    <a:pt x="380" y="196"/>
                  </a:lnTo>
                  <a:lnTo>
                    <a:pt x="381" y="198"/>
                  </a:lnTo>
                  <a:lnTo>
                    <a:pt x="385" y="196"/>
                  </a:lnTo>
                  <a:lnTo>
                    <a:pt x="385" y="194"/>
                  </a:lnTo>
                  <a:lnTo>
                    <a:pt x="385" y="194"/>
                  </a:lnTo>
                  <a:lnTo>
                    <a:pt x="394" y="184"/>
                  </a:lnTo>
                  <a:lnTo>
                    <a:pt x="396" y="178"/>
                  </a:lnTo>
                  <a:lnTo>
                    <a:pt x="398" y="176"/>
                  </a:lnTo>
                  <a:lnTo>
                    <a:pt x="396" y="174"/>
                  </a:lnTo>
                  <a:lnTo>
                    <a:pt x="396" y="174"/>
                  </a:lnTo>
                  <a:lnTo>
                    <a:pt x="396" y="169"/>
                  </a:lnTo>
                  <a:lnTo>
                    <a:pt x="392" y="167"/>
                  </a:lnTo>
                  <a:lnTo>
                    <a:pt x="392" y="164"/>
                  </a:lnTo>
                  <a:lnTo>
                    <a:pt x="394" y="158"/>
                  </a:lnTo>
                  <a:lnTo>
                    <a:pt x="394" y="158"/>
                  </a:lnTo>
                  <a:lnTo>
                    <a:pt x="399" y="153"/>
                  </a:lnTo>
                  <a:lnTo>
                    <a:pt x="407" y="145"/>
                  </a:lnTo>
                  <a:lnTo>
                    <a:pt x="414" y="142"/>
                  </a:lnTo>
                  <a:lnTo>
                    <a:pt x="418" y="142"/>
                  </a:lnTo>
                  <a:lnTo>
                    <a:pt x="419" y="142"/>
                  </a:lnTo>
                  <a:lnTo>
                    <a:pt x="419" y="142"/>
                  </a:lnTo>
                  <a:lnTo>
                    <a:pt x="429" y="145"/>
                  </a:lnTo>
                  <a:lnTo>
                    <a:pt x="432" y="145"/>
                  </a:lnTo>
                  <a:lnTo>
                    <a:pt x="436" y="144"/>
                  </a:lnTo>
                  <a:lnTo>
                    <a:pt x="436" y="144"/>
                  </a:lnTo>
                  <a:lnTo>
                    <a:pt x="438" y="142"/>
                  </a:lnTo>
                  <a:lnTo>
                    <a:pt x="441" y="140"/>
                  </a:lnTo>
                  <a:lnTo>
                    <a:pt x="441" y="134"/>
                  </a:lnTo>
                  <a:lnTo>
                    <a:pt x="445" y="131"/>
                  </a:lnTo>
                  <a:lnTo>
                    <a:pt x="445" y="127"/>
                  </a:lnTo>
                  <a:lnTo>
                    <a:pt x="449" y="127"/>
                  </a:lnTo>
                  <a:lnTo>
                    <a:pt x="449" y="127"/>
                  </a:lnTo>
                  <a:lnTo>
                    <a:pt x="459" y="122"/>
                  </a:lnTo>
                  <a:lnTo>
                    <a:pt x="474" y="116"/>
                  </a:lnTo>
                  <a:lnTo>
                    <a:pt x="474" y="116"/>
                  </a:lnTo>
                  <a:lnTo>
                    <a:pt x="478" y="113"/>
                  </a:lnTo>
                  <a:lnTo>
                    <a:pt x="481" y="109"/>
                  </a:lnTo>
                  <a:lnTo>
                    <a:pt x="487" y="104"/>
                  </a:lnTo>
                  <a:lnTo>
                    <a:pt x="487" y="100"/>
                  </a:lnTo>
                  <a:lnTo>
                    <a:pt x="487" y="96"/>
                  </a:lnTo>
                  <a:lnTo>
                    <a:pt x="487" y="96"/>
                  </a:lnTo>
                  <a:lnTo>
                    <a:pt x="485" y="93"/>
                  </a:lnTo>
                  <a:lnTo>
                    <a:pt x="485" y="85"/>
                  </a:lnTo>
                  <a:lnTo>
                    <a:pt x="483" y="82"/>
                  </a:lnTo>
                  <a:lnTo>
                    <a:pt x="483" y="80"/>
                  </a:lnTo>
                  <a:lnTo>
                    <a:pt x="483" y="80"/>
                  </a:lnTo>
                  <a:lnTo>
                    <a:pt x="483" y="80"/>
                  </a:lnTo>
                  <a:lnTo>
                    <a:pt x="479" y="78"/>
                  </a:lnTo>
                  <a:lnTo>
                    <a:pt x="476" y="78"/>
                  </a:lnTo>
                  <a:lnTo>
                    <a:pt x="470" y="73"/>
                  </a:lnTo>
                  <a:lnTo>
                    <a:pt x="470" y="73"/>
                  </a:lnTo>
                  <a:lnTo>
                    <a:pt x="463" y="71"/>
                  </a:lnTo>
                  <a:lnTo>
                    <a:pt x="458" y="69"/>
                  </a:lnTo>
                  <a:lnTo>
                    <a:pt x="445" y="67"/>
                  </a:lnTo>
                  <a:lnTo>
                    <a:pt x="445" y="67"/>
                  </a:lnTo>
                  <a:lnTo>
                    <a:pt x="441" y="67"/>
                  </a:lnTo>
                  <a:lnTo>
                    <a:pt x="434" y="64"/>
                  </a:lnTo>
                  <a:lnTo>
                    <a:pt x="430" y="62"/>
                  </a:lnTo>
                  <a:lnTo>
                    <a:pt x="429" y="60"/>
                  </a:lnTo>
                  <a:lnTo>
                    <a:pt x="429" y="58"/>
                  </a:lnTo>
                  <a:lnTo>
                    <a:pt x="429" y="58"/>
                  </a:lnTo>
                  <a:lnTo>
                    <a:pt x="430" y="55"/>
                  </a:lnTo>
                  <a:lnTo>
                    <a:pt x="432" y="49"/>
                  </a:lnTo>
                  <a:lnTo>
                    <a:pt x="434" y="42"/>
                  </a:lnTo>
                  <a:lnTo>
                    <a:pt x="436" y="38"/>
                  </a:lnTo>
                  <a:lnTo>
                    <a:pt x="436" y="38"/>
                  </a:lnTo>
                  <a:lnTo>
                    <a:pt x="434" y="29"/>
                  </a:lnTo>
                  <a:lnTo>
                    <a:pt x="434" y="25"/>
                  </a:lnTo>
                  <a:lnTo>
                    <a:pt x="432" y="22"/>
                  </a:lnTo>
                  <a:lnTo>
                    <a:pt x="432" y="22"/>
                  </a:lnTo>
                  <a:lnTo>
                    <a:pt x="429" y="20"/>
                  </a:lnTo>
                  <a:lnTo>
                    <a:pt x="421" y="18"/>
                  </a:lnTo>
                  <a:lnTo>
                    <a:pt x="418" y="16"/>
                  </a:lnTo>
                  <a:lnTo>
                    <a:pt x="418" y="15"/>
                  </a:lnTo>
                  <a:lnTo>
                    <a:pt x="416" y="13"/>
                  </a:lnTo>
                  <a:lnTo>
                    <a:pt x="416" y="13"/>
                  </a:lnTo>
                  <a:lnTo>
                    <a:pt x="418" y="5"/>
                  </a:lnTo>
                  <a:lnTo>
                    <a:pt x="416" y="2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12" y="0"/>
                  </a:lnTo>
                  <a:lnTo>
                    <a:pt x="409" y="2"/>
                  </a:lnTo>
                  <a:lnTo>
                    <a:pt x="403" y="7"/>
                  </a:lnTo>
                  <a:lnTo>
                    <a:pt x="399" y="13"/>
                  </a:lnTo>
                  <a:lnTo>
                    <a:pt x="399" y="13"/>
                  </a:lnTo>
                  <a:lnTo>
                    <a:pt x="387" y="22"/>
                  </a:lnTo>
                  <a:lnTo>
                    <a:pt x="380" y="31"/>
                  </a:lnTo>
                  <a:lnTo>
                    <a:pt x="376" y="31"/>
                  </a:lnTo>
                  <a:lnTo>
                    <a:pt x="372" y="31"/>
                  </a:lnTo>
                  <a:lnTo>
                    <a:pt x="372" y="31"/>
                  </a:lnTo>
                  <a:lnTo>
                    <a:pt x="361" y="31"/>
                  </a:lnTo>
                  <a:lnTo>
                    <a:pt x="358" y="31"/>
                  </a:lnTo>
                  <a:lnTo>
                    <a:pt x="356" y="35"/>
                  </a:lnTo>
                  <a:lnTo>
                    <a:pt x="356" y="35"/>
                  </a:lnTo>
                  <a:lnTo>
                    <a:pt x="354" y="36"/>
                  </a:lnTo>
                  <a:lnTo>
                    <a:pt x="352" y="40"/>
                  </a:lnTo>
                  <a:lnTo>
                    <a:pt x="352" y="44"/>
                  </a:lnTo>
                  <a:lnTo>
                    <a:pt x="350" y="51"/>
                  </a:lnTo>
                  <a:lnTo>
                    <a:pt x="350" y="51"/>
                  </a:lnTo>
                  <a:lnTo>
                    <a:pt x="347" y="55"/>
                  </a:lnTo>
                  <a:lnTo>
                    <a:pt x="343" y="62"/>
                  </a:lnTo>
                  <a:lnTo>
                    <a:pt x="343" y="6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7" y="82"/>
                  </a:lnTo>
                  <a:lnTo>
                    <a:pt x="354" y="82"/>
                  </a:lnTo>
                  <a:lnTo>
                    <a:pt x="356" y="84"/>
                  </a:lnTo>
                  <a:lnTo>
                    <a:pt x="358" y="84"/>
                  </a:lnTo>
                  <a:lnTo>
                    <a:pt x="358" y="84"/>
                  </a:lnTo>
                  <a:lnTo>
                    <a:pt x="365" y="93"/>
                  </a:lnTo>
                  <a:lnTo>
                    <a:pt x="365" y="94"/>
                  </a:lnTo>
                  <a:lnTo>
                    <a:pt x="365" y="94"/>
                  </a:lnTo>
                  <a:lnTo>
                    <a:pt x="365" y="96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43" y="96"/>
                  </a:lnTo>
                  <a:lnTo>
                    <a:pt x="329" y="94"/>
                  </a:lnTo>
                  <a:lnTo>
                    <a:pt x="329" y="94"/>
                  </a:lnTo>
                  <a:lnTo>
                    <a:pt x="325" y="94"/>
                  </a:lnTo>
                  <a:lnTo>
                    <a:pt x="320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0" y="94"/>
                  </a:lnTo>
                  <a:lnTo>
                    <a:pt x="307" y="94"/>
                  </a:lnTo>
                  <a:lnTo>
                    <a:pt x="291" y="104"/>
                  </a:lnTo>
                  <a:lnTo>
                    <a:pt x="291" y="104"/>
                  </a:lnTo>
                  <a:lnTo>
                    <a:pt x="263" y="122"/>
                  </a:lnTo>
                  <a:lnTo>
                    <a:pt x="247" y="133"/>
                  </a:lnTo>
                  <a:lnTo>
                    <a:pt x="241" y="134"/>
                  </a:lnTo>
                  <a:lnTo>
                    <a:pt x="234" y="136"/>
                  </a:lnTo>
                  <a:lnTo>
                    <a:pt x="234" y="136"/>
                  </a:lnTo>
                  <a:lnTo>
                    <a:pt x="231" y="138"/>
                  </a:lnTo>
                  <a:lnTo>
                    <a:pt x="225" y="142"/>
                  </a:lnTo>
                  <a:lnTo>
                    <a:pt x="214" y="151"/>
                  </a:lnTo>
                  <a:lnTo>
                    <a:pt x="207" y="156"/>
                  </a:lnTo>
                  <a:lnTo>
                    <a:pt x="203" y="160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9" y="164"/>
                  </a:lnTo>
                  <a:lnTo>
                    <a:pt x="180" y="167"/>
                  </a:lnTo>
                  <a:lnTo>
                    <a:pt x="171" y="174"/>
                  </a:lnTo>
                  <a:lnTo>
                    <a:pt x="163" y="180"/>
                  </a:lnTo>
                  <a:lnTo>
                    <a:pt x="163" y="180"/>
                  </a:lnTo>
                  <a:lnTo>
                    <a:pt x="151" y="189"/>
                  </a:lnTo>
                  <a:lnTo>
                    <a:pt x="140" y="200"/>
                  </a:lnTo>
                  <a:lnTo>
                    <a:pt x="129" y="209"/>
                  </a:lnTo>
                  <a:lnTo>
                    <a:pt x="123" y="214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02" y="249"/>
                  </a:lnTo>
                  <a:lnTo>
                    <a:pt x="89" y="265"/>
                  </a:lnTo>
                  <a:lnTo>
                    <a:pt x="85" y="271"/>
                  </a:lnTo>
                  <a:lnTo>
                    <a:pt x="80" y="278"/>
                  </a:lnTo>
                  <a:lnTo>
                    <a:pt x="80" y="278"/>
                  </a:lnTo>
                  <a:lnTo>
                    <a:pt x="74" y="282"/>
                  </a:lnTo>
                  <a:lnTo>
                    <a:pt x="69" y="287"/>
                  </a:lnTo>
                  <a:lnTo>
                    <a:pt x="67" y="293"/>
                  </a:lnTo>
                  <a:lnTo>
                    <a:pt x="67" y="296"/>
                  </a:lnTo>
                  <a:lnTo>
                    <a:pt x="67" y="296"/>
                  </a:lnTo>
                  <a:lnTo>
                    <a:pt x="73" y="300"/>
                  </a:lnTo>
                  <a:lnTo>
                    <a:pt x="76" y="303"/>
                  </a:lnTo>
                  <a:lnTo>
                    <a:pt x="82" y="307"/>
                  </a:lnTo>
                  <a:lnTo>
                    <a:pt x="82" y="307"/>
                  </a:lnTo>
                  <a:lnTo>
                    <a:pt x="100" y="307"/>
                  </a:lnTo>
                  <a:lnTo>
                    <a:pt x="109" y="309"/>
                  </a:lnTo>
                  <a:lnTo>
                    <a:pt x="114" y="311"/>
                  </a:lnTo>
                  <a:lnTo>
                    <a:pt x="118" y="313"/>
                  </a:lnTo>
                  <a:lnTo>
                    <a:pt x="118" y="313"/>
                  </a:lnTo>
                  <a:lnTo>
                    <a:pt x="120" y="320"/>
                  </a:lnTo>
                  <a:lnTo>
                    <a:pt x="122" y="329"/>
                  </a:lnTo>
                  <a:lnTo>
                    <a:pt x="122" y="332"/>
                  </a:lnTo>
                  <a:lnTo>
                    <a:pt x="122" y="338"/>
                  </a:lnTo>
                  <a:lnTo>
                    <a:pt x="120" y="342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4" y="343"/>
                  </a:lnTo>
                  <a:lnTo>
                    <a:pt x="109" y="343"/>
                  </a:lnTo>
                  <a:lnTo>
                    <a:pt x="105" y="342"/>
                  </a:lnTo>
                  <a:lnTo>
                    <a:pt x="102" y="343"/>
                  </a:lnTo>
                  <a:lnTo>
                    <a:pt x="102" y="343"/>
                  </a:lnTo>
                  <a:lnTo>
                    <a:pt x="85" y="349"/>
                  </a:lnTo>
                  <a:lnTo>
                    <a:pt x="78" y="351"/>
                  </a:lnTo>
                  <a:lnTo>
                    <a:pt x="76" y="351"/>
                  </a:lnTo>
                  <a:lnTo>
                    <a:pt x="73" y="351"/>
                  </a:lnTo>
                  <a:lnTo>
                    <a:pt x="73" y="351"/>
                  </a:lnTo>
                  <a:lnTo>
                    <a:pt x="69" y="347"/>
                  </a:lnTo>
                  <a:lnTo>
                    <a:pt x="63" y="345"/>
                  </a:lnTo>
                  <a:lnTo>
                    <a:pt x="58" y="345"/>
                  </a:lnTo>
                  <a:lnTo>
                    <a:pt x="58" y="345"/>
                  </a:lnTo>
                  <a:lnTo>
                    <a:pt x="56" y="345"/>
                  </a:lnTo>
                  <a:lnTo>
                    <a:pt x="54" y="345"/>
                  </a:lnTo>
                  <a:lnTo>
                    <a:pt x="53" y="347"/>
                  </a:lnTo>
                  <a:lnTo>
                    <a:pt x="53" y="347"/>
                  </a:lnTo>
                  <a:lnTo>
                    <a:pt x="56" y="356"/>
                  </a:lnTo>
                  <a:lnTo>
                    <a:pt x="56" y="365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45" y="383"/>
                  </a:lnTo>
                  <a:lnTo>
                    <a:pt x="36" y="394"/>
                  </a:lnTo>
                  <a:lnTo>
                    <a:pt x="36" y="394"/>
                  </a:lnTo>
                  <a:lnTo>
                    <a:pt x="31" y="402"/>
                  </a:lnTo>
                  <a:lnTo>
                    <a:pt x="25" y="403"/>
                  </a:lnTo>
                  <a:lnTo>
                    <a:pt x="25" y="403"/>
                  </a:lnTo>
                  <a:lnTo>
                    <a:pt x="24" y="405"/>
                  </a:lnTo>
                  <a:lnTo>
                    <a:pt x="20" y="407"/>
                  </a:lnTo>
                  <a:lnTo>
                    <a:pt x="11" y="416"/>
                  </a:lnTo>
                  <a:lnTo>
                    <a:pt x="11" y="416"/>
                  </a:lnTo>
                  <a:lnTo>
                    <a:pt x="7" y="422"/>
                  </a:lnTo>
                  <a:lnTo>
                    <a:pt x="4" y="425"/>
                  </a:lnTo>
                  <a:lnTo>
                    <a:pt x="0" y="434"/>
                  </a:lnTo>
                  <a:lnTo>
                    <a:pt x="7" y="440"/>
                  </a:lnTo>
                  <a:lnTo>
                    <a:pt x="7" y="440"/>
                  </a:lnTo>
                  <a:lnTo>
                    <a:pt x="16" y="440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lnTo>
                    <a:pt x="25" y="4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7" name="Freeform 81">
              <a:extLst>
                <a:ext uri="{FF2B5EF4-FFF2-40B4-BE49-F238E27FC236}">
                  <a16:creationId xmlns:a16="http://schemas.microsoft.com/office/drawing/2014/main" id="{0EDBB482-099E-104F-A933-D0C3E610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93" y="4370206"/>
              <a:ext cx="86898" cy="133046"/>
            </a:xfrm>
            <a:custGeom>
              <a:avLst/>
              <a:gdLst>
                <a:gd name="T0" fmla="*/ 46 w 60"/>
                <a:gd name="T1" fmla="*/ 64 h 93"/>
                <a:gd name="T2" fmla="*/ 48 w 60"/>
                <a:gd name="T3" fmla="*/ 64 h 93"/>
                <a:gd name="T4" fmla="*/ 51 w 60"/>
                <a:gd name="T5" fmla="*/ 69 h 93"/>
                <a:gd name="T6" fmla="*/ 55 w 60"/>
                <a:gd name="T7" fmla="*/ 69 h 93"/>
                <a:gd name="T8" fmla="*/ 59 w 60"/>
                <a:gd name="T9" fmla="*/ 60 h 93"/>
                <a:gd name="T10" fmla="*/ 60 w 60"/>
                <a:gd name="T11" fmla="*/ 49 h 93"/>
                <a:gd name="T12" fmla="*/ 57 w 60"/>
                <a:gd name="T13" fmla="*/ 36 h 93"/>
                <a:gd name="T14" fmla="*/ 48 w 60"/>
                <a:gd name="T15" fmla="*/ 25 h 93"/>
                <a:gd name="T16" fmla="*/ 46 w 60"/>
                <a:gd name="T17" fmla="*/ 20 h 93"/>
                <a:gd name="T18" fmla="*/ 35 w 60"/>
                <a:gd name="T19" fmla="*/ 25 h 93"/>
                <a:gd name="T20" fmla="*/ 35 w 60"/>
                <a:gd name="T21" fmla="*/ 25 h 93"/>
                <a:gd name="T22" fmla="*/ 30 w 60"/>
                <a:gd name="T23" fmla="*/ 18 h 93"/>
                <a:gd name="T24" fmla="*/ 26 w 60"/>
                <a:gd name="T25" fmla="*/ 11 h 93"/>
                <a:gd name="T26" fmla="*/ 26 w 60"/>
                <a:gd name="T27" fmla="*/ 7 h 93"/>
                <a:gd name="T28" fmla="*/ 20 w 60"/>
                <a:gd name="T29" fmla="*/ 0 h 93"/>
                <a:gd name="T30" fmla="*/ 19 w 60"/>
                <a:gd name="T31" fmla="*/ 0 h 93"/>
                <a:gd name="T32" fmla="*/ 17 w 60"/>
                <a:gd name="T33" fmla="*/ 6 h 93"/>
                <a:gd name="T34" fmla="*/ 19 w 60"/>
                <a:gd name="T35" fmla="*/ 13 h 93"/>
                <a:gd name="T36" fmla="*/ 24 w 60"/>
                <a:gd name="T37" fmla="*/ 25 h 93"/>
                <a:gd name="T38" fmla="*/ 31 w 60"/>
                <a:gd name="T39" fmla="*/ 35 h 93"/>
                <a:gd name="T40" fmla="*/ 35 w 60"/>
                <a:gd name="T41" fmla="*/ 35 h 93"/>
                <a:gd name="T42" fmla="*/ 40 w 60"/>
                <a:gd name="T43" fmla="*/ 25 h 93"/>
                <a:gd name="T44" fmla="*/ 42 w 60"/>
                <a:gd name="T45" fmla="*/ 29 h 93"/>
                <a:gd name="T46" fmla="*/ 46 w 60"/>
                <a:gd name="T47" fmla="*/ 36 h 93"/>
                <a:gd name="T48" fmla="*/ 48 w 60"/>
                <a:gd name="T49" fmla="*/ 38 h 93"/>
                <a:gd name="T50" fmla="*/ 46 w 60"/>
                <a:gd name="T51" fmla="*/ 42 h 93"/>
                <a:gd name="T52" fmla="*/ 40 w 60"/>
                <a:gd name="T53" fmla="*/ 51 h 93"/>
                <a:gd name="T54" fmla="*/ 40 w 60"/>
                <a:gd name="T55" fmla="*/ 53 h 93"/>
                <a:gd name="T56" fmla="*/ 31 w 60"/>
                <a:gd name="T57" fmla="*/ 55 h 93"/>
                <a:gd name="T58" fmla="*/ 26 w 60"/>
                <a:gd name="T59" fmla="*/ 58 h 93"/>
                <a:gd name="T60" fmla="*/ 22 w 60"/>
                <a:gd name="T61" fmla="*/ 62 h 93"/>
                <a:gd name="T62" fmla="*/ 19 w 60"/>
                <a:gd name="T63" fmla="*/ 71 h 93"/>
                <a:gd name="T64" fmla="*/ 17 w 60"/>
                <a:gd name="T65" fmla="*/ 71 h 93"/>
                <a:gd name="T66" fmla="*/ 15 w 60"/>
                <a:gd name="T67" fmla="*/ 69 h 93"/>
                <a:gd name="T68" fmla="*/ 15 w 60"/>
                <a:gd name="T69" fmla="*/ 67 h 93"/>
                <a:gd name="T70" fmla="*/ 15 w 60"/>
                <a:gd name="T71" fmla="*/ 67 h 93"/>
                <a:gd name="T72" fmla="*/ 6 w 60"/>
                <a:gd name="T73" fmla="*/ 67 h 93"/>
                <a:gd name="T74" fmla="*/ 2 w 60"/>
                <a:gd name="T75" fmla="*/ 67 h 93"/>
                <a:gd name="T76" fmla="*/ 0 w 60"/>
                <a:gd name="T77" fmla="*/ 71 h 93"/>
                <a:gd name="T78" fmla="*/ 4 w 60"/>
                <a:gd name="T79" fmla="*/ 78 h 93"/>
                <a:gd name="T80" fmla="*/ 6 w 60"/>
                <a:gd name="T81" fmla="*/ 85 h 93"/>
                <a:gd name="T82" fmla="*/ 6 w 60"/>
                <a:gd name="T83" fmla="*/ 93 h 93"/>
                <a:gd name="T84" fmla="*/ 13 w 60"/>
                <a:gd name="T85" fmla="*/ 91 h 93"/>
                <a:gd name="T86" fmla="*/ 20 w 60"/>
                <a:gd name="T87" fmla="*/ 84 h 93"/>
                <a:gd name="T88" fmla="*/ 31 w 60"/>
                <a:gd name="T89" fmla="*/ 78 h 93"/>
                <a:gd name="T90" fmla="*/ 37 w 60"/>
                <a:gd name="T91" fmla="*/ 75 h 93"/>
                <a:gd name="T92" fmla="*/ 46 w 60"/>
                <a:gd name="T93" fmla="*/ 64 h 93"/>
                <a:gd name="T94" fmla="*/ 46 w 60"/>
                <a:gd name="T95" fmla="*/ 64 h 93"/>
                <a:gd name="T96" fmla="*/ 46 w 60"/>
                <a:gd name="T97" fmla="*/ 6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" h="93">
                  <a:moveTo>
                    <a:pt x="46" y="64"/>
                  </a:moveTo>
                  <a:lnTo>
                    <a:pt x="46" y="64"/>
                  </a:lnTo>
                  <a:lnTo>
                    <a:pt x="46" y="64"/>
                  </a:lnTo>
                  <a:lnTo>
                    <a:pt x="48" y="64"/>
                  </a:lnTo>
                  <a:lnTo>
                    <a:pt x="50" y="67"/>
                  </a:lnTo>
                  <a:lnTo>
                    <a:pt x="51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9" y="60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2"/>
                  </a:lnTo>
                  <a:lnTo>
                    <a:pt x="57" y="36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1" y="22"/>
                  </a:lnTo>
                  <a:lnTo>
                    <a:pt x="30" y="18"/>
                  </a:lnTo>
                  <a:lnTo>
                    <a:pt x="26" y="16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7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"/>
                  </a:lnTo>
                  <a:lnTo>
                    <a:pt x="17" y="6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8"/>
                  </a:lnTo>
                  <a:lnTo>
                    <a:pt x="24" y="2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5" y="36"/>
                  </a:lnTo>
                  <a:lnTo>
                    <a:pt x="35" y="35"/>
                  </a:lnTo>
                  <a:lnTo>
                    <a:pt x="39" y="31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2" y="29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7"/>
                  </a:lnTo>
                  <a:lnTo>
                    <a:pt x="40" y="51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7" y="55"/>
                  </a:lnTo>
                  <a:lnTo>
                    <a:pt x="31" y="55"/>
                  </a:lnTo>
                  <a:lnTo>
                    <a:pt x="28" y="55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2" y="62"/>
                  </a:lnTo>
                  <a:lnTo>
                    <a:pt x="20" y="64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0" y="64"/>
                  </a:lnTo>
                  <a:lnTo>
                    <a:pt x="6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6" y="82"/>
                  </a:lnTo>
                  <a:lnTo>
                    <a:pt x="6" y="85"/>
                  </a:lnTo>
                  <a:lnTo>
                    <a:pt x="6" y="91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13" y="91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6" y="80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7" y="75"/>
                  </a:lnTo>
                  <a:lnTo>
                    <a:pt x="40" y="71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8" name="Freeform 82">
              <a:extLst>
                <a:ext uri="{FF2B5EF4-FFF2-40B4-BE49-F238E27FC236}">
                  <a16:creationId xmlns:a16="http://schemas.microsoft.com/office/drawing/2014/main" id="{82D6563F-7054-2444-A448-7C7908A39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542" y="3533306"/>
              <a:ext cx="36207" cy="15736"/>
            </a:xfrm>
            <a:custGeom>
              <a:avLst/>
              <a:gdLst>
                <a:gd name="T0" fmla="*/ 15 w 25"/>
                <a:gd name="T1" fmla="*/ 11 h 11"/>
                <a:gd name="T2" fmla="*/ 15 w 25"/>
                <a:gd name="T3" fmla="*/ 11 h 11"/>
                <a:gd name="T4" fmla="*/ 20 w 25"/>
                <a:gd name="T5" fmla="*/ 11 h 11"/>
                <a:gd name="T6" fmla="*/ 25 w 25"/>
                <a:gd name="T7" fmla="*/ 7 h 11"/>
                <a:gd name="T8" fmla="*/ 25 w 25"/>
                <a:gd name="T9" fmla="*/ 7 h 11"/>
                <a:gd name="T10" fmla="*/ 18 w 25"/>
                <a:gd name="T11" fmla="*/ 7 h 11"/>
                <a:gd name="T12" fmla="*/ 15 w 25"/>
                <a:gd name="T13" fmla="*/ 7 h 11"/>
                <a:gd name="T14" fmla="*/ 15 w 25"/>
                <a:gd name="T15" fmla="*/ 7 h 11"/>
                <a:gd name="T16" fmla="*/ 2 w 25"/>
                <a:gd name="T17" fmla="*/ 0 h 11"/>
                <a:gd name="T18" fmla="*/ 2 w 25"/>
                <a:gd name="T19" fmla="*/ 0 h 11"/>
                <a:gd name="T20" fmla="*/ 2 w 25"/>
                <a:gd name="T21" fmla="*/ 0 h 11"/>
                <a:gd name="T22" fmla="*/ 2 w 25"/>
                <a:gd name="T23" fmla="*/ 0 h 11"/>
                <a:gd name="T24" fmla="*/ 0 w 25"/>
                <a:gd name="T25" fmla="*/ 0 h 11"/>
                <a:gd name="T26" fmla="*/ 0 w 25"/>
                <a:gd name="T27" fmla="*/ 0 h 11"/>
                <a:gd name="T28" fmla="*/ 6 w 25"/>
                <a:gd name="T29" fmla="*/ 7 h 11"/>
                <a:gd name="T30" fmla="*/ 9 w 25"/>
                <a:gd name="T31" fmla="*/ 9 h 11"/>
                <a:gd name="T32" fmla="*/ 15 w 25"/>
                <a:gd name="T33" fmla="*/ 11 h 11"/>
                <a:gd name="T34" fmla="*/ 15 w 25"/>
                <a:gd name="T35" fmla="*/ 11 h 11"/>
                <a:gd name="T36" fmla="*/ 15 w 25"/>
                <a:gd name="T37" fmla="*/ 11 h 11"/>
                <a:gd name="T38" fmla="*/ 15 w 25"/>
                <a:gd name="T39" fmla="*/ 11 h 11"/>
                <a:gd name="T40" fmla="*/ 15 w 25"/>
                <a:gd name="T4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5" y="11"/>
                  </a:moveTo>
                  <a:lnTo>
                    <a:pt x="15" y="11"/>
                  </a:lnTo>
                  <a:lnTo>
                    <a:pt x="20" y="11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18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7"/>
                  </a:lnTo>
                  <a:lnTo>
                    <a:pt x="9" y="9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9" name="Freeform 83">
              <a:extLst>
                <a:ext uri="{FF2B5EF4-FFF2-40B4-BE49-F238E27FC236}">
                  <a16:creationId xmlns:a16="http://schemas.microsoft.com/office/drawing/2014/main" id="{A9810E0F-6967-F447-97D2-E4D689213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2489" y="3539029"/>
              <a:ext cx="33311" cy="70099"/>
            </a:xfrm>
            <a:custGeom>
              <a:avLst/>
              <a:gdLst>
                <a:gd name="T0" fmla="*/ 20 w 23"/>
                <a:gd name="T1" fmla="*/ 49 h 49"/>
                <a:gd name="T2" fmla="*/ 20 w 23"/>
                <a:gd name="T3" fmla="*/ 49 h 49"/>
                <a:gd name="T4" fmla="*/ 21 w 23"/>
                <a:gd name="T5" fmla="*/ 49 h 49"/>
                <a:gd name="T6" fmla="*/ 23 w 23"/>
                <a:gd name="T7" fmla="*/ 47 h 49"/>
                <a:gd name="T8" fmla="*/ 23 w 23"/>
                <a:gd name="T9" fmla="*/ 47 h 49"/>
                <a:gd name="T10" fmla="*/ 23 w 23"/>
                <a:gd name="T11" fmla="*/ 40 h 49"/>
                <a:gd name="T12" fmla="*/ 23 w 23"/>
                <a:gd name="T13" fmla="*/ 32 h 49"/>
                <a:gd name="T14" fmla="*/ 23 w 23"/>
                <a:gd name="T15" fmla="*/ 32 h 49"/>
                <a:gd name="T16" fmla="*/ 21 w 23"/>
                <a:gd name="T17" fmla="*/ 23 h 49"/>
                <a:gd name="T18" fmla="*/ 20 w 23"/>
                <a:gd name="T19" fmla="*/ 7 h 49"/>
                <a:gd name="T20" fmla="*/ 20 w 23"/>
                <a:gd name="T21" fmla="*/ 7 h 49"/>
                <a:gd name="T22" fmla="*/ 20 w 23"/>
                <a:gd name="T23" fmla="*/ 3 h 49"/>
                <a:gd name="T24" fmla="*/ 16 w 23"/>
                <a:gd name="T25" fmla="*/ 0 h 49"/>
                <a:gd name="T26" fmla="*/ 16 w 23"/>
                <a:gd name="T27" fmla="*/ 0 h 49"/>
                <a:gd name="T28" fmla="*/ 14 w 23"/>
                <a:gd name="T29" fmla="*/ 0 h 49"/>
                <a:gd name="T30" fmla="*/ 7 w 23"/>
                <a:gd name="T31" fmla="*/ 7 h 49"/>
                <a:gd name="T32" fmla="*/ 1 w 23"/>
                <a:gd name="T33" fmla="*/ 11 h 49"/>
                <a:gd name="T34" fmla="*/ 1 w 23"/>
                <a:gd name="T35" fmla="*/ 11 h 49"/>
                <a:gd name="T36" fmla="*/ 0 w 23"/>
                <a:gd name="T37" fmla="*/ 11 h 49"/>
                <a:gd name="T38" fmla="*/ 0 w 23"/>
                <a:gd name="T39" fmla="*/ 14 h 49"/>
                <a:gd name="T40" fmla="*/ 1 w 23"/>
                <a:gd name="T41" fmla="*/ 20 h 49"/>
                <a:gd name="T42" fmla="*/ 7 w 23"/>
                <a:gd name="T43" fmla="*/ 34 h 49"/>
                <a:gd name="T44" fmla="*/ 7 w 23"/>
                <a:gd name="T45" fmla="*/ 34 h 49"/>
                <a:gd name="T46" fmla="*/ 10 w 23"/>
                <a:gd name="T47" fmla="*/ 40 h 49"/>
                <a:gd name="T48" fmla="*/ 10 w 23"/>
                <a:gd name="T49" fmla="*/ 45 h 49"/>
                <a:gd name="T50" fmla="*/ 16 w 23"/>
                <a:gd name="T51" fmla="*/ 47 h 49"/>
                <a:gd name="T52" fmla="*/ 20 w 23"/>
                <a:gd name="T53" fmla="*/ 49 h 49"/>
                <a:gd name="T54" fmla="*/ 20 w 23"/>
                <a:gd name="T55" fmla="*/ 49 h 49"/>
                <a:gd name="T56" fmla="*/ 20 w 23"/>
                <a:gd name="T57" fmla="*/ 49 h 49"/>
                <a:gd name="T58" fmla="*/ 20 w 23"/>
                <a:gd name="T59" fmla="*/ 49 h 49"/>
                <a:gd name="T60" fmla="*/ 20 w 23"/>
                <a:gd name="T6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49">
                  <a:moveTo>
                    <a:pt x="20" y="49"/>
                  </a:moveTo>
                  <a:lnTo>
                    <a:pt x="20" y="49"/>
                  </a:lnTo>
                  <a:lnTo>
                    <a:pt x="21" y="49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0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1" y="2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7" y="7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20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10" y="40"/>
                  </a:lnTo>
                  <a:lnTo>
                    <a:pt x="10" y="45"/>
                  </a:lnTo>
                  <a:lnTo>
                    <a:pt x="16" y="47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0" name="Freeform 84">
              <a:extLst>
                <a:ext uri="{FF2B5EF4-FFF2-40B4-BE49-F238E27FC236}">
                  <a16:creationId xmlns:a16="http://schemas.microsoft.com/office/drawing/2014/main" id="{6B533AA2-422E-904D-932E-F0C36F591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187" y="3583378"/>
              <a:ext cx="20276" cy="28612"/>
            </a:xfrm>
            <a:custGeom>
              <a:avLst/>
              <a:gdLst>
                <a:gd name="T0" fmla="*/ 12 w 14"/>
                <a:gd name="T1" fmla="*/ 20 h 20"/>
                <a:gd name="T2" fmla="*/ 14 w 14"/>
                <a:gd name="T3" fmla="*/ 16 h 20"/>
                <a:gd name="T4" fmla="*/ 14 w 14"/>
                <a:gd name="T5" fmla="*/ 16 h 20"/>
                <a:gd name="T6" fmla="*/ 14 w 14"/>
                <a:gd name="T7" fmla="*/ 0 h 20"/>
                <a:gd name="T8" fmla="*/ 14 w 14"/>
                <a:gd name="T9" fmla="*/ 0 h 20"/>
                <a:gd name="T10" fmla="*/ 14 w 14"/>
                <a:gd name="T11" fmla="*/ 0 h 20"/>
                <a:gd name="T12" fmla="*/ 12 w 14"/>
                <a:gd name="T13" fmla="*/ 0 h 20"/>
                <a:gd name="T14" fmla="*/ 11 w 14"/>
                <a:gd name="T15" fmla="*/ 1 h 20"/>
                <a:gd name="T16" fmla="*/ 2 w 14"/>
                <a:gd name="T17" fmla="*/ 7 h 20"/>
                <a:gd name="T18" fmla="*/ 2 w 14"/>
                <a:gd name="T19" fmla="*/ 7 h 20"/>
                <a:gd name="T20" fmla="*/ 0 w 14"/>
                <a:gd name="T21" fmla="*/ 10 h 20"/>
                <a:gd name="T22" fmla="*/ 2 w 14"/>
                <a:gd name="T23" fmla="*/ 14 h 20"/>
                <a:gd name="T24" fmla="*/ 7 w 14"/>
                <a:gd name="T25" fmla="*/ 16 h 20"/>
                <a:gd name="T26" fmla="*/ 12 w 14"/>
                <a:gd name="T27" fmla="*/ 20 h 20"/>
                <a:gd name="T28" fmla="*/ 12 w 14"/>
                <a:gd name="T29" fmla="*/ 20 h 20"/>
                <a:gd name="T30" fmla="*/ 12 w 14"/>
                <a:gd name="T31" fmla="*/ 20 h 20"/>
                <a:gd name="T32" fmla="*/ 12 w 14"/>
                <a:gd name="T33" fmla="*/ 20 h 20"/>
                <a:gd name="T34" fmla="*/ 12 w 14"/>
                <a:gd name="T3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20">
                  <a:moveTo>
                    <a:pt x="12" y="20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1" y="1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7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Freeform 85">
              <a:extLst>
                <a:ext uri="{FF2B5EF4-FFF2-40B4-BE49-F238E27FC236}">
                  <a16:creationId xmlns:a16="http://schemas.microsoft.com/office/drawing/2014/main" id="{3F8BC32A-2910-614A-80E9-F8860487B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578" y="3523292"/>
              <a:ext cx="39104" cy="31473"/>
            </a:xfrm>
            <a:custGeom>
              <a:avLst/>
              <a:gdLst>
                <a:gd name="T0" fmla="*/ 3 w 27"/>
                <a:gd name="T1" fmla="*/ 5 h 22"/>
                <a:gd name="T2" fmla="*/ 3 w 27"/>
                <a:gd name="T3" fmla="*/ 5 h 22"/>
                <a:gd name="T4" fmla="*/ 5 w 27"/>
                <a:gd name="T5" fmla="*/ 5 h 22"/>
                <a:gd name="T6" fmla="*/ 3 w 27"/>
                <a:gd name="T7" fmla="*/ 7 h 22"/>
                <a:gd name="T8" fmla="*/ 0 w 27"/>
                <a:gd name="T9" fmla="*/ 14 h 22"/>
                <a:gd name="T10" fmla="*/ 0 w 27"/>
                <a:gd name="T11" fmla="*/ 14 h 22"/>
                <a:gd name="T12" fmla="*/ 0 w 27"/>
                <a:gd name="T13" fmla="*/ 18 h 22"/>
                <a:gd name="T14" fmla="*/ 0 w 27"/>
                <a:gd name="T15" fmla="*/ 18 h 22"/>
                <a:gd name="T16" fmla="*/ 3 w 27"/>
                <a:gd name="T17" fmla="*/ 20 h 22"/>
                <a:gd name="T18" fmla="*/ 20 w 27"/>
                <a:gd name="T19" fmla="*/ 22 h 22"/>
                <a:gd name="T20" fmla="*/ 20 w 27"/>
                <a:gd name="T21" fmla="*/ 22 h 22"/>
                <a:gd name="T22" fmla="*/ 23 w 27"/>
                <a:gd name="T23" fmla="*/ 18 h 22"/>
                <a:gd name="T24" fmla="*/ 23 w 27"/>
                <a:gd name="T25" fmla="*/ 11 h 22"/>
                <a:gd name="T26" fmla="*/ 27 w 27"/>
                <a:gd name="T27" fmla="*/ 5 h 22"/>
                <a:gd name="T28" fmla="*/ 27 w 27"/>
                <a:gd name="T29" fmla="*/ 5 h 22"/>
                <a:gd name="T30" fmla="*/ 27 w 27"/>
                <a:gd name="T31" fmla="*/ 3 h 22"/>
                <a:gd name="T32" fmla="*/ 25 w 27"/>
                <a:gd name="T33" fmla="*/ 2 h 22"/>
                <a:gd name="T34" fmla="*/ 22 w 27"/>
                <a:gd name="T35" fmla="*/ 0 h 22"/>
                <a:gd name="T36" fmla="*/ 16 w 27"/>
                <a:gd name="T37" fmla="*/ 0 h 22"/>
                <a:gd name="T38" fmla="*/ 7 w 27"/>
                <a:gd name="T39" fmla="*/ 0 h 22"/>
                <a:gd name="T40" fmla="*/ 7 w 27"/>
                <a:gd name="T41" fmla="*/ 0 h 22"/>
                <a:gd name="T42" fmla="*/ 3 w 27"/>
                <a:gd name="T43" fmla="*/ 0 h 22"/>
                <a:gd name="T44" fmla="*/ 3 w 27"/>
                <a:gd name="T45" fmla="*/ 2 h 22"/>
                <a:gd name="T46" fmla="*/ 3 w 27"/>
                <a:gd name="T47" fmla="*/ 3 h 22"/>
                <a:gd name="T48" fmla="*/ 3 w 27"/>
                <a:gd name="T49" fmla="*/ 5 h 22"/>
                <a:gd name="T50" fmla="*/ 3 w 27"/>
                <a:gd name="T51" fmla="*/ 5 h 22"/>
                <a:gd name="T52" fmla="*/ 3 w 27"/>
                <a:gd name="T53" fmla="*/ 5 h 22"/>
                <a:gd name="T54" fmla="*/ 3 w 27"/>
                <a:gd name="T55" fmla="*/ 5 h 22"/>
                <a:gd name="T56" fmla="*/ 3 w 27"/>
                <a:gd name="T5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" h="22">
                  <a:moveTo>
                    <a:pt x="3" y="5"/>
                  </a:moveTo>
                  <a:lnTo>
                    <a:pt x="3" y="5"/>
                  </a:lnTo>
                  <a:lnTo>
                    <a:pt x="5" y="5"/>
                  </a:lnTo>
                  <a:lnTo>
                    <a:pt x="3" y="7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3" y="18"/>
                  </a:lnTo>
                  <a:lnTo>
                    <a:pt x="23" y="11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5" y="2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Freeform 86">
              <a:extLst>
                <a:ext uri="{FF2B5EF4-FFF2-40B4-BE49-F238E27FC236}">
                  <a16:creationId xmlns:a16="http://schemas.microsoft.com/office/drawing/2014/main" id="{8102BBE3-C2D3-F04A-A813-D2E75DCAB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672" y="4510405"/>
              <a:ext cx="421455" cy="533613"/>
            </a:xfrm>
            <a:custGeom>
              <a:avLst/>
              <a:gdLst>
                <a:gd name="T0" fmla="*/ 273 w 291"/>
                <a:gd name="T1" fmla="*/ 304 h 373"/>
                <a:gd name="T2" fmla="*/ 256 w 291"/>
                <a:gd name="T3" fmla="*/ 304 h 373"/>
                <a:gd name="T4" fmla="*/ 247 w 291"/>
                <a:gd name="T5" fmla="*/ 304 h 373"/>
                <a:gd name="T6" fmla="*/ 218 w 291"/>
                <a:gd name="T7" fmla="*/ 287 h 373"/>
                <a:gd name="T8" fmla="*/ 209 w 291"/>
                <a:gd name="T9" fmla="*/ 282 h 373"/>
                <a:gd name="T10" fmla="*/ 195 w 291"/>
                <a:gd name="T11" fmla="*/ 251 h 373"/>
                <a:gd name="T12" fmla="*/ 185 w 291"/>
                <a:gd name="T13" fmla="*/ 227 h 373"/>
                <a:gd name="T14" fmla="*/ 185 w 291"/>
                <a:gd name="T15" fmla="*/ 209 h 373"/>
                <a:gd name="T16" fmla="*/ 189 w 291"/>
                <a:gd name="T17" fmla="*/ 196 h 373"/>
                <a:gd name="T18" fmla="*/ 204 w 291"/>
                <a:gd name="T19" fmla="*/ 187 h 373"/>
                <a:gd name="T20" fmla="*/ 220 w 291"/>
                <a:gd name="T21" fmla="*/ 185 h 373"/>
                <a:gd name="T22" fmla="*/ 162 w 291"/>
                <a:gd name="T23" fmla="*/ 144 h 373"/>
                <a:gd name="T24" fmla="*/ 144 w 291"/>
                <a:gd name="T25" fmla="*/ 127 h 373"/>
                <a:gd name="T26" fmla="*/ 118 w 291"/>
                <a:gd name="T27" fmla="*/ 104 h 373"/>
                <a:gd name="T28" fmla="*/ 91 w 291"/>
                <a:gd name="T29" fmla="*/ 86 h 373"/>
                <a:gd name="T30" fmla="*/ 77 w 291"/>
                <a:gd name="T31" fmla="*/ 66 h 373"/>
                <a:gd name="T32" fmla="*/ 64 w 291"/>
                <a:gd name="T33" fmla="*/ 49 h 373"/>
                <a:gd name="T34" fmla="*/ 55 w 291"/>
                <a:gd name="T35" fmla="*/ 46 h 373"/>
                <a:gd name="T36" fmla="*/ 31 w 291"/>
                <a:gd name="T37" fmla="*/ 18 h 373"/>
                <a:gd name="T38" fmla="*/ 15 w 291"/>
                <a:gd name="T39" fmla="*/ 2 h 373"/>
                <a:gd name="T40" fmla="*/ 6 w 291"/>
                <a:gd name="T41" fmla="*/ 2 h 373"/>
                <a:gd name="T42" fmla="*/ 0 w 291"/>
                <a:gd name="T43" fmla="*/ 7 h 373"/>
                <a:gd name="T44" fmla="*/ 20 w 291"/>
                <a:gd name="T45" fmla="*/ 18 h 373"/>
                <a:gd name="T46" fmla="*/ 27 w 291"/>
                <a:gd name="T47" fmla="*/ 24 h 373"/>
                <a:gd name="T48" fmla="*/ 31 w 291"/>
                <a:gd name="T49" fmla="*/ 37 h 373"/>
                <a:gd name="T50" fmla="*/ 31 w 291"/>
                <a:gd name="T51" fmla="*/ 42 h 373"/>
                <a:gd name="T52" fmla="*/ 22 w 291"/>
                <a:gd name="T53" fmla="*/ 44 h 373"/>
                <a:gd name="T54" fmla="*/ 17 w 291"/>
                <a:gd name="T55" fmla="*/ 47 h 373"/>
                <a:gd name="T56" fmla="*/ 17 w 291"/>
                <a:gd name="T57" fmla="*/ 58 h 373"/>
                <a:gd name="T58" fmla="*/ 35 w 291"/>
                <a:gd name="T59" fmla="*/ 80 h 373"/>
                <a:gd name="T60" fmla="*/ 42 w 291"/>
                <a:gd name="T61" fmla="*/ 102 h 373"/>
                <a:gd name="T62" fmla="*/ 51 w 291"/>
                <a:gd name="T63" fmla="*/ 113 h 373"/>
                <a:gd name="T64" fmla="*/ 80 w 291"/>
                <a:gd name="T65" fmla="*/ 136 h 373"/>
                <a:gd name="T66" fmla="*/ 95 w 291"/>
                <a:gd name="T67" fmla="*/ 144 h 373"/>
                <a:gd name="T68" fmla="*/ 109 w 291"/>
                <a:gd name="T69" fmla="*/ 167 h 373"/>
                <a:gd name="T70" fmla="*/ 126 w 291"/>
                <a:gd name="T71" fmla="*/ 193 h 373"/>
                <a:gd name="T72" fmla="*/ 158 w 291"/>
                <a:gd name="T73" fmla="*/ 247 h 373"/>
                <a:gd name="T74" fmla="*/ 162 w 291"/>
                <a:gd name="T75" fmla="*/ 258 h 373"/>
                <a:gd name="T76" fmla="*/ 175 w 291"/>
                <a:gd name="T77" fmla="*/ 267 h 373"/>
                <a:gd name="T78" fmla="*/ 189 w 291"/>
                <a:gd name="T79" fmla="*/ 284 h 373"/>
                <a:gd name="T80" fmla="*/ 202 w 291"/>
                <a:gd name="T81" fmla="*/ 304 h 373"/>
                <a:gd name="T82" fmla="*/ 215 w 291"/>
                <a:gd name="T83" fmla="*/ 314 h 373"/>
                <a:gd name="T84" fmla="*/ 224 w 291"/>
                <a:gd name="T85" fmla="*/ 342 h 373"/>
                <a:gd name="T86" fmla="*/ 229 w 291"/>
                <a:gd name="T87" fmla="*/ 354 h 373"/>
                <a:gd name="T88" fmla="*/ 247 w 291"/>
                <a:gd name="T89" fmla="*/ 369 h 373"/>
                <a:gd name="T90" fmla="*/ 251 w 291"/>
                <a:gd name="T91" fmla="*/ 356 h 373"/>
                <a:gd name="T92" fmla="*/ 244 w 291"/>
                <a:gd name="T93" fmla="*/ 331 h 373"/>
                <a:gd name="T94" fmla="*/ 247 w 291"/>
                <a:gd name="T95" fmla="*/ 327 h 373"/>
                <a:gd name="T96" fmla="*/ 256 w 291"/>
                <a:gd name="T97" fmla="*/ 327 h 373"/>
                <a:gd name="T98" fmla="*/ 264 w 291"/>
                <a:gd name="T99" fmla="*/ 324 h 373"/>
                <a:gd name="T100" fmla="*/ 273 w 291"/>
                <a:gd name="T101" fmla="*/ 316 h 373"/>
                <a:gd name="T102" fmla="*/ 282 w 291"/>
                <a:gd name="T103" fmla="*/ 318 h 373"/>
                <a:gd name="T104" fmla="*/ 291 w 291"/>
                <a:gd name="T105" fmla="*/ 331 h 373"/>
                <a:gd name="T106" fmla="*/ 289 w 291"/>
                <a:gd name="T107" fmla="*/ 327 h 373"/>
                <a:gd name="T108" fmla="*/ 278 w 291"/>
                <a:gd name="T109" fmla="*/ 305 h 373"/>
                <a:gd name="T110" fmla="*/ 278 w 291"/>
                <a:gd name="T111" fmla="*/ 305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1" h="373">
                  <a:moveTo>
                    <a:pt x="278" y="305"/>
                  </a:moveTo>
                  <a:lnTo>
                    <a:pt x="278" y="305"/>
                  </a:lnTo>
                  <a:lnTo>
                    <a:pt x="273" y="304"/>
                  </a:lnTo>
                  <a:lnTo>
                    <a:pt x="271" y="304"/>
                  </a:lnTo>
                  <a:lnTo>
                    <a:pt x="264" y="304"/>
                  </a:lnTo>
                  <a:lnTo>
                    <a:pt x="256" y="304"/>
                  </a:lnTo>
                  <a:lnTo>
                    <a:pt x="251" y="304"/>
                  </a:lnTo>
                  <a:lnTo>
                    <a:pt x="247" y="304"/>
                  </a:lnTo>
                  <a:lnTo>
                    <a:pt x="247" y="304"/>
                  </a:lnTo>
                  <a:lnTo>
                    <a:pt x="236" y="293"/>
                  </a:lnTo>
                  <a:lnTo>
                    <a:pt x="227" y="289"/>
                  </a:lnTo>
                  <a:lnTo>
                    <a:pt x="218" y="287"/>
                  </a:lnTo>
                  <a:lnTo>
                    <a:pt x="218" y="287"/>
                  </a:lnTo>
                  <a:lnTo>
                    <a:pt x="215" y="285"/>
                  </a:lnTo>
                  <a:lnTo>
                    <a:pt x="209" y="282"/>
                  </a:lnTo>
                  <a:lnTo>
                    <a:pt x="205" y="275"/>
                  </a:lnTo>
                  <a:lnTo>
                    <a:pt x="202" y="267"/>
                  </a:lnTo>
                  <a:lnTo>
                    <a:pt x="195" y="251"/>
                  </a:lnTo>
                  <a:lnTo>
                    <a:pt x="189" y="236"/>
                  </a:lnTo>
                  <a:lnTo>
                    <a:pt x="189" y="236"/>
                  </a:lnTo>
                  <a:lnTo>
                    <a:pt x="185" y="227"/>
                  </a:lnTo>
                  <a:lnTo>
                    <a:pt x="184" y="216"/>
                  </a:lnTo>
                  <a:lnTo>
                    <a:pt x="184" y="213"/>
                  </a:lnTo>
                  <a:lnTo>
                    <a:pt x="185" y="209"/>
                  </a:lnTo>
                  <a:lnTo>
                    <a:pt x="185" y="204"/>
                  </a:lnTo>
                  <a:lnTo>
                    <a:pt x="189" y="196"/>
                  </a:lnTo>
                  <a:lnTo>
                    <a:pt x="189" y="196"/>
                  </a:lnTo>
                  <a:lnTo>
                    <a:pt x="195" y="193"/>
                  </a:lnTo>
                  <a:lnTo>
                    <a:pt x="198" y="189"/>
                  </a:lnTo>
                  <a:lnTo>
                    <a:pt x="204" y="187"/>
                  </a:lnTo>
                  <a:lnTo>
                    <a:pt x="207" y="185"/>
                  </a:lnTo>
                  <a:lnTo>
                    <a:pt x="216" y="185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185" y="164"/>
                  </a:lnTo>
                  <a:lnTo>
                    <a:pt x="162" y="144"/>
                  </a:lnTo>
                  <a:lnTo>
                    <a:pt x="151" y="136"/>
                  </a:lnTo>
                  <a:lnTo>
                    <a:pt x="144" y="127"/>
                  </a:lnTo>
                  <a:lnTo>
                    <a:pt x="144" y="127"/>
                  </a:lnTo>
                  <a:lnTo>
                    <a:pt x="140" y="122"/>
                  </a:lnTo>
                  <a:lnTo>
                    <a:pt x="135" y="116"/>
                  </a:lnTo>
                  <a:lnTo>
                    <a:pt x="118" y="104"/>
                  </a:lnTo>
                  <a:lnTo>
                    <a:pt x="104" y="95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84" y="82"/>
                  </a:lnTo>
                  <a:lnTo>
                    <a:pt x="80" y="78"/>
                  </a:lnTo>
                  <a:lnTo>
                    <a:pt x="77" y="66"/>
                  </a:lnTo>
                  <a:lnTo>
                    <a:pt x="71" y="56"/>
                  </a:lnTo>
                  <a:lnTo>
                    <a:pt x="69" y="53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0" y="47"/>
                  </a:lnTo>
                  <a:lnTo>
                    <a:pt x="55" y="46"/>
                  </a:lnTo>
                  <a:lnTo>
                    <a:pt x="47" y="37"/>
                  </a:lnTo>
                  <a:lnTo>
                    <a:pt x="38" y="26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18" y="4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11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6" y="20"/>
                  </a:lnTo>
                  <a:lnTo>
                    <a:pt x="27" y="24"/>
                  </a:lnTo>
                  <a:lnTo>
                    <a:pt x="27" y="26"/>
                  </a:lnTo>
                  <a:lnTo>
                    <a:pt x="29" y="29"/>
                  </a:lnTo>
                  <a:lnTo>
                    <a:pt x="31" y="37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5" y="49"/>
                  </a:lnTo>
                  <a:lnTo>
                    <a:pt x="15" y="55"/>
                  </a:lnTo>
                  <a:lnTo>
                    <a:pt x="17" y="58"/>
                  </a:lnTo>
                  <a:lnTo>
                    <a:pt x="18" y="64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8" y="87"/>
                  </a:lnTo>
                  <a:lnTo>
                    <a:pt x="40" y="95"/>
                  </a:lnTo>
                  <a:lnTo>
                    <a:pt x="42" y="102"/>
                  </a:lnTo>
                  <a:lnTo>
                    <a:pt x="49" y="109"/>
                  </a:lnTo>
                  <a:lnTo>
                    <a:pt x="49" y="109"/>
                  </a:lnTo>
                  <a:lnTo>
                    <a:pt x="51" y="113"/>
                  </a:lnTo>
                  <a:lnTo>
                    <a:pt x="55" y="120"/>
                  </a:lnTo>
                  <a:lnTo>
                    <a:pt x="69" y="127"/>
                  </a:lnTo>
                  <a:lnTo>
                    <a:pt x="80" y="136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5" y="144"/>
                  </a:lnTo>
                  <a:lnTo>
                    <a:pt x="98" y="147"/>
                  </a:lnTo>
                  <a:lnTo>
                    <a:pt x="104" y="158"/>
                  </a:lnTo>
                  <a:lnTo>
                    <a:pt x="109" y="167"/>
                  </a:lnTo>
                  <a:lnTo>
                    <a:pt x="116" y="178"/>
                  </a:lnTo>
                  <a:lnTo>
                    <a:pt x="116" y="178"/>
                  </a:lnTo>
                  <a:lnTo>
                    <a:pt x="126" y="193"/>
                  </a:lnTo>
                  <a:lnTo>
                    <a:pt x="142" y="215"/>
                  </a:lnTo>
                  <a:lnTo>
                    <a:pt x="155" y="236"/>
                  </a:lnTo>
                  <a:lnTo>
                    <a:pt x="158" y="247"/>
                  </a:lnTo>
                  <a:lnTo>
                    <a:pt x="160" y="255"/>
                  </a:lnTo>
                  <a:lnTo>
                    <a:pt x="160" y="255"/>
                  </a:lnTo>
                  <a:lnTo>
                    <a:pt x="162" y="258"/>
                  </a:lnTo>
                  <a:lnTo>
                    <a:pt x="166" y="264"/>
                  </a:lnTo>
                  <a:lnTo>
                    <a:pt x="167" y="265"/>
                  </a:lnTo>
                  <a:lnTo>
                    <a:pt x="175" y="267"/>
                  </a:lnTo>
                  <a:lnTo>
                    <a:pt x="182" y="275"/>
                  </a:lnTo>
                  <a:lnTo>
                    <a:pt x="187" y="278"/>
                  </a:lnTo>
                  <a:lnTo>
                    <a:pt x="189" y="284"/>
                  </a:lnTo>
                  <a:lnTo>
                    <a:pt x="189" y="284"/>
                  </a:lnTo>
                  <a:lnTo>
                    <a:pt x="198" y="298"/>
                  </a:lnTo>
                  <a:lnTo>
                    <a:pt x="202" y="304"/>
                  </a:lnTo>
                  <a:lnTo>
                    <a:pt x="207" y="311"/>
                  </a:lnTo>
                  <a:lnTo>
                    <a:pt x="207" y="311"/>
                  </a:lnTo>
                  <a:lnTo>
                    <a:pt x="215" y="314"/>
                  </a:lnTo>
                  <a:lnTo>
                    <a:pt x="218" y="324"/>
                  </a:lnTo>
                  <a:lnTo>
                    <a:pt x="220" y="331"/>
                  </a:lnTo>
                  <a:lnTo>
                    <a:pt x="224" y="342"/>
                  </a:lnTo>
                  <a:lnTo>
                    <a:pt x="224" y="342"/>
                  </a:lnTo>
                  <a:lnTo>
                    <a:pt x="225" y="349"/>
                  </a:lnTo>
                  <a:lnTo>
                    <a:pt x="229" y="354"/>
                  </a:lnTo>
                  <a:lnTo>
                    <a:pt x="235" y="356"/>
                  </a:lnTo>
                  <a:lnTo>
                    <a:pt x="238" y="360"/>
                  </a:lnTo>
                  <a:lnTo>
                    <a:pt x="247" y="369"/>
                  </a:lnTo>
                  <a:lnTo>
                    <a:pt x="256" y="373"/>
                  </a:lnTo>
                  <a:lnTo>
                    <a:pt x="256" y="373"/>
                  </a:lnTo>
                  <a:lnTo>
                    <a:pt x="251" y="356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4" y="331"/>
                  </a:lnTo>
                  <a:lnTo>
                    <a:pt x="244" y="329"/>
                  </a:lnTo>
                  <a:lnTo>
                    <a:pt x="245" y="327"/>
                  </a:lnTo>
                  <a:lnTo>
                    <a:pt x="247" y="327"/>
                  </a:lnTo>
                  <a:lnTo>
                    <a:pt x="251" y="327"/>
                  </a:lnTo>
                  <a:lnTo>
                    <a:pt x="256" y="327"/>
                  </a:lnTo>
                  <a:lnTo>
                    <a:pt x="256" y="327"/>
                  </a:lnTo>
                  <a:lnTo>
                    <a:pt x="258" y="327"/>
                  </a:lnTo>
                  <a:lnTo>
                    <a:pt x="260" y="327"/>
                  </a:lnTo>
                  <a:lnTo>
                    <a:pt x="264" y="324"/>
                  </a:lnTo>
                  <a:lnTo>
                    <a:pt x="267" y="318"/>
                  </a:lnTo>
                  <a:lnTo>
                    <a:pt x="269" y="316"/>
                  </a:lnTo>
                  <a:lnTo>
                    <a:pt x="273" y="316"/>
                  </a:lnTo>
                  <a:lnTo>
                    <a:pt x="273" y="316"/>
                  </a:lnTo>
                  <a:lnTo>
                    <a:pt x="278" y="316"/>
                  </a:lnTo>
                  <a:lnTo>
                    <a:pt x="282" y="318"/>
                  </a:lnTo>
                  <a:lnTo>
                    <a:pt x="287" y="327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89" y="327"/>
                  </a:lnTo>
                  <a:lnTo>
                    <a:pt x="285" y="318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lnTo>
                    <a:pt x="278" y="30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3" name="Freeform 87">
              <a:extLst>
                <a:ext uri="{FF2B5EF4-FFF2-40B4-BE49-F238E27FC236}">
                  <a16:creationId xmlns:a16="http://schemas.microsoft.com/office/drawing/2014/main" id="{93029CE6-E4DB-A445-ADBF-8AFE598A3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806" y="3039750"/>
              <a:ext cx="42000" cy="31473"/>
            </a:xfrm>
            <a:custGeom>
              <a:avLst/>
              <a:gdLst>
                <a:gd name="T0" fmla="*/ 0 w 29"/>
                <a:gd name="T1" fmla="*/ 12 h 22"/>
                <a:gd name="T2" fmla="*/ 0 w 29"/>
                <a:gd name="T3" fmla="*/ 12 h 22"/>
                <a:gd name="T4" fmla="*/ 0 w 29"/>
                <a:gd name="T5" fmla="*/ 18 h 22"/>
                <a:gd name="T6" fmla="*/ 6 w 29"/>
                <a:gd name="T7" fmla="*/ 22 h 22"/>
                <a:gd name="T8" fmla="*/ 9 w 29"/>
                <a:gd name="T9" fmla="*/ 22 h 22"/>
                <a:gd name="T10" fmla="*/ 15 w 29"/>
                <a:gd name="T11" fmla="*/ 20 h 22"/>
                <a:gd name="T12" fmla="*/ 15 w 29"/>
                <a:gd name="T13" fmla="*/ 20 h 22"/>
                <a:gd name="T14" fmla="*/ 26 w 29"/>
                <a:gd name="T15" fmla="*/ 14 h 22"/>
                <a:gd name="T16" fmla="*/ 29 w 29"/>
                <a:gd name="T17" fmla="*/ 12 h 22"/>
                <a:gd name="T18" fmla="*/ 29 w 29"/>
                <a:gd name="T19" fmla="*/ 11 h 22"/>
                <a:gd name="T20" fmla="*/ 29 w 29"/>
                <a:gd name="T21" fmla="*/ 11 h 22"/>
                <a:gd name="T22" fmla="*/ 29 w 29"/>
                <a:gd name="T23" fmla="*/ 7 h 22"/>
                <a:gd name="T24" fmla="*/ 29 w 29"/>
                <a:gd name="T25" fmla="*/ 3 h 22"/>
                <a:gd name="T26" fmla="*/ 26 w 29"/>
                <a:gd name="T27" fmla="*/ 0 h 22"/>
                <a:gd name="T28" fmla="*/ 22 w 29"/>
                <a:gd name="T29" fmla="*/ 0 h 22"/>
                <a:gd name="T30" fmla="*/ 20 w 29"/>
                <a:gd name="T31" fmla="*/ 0 h 22"/>
                <a:gd name="T32" fmla="*/ 20 w 29"/>
                <a:gd name="T33" fmla="*/ 0 h 22"/>
                <a:gd name="T34" fmla="*/ 16 w 29"/>
                <a:gd name="T35" fmla="*/ 0 h 22"/>
                <a:gd name="T36" fmla="*/ 13 w 29"/>
                <a:gd name="T37" fmla="*/ 2 h 22"/>
                <a:gd name="T38" fmla="*/ 7 w 29"/>
                <a:gd name="T39" fmla="*/ 7 h 22"/>
                <a:gd name="T40" fmla="*/ 7 w 29"/>
                <a:gd name="T41" fmla="*/ 7 h 22"/>
                <a:gd name="T42" fmla="*/ 0 w 29"/>
                <a:gd name="T43" fmla="*/ 11 h 22"/>
                <a:gd name="T44" fmla="*/ 0 w 29"/>
                <a:gd name="T45" fmla="*/ 12 h 22"/>
                <a:gd name="T46" fmla="*/ 0 w 29"/>
                <a:gd name="T47" fmla="*/ 12 h 22"/>
                <a:gd name="T48" fmla="*/ 0 w 29"/>
                <a:gd name="T49" fmla="*/ 12 h 22"/>
                <a:gd name="T50" fmla="*/ 0 w 29"/>
                <a:gd name="T51" fmla="*/ 12 h 22"/>
                <a:gd name="T52" fmla="*/ 0 w 29"/>
                <a:gd name="T53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" h="22">
                  <a:moveTo>
                    <a:pt x="0" y="12"/>
                  </a:moveTo>
                  <a:lnTo>
                    <a:pt x="0" y="12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9" y="22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26" y="14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7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3" y="2"/>
                  </a:lnTo>
                  <a:lnTo>
                    <a:pt x="7" y="7"/>
                  </a:lnTo>
                  <a:lnTo>
                    <a:pt x="7" y="7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4" name="Freeform 88">
              <a:extLst>
                <a:ext uri="{FF2B5EF4-FFF2-40B4-BE49-F238E27FC236}">
                  <a16:creationId xmlns:a16="http://schemas.microsoft.com/office/drawing/2014/main" id="{9F9D2DBE-9584-7645-A4F2-9E605B654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070" y="3427442"/>
              <a:ext cx="63725" cy="51501"/>
            </a:xfrm>
            <a:custGeom>
              <a:avLst/>
              <a:gdLst>
                <a:gd name="T0" fmla="*/ 0 w 44"/>
                <a:gd name="T1" fmla="*/ 23 h 36"/>
                <a:gd name="T2" fmla="*/ 0 w 44"/>
                <a:gd name="T3" fmla="*/ 23 h 36"/>
                <a:gd name="T4" fmla="*/ 4 w 44"/>
                <a:gd name="T5" fmla="*/ 27 h 36"/>
                <a:gd name="T6" fmla="*/ 9 w 44"/>
                <a:gd name="T7" fmla="*/ 32 h 36"/>
                <a:gd name="T8" fmla="*/ 13 w 44"/>
                <a:gd name="T9" fmla="*/ 34 h 36"/>
                <a:gd name="T10" fmla="*/ 17 w 44"/>
                <a:gd name="T11" fmla="*/ 36 h 36"/>
                <a:gd name="T12" fmla="*/ 20 w 44"/>
                <a:gd name="T13" fmla="*/ 36 h 36"/>
                <a:gd name="T14" fmla="*/ 26 w 44"/>
                <a:gd name="T15" fmla="*/ 36 h 36"/>
                <a:gd name="T16" fmla="*/ 26 w 44"/>
                <a:gd name="T17" fmla="*/ 36 h 36"/>
                <a:gd name="T18" fmla="*/ 31 w 44"/>
                <a:gd name="T19" fmla="*/ 32 h 36"/>
                <a:gd name="T20" fmla="*/ 38 w 44"/>
                <a:gd name="T21" fmla="*/ 30 h 36"/>
                <a:gd name="T22" fmla="*/ 44 w 44"/>
                <a:gd name="T23" fmla="*/ 25 h 36"/>
                <a:gd name="T24" fmla="*/ 44 w 44"/>
                <a:gd name="T25" fmla="*/ 23 h 36"/>
                <a:gd name="T26" fmla="*/ 44 w 44"/>
                <a:gd name="T27" fmla="*/ 19 h 36"/>
                <a:gd name="T28" fmla="*/ 44 w 44"/>
                <a:gd name="T29" fmla="*/ 19 h 36"/>
                <a:gd name="T30" fmla="*/ 42 w 44"/>
                <a:gd name="T31" fmla="*/ 12 h 36"/>
                <a:gd name="T32" fmla="*/ 38 w 44"/>
                <a:gd name="T33" fmla="*/ 7 h 36"/>
                <a:gd name="T34" fmla="*/ 38 w 44"/>
                <a:gd name="T35" fmla="*/ 3 h 36"/>
                <a:gd name="T36" fmla="*/ 37 w 44"/>
                <a:gd name="T37" fmla="*/ 1 h 36"/>
                <a:gd name="T38" fmla="*/ 35 w 44"/>
                <a:gd name="T39" fmla="*/ 0 h 36"/>
                <a:gd name="T40" fmla="*/ 31 w 44"/>
                <a:gd name="T41" fmla="*/ 0 h 36"/>
                <a:gd name="T42" fmla="*/ 31 w 44"/>
                <a:gd name="T43" fmla="*/ 0 h 36"/>
                <a:gd name="T44" fmla="*/ 26 w 44"/>
                <a:gd name="T45" fmla="*/ 0 h 36"/>
                <a:gd name="T46" fmla="*/ 20 w 44"/>
                <a:gd name="T47" fmla="*/ 0 h 36"/>
                <a:gd name="T48" fmla="*/ 13 w 44"/>
                <a:gd name="T49" fmla="*/ 3 h 36"/>
                <a:gd name="T50" fmla="*/ 9 w 44"/>
                <a:gd name="T51" fmla="*/ 7 h 36"/>
                <a:gd name="T52" fmla="*/ 9 w 44"/>
                <a:gd name="T53" fmla="*/ 7 h 36"/>
                <a:gd name="T54" fmla="*/ 6 w 44"/>
                <a:gd name="T55" fmla="*/ 12 h 36"/>
                <a:gd name="T56" fmla="*/ 2 w 44"/>
                <a:gd name="T57" fmla="*/ 18 h 36"/>
                <a:gd name="T58" fmla="*/ 0 w 44"/>
                <a:gd name="T59" fmla="*/ 23 h 36"/>
                <a:gd name="T60" fmla="*/ 0 w 44"/>
                <a:gd name="T61" fmla="*/ 23 h 36"/>
                <a:gd name="T62" fmla="*/ 0 w 44"/>
                <a:gd name="T63" fmla="*/ 23 h 36"/>
                <a:gd name="T64" fmla="*/ 0 w 44"/>
                <a:gd name="T65" fmla="*/ 23 h 36"/>
                <a:gd name="T66" fmla="*/ 0 w 44"/>
                <a:gd name="T67" fmla="*/ 2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" h="36">
                  <a:moveTo>
                    <a:pt x="0" y="23"/>
                  </a:moveTo>
                  <a:lnTo>
                    <a:pt x="0" y="23"/>
                  </a:lnTo>
                  <a:lnTo>
                    <a:pt x="4" y="27"/>
                  </a:lnTo>
                  <a:lnTo>
                    <a:pt x="9" y="32"/>
                  </a:lnTo>
                  <a:lnTo>
                    <a:pt x="13" y="34"/>
                  </a:lnTo>
                  <a:lnTo>
                    <a:pt x="17" y="36"/>
                  </a:lnTo>
                  <a:lnTo>
                    <a:pt x="20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31" y="32"/>
                  </a:lnTo>
                  <a:lnTo>
                    <a:pt x="38" y="30"/>
                  </a:lnTo>
                  <a:lnTo>
                    <a:pt x="44" y="25"/>
                  </a:lnTo>
                  <a:lnTo>
                    <a:pt x="44" y="23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2" y="12"/>
                  </a:lnTo>
                  <a:lnTo>
                    <a:pt x="38" y="7"/>
                  </a:lnTo>
                  <a:lnTo>
                    <a:pt x="38" y="3"/>
                  </a:lnTo>
                  <a:lnTo>
                    <a:pt x="37" y="1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3" y="3"/>
                  </a:lnTo>
                  <a:lnTo>
                    <a:pt x="9" y="7"/>
                  </a:lnTo>
                  <a:lnTo>
                    <a:pt x="9" y="7"/>
                  </a:lnTo>
                  <a:lnTo>
                    <a:pt x="6" y="12"/>
                  </a:lnTo>
                  <a:lnTo>
                    <a:pt x="2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5" name="Freeform 89">
              <a:extLst>
                <a:ext uri="{FF2B5EF4-FFF2-40B4-BE49-F238E27FC236}">
                  <a16:creationId xmlns:a16="http://schemas.microsoft.com/office/drawing/2014/main" id="{A0373293-0D09-DD43-A7B5-B2B688E39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522" y="3198547"/>
              <a:ext cx="557595" cy="313301"/>
            </a:xfrm>
            <a:custGeom>
              <a:avLst/>
              <a:gdLst>
                <a:gd name="T0" fmla="*/ 49 w 385"/>
                <a:gd name="T1" fmla="*/ 219 h 219"/>
                <a:gd name="T2" fmla="*/ 41 w 385"/>
                <a:gd name="T3" fmla="*/ 210 h 219"/>
                <a:gd name="T4" fmla="*/ 16 w 385"/>
                <a:gd name="T5" fmla="*/ 190 h 219"/>
                <a:gd name="T6" fmla="*/ 7 w 385"/>
                <a:gd name="T7" fmla="*/ 174 h 219"/>
                <a:gd name="T8" fmla="*/ 5 w 385"/>
                <a:gd name="T9" fmla="*/ 170 h 219"/>
                <a:gd name="T10" fmla="*/ 3 w 385"/>
                <a:gd name="T11" fmla="*/ 161 h 219"/>
                <a:gd name="T12" fmla="*/ 7 w 385"/>
                <a:gd name="T13" fmla="*/ 158 h 219"/>
                <a:gd name="T14" fmla="*/ 10 w 385"/>
                <a:gd name="T15" fmla="*/ 152 h 219"/>
                <a:gd name="T16" fmla="*/ 16 w 385"/>
                <a:gd name="T17" fmla="*/ 143 h 219"/>
                <a:gd name="T18" fmla="*/ 16 w 385"/>
                <a:gd name="T19" fmla="*/ 134 h 219"/>
                <a:gd name="T20" fmla="*/ 14 w 385"/>
                <a:gd name="T21" fmla="*/ 130 h 219"/>
                <a:gd name="T22" fmla="*/ 7 w 385"/>
                <a:gd name="T23" fmla="*/ 123 h 219"/>
                <a:gd name="T24" fmla="*/ 0 w 385"/>
                <a:gd name="T25" fmla="*/ 118 h 219"/>
                <a:gd name="T26" fmla="*/ 0 w 385"/>
                <a:gd name="T27" fmla="*/ 109 h 219"/>
                <a:gd name="T28" fmla="*/ 3 w 385"/>
                <a:gd name="T29" fmla="*/ 103 h 219"/>
                <a:gd name="T30" fmla="*/ 14 w 385"/>
                <a:gd name="T31" fmla="*/ 96 h 219"/>
                <a:gd name="T32" fmla="*/ 27 w 385"/>
                <a:gd name="T33" fmla="*/ 92 h 219"/>
                <a:gd name="T34" fmla="*/ 43 w 385"/>
                <a:gd name="T35" fmla="*/ 89 h 219"/>
                <a:gd name="T36" fmla="*/ 49 w 385"/>
                <a:gd name="T37" fmla="*/ 85 h 219"/>
                <a:gd name="T38" fmla="*/ 74 w 385"/>
                <a:gd name="T39" fmla="*/ 70 h 219"/>
                <a:gd name="T40" fmla="*/ 99 w 385"/>
                <a:gd name="T41" fmla="*/ 56 h 219"/>
                <a:gd name="T42" fmla="*/ 107 w 385"/>
                <a:gd name="T43" fmla="*/ 54 h 219"/>
                <a:gd name="T44" fmla="*/ 119 w 385"/>
                <a:gd name="T45" fmla="*/ 47 h 219"/>
                <a:gd name="T46" fmla="*/ 136 w 385"/>
                <a:gd name="T47" fmla="*/ 41 h 219"/>
                <a:gd name="T48" fmla="*/ 141 w 385"/>
                <a:gd name="T49" fmla="*/ 38 h 219"/>
                <a:gd name="T50" fmla="*/ 188 w 385"/>
                <a:gd name="T51" fmla="*/ 12 h 219"/>
                <a:gd name="T52" fmla="*/ 203 w 385"/>
                <a:gd name="T53" fmla="*/ 7 h 219"/>
                <a:gd name="T54" fmla="*/ 236 w 385"/>
                <a:gd name="T55" fmla="*/ 0 h 219"/>
                <a:gd name="T56" fmla="*/ 254 w 385"/>
                <a:gd name="T57" fmla="*/ 0 h 219"/>
                <a:gd name="T58" fmla="*/ 261 w 385"/>
                <a:gd name="T59" fmla="*/ 1 h 219"/>
                <a:gd name="T60" fmla="*/ 281 w 385"/>
                <a:gd name="T61" fmla="*/ 9 h 219"/>
                <a:gd name="T62" fmla="*/ 301 w 385"/>
                <a:gd name="T63" fmla="*/ 16 h 219"/>
                <a:gd name="T64" fmla="*/ 305 w 385"/>
                <a:gd name="T65" fmla="*/ 16 h 219"/>
                <a:gd name="T66" fmla="*/ 319 w 385"/>
                <a:gd name="T67" fmla="*/ 18 h 219"/>
                <a:gd name="T68" fmla="*/ 330 w 385"/>
                <a:gd name="T69" fmla="*/ 16 h 219"/>
                <a:gd name="T70" fmla="*/ 346 w 385"/>
                <a:gd name="T71" fmla="*/ 12 h 219"/>
                <a:gd name="T72" fmla="*/ 370 w 385"/>
                <a:gd name="T73" fmla="*/ 9 h 219"/>
                <a:gd name="T74" fmla="*/ 381 w 385"/>
                <a:gd name="T75" fmla="*/ 14 h 219"/>
                <a:gd name="T76" fmla="*/ 383 w 385"/>
                <a:gd name="T77" fmla="*/ 18 h 219"/>
                <a:gd name="T78" fmla="*/ 385 w 385"/>
                <a:gd name="T79" fmla="*/ 23 h 219"/>
                <a:gd name="T80" fmla="*/ 383 w 385"/>
                <a:gd name="T81" fmla="*/ 34 h 219"/>
                <a:gd name="T82" fmla="*/ 375 w 385"/>
                <a:gd name="T83" fmla="*/ 43 h 219"/>
                <a:gd name="T84" fmla="*/ 359 w 385"/>
                <a:gd name="T85" fmla="*/ 49 h 219"/>
                <a:gd name="T86" fmla="*/ 346 w 385"/>
                <a:gd name="T87" fmla="*/ 49 h 219"/>
                <a:gd name="T88" fmla="*/ 288 w 385"/>
                <a:gd name="T89" fmla="*/ 49 h 219"/>
                <a:gd name="T90" fmla="*/ 250 w 385"/>
                <a:gd name="T91" fmla="*/ 49 h 219"/>
                <a:gd name="T92" fmla="*/ 241 w 385"/>
                <a:gd name="T93" fmla="*/ 50 h 219"/>
                <a:gd name="T94" fmla="*/ 167 w 385"/>
                <a:gd name="T95" fmla="*/ 78 h 219"/>
                <a:gd name="T96" fmla="*/ 143 w 385"/>
                <a:gd name="T97" fmla="*/ 85 h 219"/>
                <a:gd name="T98" fmla="*/ 107 w 385"/>
                <a:gd name="T99" fmla="*/ 103 h 219"/>
                <a:gd name="T100" fmla="*/ 89 w 385"/>
                <a:gd name="T101" fmla="*/ 116 h 219"/>
                <a:gd name="T102" fmla="*/ 76 w 385"/>
                <a:gd name="T103" fmla="*/ 127 h 219"/>
                <a:gd name="T104" fmla="*/ 69 w 385"/>
                <a:gd name="T105" fmla="*/ 138 h 219"/>
                <a:gd name="T106" fmla="*/ 59 w 385"/>
                <a:gd name="T107" fmla="*/ 154 h 219"/>
                <a:gd name="T108" fmla="*/ 56 w 385"/>
                <a:gd name="T109" fmla="*/ 165 h 219"/>
                <a:gd name="T110" fmla="*/ 54 w 385"/>
                <a:gd name="T111" fmla="*/ 178 h 219"/>
                <a:gd name="T112" fmla="*/ 56 w 385"/>
                <a:gd name="T113" fmla="*/ 203 h 219"/>
                <a:gd name="T114" fmla="*/ 56 w 385"/>
                <a:gd name="T115" fmla="*/ 209 h 219"/>
                <a:gd name="T116" fmla="*/ 52 w 385"/>
                <a:gd name="T117" fmla="*/ 214 h 219"/>
                <a:gd name="T118" fmla="*/ 49 w 385"/>
                <a:gd name="T119" fmla="*/ 219 h 219"/>
                <a:gd name="T120" fmla="*/ 49 w 385"/>
                <a:gd name="T121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5" h="219">
                  <a:moveTo>
                    <a:pt x="49" y="219"/>
                  </a:moveTo>
                  <a:lnTo>
                    <a:pt x="49" y="219"/>
                  </a:lnTo>
                  <a:lnTo>
                    <a:pt x="47" y="216"/>
                  </a:lnTo>
                  <a:lnTo>
                    <a:pt x="41" y="210"/>
                  </a:lnTo>
                  <a:lnTo>
                    <a:pt x="25" y="196"/>
                  </a:lnTo>
                  <a:lnTo>
                    <a:pt x="16" y="190"/>
                  </a:lnTo>
                  <a:lnTo>
                    <a:pt x="10" y="181"/>
                  </a:lnTo>
                  <a:lnTo>
                    <a:pt x="7" y="174"/>
                  </a:lnTo>
                  <a:lnTo>
                    <a:pt x="5" y="170"/>
                  </a:lnTo>
                  <a:lnTo>
                    <a:pt x="5" y="170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3" y="160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10" y="152"/>
                  </a:lnTo>
                  <a:lnTo>
                    <a:pt x="14" y="147"/>
                  </a:lnTo>
                  <a:lnTo>
                    <a:pt x="16" y="143"/>
                  </a:lnTo>
                  <a:lnTo>
                    <a:pt x="16" y="140"/>
                  </a:lnTo>
                  <a:lnTo>
                    <a:pt x="16" y="134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0" y="127"/>
                  </a:lnTo>
                  <a:lnTo>
                    <a:pt x="7" y="123"/>
                  </a:lnTo>
                  <a:lnTo>
                    <a:pt x="1" y="120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10" y="100"/>
                  </a:lnTo>
                  <a:lnTo>
                    <a:pt x="14" y="96"/>
                  </a:lnTo>
                  <a:lnTo>
                    <a:pt x="21" y="92"/>
                  </a:lnTo>
                  <a:lnTo>
                    <a:pt x="27" y="92"/>
                  </a:lnTo>
                  <a:lnTo>
                    <a:pt x="38" y="89"/>
                  </a:lnTo>
                  <a:lnTo>
                    <a:pt x="43" y="89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59" y="78"/>
                  </a:lnTo>
                  <a:lnTo>
                    <a:pt x="74" y="70"/>
                  </a:lnTo>
                  <a:lnTo>
                    <a:pt x="89" y="63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107" y="54"/>
                  </a:lnTo>
                  <a:lnTo>
                    <a:pt x="110" y="49"/>
                  </a:lnTo>
                  <a:lnTo>
                    <a:pt x="119" y="47"/>
                  </a:lnTo>
                  <a:lnTo>
                    <a:pt x="130" y="43"/>
                  </a:lnTo>
                  <a:lnTo>
                    <a:pt x="136" y="41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67" y="23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203" y="7"/>
                  </a:lnTo>
                  <a:lnTo>
                    <a:pt x="219" y="3"/>
                  </a:lnTo>
                  <a:lnTo>
                    <a:pt x="236" y="0"/>
                  </a:lnTo>
                  <a:lnTo>
                    <a:pt x="245" y="0"/>
                  </a:lnTo>
                  <a:lnTo>
                    <a:pt x="254" y="0"/>
                  </a:lnTo>
                  <a:lnTo>
                    <a:pt x="254" y="0"/>
                  </a:lnTo>
                  <a:lnTo>
                    <a:pt x="261" y="1"/>
                  </a:lnTo>
                  <a:lnTo>
                    <a:pt x="266" y="3"/>
                  </a:lnTo>
                  <a:lnTo>
                    <a:pt x="281" y="9"/>
                  </a:lnTo>
                  <a:lnTo>
                    <a:pt x="294" y="12"/>
                  </a:lnTo>
                  <a:lnTo>
                    <a:pt x="301" y="16"/>
                  </a:lnTo>
                  <a:lnTo>
                    <a:pt x="305" y="16"/>
                  </a:lnTo>
                  <a:lnTo>
                    <a:pt x="305" y="16"/>
                  </a:lnTo>
                  <a:lnTo>
                    <a:pt x="316" y="16"/>
                  </a:lnTo>
                  <a:lnTo>
                    <a:pt x="319" y="18"/>
                  </a:lnTo>
                  <a:lnTo>
                    <a:pt x="323" y="18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46" y="12"/>
                  </a:lnTo>
                  <a:lnTo>
                    <a:pt x="361" y="9"/>
                  </a:lnTo>
                  <a:lnTo>
                    <a:pt x="370" y="9"/>
                  </a:lnTo>
                  <a:lnTo>
                    <a:pt x="375" y="12"/>
                  </a:lnTo>
                  <a:lnTo>
                    <a:pt x="381" y="14"/>
                  </a:lnTo>
                  <a:lnTo>
                    <a:pt x="381" y="16"/>
                  </a:lnTo>
                  <a:lnTo>
                    <a:pt x="383" y="18"/>
                  </a:lnTo>
                  <a:lnTo>
                    <a:pt x="383" y="18"/>
                  </a:lnTo>
                  <a:lnTo>
                    <a:pt x="385" y="23"/>
                  </a:lnTo>
                  <a:lnTo>
                    <a:pt x="385" y="29"/>
                  </a:lnTo>
                  <a:lnTo>
                    <a:pt x="383" y="34"/>
                  </a:lnTo>
                  <a:lnTo>
                    <a:pt x="379" y="40"/>
                  </a:lnTo>
                  <a:lnTo>
                    <a:pt x="375" y="43"/>
                  </a:lnTo>
                  <a:lnTo>
                    <a:pt x="368" y="47"/>
                  </a:lnTo>
                  <a:lnTo>
                    <a:pt x="359" y="49"/>
                  </a:lnTo>
                  <a:lnTo>
                    <a:pt x="346" y="49"/>
                  </a:lnTo>
                  <a:lnTo>
                    <a:pt x="346" y="49"/>
                  </a:lnTo>
                  <a:lnTo>
                    <a:pt x="319" y="49"/>
                  </a:lnTo>
                  <a:lnTo>
                    <a:pt x="288" y="49"/>
                  </a:lnTo>
                  <a:lnTo>
                    <a:pt x="261" y="47"/>
                  </a:lnTo>
                  <a:lnTo>
                    <a:pt x="250" y="49"/>
                  </a:lnTo>
                  <a:lnTo>
                    <a:pt x="241" y="50"/>
                  </a:lnTo>
                  <a:lnTo>
                    <a:pt x="241" y="50"/>
                  </a:lnTo>
                  <a:lnTo>
                    <a:pt x="194" y="67"/>
                  </a:lnTo>
                  <a:lnTo>
                    <a:pt x="167" y="78"/>
                  </a:lnTo>
                  <a:lnTo>
                    <a:pt x="143" y="85"/>
                  </a:lnTo>
                  <a:lnTo>
                    <a:pt x="143" y="85"/>
                  </a:lnTo>
                  <a:lnTo>
                    <a:pt x="127" y="96"/>
                  </a:lnTo>
                  <a:lnTo>
                    <a:pt x="107" y="103"/>
                  </a:lnTo>
                  <a:lnTo>
                    <a:pt x="98" y="109"/>
                  </a:lnTo>
                  <a:lnTo>
                    <a:pt x="89" y="116"/>
                  </a:lnTo>
                  <a:lnTo>
                    <a:pt x="85" y="121"/>
                  </a:lnTo>
                  <a:lnTo>
                    <a:pt x="76" y="127"/>
                  </a:lnTo>
                  <a:lnTo>
                    <a:pt x="76" y="127"/>
                  </a:lnTo>
                  <a:lnTo>
                    <a:pt x="69" y="138"/>
                  </a:lnTo>
                  <a:lnTo>
                    <a:pt x="65" y="147"/>
                  </a:lnTo>
                  <a:lnTo>
                    <a:pt x="59" y="154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90"/>
                  </a:lnTo>
                  <a:lnTo>
                    <a:pt x="56" y="203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4" y="210"/>
                  </a:lnTo>
                  <a:lnTo>
                    <a:pt x="52" y="214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lnTo>
                    <a:pt x="49" y="21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6" name="Freeform 90">
              <a:extLst>
                <a:ext uri="{FF2B5EF4-FFF2-40B4-BE49-F238E27FC236}">
                  <a16:creationId xmlns:a16="http://schemas.microsoft.com/office/drawing/2014/main" id="{E3E69C93-9687-E74A-BF78-0818340AD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4092" y="3171365"/>
              <a:ext cx="105726" cy="113017"/>
            </a:xfrm>
            <a:custGeom>
              <a:avLst/>
              <a:gdLst>
                <a:gd name="T0" fmla="*/ 2 w 73"/>
                <a:gd name="T1" fmla="*/ 79 h 79"/>
                <a:gd name="T2" fmla="*/ 2 w 73"/>
                <a:gd name="T3" fmla="*/ 79 h 79"/>
                <a:gd name="T4" fmla="*/ 0 w 73"/>
                <a:gd name="T5" fmla="*/ 77 h 79"/>
                <a:gd name="T6" fmla="*/ 0 w 73"/>
                <a:gd name="T7" fmla="*/ 77 h 79"/>
                <a:gd name="T8" fmla="*/ 2 w 73"/>
                <a:gd name="T9" fmla="*/ 69 h 79"/>
                <a:gd name="T10" fmla="*/ 2 w 73"/>
                <a:gd name="T11" fmla="*/ 64 h 79"/>
                <a:gd name="T12" fmla="*/ 6 w 73"/>
                <a:gd name="T13" fmla="*/ 57 h 79"/>
                <a:gd name="T14" fmla="*/ 6 w 73"/>
                <a:gd name="T15" fmla="*/ 57 h 79"/>
                <a:gd name="T16" fmla="*/ 9 w 73"/>
                <a:gd name="T17" fmla="*/ 46 h 79"/>
                <a:gd name="T18" fmla="*/ 15 w 73"/>
                <a:gd name="T19" fmla="*/ 31 h 79"/>
                <a:gd name="T20" fmla="*/ 20 w 73"/>
                <a:gd name="T21" fmla="*/ 15 h 79"/>
                <a:gd name="T22" fmla="*/ 24 w 73"/>
                <a:gd name="T23" fmla="*/ 11 h 79"/>
                <a:gd name="T24" fmla="*/ 26 w 73"/>
                <a:gd name="T25" fmla="*/ 6 h 79"/>
                <a:gd name="T26" fmla="*/ 26 w 73"/>
                <a:gd name="T27" fmla="*/ 6 h 79"/>
                <a:gd name="T28" fmla="*/ 35 w 73"/>
                <a:gd name="T29" fmla="*/ 0 h 79"/>
                <a:gd name="T30" fmla="*/ 37 w 73"/>
                <a:gd name="T31" fmla="*/ 0 h 79"/>
                <a:gd name="T32" fmla="*/ 40 w 73"/>
                <a:gd name="T33" fmla="*/ 2 h 79"/>
                <a:gd name="T34" fmla="*/ 40 w 73"/>
                <a:gd name="T35" fmla="*/ 2 h 79"/>
                <a:gd name="T36" fmla="*/ 44 w 73"/>
                <a:gd name="T37" fmla="*/ 10 h 79"/>
                <a:gd name="T38" fmla="*/ 51 w 73"/>
                <a:gd name="T39" fmla="*/ 15 h 79"/>
                <a:gd name="T40" fmla="*/ 64 w 73"/>
                <a:gd name="T41" fmla="*/ 26 h 79"/>
                <a:gd name="T42" fmla="*/ 64 w 73"/>
                <a:gd name="T43" fmla="*/ 26 h 79"/>
                <a:gd name="T44" fmla="*/ 67 w 73"/>
                <a:gd name="T45" fmla="*/ 28 h 79"/>
                <a:gd name="T46" fmla="*/ 71 w 73"/>
                <a:gd name="T47" fmla="*/ 35 h 79"/>
                <a:gd name="T48" fmla="*/ 73 w 73"/>
                <a:gd name="T49" fmla="*/ 39 h 79"/>
                <a:gd name="T50" fmla="*/ 73 w 73"/>
                <a:gd name="T51" fmla="*/ 42 h 79"/>
                <a:gd name="T52" fmla="*/ 73 w 73"/>
                <a:gd name="T53" fmla="*/ 46 h 79"/>
                <a:gd name="T54" fmla="*/ 67 w 73"/>
                <a:gd name="T55" fmla="*/ 48 h 79"/>
                <a:gd name="T56" fmla="*/ 67 w 73"/>
                <a:gd name="T57" fmla="*/ 48 h 79"/>
                <a:gd name="T58" fmla="*/ 64 w 73"/>
                <a:gd name="T59" fmla="*/ 55 h 79"/>
                <a:gd name="T60" fmla="*/ 60 w 73"/>
                <a:gd name="T61" fmla="*/ 59 h 79"/>
                <a:gd name="T62" fmla="*/ 55 w 73"/>
                <a:gd name="T63" fmla="*/ 62 h 79"/>
                <a:gd name="T64" fmla="*/ 47 w 73"/>
                <a:gd name="T65" fmla="*/ 64 h 79"/>
                <a:gd name="T66" fmla="*/ 47 w 73"/>
                <a:gd name="T67" fmla="*/ 64 h 79"/>
                <a:gd name="T68" fmla="*/ 40 w 73"/>
                <a:gd name="T69" fmla="*/ 66 h 79"/>
                <a:gd name="T70" fmla="*/ 35 w 73"/>
                <a:gd name="T71" fmla="*/ 66 h 79"/>
                <a:gd name="T72" fmla="*/ 29 w 73"/>
                <a:gd name="T73" fmla="*/ 66 h 79"/>
                <a:gd name="T74" fmla="*/ 24 w 73"/>
                <a:gd name="T75" fmla="*/ 66 h 79"/>
                <a:gd name="T76" fmla="*/ 24 w 73"/>
                <a:gd name="T77" fmla="*/ 66 h 79"/>
                <a:gd name="T78" fmla="*/ 15 w 73"/>
                <a:gd name="T79" fmla="*/ 73 h 79"/>
                <a:gd name="T80" fmla="*/ 9 w 73"/>
                <a:gd name="T81" fmla="*/ 77 h 79"/>
                <a:gd name="T82" fmla="*/ 9 w 73"/>
                <a:gd name="T83" fmla="*/ 77 h 79"/>
                <a:gd name="T84" fmla="*/ 6 w 73"/>
                <a:gd name="T85" fmla="*/ 79 h 79"/>
                <a:gd name="T86" fmla="*/ 2 w 73"/>
                <a:gd name="T87" fmla="*/ 79 h 79"/>
                <a:gd name="T88" fmla="*/ 2 w 73"/>
                <a:gd name="T89" fmla="*/ 79 h 79"/>
                <a:gd name="T90" fmla="*/ 2 w 73"/>
                <a:gd name="T91" fmla="*/ 79 h 79"/>
                <a:gd name="T92" fmla="*/ 2 w 73"/>
                <a:gd name="T93" fmla="*/ 79 h 79"/>
                <a:gd name="T94" fmla="*/ 2 w 73"/>
                <a:gd name="T95" fmla="*/ 79 h 79"/>
                <a:gd name="T96" fmla="*/ 2 w 73"/>
                <a:gd name="T9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" h="79">
                  <a:moveTo>
                    <a:pt x="2" y="79"/>
                  </a:moveTo>
                  <a:lnTo>
                    <a:pt x="2" y="79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69"/>
                  </a:lnTo>
                  <a:lnTo>
                    <a:pt x="2" y="64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9" y="46"/>
                  </a:lnTo>
                  <a:lnTo>
                    <a:pt x="15" y="31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4" y="10"/>
                  </a:lnTo>
                  <a:lnTo>
                    <a:pt x="51" y="1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7" y="28"/>
                  </a:lnTo>
                  <a:lnTo>
                    <a:pt x="71" y="35"/>
                  </a:lnTo>
                  <a:lnTo>
                    <a:pt x="73" y="39"/>
                  </a:lnTo>
                  <a:lnTo>
                    <a:pt x="73" y="42"/>
                  </a:lnTo>
                  <a:lnTo>
                    <a:pt x="73" y="46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4" y="55"/>
                  </a:lnTo>
                  <a:lnTo>
                    <a:pt x="60" y="59"/>
                  </a:lnTo>
                  <a:lnTo>
                    <a:pt x="55" y="62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0" y="66"/>
                  </a:lnTo>
                  <a:lnTo>
                    <a:pt x="35" y="66"/>
                  </a:lnTo>
                  <a:lnTo>
                    <a:pt x="29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15" y="73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6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7" name="Freeform 91">
              <a:extLst>
                <a:ext uri="{FF2B5EF4-FFF2-40B4-BE49-F238E27FC236}">
                  <a16:creationId xmlns:a16="http://schemas.microsoft.com/office/drawing/2014/main" id="{6617DA36-C5C6-564C-B872-E06F034CE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2849" y="3109849"/>
              <a:ext cx="99932" cy="108725"/>
            </a:xfrm>
            <a:custGeom>
              <a:avLst/>
              <a:gdLst>
                <a:gd name="T0" fmla="*/ 61 w 69"/>
                <a:gd name="T1" fmla="*/ 74 h 76"/>
                <a:gd name="T2" fmla="*/ 61 w 69"/>
                <a:gd name="T3" fmla="*/ 74 h 76"/>
                <a:gd name="T4" fmla="*/ 63 w 69"/>
                <a:gd name="T5" fmla="*/ 74 h 76"/>
                <a:gd name="T6" fmla="*/ 63 w 69"/>
                <a:gd name="T7" fmla="*/ 74 h 76"/>
                <a:gd name="T8" fmla="*/ 67 w 69"/>
                <a:gd name="T9" fmla="*/ 71 h 76"/>
                <a:gd name="T10" fmla="*/ 69 w 69"/>
                <a:gd name="T11" fmla="*/ 69 h 76"/>
                <a:gd name="T12" fmla="*/ 69 w 69"/>
                <a:gd name="T13" fmla="*/ 65 h 76"/>
                <a:gd name="T14" fmla="*/ 69 w 69"/>
                <a:gd name="T15" fmla="*/ 60 h 76"/>
                <a:gd name="T16" fmla="*/ 69 w 69"/>
                <a:gd name="T17" fmla="*/ 60 h 76"/>
                <a:gd name="T18" fmla="*/ 65 w 69"/>
                <a:gd name="T19" fmla="*/ 47 h 76"/>
                <a:gd name="T20" fmla="*/ 65 w 69"/>
                <a:gd name="T21" fmla="*/ 42 h 76"/>
                <a:gd name="T22" fmla="*/ 69 w 69"/>
                <a:gd name="T23" fmla="*/ 34 h 76"/>
                <a:gd name="T24" fmla="*/ 69 w 69"/>
                <a:gd name="T25" fmla="*/ 34 h 76"/>
                <a:gd name="T26" fmla="*/ 69 w 69"/>
                <a:gd name="T27" fmla="*/ 25 h 76"/>
                <a:gd name="T28" fmla="*/ 69 w 69"/>
                <a:gd name="T29" fmla="*/ 20 h 76"/>
                <a:gd name="T30" fmla="*/ 67 w 69"/>
                <a:gd name="T31" fmla="*/ 16 h 76"/>
                <a:gd name="T32" fmla="*/ 61 w 69"/>
                <a:gd name="T33" fmla="*/ 13 h 76"/>
                <a:gd name="T34" fmla="*/ 61 w 69"/>
                <a:gd name="T35" fmla="*/ 13 h 76"/>
                <a:gd name="T36" fmla="*/ 54 w 69"/>
                <a:gd name="T37" fmla="*/ 3 h 76"/>
                <a:gd name="T38" fmla="*/ 49 w 69"/>
                <a:gd name="T39" fmla="*/ 0 h 76"/>
                <a:gd name="T40" fmla="*/ 45 w 69"/>
                <a:gd name="T41" fmla="*/ 0 h 76"/>
                <a:gd name="T42" fmla="*/ 41 w 69"/>
                <a:gd name="T43" fmla="*/ 0 h 76"/>
                <a:gd name="T44" fmla="*/ 41 w 69"/>
                <a:gd name="T45" fmla="*/ 0 h 76"/>
                <a:gd name="T46" fmla="*/ 27 w 69"/>
                <a:gd name="T47" fmla="*/ 2 h 76"/>
                <a:gd name="T48" fmla="*/ 22 w 69"/>
                <a:gd name="T49" fmla="*/ 3 h 76"/>
                <a:gd name="T50" fmla="*/ 16 w 69"/>
                <a:gd name="T51" fmla="*/ 3 h 76"/>
                <a:gd name="T52" fmla="*/ 16 w 69"/>
                <a:gd name="T53" fmla="*/ 3 h 76"/>
                <a:gd name="T54" fmla="*/ 12 w 69"/>
                <a:gd name="T55" fmla="*/ 7 h 76"/>
                <a:gd name="T56" fmla="*/ 11 w 69"/>
                <a:gd name="T57" fmla="*/ 13 h 76"/>
                <a:gd name="T58" fmla="*/ 2 w 69"/>
                <a:gd name="T59" fmla="*/ 23 h 76"/>
                <a:gd name="T60" fmla="*/ 2 w 69"/>
                <a:gd name="T61" fmla="*/ 23 h 76"/>
                <a:gd name="T62" fmla="*/ 0 w 69"/>
                <a:gd name="T63" fmla="*/ 27 h 76"/>
                <a:gd name="T64" fmla="*/ 0 w 69"/>
                <a:gd name="T65" fmla="*/ 34 h 76"/>
                <a:gd name="T66" fmla="*/ 2 w 69"/>
                <a:gd name="T67" fmla="*/ 42 h 76"/>
                <a:gd name="T68" fmla="*/ 2 w 69"/>
                <a:gd name="T69" fmla="*/ 45 h 76"/>
                <a:gd name="T70" fmla="*/ 5 w 69"/>
                <a:gd name="T71" fmla="*/ 47 h 76"/>
                <a:gd name="T72" fmla="*/ 5 w 69"/>
                <a:gd name="T73" fmla="*/ 47 h 76"/>
                <a:gd name="T74" fmla="*/ 16 w 69"/>
                <a:gd name="T75" fmla="*/ 56 h 76"/>
                <a:gd name="T76" fmla="*/ 27 w 69"/>
                <a:gd name="T77" fmla="*/ 65 h 76"/>
                <a:gd name="T78" fmla="*/ 27 w 69"/>
                <a:gd name="T79" fmla="*/ 65 h 76"/>
                <a:gd name="T80" fmla="*/ 38 w 69"/>
                <a:gd name="T81" fmla="*/ 71 h 76"/>
                <a:gd name="T82" fmla="*/ 41 w 69"/>
                <a:gd name="T83" fmla="*/ 74 h 76"/>
                <a:gd name="T84" fmla="*/ 45 w 69"/>
                <a:gd name="T85" fmla="*/ 76 h 76"/>
                <a:gd name="T86" fmla="*/ 45 w 69"/>
                <a:gd name="T87" fmla="*/ 76 h 76"/>
                <a:gd name="T88" fmla="*/ 58 w 69"/>
                <a:gd name="T89" fmla="*/ 74 h 76"/>
                <a:gd name="T90" fmla="*/ 61 w 69"/>
                <a:gd name="T91" fmla="*/ 74 h 76"/>
                <a:gd name="T92" fmla="*/ 61 w 69"/>
                <a:gd name="T93" fmla="*/ 74 h 76"/>
                <a:gd name="T94" fmla="*/ 61 w 69"/>
                <a:gd name="T95" fmla="*/ 74 h 76"/>
                <a:gd name="T96" fmla="*/ 61 w 69"/>
                <a:gd name="T97" fmla="*/ 74 h 76"/>
                <a:gd name="T98" fmla="*/ 61 w 69"/>
                <a:gd name="T99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9" h="76">
                  <a:moveTo>
                    <a:pt x="61" y="74"/>
                  </a:moveTo>
                  <a:lnTo>
                    <a:pt x="61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7" y="71"/>
                  </a:lnTo>
                  <a:lnTo>
                    <a:pt x="69" y="69"/>
                  </a:lnTo>
                  <a:lnTo>
                    <a:pt x="69" y="65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5" y="47"/>
                  </a:lnTo>
                  <a:lnTo>
                    <a:pt x="65" y="42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25"/>
                  </a:lnTo>
                  <a:lnTo>
                    <a:pt x="69" y="20"/>
                  </a:lnTo>
                  <a:lnTo>
                    <a:pt x="67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54" y="3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27" y="2"/>
                  </a:lnTo>
                  <a:lnTo>
                    <a:pt x="22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2" y="7"/>
                  </a:lnTo>
                  <a:lnTo>
                    <a:pt x="11" y="1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7"/>
                  </a:lnTo>
                  <a:lnTo>
                    <a:pt x="0" y="34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16" y="56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38" y="71"/>
                  </a:lnTo>
                  <a:lnTo>
                    <a:pt x="41" y="74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58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8" name="Freeform 92">
              <a:extLst>
                <a:ext uri="{FF2B5EF4-FFF2-40B4-BE49-F238E27FC236}">
                  <a16:creationId xmlns:a16="http://schemas.microsoft.com/office/drawing/2014/main" id="{73FBABAF-D588-1345-9A93-FEB0E41D21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83" y="3029736"/>
              <a:ext cx="99932" cy="87266"/>
            </a:xfrm>
            <a:custGeom>
              <a:avLst/>
              <a:gdLst>
                <a:gd name="T0" fmla="*/ 31 w 69"/>
                <a:gd name="T1" fmla="*/ 58 h 61"/>
                <a:gd name="T2" fmla="*/ 31 w 69"/>
                <a:gd name="T3" fmla="*/ 58 h 61"/>
                <a:gd name="T4" fmla="*/ 40 w 69"/>
                <a:gd name="T5" fmla="*/ 56 h 61"/>
                <a:gd name="T6" fmla="*/ 51 w 69"/>
                <a:gd name="T7" fmla="*/ 54 h 61"/>
                <a:gd name="T8" fmla="*/ 51 w 69"/>
                <a:gd name="T9" fmla="*/ 54 h 61"/>
                <a:gd name="T10" fmla="*/ 58 w 69"/>
                <a:gd name="T11" fmla="*/ 54 h 61"/>
                <a:gd name="T12" fmla="*/ 60 w 69"/>
                <a:gd name="T13" fmla="*/ 52 h 61"/>
                <a:gd name="T14" fmla="*/ 61 w 69"/>
                <a:gd name="T15" fmla="*/ 50 h 61"/>
                <a:gd name="T16" fmla="*/ 61 w 69"/>
                <a:gd name="T17" fmla="*/ 50 h 61"/>
                <a:gd name="T18" fmla="*/ 60 w 69"/>
                <a:gd name="T19" fmla="*/ 39 h 61"/>
                <a:gd name="T20" fmla="*/ 60 w 69"/>
                <a:gd name="T21" fmla="*/ 34 h 61"/>
                <a:gd name="T22" fmla="*/ 61 w 69"/>
                <a:gd name="T23" fmla="*/ 32 h 61"/>
                <a:gd name="T24" fmla="*/ 61 w 69"/>
                <a:gd name="T25" fmla="*/ 32 h 61"/>
                <a:gd name="T26" fmla="*/ 61 w 69"/>
                <a:gd name="T27" fmla="*/ 32 h 61"/>
                <a:gd name="T28" fmla="*/ 65 w 69"/>
                <a:gd name="T29" fmla="*/ 32 h 61"/>
                <a:gd name="T30" fmla="*/ 69 w 69"/>
                <a:gd name="T31" fmla="*/ 30 h 61"/>
                <a:gd name="T32" fmla="*/ 69 w 69"/>
                <a:gd name="T33" fmla="*/ 29 h 61"/>
                <a:gd name="T34" fmla="*/ 67 w 69"/>
                <a:gd name="T35" fmla="*/ 25 h 61"/>
                <a:gd name="T36" fmla="*/ 67 w 69"/>
                <a:gd name="T37" fmla="*/ 25 h 61"/>
                <a:gd name="T38" fmla="*/ 61 w 69"/>
                <a:gd name="T39" fmla="*/ 14 h 61"/>
                <a:gd name="T40" fmla="*/ 56 w 69"/>
                <a:gd name="T41" fmla="*/ 7 h 61"/>
                <a:gd name="T42" fmla="*/ 52 w 69"/>
                <a:gd name="T43" fmla="*/ 0 h 61"/>
                <a:gd name="T44" fmla="*/ 52 w 69"/>
                <a:gd name="T45" fmla="*/ 0 h 61"/>
                <a:gd name="T46" fmla="*/ 51 w 69"/>
                <a:gd name="T47" fmla="*/ 0 h 61"/>
                <a:gd name="T48" fmla="*/ 47 w 69"/>
                <a:gd name="T49" fmla="*/ 0 h 61"/>
                <a:gd name="T50" fmla="*/ 45 w 69"/>
                <a:gd name="T51" fmla="*/ 1 h 61"/>
                <a:gd name="T52" fmla="*/ 42 w 69"/>
                <a:gd name="T53" fmla="*/ 9 h 61"/>
                <a:gd name="T54" fmla="*/ 40 w 69"/>
                <a:gd name="T55" fmla="*/ 9 h 61"/>
                <a:gd name="T56" fmla="*/ 38 w 69"/>
                <a:gd name="T57" fmla="*/ 9 h 61"/>
                <a:gd name="T58" fmla="*/ 38 w 69"/>
                <a:gd name="T59" fmla="*/ 9 h 61"/>
                <a:gd name="T60" fmla="*/ 27 w 69"/>
                <a:gd name="T61" fmla="*/ 10 h 61"/>
                <a:gd name="T62" fmla="*/ 23 w 69"/>
                <a:gd name="T63" fmla="*/ 10 h 61"/>
                <a:gd name="T64" fmla="*/ 22 w 69"/>
                <a:gd name="T65" fmla="*/ 14 h 61"/>
                <a:gd name="T66" fmla="*/ 22 w 69"/>
                <a:gd name="T67" fmla="*/ 14 h 61"/>
                <a:gd name="T68" fmla="*/ 18 w 69"/>
                <a:gd name="T69" fmla="*/ 16 h 61"/>
                <a:gd name="T70" fmla="*/ 18 w 69"/>
                <a:gd name="T71" fmla="*/ 18 h 61"/>
                <a:gd name="T72" fmla="*/ 18 w 69"/>
                <a:gd name="T73" fmla="*/ 25 h 61"/>
                <a:gd name="T74" fmla="*/ 16 w 69"/>
                <a:gd name="T75" fmla="*/ 30 h 61"/>
                <a:gd name="T76" fmla="*/ 16 w 69"/>
                <a:gd name="T77" fmla="*/ 32 h 61"/>
                <a:gd name="T78" fmla="*/ 16 w 69"/>
                <a:gd name="T79" fmla="*/ 34 h 61"/>
                <a:gd name="T80" fmla="*/ 16 w 69"/>
                <a:gd name="T81" fmla="*/ 34 h 61"/>
                <a:gd name="T82" fmla="*/ 11 w 69"/>
                <a:gd name="T83" fmla="*/ 36 h 61"/>
                <a:gd name="T84" fmla="*/ 3 w 69"/>
                <a:gd name="T85" fmla="*/ 41 h 61"/>
                <a:gd name="T86" fmla="*/ 3 w 69"/>
                <a:gd name="T87" fmla="*/ 41 h 61"/>
                <a:gd name="T88" fmla="*/ 0 w 69"/>
                <a:gd name="T89" fmla="*/ 43 h 61"/>
                <a:gd name="T90" fmla="*/ 0 w 69"/>
                <a:gd name="T91" fmla="*/ 47 h 61"/>
                <a:gd name="T92" fmla="*/ 0 w 69"/>
                <a:gd name="T93" fmla="*/ 49 h 61"/>
                <a:gd name="T94" fmla="*/ 2 w 69"/>
                <a:gd name="T95" fmla="*/ 49 h 61"/>
                <a:gd name="T96" fmla="*/ 5 w 69"/>
                <a:gd name="T97" fmla="*/ 52 h 61"/>
                <a:gd name="T98" fmla="*/ 9 w 69"/>
                <a:gd name="T99" fmla="*/ 56 h 61"/>
                <a:gd name="T100" fmla="*/ 9 w 69"/>
                <a:gd name="T101" fmla="*/ 56 h 61"/>
                <a:gd name="T102" fmla="*/ 16 w 69"/>
                <a:gd name="T103" fmla="*/ 59 h 61"/>
                <a:gd name="T104" fmla="*/ 20 w 69"/>
                <a:gd name="T105" fmla="*/ 61 h 61"/>
                <a:gd name="T106" fmla="*/ 22 w 69"/>
                <a:gd name="T107" fmla="*/ 61 h 61"/>
                <a:gd name="T108" fmla="*/ 22 w 69"/>
                <a:gd name="T109" fmla="*/ 61 h 61"/>
                <a:gd name="T110" fmla="*/ 31 w 69"/>
                <a:gd name="T111" fmla="*/ 58 h 61"/>
                <a:gd name="T112" fmla="*/ 31 w 69"/>
                <a:gd name="T113" fmla="*/ 58 h 61"/>
                <a:gd name="T114" fmla="*/ 31 w 69"/>
                <a:gd name="T115" fmla="*/ 58 h 61"/>
                <a:gd name="T116" fmla="*/ 31 w 69"/>
                <a:gd name="T117" fmla="*/ 58 h 61"/>
                <a:gd name="T118" fmla="*/ 31 w 69"/>
                <a:gd name="T1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9" h="61">
                  <a:moveTo>
                    <a:pt x="31" y="58"/>
                  </a:moveTo>
                  <a:lnTo>
                    <a:pt x="31" y="58"/>
                  </a:lnTo>
                  <a:lnTo>
                    <a:pt x="40" y="56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8" y="54"/>
                  </a:lnTo>
                  <a:lnTo>
                    <a:pt x="60" y="52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39"/>
                  </a:lnTo>
                  <a:lnTo>
                    <a:pt x="60" y="34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5" y="32"/>
                  </a:lnTo>
                  <a:lnTo>
                    <a:pt x="69" y="30"/>
                  </a:lnTo>
                  <a:lnTo>
                    <a:pt x="69" y="29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1" y="14"/>
                  </a:lnTo>
                  <a:lnTo>
                    <a:pt x="56" y="7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5" y="1"/>
                  </a:lnTo>
                  <a:lnTo>
                    <a:pt x="42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27" y="10"/>
                  </a:lnTo>
                  <a:lnTo>
                    <a:pt x="23" y="10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25"/>
                  </a:lnTo>
                  <a:lnTo>
                    <a:pt x="16" y="30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1" y="36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0" y="47"/>
                  </a:lnTo>
                  <a:lnTo>
                    <a:pt x="0" y="49"/>
                  </a:lnTo>
                  <a:lnTo>
                    <a:pt x="2" y="49"/>
                  </a:lnTo>
                  <a:lnTo>
                    <a:pt x="5" y="52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6" y="59"/>
                  </a:lnTo>
                  <a:lnTo>
                    <a:pt x="20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9" name="Freeform 93">
              <a:extLst>
                <a:ext uri="{FF2B5EF4-FFF2-40B4-BE49-F238E27FC236}">
                  <a16:creationId xmlns:a16="http://schemas.microsoft.com/office/drawing/2014/main" id="{45E9E724-92FB-B249-8AE5-23D7822F8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848" y="3109849"/>
              <a:ext cx="42000" cy="32904"/>
            </a:xfrm>
            <a:custGeom>
              <a:avLst/>
              <a:gdLst>
                <a:gd name="T0" fmla="*/ 1 w 29"/>
                <a:gd name="T1" fmla="*/ 0 h 23"/>
                <a:gd name="T2" fmla="*/ 1 w 29"/>
                <a:gd name="T3" fmla="*/ 0 h 23"/>
                <a:gd name="T4" fmla="*/ 9 w 29"/>
                <a:gd name="T5" fmla="*/ 0 h 23"/>
                <a:gd name="T6" fmla="*/ 18 w 29"/>
                <a:gd name="T7" fmla="*/ 3 h 23"/>
                <a:gd name="T8" fmla="*/ 25 w 29"/>
                <a:gd name="T9" fmla="*/ 11 h 23"/>
                <a:gd name="T10" fmla="*/ 29 w 29"/>
                <a:gd name="T11" fmla="*/ 14 h 23"/>
                <a:gd name="T12" fmla="*/ 29 w 29"/>
                <a:gd name="T13" fmla="*/ 14 h 23"/>
                <a:gd name="T14" fmla="*/ 29 w 29"/>
                <a:gd name="T15" fmla="*/ 16 h 23"/>
                <a:gd name="T16" fmla="*/ 27 w 29"/>
                <a:gd name="T17" fmla="*/ 20 h 23"/>
                <a:gd name="T18" fmla="*/ 21 w 29"/>
                <a:gd name="T19" fmla="*/ 23 h 23"/>
                <a:gd name="T20" fmla="*/ 18 w 29"/>
                <a:gd name="T21" fmla="*/ 23 h 23"/>
                <a:gd name="T22" fmla="*/ 18 w 29"/>
                <a:gd name="T23" fmla="*/ 23 h 23"/>
                <a:gd name="T24" fmla="*/ 11 w 29"/>
                <a:gd name="T25" fmla="*/ 23 h 23"/>
                <a:gd name="T26" fmla="*/ 5 w 29"/>
                <a:gd name="T27" fmla="*/ 23 h 23"/>
                <a:gd name="T28" fmla="*/ 1 w 29"/>
                <a:gd name="T29" fmla="*/ 20 h 23"/>
                <a:gd name="T30" fmla="*/ 0 w 29"/>
                <a:gd name="T31" fmla="*/ 16 h 23"/>
                <a:gd name="T32" fmla="*/ 0 w 29"/>
                <a:gd name="T33" fmla="*/ 16 h 23"/>
                <a:gd name="T34" fmla="*/ 1 w 29"/>
                <a:gd name="T35" fmla="*/ 5 h 23"/>
                <a:gd name="T36" fmla="*/ 1 w 29"/>
                <a:gd name="T37" fmla="*/ 0 h 23"/>
                <a:gd name="T38" fmla="*/ 1 w 29"/>
                <a:gd name="T39" fmla="*/ 0 h 23"/>
                <a:gd name="T40" fmla="*/ 1 w 29"/>
                <a:gd name="T41" fmla="*/ 0 h 23"/>
                <a:gd name="T42" fmla="*/ 1 w 29"/>
                <a:gd name="T43" fmla="*/ 0 h 23"/>
                <a:gd name="T44" fmla="*/ 1 w 29"/>
                <a:gd name="T4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23">
                  <a:moveTo>
                    <a:pt x="1" y="0"/>
                  </a:moveTo>
                  <a:lnTo>
                    <a:pt x="1" y="0"/>
                  </a:lnTo>
                  <a:lnTo>
                    <a:pt x="9" y="0"/>
                  </a:lnTo>
                  <a:lnTo>
                    <a:pt x="18" y="3"/>
                  </a:lnTo>
                  <a:lnTo>
                    <a:pt x="25" y="11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6"/>
                  </a:lnTo>
                  <a:lnTo>
                    <a:pt x="27" y="20"/>
                  </a:lnTo>
                  <a:lnTo>
                    <a:pt x="21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1" y="23"/>
                  </a:lnTo>
                  <a:lnTo>
                    <a:pt x="5" y="23"/>
                  </a:lnTo>
                  <a:lnTo>
                    <a:pt x="1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5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0" name="Freeform 94">
              <a:extLst>
                <a:ext uri="{FF2B5EF4-FFF2-40B4-BE49-F238E27FC236}">
                  <a16:creationId xmlns:a16="http://schemas.microsoft.com/office/drawing/2014/main" id="{8F3887FF-EBCE-AF48-A114-A8CD75894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0104" y="3177088"/>
              <a:ext cx="154968" cy="133046"/>
            </a:xfrm>
            <a:custGeom>
              <a:avLst/>
              <a:gdLst>
                <a:gd name="T0" fmla="*/ 36 w 107"/>
                <a:gd name="T1" fmla="*/ 93 h 93"/>
                <a:gd name="T2" fmla="*/ 16 w 107"/>
                <a:gd name="T3" fmla="*/ 82 h 93"/>
                <a:gd name="T4" fmla="*/ 5 w 107"/>
                <a:gd name="T5" fmla="*/ 75 h 93"/>
                <a:gd name="T6" fmla="*/ 1 w 107"/>
                <a:gd name="T7" fmla="*/ 64 h 93"/>
                <a:gd name="T8" fmla="*/ 0 w 107"/>
                <a:gd name="T9" fmla="*/ 40 h 93"/>
                <a:gd name="T10" fmla="*/ 0 w 107"/>
                <a:gd name="T11" fmla="*/ 31 h 93"/>
                <a:gd name="T12" fmla="*/ 5 w 107"/>
                <a:gd name="T13" fmla="*/ 24 h 93"/>
                <a:gd name="T14" fmla="*/ 9 w 107"/>
                <a:gd name="T15" fmla="*/ 24 h 93"/>
                <a:gd name="T16" fmla="*/ 18 w 107"/>
                <a:gd name="T17" fmla="*/ 27 h 93"/>
                <a:gd name="T18" fmla="*/ 32 w 107"/>
                <a:gd name="T19" fmla="*/ 31 h 93"/>
                <a:gd name="T20" fmla="*/ 41 w 107"/>
                <a:gd name="T21" fmla="*/ 35 h 93"/>
                <a:gd name="T22" fmla="*/ 43 w 107"/>
                <a:gd name="T23" fmla="*/ 33 h 93"/>
                <a:gd name="T24" fmla="*/ 41 w 107"/>
                <a:gd name="T25" fmla="*/ 27 h 93"/>
                <a:gd name="T26" fmla="*/ 38 w 107"/>
                <a:gd name="T27" fmla="*/ 15 h 93"/>
                <a:gd name="T28" fmla="*/ 39 w 107"/>
                <a:gd name="T29" fmla="*/ 9 h 93"/>
                <a:gd name="T30" fmla="*/ 41 w 107"/>
                <a:gd name="T31" fmla="*/ 6 h 93"/>
                <a:gd name="T32" fmla="*/ 45 w 107"/>
                <a:gd name="T33" fmla="*/ 6 h 93"/>
                <a:gd name="T34" fmla="*/ 54 w 107"/>
                <a:gd name="T35" fmla="*/ 9 h 93"/>
                <a:gd name="T36" fmla="*/ 63 w 107"/>
                <a:gd name="T37" fmla="*/ 11 h 93"/>
                <a:gd name="T38" fmla="*/ 65 w 107"/>
                <a:gd name="T39" fmla="*/ 11 h 93"/>
                <a:gd name="T40" fmla="*/ 74 w 107"/>
                <a:gd name="T41" fmla="*/ 6 h 93"/>
                <a:gd name="T42" fmla="*/ 83 w 107"/>
                <a:gd name="T43" fmla="*/ 0 h 93"/>
                <a:gd name="T44" fmla="*/ 89 w 107"/>
                <a:gd name="T45" fmla="*/ 0 h 93"/>
                <a:gd name="T46" fmla="*/ 99 w 107"/>
                <a:gd name="T47" fmla="*/ 0 h 93"/>
                <a:gd name="T48" fmla="*/ 103 w 107"/>
                <a:gd name="T49" fmla="*/ 2 h 93"/>
                <a:gd name="T50" fmla="*/ 103 w 107"/>
                <a:gd name="T51" fmla="*/ 6 h 93"/>
                <a:gd name="T52" fmla="*/ 105 w 107"/>
                <a:gd name="T53" fmla="*/ 18 h 93"/>
                <a:gd name="T54" fmla="*/ 107 w 107"/>
                <a:gd name="T55" fmla="*/ 31 h 93"/>
                <a:gd name="T56" fmla="*/ 105 w 107"/>
                <a:gd name="T57" fmla="*/ 35 h 93"/>
                <a:gd name="T58" fmla="*/ 99 w 107"/>
                <a:gd name="T59" fmla="*/ 51 h 93"/>
                <a:gd name="T60" fmla="*/ 96 w 107"/>
                <a:gd name="T61" fmla="*/ 56 h 93"/>
                <a:gd name="T62" fmla="*/ 89 w 107"/>
                <a:gd name="T63" fmla="*/ 58 h 93"/>
                <a:gd name="T64" fmla="*/ 83 w 107"/>
                <a:gd name="T65" fmla="*/ 58 h 93"/>
                <a:gd name="T66" fmla="*/ 70 w 107"/>
                <a:gd name="T67" fmla="*/ 69 h 93"/>
                <a:gd name="T68" fmla="*/ 65 w 107"/>
                <a:gd name="T69" fmla="*/ 71 h 93"/>
                <a:gd name="T70" fmla="*/ 56 w 107"/>
                <a:gd name="T71" fmla="*/ 75 h 93"/>
                <a:gd name="T72" fmla="*/ 56 w 107"/>
                <a:gd name="T73" fmla="*/ 78 h 93"/>
                <a:gd name="T74" fmla="*/ 58 w 107"/>
                <a:gd name="T75" fmla="*/ 82 h 93"/>
                <a:gd name="T76" fmla="*/ 61 w 107"/>
                <a:gd name="T77" fmla="*/ 89 h 93"/>
                <a:gd name="T78" fmla="*/ 59 w 107"/>
                <a:gd name="T79" fmla="*/ 93 h 93"/>
                <a:gd name="T80" fmla="*/ 56 w 107"/>
                <a:gd name="T81" fmla="*/ 93 h 93"/>
                <a:gd name="T82" fmla="*/ 36 w 107"/>
                <a:gd name="T83" fmla="*/ 93 h 93"/>
                <a:gd name="T84" fmla="*/ 36 w 107"/>
                <a:gd name="T85" fmla="*/ 93 h 93"/>
                <a:gd name="T86" fmla="*/ 36 w 107"/>
                <a:gd name="T8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7" h="93">
                  <a:moveTo>
                    <a:pt x="36" y="93"/>
                  </a:moveTo>
                  <a:lnTo>
                    <a:pt x="36" y="93"/>
                  </a:lnTo>
                  <a:lnTo>
                    <a:pt x="25" y="89"/>
                  </a:lnTo>
                  <a:lnTo>
                    <a:pt x="16" y="82"/>
                  </a:lnTo>
                  <a:lnTo>
                    <a:pt x="10" y="78"/>
                  </a:lnTo>
                  <a:lnTo>
                    <a:pt x="5" y="75"/>
                  </a:lnTo>
                  <a:lnTo>
                    <a:pt x="3" y="71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0" y="40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1" y="27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9" y="24"/>
                  </a:lnTo>
                  <a:lnTo>
                    <a:pt x="12" y="24"/>
                  </a:lnTo>
                  <a:lnTo>
                    <a:pt x="18" y="27"/>
                  </a:lnTo>
                  <a:lnTo>
                    <a:pt x="25" y="29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41" y="35"/>
                  </a:lnTo>
                  <a:lnTo>
                    <a:pt x="43" y="35"/>
                  </a:lnTo>
                  <a:lnTo>
                    <a:pt x="43" y="33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39" y="22"/>
                  </a:lnTo>
                  <a:lnTo>
                    <a:pt x="38" y="15"/>
                  </a:lnTo>
                  <a:lnTo>
                    <a:pt x="38" y="11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54" y="9"/>
                  </a:lnTo>
                  <a:lnTo>
                    <a:pt x="59" y="11"/>
                  </a:lnTo>
                  <a:lnTo>
                    <a:pt x="63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72" y="7"/>
                  </a:lnTo>
                  <a:lnTo>
                    <a:pt x="74" y="6"/>
                  </a:lnTo>
                  <a:lnTo>
                    <a:pt x="78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3" y="2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5" y="11"/>
                  </a:lnTo>
                  <a:lnTo>
                    <a:pt x="105" y="18"/>
                  </a:lnTo>
                  <a:lnTo>
                    <a:pt x="107" y="27"/>
                  </a:lnTo>
                  <a:lnTo>
                    <a:pt x="107" y="31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3" y="42"/>
                  </a:lnTo>
                  <a:lnTo>
                    <a:pt x="99" y="51"/>
                  </a:lnTo>
                  <a:lnTo>
                    <a:pt x="98" y="55"/>
                  </a:lnTo>
                  <a:lnTo>
                    <a:pt x="96" y="56"/>
                  </a:lnTo>
                  <a:lnTo>
                    <a:pt x="94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9" y="6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5" y="71"/>
                  </a:lnTo>
                  <a:lnTo>
                    <a:pt x="59" y="73"/>
                  </a:lnTo>
                  <a:lnTo>
                    <a:pt x="56" y="75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8" y="82"/>
                  </a:lnTo>
                  <a:lnTo>
                    <a:pt x="59" y="85"/>
                  </a:lnTo>
                  <a:lnTo>
                    <a:pt x="61" y="89"/>
                  </a:lnTo>
                  <a:lnTo>
                    <a:pt x="59" y="91"/>
                  </a:lnTo>
                  <a:lnTo>
                    <a:pt x="59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41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1" name="Freeform 95">
              <a:extLst>
                <a:ext uri="{FF2B5EF4-FFF2-40B4-BE49-F238E27FC236}">
                  <a16:creationId xmlns:a16="http://schemas.microsoft.com/office/drawing/2014/main" id="{4C645546-BB1E-3149-B248-80970DB7D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278" y="3314425"/>
              <a:ext cx="81105" cy="65807"/>
            </a:xfrm>
            <a:custGeom>
              <a:avLst/>
              <a:gdLst>
                <a:gd name="T0" fmla="*/ 0 w 56"/>
                <a:gd name="T1" fmla="*/ 42 h 46"/>
                <a:gd name="T2" fmla="*/ 0 w 56"/>
                <a:gd name="T3" fmla="*/ 42 h 46"/>
                <a:gd name="T4" fmla="*/ 2 w 56"/>
                <a:gd name="T5" fmla="*/ 40 h 46"/>
                <a:gd name="T6" fmla="*/ 4 w 56"/>
                <a:gd name="T7" fmla="*/ 37 h 46"/>
                <a:gd name="T8" fmla="*/ 5 w 56"/>
                <a:gd name="T9" fmla="*/ 29 h 46"/>
                <a:gd name="T10" fmla="*/ 4 w 56"/>
                <a:gd name="T11" fmla="*/ 22 h 46"/>
                <a:gd name="T12" fmla="*/ 4 w 56"/>
                <a:gd name="T13" fmla="*/ 22 h 46"/>
                <a:gd name="T14" fmla="*/ 4 w 56"/>
                <a:gd name="T15" fmla="*/ 17 h 46"/>
                <a:gd name="T16" fmla="*/ 5 w 56"/>
                <a:gd name="T17" fmla="*/ 11 h 46"/>
                <a:gd name="T18" fmla="*/ 9 w 56"/>
                <a:gd name="T19" fmla="*/ 8 h 46"/>
                <a:gd name="T20" fmla="*/ 13 w 56"/>
                <a:gd name="T21" fmla="*/ 4 h 46"/>
                <a:gd name="T22" fmla="*/ 13 w 56"/>
                <a:gd name="T23" fmla="*/ 4 h 46"/>
                <a:gd name="T24" fmla="*/ 16 w 56"/>
                <a:gd name="T25" fmla="*/ 2 h 46"/>
                <a:gd name="T26" fmla="*/ 20 w 56"/>
                <a:gd name="T27" fmla="*/ 0 h 46"/>
                <a:gd name="T28" fmla="*/ 27 w 56"/>
                <a:gd name="T29" fmla="*/ 2 h 46"/>
                <a:gd name="T30" fmla="*/ 38 w 56"/>
                <a:gd name="T31" fmla="*/ 6 h 46"/>
                <a:gd name="T32" fmla="*/ 45 w 56"/>
                <a:gd name="T33" fmla="*/ 8 h 46"/>
                <a:gd name="T34" fmla="*/ 45 w 56"/>
                <a:gd name="T35" fmla="*/ 8 h 46"/>
                <a:gd name="T36" fmla="*/ 51 w 56"/>
                <a:gd name="T37" fmla="*/ 11 h 46"/>
                <a:gd name="T38" fmla="*/ 55 w 56"/>
                <a:gd name="T39" fmla="*/ 15 h 46"/>
                <a:gd name="T40" fmla="*/ 56 w 56"/>
                <a:gd name="T41" fmla="*/ 17 h 46"/>
                <a:gd name="T42" fmla="*/ 56 w 56"/>
                <a:gd name="T43" fmla="*/ 19 h 46"/>
                <a:gd name="T44" fmla="*/ 55 w 56"/>
                <a:gd name="T45" fmla="*/ 20 h 46"/>
                <a:gd name="T46" fmla="*/ 53 w 56"/>
                <a:gd name="T47" fmla="*/ 22 h 46"/>
                <a:gd name="T48" fmla="*/ 53 w 56"/>
                <a:gd name="T49" fmla="*/ 22 h 46"/>
                <a:gd name="T50" fmla="*/ 44 w 56"/>
                <a:gd name="T51" fmla="*/ 26 h 46"/>
                <a:gd name="T52" fmla="*/ 36 w 56"/>
                <a:gd name="T53" fmla="*/ 29 h 46"/>
                <a:gd name="T54" fmla="*/ 31 w 56"/>
                <a:gd name="T55" fmla="*/ 31 h 46"/>
                <a:gd name="T56" fmla="*/ 24 w 56"/>
                <a:gd name="T57" fmla="*/ 31 h 46"/>
                <a:gd name="T58" fmla="*/ 24 w 56"/>
                <a:gd name="T59" fmla="*/ 31 h 46"/>
                <a:gd name="T60" fmla="*/ 20 w 56"/>
                <a:gd name="T61" fmla="*/ 35 h 46"/>
                <a:gd name="T62" fmla="*/ 16 w 56"/>
                <a:gd name="T63" fmla="*/ 37 h 46"/>
                <a:gd name="T64" fmla="*/ 13 w 56"/>
                <a:gd name="T65" fmla="*/ 40 h 46"/>
                <a:gd name="T66" fmla="*/ 5 w 56"/>
                <a:gd name="T67" fmla="*/ 42 h 46"/>
                <a:gd name="T68" fmla="*/ 4 w 56"/>
                <a:gd name="T69" fmla="*/ 46 h 46"/>
                <a:gd name="T70" fmla="*/ 4 w 56"/>
                <a:gd name="T71" fmla="*/ 46 h 46"/>
                <a:gd name="T72" fmla="*/ 2 w 56"/>
                <a:gd name="T73" fmla="*/ 46 h 46"/>
                <a:gd name="T74" fmla="*/ 0 w 56"/>
                <a:gd name="T75" fmla="*/ 44 h 46"/>
                <a:gd name="T76" fmla="*/ 0 w 56"/>
                <a:gd name="T77" fmla="*/ 42 h 46"/>
                <a:gd name="T78" fmla="*/ 0 w 56"/>
                <a:gd name="T79" fmla="*/ 42 h 46"/>
                <a:gd name="T80" fmla="*/ 0 w 56"/>
                <a:gd name="T81" fmla="*/ 42 h 46"/>
                <a:gd name="T82" fmla="*/ 0 w 56"/>
                <a:gd name="T83" fmla="*/ 42 h 46"/>
                <a:gd name="T84" fmla="*/ 0 w 56"/>
                <a:gd name="T85" fmla="*/ 4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" h="46">
                  <a:moveTo>
                    <a:pt x="0" y="42"/>
                  </a:moveTo>
                  <a:lnTo>
                    <a:pt x="0" y="42"/>
                  </a:lnTo>
                  <a:lnTo>
                    <a:pt x="2" y="40"/>
                  </a:lnTo>
                  <a:lnTo>
                    <a:pt x="4" y="37"/>
                  </a:lnTo>
                  <a:lnTo>
                    <a:pt x="5" y="29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7"/>
                  </a:lnTo>
                  <a:lnTo>
                    <a:pt x="5" y="11"/>
                  </a:lnTo>
                  <a:lnTo>
                    <a:pt x="9" y="8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7" y="2"/>
                  </a:lnTo>
                  <a:lnTo>
                    <a:pt x="38" y="6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5" y="20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44" y="26"/>
                  </a:lnTo>
                  <a:lnTo>
                    <a:pt x="36" y="29"/>
                  </a:lnTo>
                  <a:lnTo>
                    <a:pt x="31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5"/>
                  </a:lnTo>
                  <a:lnTo>
                    <a:pt x="16" y="37"/>
                  </a:lnTo>
                  <a:lnTo>
                    <a:pt x="13" y="40"/>
                  </a:lnTo>
                  <a:lnTo>
                    <a:pt x="5" y="42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2" y="46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2" name="Freeform 96">
              <a:extLst>
                <a:ext uri="{FF2B5EF4-FFF2-40B4-BE49-F238E27FC236}">
                  <a16:creationId xmlns:a16="http://schemas.microsoft.com/office/drawing/2014/main" id="{A400E18E-83B7-9E40-AF62-EA623E508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8106" y="3132739"/>
              <a:ext cx="99932" cy="52932"/>
            </a:xfrm>
            <a:custGeom>
              <a:avLst/>
              <a:gdLst>
                <a:gd name="T0" fmla="*/ 0 w 69"/>
                <a:gd name="T1" fmla="*/ 22 h 37"/>
                <a:gd name="T2" fmla="*/ 0 w 69"/>
                <a:gd name="T3" fmla="*/ 22 h 37"/>
                <a:gd name="T4" fmla="*/ 2 w 69"/>
                <a:gd name="T5" fmla="*/ 26 h 37"/>
                <a:gd name="T6" fmla="*/ 5 w 69"/>
                <a:gd name="T7" fmla="*/ 31 h 37"/>
                <a:gd name="T8" fmla="*/ 9 w 69"/>
                <a:gd name="T9" fmla="*/ 37 h 37"/>
                <a:gd name="T10" fmla="*/ 11 w 69"/>
                <a:gd name="T11" fmla="*/ 37 h 37"/>
                <a:gd name="T12" fmla="*/ 12 w 69"/>
                <a:gd name="T13" fmla="*/ 37 h 37"/>
                <a:gd name="T14" fmla="*/ 12 w 69"/>
                <a:gd name="T15" fmla="*/ 37 h 37"/>
                <a:gd name="T16" fmla="*/ 42 w 69"/>
                <a:gd name="T17" fmla="*/ 37 h 37"/>
                <a:gd name="T18" fmla="*/ 42 w 69"/>
                <a:gd name="T19" fmla="*/ 37 h 37"/>
                <a:gd name="T20" fmla="*/ 45 w 69"/>
                <a:gd name="T21" fmla="*/ 33 h 37"/>
                <a:gd name="T22" fmla="*/ 54 w 69"/>
                <a:gd name="T23" fmla="*/ 31 h 37"/>
                <a:gd name="T24" fmla="*/ 62 w 69"/>
                <a:gd name="T25" fmla="*/ 27 h 37"/>
                <a:gd name="T26" fmla="*/ 63 w 69"/>
                <a:gd name="T27" fmla="*/ 26 h 37"/>
                <a:gd name="T28" fmla="*/ 65 w 69"/>
                <a:gd name="T29" fmla="*/ 22 h 37"/>
                <a:gd name="T30" fmla="*/ 65 w 69"/>
                <a:gd name="T31" fmla="*/ 22 h 37"/>
                <a:gd name="T32" fmla="*/ 67 w 69"/>
                <a:gd name="T33" fmla="*/ 18 h 37"/>
                <a:gd name="T34" fmla="*/ 69 w 69"/>
                <a:gd name="T35" fmla="*/ 11 h 37"/>
                <a:gd name="T36" fmla="*/ 69 w 69"/>
                <a:gd name="T37" fmla="*/ 7 h 37"/>
                <a:gd name="T38" fmla="*/ 69 w 69"/>
                <a:gd name="T39" fmla="*/ 4 h 37"/>
                <a:gd name="T40" fmla="*/ 69 w 69"/>
                <a:gd name="T41" fmla="*/ 4 h 37"/>
                <a:gd name="T42" fmla="*/ 69 w 69"/>
                <a:gd name="T43" fmla="*/ 2 h 37"/>
                <a:gd name="T44" fmla="*/ 67 w 69"/>
                <a:gd name="T45" fmla="*/ 0 h 37"/>
                <a:gd name="T46" fmla="*/ 65 w 69"/>
                <a:gd name="T47" fmla="*/ 0 h 37"/>
                <a:gd name="T48" fmla="*/ 60 w 69"/>
                <a:gd name="T49" fmla="*/ 0 h 37"/>
                <a:gd name="T50" fmla="*/ 60 w 69"/>
                <a:gd name="T51" fmla="*/ 0 h 37"/>
                <a:gd name="T52" fmla="*/ 54 w 69"/>
                <a:gd name="T53" fmla="*/ 0 h 37"/>
                <a:gd name="T54" fmla="*/ 51 w 69"/>
                <a:gd name="T55" fmla="*/ 4 h 37"/>
                <a:gd name="T56" fmla="*/ 45 w 69"/>
                <a:gd name="T57" fmla="*/ 7 h 37"/>
                <a:gd name="T58" fmla="*/ 42 w 69"/>
                <a:gd name="T59" fmla="*/ 11 h 37"/>
                <a:gd name="T60" fmla="*/ 42 w 69"/>
                <a:gd name="T61" fmla="*/ 13 h 37"/>
                <a:gd name="T62" fmla="*/ 38 w 69"/>
                <a:gd name="T63" fmla="*/ 13 h 37"/>
                <a:gd name="T64" fmla="*/ 38 w 69"/>
                <a:gd name="T65" fmla="*/ 13 h 37"/>
                <a:gd name="T66" fmla="*/ 32 w 69"/>
                <a:gd name="T67" fmla="*/ 11 h 37"/>
                <a:gd name="T68" fmla="*/ 29 w 69"/>
                <a:gd name="T69" fmla="*/ 11 h 37"/>
                <a:gd name="T70" fmla="*/ 25 w 69"/>
                <a:gd name="T71" fmla="*/ 11 h 37"/>
                <a:gd name="T72" fmla="*/ 23 w 69"/>
                <a:gd name="T73" fmla="*/ 11 h 37"/>
                <a:gd name="T74" fmla="*/ 23 w 69"/>
                <a:gd name="T75" fmla="*/ 11 h 37"/>
                <a:gd name="T76" fmla="*/ 22 w 69"/>
                <a:gd name="T77" fmla="*/ 11 h 37"/>
                <a:gd name="T78" fmla="*/ 22 w 69"/>
                <a:gd name="T79" fmla="*/ 13 h 37"/>
                <a:gd name="T80" fmla="*/ 20 w 69"/>
                <a:gd name="T81" fmla="*/ 18 h 37"/>
                <a:gd name="T82" fmla="*/ 18 w 69"/>
                <a:gd name="T83" fmla="*/ 24 h 37"/>
                <a:gd name="T84" fmla="*/ 14 w 69"/>
                <a:gd name="T85" fmla="*/ 26 h 37"/>
                <a:gd name="T86" fmla="*/ 12 w 69"/>
                <a:gd name="T87" fmla="*/ 26 h 37"/>
                <a:gd name="T88" fmla="*/ 12 w 69"/>
                <a:gd name="T89" fmla="*/ 26 h 37"/>
                <a:gd name="T90" fmla="*/ 11 w 69"/>
                <a:gd name="T91" fmla="*/ 26 h 37"/>
                <a:gd name="T92" fmla="*/ 9 w 69"/>
                <a:gd name="T93" fmla="*/ 24 h 37"/>
                <a:gd name="T94" fmla="*/ 5 w 69"/>
                <a:gd name="T95" fmla="*/ 22 h 37"/>
                <a:gd name="T96" fmla="*/ 5 w 69"/>
                <a:gd name="T97" fmla="*/ 22 h 37"/>
                <a:gd name="T98" fmla="*/ 3 w 69"/>
                <a:gd name="T99" fmla="*/ 20 h 37"/>
                <a:gd name="T100" fmla="*/ 0 w 69"/>
                <a:gd name="T101" fmla="*/ 22 h 37"/>
                <a:gd name="T102" fmla="*/ 0 w 69"/>
                <a:gd name="T103" fmla="*/ 22 h 37"/>
                <a:gd name="T104" fmla="*/ 0 w 69"/>
                <a:gd name="T105" fmla="*/ 22 h 37"/>
                <a:gd name="T106" fmla="*/ 0 w 69"/>
                <a:gd name="T107" fmla="*/ 22 h 37"/>
                <a:gd name="T108" fmla="*/ 0 w 69"/>
                <a:gd name="T109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" h="37">
                  <a:moveTo>
                    <a:pt x="0" y="22"/>
                  </a:moveTo>
                  <a:lnTo>
                    <a:pt x="0" y="22"/>
                  </a:lnTo>
                  <a:lnTo>
                    <a:pt x="2" y="26"/>
                  </a:lnTo>
                  <a:lnTo>
                    <a:pt x="5" y="31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5" y="33"/>
                  </a:lnTo>
                  <a:lnTo>
                    <a:pt x="54" y="31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7" y="18"/>
                  </a:lnTo>
                  <a:lnTo>
                    <a:pt x="69" y="11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4"/>
                  </a:lnTo>
                  <a:lnTo>
                    <a:pt x="45" y="7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2" y="11"/>
                  </a:lnTo>
                  <a:lnTo>
                    <a:pt x="29" y="11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2" y="13"/>
                  </a:lnTo>
                  <a:lnTo>
                    <a:pt x="20" y="18"/>
                  </a:lnTo>
                  <a:lnTo>
                    <a:pt x="18" y="24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9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3" name="Freeform 97">
              <a:extLst>
                <a:ext uri="{FF2B5EF4-FFF2-40B4-BE49-F238E27FC236}">
                  <a16:creationId xmlns:a16="http://schemas.microsoft.com/office/drawing/2014/main" id="{21B0A8EB-E381-2349-BD61-7CDA455B3D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462" y="2686393"/>
              <a:ext cx="49242" cy="98711"/>
            </a:xfrm>
            <a:custGeom>
              <a:avLst/>
              <a:gdLst>
                <a:gd name="T0" fmla="*/ 25 w 34"/>
                <a:gd name="T1" fmla="*/ 69 h 69"/>
                <a:gd name="T2" fmla="*/ 25 w 34"/>
                <a:gd name="T3" fmla="*/ 69 h 69"/>
                <a:gd name="T4" fmla="*/ 21 w 34"/>
                <a:gd name="T5" fmla="*/ 69 h 69"/>
                <a:gd name="T6" fmla="*/ 14 w 34"/>
                <a:gd name="T7" fmla="*/ 69 h 69"/>
                <a:gd name="T8" fmla="*/ 12 w 34"/>
                <a:gd name="T9" fmla="*/ 67 h 69"/>
                <a:gd name="T10" fmla="*/ 10 w 34"/>
                <a:gd name="T11" fmla="*/ 65 h 69"/>
                <a:gd name="T12" fmla="*/ 10 w 34"/>
                <a:gd name="T13" fmla="*/ 65 h 69"/>
                <a:gd name="T14" fmla="*/ 3 w 34"/>
                <a:gd name="T15" fmla="*/ 54 h 69"/>
                <a:gd name="T16" fmla="*/ 0 w 34"/>
                <a:gd name="T17" fmla="*/ 47 h 69"/>
                <a:gd name="T18" fmla="*/ 0 w 34"/>
                <a:gd name="T19" fmla="*/ 43 h 69"/>
                <a:gd name="T20" fmla="*/ 0 w 34"/>
                <a:gd name="T21" fmla="*/ 38 h 69"/>
                <a:gd name="T22" fmla="*/ 0 w 34"/>
                <a:gd name="T23" fmla="*/ 38 h 69"/>
                <a:gd name="T24" fmla="*/ 1 w 34"/>
                <a:gd name="T25" fmla="*/ 27 h 69"/>
                <a:gd name="T26" fmla="*/ 3 w 34"/>
                <a:gd name="T27" fmla="*/ 20 h 69"/>
                <a:gd name="T28" fmla="*/ 7 w 34"/>
                <a:gd name="T29" fmla="*/ 11 h 69"/>
                <a:gd name="T30" fmla="*/ 12 w 34"/>
                <a:gd name="T31" fmla="*/ 5 h 69"/>
                <a:gd name="T32" fmla="*/ 12 w 34"/>
                <a:gd name="T33" fmla="*/ 5 h 69"/>
                <a:gd name="T34" fmla="*/ 18 w 34"/>
                <a:gd name="T35" fmla="*/ 1 h 69"/>
                <a:gd name="T36" fmla="*/ 23 w 34"/>
                <a:gd name="T37" fmla="*/ 0 h 69"/>
                <a:gd name="T38" fmla="*/ 29 w 34"/>
                <a:gd name="T39" fmla="*/ 0 h 69"/>
                <a:gd name="T40" fmla="*/ 29 w 34"/>
                <a:gd name="T41" fmla="*/ 1 h 69"/>
                <a:gd name="T42" fmla="*/ 30 w 34"/>
                <a:gd name="T43" fmla="*/ 1 h 69"/>
                <a:gd name="T44" fmla="*/ 30 w 34"/>
                <a:gd name="T45" fmla="*/ 1 h 69"/>
                <a:gd name="T46" fmla="*/ 32 w 34"/>
                <a:gd name="T47" fmla="*/ 9 h 69"/>
                <a:gd name="T48" fmla="*/ 34 w 34"/>
                <a:gd name="T49" fmla="*/ 16 h 69"/>
                <a:gd name="T50" fmla="*/ 34 w 34"/>
                <a:gd name="T51" fmla="*/ 31 h 69"/>
                <a:gd name="T52" fmla="*/ 34 w 34"/>
                <a:gd name="T53" fmla="*/ 31 h 69"/>
                <a:gd name="T54" fmla="*/ 32 w 34"/>
                <a:gd name="T55" fmla="*/ 36 h 69"/>
                <a:gd name="T56" fmla="*/ 30 w 34"/>
                <a:gd name="T57" fmla="*/ 40 h 69"/>
                <a:gd name="T58" fmla="*/ 29 w 34"/>
                <a:gd name="T59" fmla="*/ 43 h 69"/>
                <a:gd name="T60" fmla="*/ 27 w 34"/>
                <a:gd name="T61" fmla="*/ 47 h 69"/>
                <a:gd name="T62" fmla="*/ 27 w 34"/>
                <a:gd name="T63" fmla="*/ 47 h 69"/>
                <a:gd name="T64" fmla="*/ 27 w 34"/>
                <a:gd name="T65" fmla="*/ 54 h 69"/>
                <a:gd name="T66" fmla="*/ 27 w 34"/>
                <a:gd name="T67" fmla="*/ 60 h 69"/>
                <a:gd name="T68" fmla="*/ 27 w 34"/>
                <a:gd name="T69" fmla="*/ 60 h 69"/>
                <a:gd name="T70" fmla="*/ 25 w 34"/>
                <a:gd name="T71" fmla="*/ 69 h 69"/>
                <a:gd name="T72" fmla="*/ 25 w 34"/>
                <a:gd name="T73" fmla="*/ 69 h 69"/>
                <a:gd name="T74" fmla="*/ 25 w 34"/>
                <a:gd name="T75" fmla="*/ 69 h 69"/>
                <a:gd name="T76" fmla="*/ 25 w 34"/>
                <a:gd name="T77" fmla="*/ 69 h 69"/>
                <a:gd name="T78" fmla="*/ 25 w 34"/>
                <a:gd name="T7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" h="69">
                  <a:moveTo>
                    <a:pt x="25" y="69"/>
                  </a:moveTo>
                  <a:lnTo>
                    <a:pt x="25" y="69"/>
                  </a:lnTo>
                  <a:lnTo>
                    <a:pt x="21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3" y="54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7" y="11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2" y="9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2" y="36"/>
                  </a:lnTo>
                  <a:lnTo>
                    <a:pt x="30" y="40"/>
                  </a:lnTo>
                  <a:lnTo>
                    <a:pt x="29" y="43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54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4" name="Freeform 98">
              <a:extLst>
                <a:ext uri="{FF2B5EF4-FFF2-40B4-BE49-F238E27FC236}">
                  <a16:creationId xmlns:a16="http://schemas.microsoft.com/office/drawing/2014/main" id="{A061CCA8-BE20-BA4F-977A-46022765E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889" y="4268633"/>
              <a:ext cx="26069" cy="85836"/>
            </a:xfrm>
            <a:custGeom>
              <a:avLst/>
              <a:gdLst>
                <a:gd name="T0" fmla="*/ 11 w 18"/>
                <a:gd name="T1" fmla="*/ 60 h 60"/>
                <a:gd name="T2" fmla="*/ 11 w 18"/>
                <a:gd name="T3" fmla="*/ 60 h 60"/>
                <a:gd name="T4" fmla="*/ 9 w 18"/>
                <a:gd name="T5" fmla="*/ 60 h 60"/>
                <a:gd name="T6" fmla="*/ 9 w 18"/>
                <a:gd name="T7" fmla="*/ 60 h 60"/>
                <a:gd name="T8" fmla="*/ 9 w 18"/>
                <a:gd name="T9" fmla="*/ 58 h 60"/>
                <a:gd name="T10" fmla="*/ 7 w 18"/>
                <a:gd name="T11" fmla="*/ 57 h 60"/>
                <a:gd name="T12" fmla="*/ 7 w 18"/>
                <a:gd name="T13" fmla="*/ 57 h 60"/>
                <a:gd name="T14" fmla="*/ 3 w 18"/>
                <a:gd name="T15" fmla="*/ 53 h 60"/>
                <a:gd name="T16" fmla="*/ 0 w 18"/>
                <a:gd name="T17" fmla="*/ 51 h 60"/>
                <a:gd name="T18" fmla="*/ 0 w 18"/>
                <a:gd name="T19" fmla="*/ 51 h 60"/>
                <a:gd name="T20" fmla="*/ 3 w 18"/>
                <a:gd name="T21" fmla="*/ 46 h 60"/>
                <a:gd name="T22" fmla="*/ 5 w 18"/>
                <a:gd name="T23" fmla="*/ 42 h 60"/>
                <a:gd name="T24" fmla="*/ 5 w 18"/>
                <a:gd name="T25" fmla="*/ 42 h 60"/>
                <a:gd name="T26" fmla="*/ 9 w 18"/>
                <a:gd name="T27" fmla="*/ 40 h 60"/>
                <a:gd name="T28" fmla="*/ 9 w 18"/>
                <a:gd name="T29" fmla="*/ 37 h 60"/>
                <a:gd name="T30" fmla="*/ 7 w 18"/>
                <a:gd name="T31" fmla="*/ 35 h 60"/>
                <a:gd name="T32" fmla="*/ 7 w 18"/>
                <a:gd name="T33" fmla="*/ 35 h 60"/>
                <a:gd name="T34" fmla="*/ 3 w 18"/>
                <a:gd name="T35" fmla="*/ 26 h 60"/>
                <a:gd name="T36" fmla="*/ 0 w 18"/>
                <a:gd name="T37" fmla="*/ 22 h 60"/>
                <a:gd name="T38" fmla="*/ 0 w 18"/>
                <a:gd name="T39" fmla="*/ 20 h 60"/>
                <a:gd name="T40" fmla="*/ 0 w 18"/>
                <a:gd name="T41" fmla="*/ 20 h 60"/>
                <a:gd name="T42" fmla="*/ 5 w 18"/>
                <a:gd name="T43" fmla="*/ 15 h 60"/>
                <a:gd name="T44" fmla="*/ 5 w 18"/>
                <a:gd name="T45" fmla="*/ 9 h 60"/>
                <a:gd name="T46" fmla="*/ 7 w 18"/>
                <a:gd name="T47" fmla="*/ 7 h 60"/>
                <a:gd name="T48" fmla="*/ 7 w 18"/>
                <a:gd name="T49" fmla="*/ 7 h 60"/>
                <a:gd name="T50" fmla="*/ 7 w 18"/>
                <a:gd name="T51" fmla="*/ 2 h 60"/>
                <a:gd name="T52" fmla="*/ 7 w 18"/>
                <a:gd name="T53" fmla="*/ 0 h 60"/>
                <a:gd name="T54" fmla="*/ 9 w 18"/>
                <a:gd name="T55" fmla="*/ 0 h 60"/>
                <a:gd name="T56" fmla="*/ 9 w 18"/>
                <a:gd name="T57" fmla="*/ 0 h 60"/>
                <a:gd name="T58" fmla="*/ 11 w 18"/>
                <a:gd name="T59" fmla="*/ 2 h 60"/>
                <a:gd name="T60" fmla="*/ 12 w 18"/>
                <a:gd name="T61" fmla="*/ 6 h 60"/>
                <a:gd name="T62" fmla="*/ 14 w 18"/>
                <a:gd name="T63" fmla="*/ 9 h 60"/>
                <a:gd name="T64" fmla="*/ 14 w 18"/>
                <a:gd name="T65" fmla="*/ 15 h 60"/>
                <a:gd name="T66" fmla="*/ 14 w 18"/>
                <a:gd name="T67" fmla="*/ 15 h 60"/>
                <a:gd name="T68" fmla="*/ 12 w 18"/>
                <a:gd name="T69" fmla="*/ 17 h 60"/>
                <a:gd name="T70" fmla="*/ 12 w 18"/>
                <a:gd name="T71" fmla="*/ 18 h 60"/>
                <a:gd name="T72" fmla="*/ 14 w 18"/>
                <a:gd name="T73" fmla="*/ 26 h 60"/>
                <a:gd name="T74" fmla="*/ 14 w 18"/>
                <a:gd name="T75" fmla="*/ 26 h 60"/>
                <a:gd name="T76" fmla="*/ 16 w 18"/>
                <a:gd name="T77" fmla="*/ 35 h 60"/>
                <a:gd name="T78" fmla="*/ 18 w 18"/>
                <a:gd name="T79" fmla="*/ 40 h 60"/>
                <a:gd name="T80" fmla="*/ 16 w 18"/>
                <a:gd name="T81" fmla="*/ 44 h 60"/>
                <a:gd name="T82" fmla="*/ 16 w 18"/>
                <a:gd name="T83" fmla="*/ 44 h 60"/>
                <a:gd name="T84" fmla="*/ 16 w 18"/>
                <a:gd name="T85" fmla="*/ 46 h 60"/>
                <a:gd name="T86" fmla="*/ 16 w 18"/>
                <a:gd name="T87" fmla="*/ 51 h 60"/>
                <a:gd name="T88" fmla="*/ 16 w 18"/>
                <a:gd name="T89" fmla="*/ 57 h 60"/>
                <a:gd name="T90" fmla="*/ 16 w 18"/>
                <a:gd name="T91" fmla="*/ 57 h 60"/>
                <a:gd name="T92" fmla="*/ 16 w 18"/>
                <a:gd name="T93" fmla="*/ 60 h 60"/>
                <a:gd name="T94" fmla="*/ 14 w 18"/>
                <a:gd name="T95" fmla="*/ 60 h 60"/>
                <a:gd name="T96" fmla="*/ 11 w 18"/>
                <a:gd name="T97" fmla="*/ 60 h 60"/>
                <a:gd name="T98" fmla="*/ 11 w 18"/>
                <a:gd name="T99" fmla="*/ 60 h 60"/>
                <a:gd name="T100" fmla="*/ 11 w 18"/>
                <a:gd name="T101" fmla="*/ 60 h 60"/>
                <a:gd name="T102" fmla="*/ 11 w 18"/>
                <a:gd name="T103" fmla="*/ 60 h 60"/>
                <a:gd name="T104" fmla="*/ 11 w 18"/>
                <a:gd name="T10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" h="60">
                  <a:moveTo>
                    <a:pt x="11" y="60"/>
                  </a:moveTo>
                  <a:lnTo>
                    <a:pt x="11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3" y="5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3" y="46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9" y="40"/>
                  </a:lnTo>
                  <a:lnTo>
                    <a:pt x="9" y="37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3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5" y="15"/>
                  </a:lnTo>
                  <a:lnTo>
                    <a:pt x="5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2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2" y="6"/>
                  </a:lnTo>
                  <a:lnTo>
                    <a:pt x="14" y="9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2" y="17"/>
                  </a:lnTo>
                  <a:lnTo>
                    <a:pt x="12" y="1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6" y="35"/>
                  </a:lnTo>
                  <a:lnTo>
                    <a:pt x="18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51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5" name="Freeform 99">
              <a:extLst>
                <a:ext uri="{FF2B5EF4-FFF2-40B4-BE49-F238E27FC236}">
                  <a16:creationId xmlns:a16="http://schemas.microsoft.com/office/drawing/2014/main" id="{8EB70C0F-E1DE-524D-8FE1-4F11B653F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082" y="3198547"/>
              <a:ext cx="105726" cy="147352"/>
            </a:xfrm>
            <a:custGeom>
              <a:avLst/>
              <a:gdLst>
                <a:gd name="T0" fmla="*/ 0 w 73"/>
                <a:gd name="T1" fmla="*/ 5 h 103"/>
                <a:gd name="T2" fmla="*/ 0 w 73"/>
                <a:gd name="T3" fmla="*/ 5 h 103"/>
                <a:gd name="T4" fmla="*/ 0 w 73"/>
                <a:gd name="T5" fmla="*/ 12 h 103"/>
                <a:gd name="T6" fmla="*/ 4 w 73"/>
                <a:gd name="T7" fmla="*/ 32 h 103"/>
                <a:gd name="T8" fmla="*/ 5 w 73"/>
                <a:gd name="T9" fmla="*/ 41 h 103"/>
                <a:gd name="T10" fmla="*/ 7 w 73"/>
                <a:gd name="T11" fmla="*/ 50 h 103"/>
                <a:gd name="T12" fmla="*/ 11 w 73"/>
                <a:gd name="T13" fmla="*/ 63 h 103"/>
                <a:gd name="T14" fmla="*/ 16 w 73"/>
                <a:gd name="T15" fmla="*/ 70 h 103"/>
                <a:gd name="T16" fmla="*/ 16 w 73"/>
                <a:gd name="T17" fmla="*/ 70 h 103"/>
                <a:gd name="T18" fmla="*/ 25 w 73"/>
                <a:gd name="T19" fmla="*/ 85 h 103"/>
                <a:gd name="T20" fmla="*/ 31 w 73"/>
                <a:gd name="T21" fmla="*/ 98 h 103"/>
                <a:gd name="T22" fmla="*/ 36 w 73"/>
                <a:gd name="T23" fmla="*/ 103 h 103"/>
                <a:gd name="T24" fmla="*/ 38 w 73"/>
                <a:gd name="T25" fmla="*/ 103 h 103"/>
                <a:gd name="T26" fmla="*/ 38 w 73"/>
                <a:gd name="T27" fmla="*/ 103 h 103"/>
                <a:gd name="T28" fmla="*/ 38 w 73"/>
                <a:gd name="T29" fmla="*/ 103 h 103"/>
                <a:gd name="T30" fmla="*/ 45 w 73"/>
                <a:gd name="T31" fmla="*/ 101 h 103"/>
                <a:gd name="T32" fmla="*/ 51 w 73"/>
                <a:gd name="T33" fmla="*/ 100 h 103"/>
                <a:gd name="T34" fmla="*/ 62 w 73"/>
                <a:gd name="T35" fmla="*/ 98 h 103"/>
                <a:gd name="T36" fmla="*/ 62 w 73"/>
                <a:gd name="T37" fmla="*/ 98 h 103"/>
                <a:gd name="T38" fmla="*/ 67 w 73"/>
                <a:gd name="T39" fmla="*/ 96 h 103"/>
                <a:gd name="T40" fmla="*/ 71 w 73"/>
                <a:gd name="T41" fmla="*/ 92 h 103"/>
                <a:gd name="T42" fmla="*/ 73 w 73"/>
                <a:gd name="T43" fmla="*/ 87 h 103"/>
                <a:gd name="T44" fmla="*/ 73 w 73"/>
                <a:gd name="T45" fmla="*/ 81 h 103"/>
                <a:gd name="T46" fmla="*/ 73 w 73"/>
                <a:gd name="T47" fmla="*/ 81 h 103"/>
                <a:gd name="T48" fmla="*/ 69 w 73"/>
                <a:gd name="T49" fmla="*/ 63 h 103"/>
                <a:gd name="T50" fmla="*/ 65 w 73"/>
                <a:gd name="T51" fmla="*/ 54 h 103"/>
                <a:gd name="T52" fmla="*/ 65 w 73"/>
                <a:gd name="T53" fmla="*/ 49 h 103"/>
                <a:gd name="T54" fmla="*/ 67 w 73"/>
                <a:gd name="T55" fmla="*/ 45 h 103"/>
                <a:gd name="T56" fmla="*/ 67 w 73"/>
                <a:gd name="T57" fmla="*/ 45 h 103"/>
                <a:gd name="T58" fmla="*/ 69 w 73"/>
                <a:gd name="T59" fmla="*/ 40 h 103"/>
                <a:gd name="T60" fmla="*/ 69 w 73"/>
                <a:gd name="T61" fmla="*/ 36 h 103"/>
                <a:gd name="T62" fmla="*/ 69 w 73"/>
                <a:gd name="T63" fmla="*/ 34 h 103"/>
                <a:gd name="T64" fmla="*/ 69 w 73"/>
                <a:gd name="T65" fmla="*/ 34 h 103"/>
                <a:gd name="T66" fmla="*/ 49 w 73"/>
                <a:gd name="T67" fmla="*/ 36 h 103"/>
                <a:gd name="T68" fmla="*/ 49 w 73"/>
                <a:gd name="T69" fmla="*/ 36 h 103"/>
                <a:gd name="T70" fmla="*/ 42 w 73"/>
                <a:gd name="T71" fmla="*/ 36 h 103"/>
                <a:gd name="T72" fmla="*/ 38 w 73"/>
                <a:gd name="T73" fmla="*/ 36 h 103"/>
                <a:gd name="T74" fmla="*/ 38 w 73"/>
                <a:gd name="T75" fmla="*/ 36 h 103"/>
                <a:gd name="T76" fmla="*/ 38 w 73"/>
                <a:gd name="T77" fmla="*/ 34 h 103"/>
                <a:gd name="T78" fmla="*/ 38 w 73"/>
                <a:gd name="T79" fmla="*/ 34 h 103"/>
                <a:gd name="T80" fmla="*/ 38 w 73"/>
                <a:gd name="T81" fmla="*/ 27 h 103"/>
                <a:gd name="T82" fmla="*/ 38 w 73"/>
                <a:gd name="T83" fmla="*/ 14 h 103"/>
                <a:gd name="T84" fmla="*/ 38 w 73"/>
                <a:gd name="T85" fmla="*/ 9 h 103"/>
                <a:gd name="T86" fmla="*/ 36 w 73"/>
                <a:gd name="T87" fmla="*/ 3 h 103"/>
                <a:gd name="T88" fmla="*/ 33 w 73"/>
                <a:gd name="T89" fmla="*/ 0 h 103"/>
                <a:gd name="T90" fmla="*/ 31 w 73"/>
                <a:gd name="T91" fmla="*/ 0 h 103"/>
                <a:gd name="T92" fmla="*/ 31 w 73"/>
                <a:gd name="T93" fmla="*/ 0 h 103"/>
                <a:gd name="T94" fmla="*/ 27 w 73"/>
                <a:gd name="T95" fmla="*/ 0 h 103"/>
                <a:gd name="T96" fmla="*/ 24 w 73"/>
                <a:gd name="T97" fmla="*/ 3 h 103"/>
                <a:gd name="T98" fmla="*/ 22 w 73"/>
                <a:gd name="T99" fmla="*/ 7 h 103"/>
                <a:gd name="T100" fmla="*/ 20 w 73"/>
                <a:gd name="T101" fmla="*/ 9 h 103"/>
                <a:gd name="T102" fmla="*/ 16 w 73"/>
                <a:gd name="T103" fmla="*/ 18 h 103"/>
                <a:gd name="T104" fmla="*/ 16 w 73"/>
                <a:gd name="T105" fmla="*/ 21 h 103"/>
                <a:gd name="T106" fmla="*/ 0 w 73"/>
                <a:gd name="T107" fmla="*/ 5 h 103"/>
                <a:gd name="T108" fmla="*/ 0 w 73"/>
                <a:gd name="T109" fmla="*/ 5 h 103"/>
                <a:gd name="T110" fmla="*/ 0 w 73"/>
                <a:gd name="T111" fmla="*/ 5 h 103"/>
                <a:gd name="T112" fmla="*/ 0 w 73"/>
                <a:gd name="T113" fmla="*/ 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3" h="103">
                  <a:moveTo>
                    <a:pt x="0" y="5"/>
                  </a:moveTo>
                  <a:lnTo>
                    <a:pt x="0" y="5"/>
                  </a:lnTo>
                  <a:lnTo>
                    <a:pt x="0" y="12"/>
                  </a:lnTo>
                  <a:lnTo>
                    <a:pt x="4" y="32"/>
                  </a:lnTo>
                  <a:lnTo>
                    <a:pt x="5" y="41"/>
                  </a:lnTo>
                  <a:lnTo>
                    <a:pt x="7" y="50"/>
                  </a:lnTo>
                  <a:lnTo>
                    <a:pt x="11" y="63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25" y="85"/>
                  </a:lnTo>
                  <a:lnTo>
                    <a:pt x="31" y="98"/>
                  </a:lnTo>
                  <a:lnTo>
                    <a:pt x="36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45" y="101"/>
                  </a:lnTo>
                  <a:lnTo>
                    <a:pt x="51" y="100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67" y="96"/>
                  </a:lnTo>
                  <a:lnTo>
                    <a:pt x="71" y="92"/>
                  </a:lnTo>
                  <a:lnTo>
                    <a:pt x="73" y="87"/>
                  </a:lnTo>
                  <a:lnTo>
                    <a:pt x="73" y="81"/>
                  </a:lnTo>
                  <a:lnTo>
                    <a:pt x="73" y="81"/>
                  </a:lnTo>
                  <a:lnTo>
                    <a:pt x="69" y="63"/>
                  </a:lnTo>
                  <a:lnTo>
                    <a:pt x="65" y="54"/>
                  </a:lnTo>
                  <a:lnTo>
                    <a:pt x="65" y="49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9" y="40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27"/>
                  </a:lnTo>
                  <a:lnTo>
                    <a:pt x="38" y="14"/>
                  </a:lnTo>
                  <a:lnTo>
                    <a:pt x="38" y="9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4" y="3"/>
                  </a:lnTo>
                  <a:lnTo>
                    <a:pt x="22" y="7"/>
                  </a:lnTo>
                  <a:lnTo>
                    <a:pt x="20" y="9"/>
                  </a:lnTo>
                  <a:lnTo>
                    <a:pt x="16" y="18"/>
                  </a:lnTo>
                  <a:lnTo>
                    <a:pt x="16" y="21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6" name="Freeform 100">
              <a:extLst>
                <a:ext uri="{FF2B5EF4-FFF2-40B4-BE49-F238E27FC236}">
                  <a16:creationId xmlns:a16="http://schemas.microsoft.com/office/drawing/2014/main" id="{52D80981-E6D6-1847-AEE5-896D57793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2896" y="4378789"/>
              <a:ext cx="480835" cy="369094"/>
            </a:xfrm>
            <a:custGeom>
              <a:avLst/>
              <a:gdLst>
                <a:gd name="T0" fmla="*/ 309 w 332"/>
                <a:gd name="T1" fmla="*/ 121 h 258"/>
                <a:gd name="T2" fmla="*/ 305 w 332"/>
                <a:gd name="T3" fmla="*/ 112 h 258"/>
                <a:gd name="T4" fmla="*/ 296 w 332"/>
                <a:gd name="T5" fmla="*/ 103 h 258"/>
                <a:gd name="T6" fmla="*/ 296 w 332"/>
                <a:gd name="T7" fmla="*/ 87 h 258"/>
                <a:gd name="T8" fmla="*/ 261 w 332"/>
                <a:gd name="T9" fmla="*/ 67 h 258"/>
                <a:gd name="T10" fmla="*/ 249 w 332"/>
                <a:gd name="T11" fmla="*/ 50 h 258"/>
                <a:gd name="T12" fmla="*/ 247 w 332"/>
                <a:gd name="T13" fmla="*/ 19 h 258"/>
                <a:gd name="T14" fmla="*/ 196 w 332"/>
                <a:gd name="T15" fmla="*/ 3 h 258"/>
                <a:gd name="T16" fmla="*/ 181 w 332"/>
                <a:gd name="T17" fmla="*/ 14 h 258"/>
                <a:gd name="T18" fmla="*/ 152 w 332"/>
                <a:gd name="T19" fmla="*/ 21 h 258"/>
                <a:gd name="T20" fmla="*/ 111 w 332"/>
                <a:gd name="T21" fmla="*/ 30 h 258"/>
                <a:gd name="T22" fmla="*/ 87 w 332"/>
                <a:gd name="T23" fmla="*/ 36 h 258"/>
                <a:gd name="T24" fmla="*/ 78 w 332"/>
                <a:gd name="T25" fmla="*/ 49 h 258"/>
                <a:gd name="T26" fmla="*/ 71 w 332"/>
                <a:gd name="T27" fmla="*/ 67 h 258"/>
                <a:gd name="T28" fmla="*/ 47 w 332"/>
                <a:gd name="T29" fmla="*/ 70 h 258"/>
                <a:gd name="T30" fmla="*/ 23 w 332"/>
                <a:gd name="T31" fmla="*/ 78 h 258"/>
                <a:gd name="T32" fmla="*/ 18 w 332"/>
                <a:gd name="T33" fmla="*/ 109 h 258"/>
                <a:gd name="T34" fmla="*/ 5 w 332"/>
                <a:gd name="T35" fmla="*/ 110 h 258"/>
                <a:gd name="T36" fmla="*/ 14 w 332"/>
                <a:gd name="T37" fmla="*/ 161 h 258"/>
                <a:gd name="T38" fmla="*/ 34 w 332"/>
                <a:gd name="T39" fmla="*/ 170 h 258"/>
                <a:gd name="T40" fmla="*/ 47 w 332"/>
                <a:gd name="T41" fmla="*/ 194 h 258"/>
                <a:gd name="T42" fmla="*/ 60 w 332"/>
                <a:gd name="T43" fmla="*/ 205 h 258"/>
                <a:gd name="T44" fmla="*/ 65 w 332"/>
                <a:gd name="T45" fmla="*/ 212 h 258"/>
                <a:gd name="T46" fmla="*/ 71 w 332"/>
                <a:gd name="T47" fmla="*/ 232 h 258"/>
                <a:gd name="T48" fmla="*/ 78 w 332"/>
                <a:gd name="T49" fmla="*/ 234 h 258"/>
                <a:gd name="T50" fmla="*/ 87 w 332"/>
                <a:gd name="T51" fmla="*/ 236 h 258"/>
                <a:gd name="T52" fmla="*/ 94 w 332"/>
                <a:gd name="T53" fmla="*/ 243 h 258"/>
                <a:gd name="T54" fmla="*/ 105 w 332"/>
                <a:gd name="T55" fmla="*/ 256 h 258"/>
                <a:gd name="T56" fmla="*/ 116 w 332"/>
                <a:gd name="T57" fmla="*/ 258 h 258"/>
                <a:gd name="T58" fmla="*/ 127 w 332"/>
                <a:gd name="T59" fmla="*/ 247 h 258"/>
                <a:gd name="T60" fmla="*/ 132 w 332"/>
                <a:gd name="T61" fmla="*/ 230 h 258"/>
                <a:gd name="T62" fmla="*/ 149 w 332"/>
                <a:gd name="T63" fmla="*/ 212 h 258"/>
                <a:gd name="T64" fmla="*/ 154 w 332"/>
                <a:gd name="T65" fmla="*/ 205 h 258"/>
                <a:gd name="T66" fmla="*/ 161 w 332"/>
                <a:gd name="T67" fmla="*/ 199 h 258"/>
                <a:gd name="T68" fmla="*/ 167 w 332"/>
                <a:gd name="T69" fmla="*/ 199 h 258"/>
                <a:gd name="T70" fmla="*/ 181 w 332"/>
                <a:gd name="T71" fmla="*/ 190 h 258"/>
                <a:gd name="T72" fmla="*/ 178 w 332"/>
                <a:gd name="T73" fmla="*/ 161 h 258"/>
                <a:gd name="T74" fmla="*/ 169 w 332"/>
                <a:gd name="T75" fmla="*/ 167 h 258"/>
                <a:gd name="T76" fmla="*/ 161 w 332"/>
                <a:gd name="T77" fmla="*/ 154 h 258"/>
                <a:gd name="T78" fmla="*/ 201 w 332"/>
                <a:gd name="T79" fmla="*/ 105 h 258"/>
                <a:gd name="T80" fmla="*/ 220 w 332"/>
                <a:gd name="T81" fmla="*/ 138 h 258"/>
                <a:gd name="T82" fmla="*/ 247 w 332"/>
                <a:gd name="T83" fmla="*/ 148 h 258"/>
                <a:gd name="T84" fmla="*/ 310 w 332"/>
                <a:gd name="T85" fmla="*/ 148 h 258"/>
                <a:gd name="T86" fmla="*/ 330 w 332"/>
                <a:gd name="T87" fmla="*/ 134 h 258"/>
                <a:gd name="T88" fmla="*/ 321 w 332"/>
                <a:gd name="T89" fmla="*/ 13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2" h="258">
                  <a:moveTo>
                    <a:pt x="321" y="130"/>
                  </a:moveTo>
                  <a:lnTo>
                    <a:pt x="312" y="125"/>
                  </a:lnTo>
                  <a:lnTo>
                    <a:pt x="309" y="121"/>
                  </a:lnTo>
                  <a:lnTo>
                    <a:pt x="309" y="118"/>
                  </a:lnTo>
                  <a:lnTo>
                    <a:pt x="309" y="116"/>
                  </a:lnTo>
                  <a:lnTo>
                    <a:pt x="305" y="112"/>
                  </a:lnTo>
                  <a:lnTo>
                    <a:pt x="299" y="110"/>
                  </a:lnTo>
                  <a:lnTo>
                    <a:pt x="298" y="107"/>
                  </a:lnTo>
                  <a:lnTo>
                    <a:pt x="296" y="103"/>
                  </a:lnTo>
                  <a:lnTo>
                    <a:pt x="296" y="96"/>
                  </a:lnTo>
                  <a:lnTo>
                    <a:pt x="296" y="89"/>
                  </a:lnTo>
                  <a:lnTo>
                    <a:pt x="296" y="87"/>
                  </a:lnTo>
                  <a:lnTo>
                    <a:pt x="279" y="87"/>
                  </a:lnTo>
                  <a:lnTo>
                    <a:pt x="272" y="76"/>
                  </a:lnTo>
                  <a:lnTo>
                    <a:pt x="261" y="67"/>
                  </a:lnTo>
                  <a:lnTo>
                    <a:pt x="256" y="63"/>
                  </a:lnTo>
                  <a:lnTo>
                    <a:pt x="252" y="58"/>
                  </a:lnTo>
                  <a:lnTo>
                    <a:pt x="249" y="50"/>
                  </a:lnTo>
                  <a:lnTo>
                    <a:pt x="247" y="49"/>
                  </a:lnTo>
                  <a:lnTo>
                    <a:pt x="247" y="45"/>
                  </a:lnTo>
                  <a:lnTo>
                    <a:pt x="247" y="19"/>
                  </a:lnTo>
                  <a:lnTo>
                    <a:pt x="223" y="19"/>
                  </a:lnTo>
                  <a:lnTo>
                    <a:pt x="207" y="0"/>
                  </a:lnTo>
                  <a:lnTo>
                    <a:pt x="196" y="3"/>
                  </a:lnTo>
                  <a:lnTo>
                    <a:pt x="190" y="7"/>
                  </a:lnTo>
                  <a:lnTo>
                    <a:pt x="187" y="10"/>
                  </a:lnTo>
                  <a:lnTo>
                    <a:pt x="181" y="14"/>
                  </a:lnTo>
                  <a:lnTo>
                    <a:pt x="170" y="16"/>
                  </a:lnTo>
                  <a:lnTo>
                    <a:pt x="161" y="19"/>
                  </a:lnTo>
                  <a:lnTo>
                    <a:pt x="152" y="21"/>
                  </a:lnTo>
                  <a:lnTo>
                    <a:pt x="121" y="21"/>
                  </a:lnTo>
                  <a:lnTo>
                    <a:pt x="121" y="27"/>
                  </a:lnTo>
                  <a:lnTo>
                    <a:pt x="111" y="30"/>
                  </a:lnTo>
                  <a:lnTo>
                    <a:pt x="100" y="36"/>
                  </a:lnTo>
                  <a:lnTo>
                    <a:pt x="94" y="36"/>
                  </a:lnTo>
                  <a:lnTo>
                    <a:pt x="87" y="36"/>
                  </a:lnTo>
                  <a:lnTo>
                    <a:pt x="76" y="34"/>
                  </a:lnTo>
                  <a:lnTo>
                    <a:pt x="83" y="38"/>
                  </a:lnTo>
                  <a:lnTo>
                    <a:pt x="78" y="49"/>
                  </a:lnTo>
                  <a:lnTo>
                    <a:pt x="74" y="54"/>
                  </a:lnTo>
                  <a:lnTo>
                    <a:pt x="71" y="61"/>
                  </a:lnTo>
                  <a:lnTo>
                    <a:pt x="71" y="67"/>
                  </a:lnTo>
                  <a:lnTo>
                    <a:pt x="71" y="69"/>
                  </a:lnTo>
                  <a:lnTo>
                    <a:pt x="60" y="69"/>
                  </a:lnTo>
                  <a:lnTo>
                    <a:pt x="47" y="70"/>
                  </a:lnTo>
                  <a:lnTo>
                    <a:pt x="45" y="67"/>
                  </a:lnTo>
                  <a:lnTo>
                    <a:pt x="29" y="69"/>
                  </a:lnTo>
                  <a:lnTo>
                    <a:pt x="23" y="78"/>
                  </a:lnTo>
                  <a:lnTo>
                    <a:pt x="22" y="87"/>
                  </a:lnTo>
                  <a:lnTo>
                    <a:pt x="16" y="99"/>
                  </a:lnTo>
                  <a:lnTo>
                    <a:pt x="18" y="109"/>
                  </a:lnTo>
                  <a:lnTo>
                    <a:pt x="14" y="112"/>
                  </a:lnTo>
                  <a:lnTo>
                    <a:pt x="12" y="112"/>
                  </a:lnTo>
                  <a:lnTo>
                    <a:pt x="5" y="110"/>
                  </a:lnTo>
                  <a:lnTo>
                    <a:pt x="0" y="134"/>
                  </a:lnTo>
                  <a:lnTo>
                    <a:pt x="9" y="145"/>
                  </a:lnTo>
                  <a:lnTo>
                    <a:pt x="14" y="161"/>
                  </a:lnTo>
                  <a:lnTo>
                    <a:pt x="23" y="161"/>
                  </a:lnTo>
                  <a:lnTo>
                    <a:pt x="25" y="168"/>
                  </a:lnTo>
                  <a:lnTo>
                    <a:pt x="34" y="170"/>
                  </a:lnTo>
                  <a:lnTo>
                    <a:pt x="36" y="176"/>
                  </a:lnTo>
                  <a:lnTo>
                    <a:pt x="47" y="183"/>
                  </a:lnTo>
                  <a:lnTo>
                    <a:pt x="47" y="194"/>
                  </a:lnTo>
                  <a:lnTo>
                    <a:pt x="54" y="199"/>
                  </a:lnTo>
                  <a:lnTo>
                    <a:pt x="56" y="203"/>
                  </a:lnTo>
                  <a:lnTo>
                    <a:pt x="60" y="205"/>
                  </a:lnTo>
                  <a:lnTo>
                    <a:pt x="63" y="205"/>
                  </a:lnTo>
                  <a:lnTo>
                    <a:pt x="63" y="208"/>
                  </a:lnTo>
                  <a:lnTo>
                    <a:pt x="65" y="212"/>
                  </a:lnTo>
                  <a:lnTo>
                    <a:pt x="63" y="216"/>
                  </a:lnTo>
                  <a:lnTo>
                    <a:pt x="69" y="232"/>
                  </a:lnTo>
                  <a:lnTo>
                    <a:pt x="71" y="232"/>
                  </a:lnTo>
                  <a:lnTo>
                    <a:pt x="74" y="232"/>
                  </a:lnTo>
                  <a:lnTo>
                    <a:pt x="76" y="234"/>
                  </a:lnTo>
                  <a:lnTo>
                    <a:pt x="78" y="234"/>
                  </a:lnTo>
                  <a:lnTo>
                    <a:pt x="81" y="234"/>
                  </a:lnTo>
                  <a:lnTo>
                    <a:pt x="83" y="236"/>
                  </a:lnTo>
                  <a:lnTo>
                    <a:pt x="87" y="236"/>
                  </a:lnTo>
                  <a:lnTo>
                    <a:pt x="87" y="239"/>
                  </a:lnTo>
                  <a:lnTo>
                    <a:pt x="91" y="241"/>
                  </a:lnTo>
                  <a:lnTo>
                    <a:pt x="94" y="243"/>
                  </a:lnTo>
                  <a:lnTo>
                    <a:pt x="96" y="245"/>
                  </a:lnTo>
                  <a:lnTo>
                    <a:pt x="100" y="250"/>
                  </a:lnTo>
                  <a:lnTo>
                    <a:pt x="105" y="256"/>
                  </a:lnTo>
                  <a:lnTo>
                    <a:pt x="105" y="258"/>
                  </a:lnTo>
                  <a:lnTo>
                    <a:pt x="109" y="258"/>
                  </a:lnTo>
                  <a:lnTo>
                    <a:pt x="116" y="258"/>
                  </a:lnTo>
                  <a:lnTo>
                    <a:pt x="120" y="256"/>
                  </a:lnTo>
                  <a:lnTo>
                    <a:pt x="123" y="247"/>
                  </a:lnTo>
                  <a:lnTo>
                    <a:pt x="127" y="247"/>
                  </a:lnTo>
                  <a:lnTo>
                    <a:pt x="129" y="245"/>
                  </a:lnTo>
                  <a:lnTo>
                    <a:pt x="127" y="239"/>
                  </a:lnTo>
                  <a:lnTo>
                    <a:pt x="132" y="230"/>
                  </a:lnTo>
                  <a:lnTo>
                    <a:pt x="143" y="228"/>
                  </a:lnTo>
                  <a:lnTo>
                    <a:pt x="145" y="218"/>
                  </a:lnTo>
                  <a:lnTo>
                    <a:pt x="149" y="212"/>
                  </a:lnTo>
                  <a:lnTo>
                    <a:pt x="150" y="208"/>
                  </a:lnTo>
                  <a:lnTo>
                    <a:pt x="152" y="208"/>
                  </a:lnTo>
                  <a:lnTo>
                    <a:pt x="154" y="205"/>
                  </a:lnTo>
                  <a:lnTo>
                    <a:pt x="160" y="205"/>
                  </a:lnTo>
                  <a:lnTo>
                    <a:pt x="160" y="203"/>
                  </a:lnTo>
                  <a:lnTo>
                    <a:pt x="161" y="199"/>
                  </a:lnTo>
                  <a:lnTo>
                    <a:pt x="161" y="198"/>
                  </a:lnTo>
                  <a:lnTo>
                    <a:pt x="163" y="198"/>
                  </a:lnTo>
                  <a:lnTo>
                    <a:pt x="167" y="199"/>
                  </a:lnTo>
                  <a:lnTo>
                    <a:pt x="180" y="201"/>
                  </a:lnTo>
                  <a:lnTo>
                    <a:pt x="181" y="199"/>
                  </a:lnTo>
                  <a:lnTo>
                    <a:pt x="181" y="190"/>
                  </a:lnTo>
                  <a:lnTo>
                    <a:pt x="181" y="178"/>
                  </a:lnTo>
                  <a:lnTo>
                    <a:pt x="180" y="167"/>
                  </a:lnTo>
                  <a:lnTo>
                    <a:pt x="178" y="161"/>
                  </a:lnTo>
                  <a:lnTo>
                    <a:pt x="174" y="161"/>
                  </a:lnTo>
                  <a:lnTo>
                    <a:pt x="172" y="161"/>
                  </a:lnTo>
                  <a:lnTo>
                    <a:pt x="169" y="167"/>
                  </a:lnTo>
                  <a:lnTo>
                    <a:pt x="167" y="167"/>
                  </a:lnTo>
                  <a:lnTo>
                    <a:pt x="163" y="158"/>
                  </a:lnTo>
                  <a:lnTo>
                    <a:pt x="161" y="154"/>
                  </a:lnTo>
                  <a:lnTo>
                    <a:pt x="172" y="148"/>
                  </a:lnTo>
                  <a:lnTo>
                    <a:pt x="170" y="134"/>
                  </a:lnTo>
                  <a:lnTo>
                    <a:pt x="201" y="105"/>
                  </a:lnTo>
                  <a:lnTo>
                    <a:pt x="207" y="112"/>
                  </a:lnTo>
                  <a:lnTo>
                    <a:pt x="203" y="132"/>
                  </a:lnTo>
                  <a:lnTo>
                    <a:pt x="220" y="138"/>
                  </a:lnTo>
                  <a:lnTo>
                    <a:pt x="230" y="148"/>
                  </a:lnTo>
                  <a:lnTo>
                    <a:pt x="243" y="154"/>
                  </a:lnTo>
                  <a:lnTo>
                    <a:pt x="247" y="148"/>
                  </a:lnTo>
                  <a:lnTo>
                    <a:pt x="261" y="152"/>
                  </a:lnTo>
                  <a:lnTo>
                    <a:pt x="276" y="159"/>
                  </a:lnTo>
                  <a:lnTo>
                    <a:pt x="310" y="148"/>
                  </a:lnTo>
                  <a:lnTo>
                    <a:pt x="312" y="148"/>
                  </a:lnTo>
                  <a:lnTo>
                    <a:pt x="321" y="138"/>
                  </a:lnTo>
                  <a:lnTo>
                    <a:pt x="330" y="134"/>
                  </a:lnTo>
                  <a:lnTo>
                    <a:pt x="332" y="130"/>
                  </a:lnTo>
                  <a:lnTo>
                    <a:pt x="328" y="134"/>
                  </a:lnTo>
                  <a:lnTo>
                    <a:pt x="321" y="1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7" name="Freeform 102">
              <a:extLst>
                <a:ext uri="{FF2B5EF4-FFF2-40B4-BE49-F238E27FC236}">
                  <a16:creationId xmlns:a16="http://schemas.microsoft.com/office/drawing/2014/main" id="{C49961BA-D6C9-AB4D-98CB-E354A39CB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267" y="3380233"/>
              <a:ext cx="541664" cy="522168"/>
            </a:xfrm>
            <a:custGeom>
              <a:avLst/>
              <a:gdLst>
                <a:gd name="T0" fmla="*/ 305 w 374"/>
                <a:gd name="T1" fmla="*/ 114 h 365"/>
                <a:gd name="T2" fmla="*/ 303 w 374"/>
                <a:gd name="T3" fmla="*/ 94 h 365"/>
                <a:gd name="T4" fmla="*/ 303 w 374"/>
                <a:gd name="T5" fmla="*/ 78 h 365"/>
                <a:gd name="T6" fmla="*/ 297 w 374"/>
                <a:gd name="T7" fmla="*/ 58 h 365"/>
                <a:gd name="T8" fmla="*/ 294 w 374"/>
                <a:gd name="T9" fmla="*/ 47 h 365"/>
                <a:gd name="T10" fmla="*/ 267 w 374"/>
                <a:gd name="T11" fmla="*/ 47 h 365"/>
                <a:gd name="T12" fmla="*/ 239 w 374"/>
                <a:gd name="T13" fmla="*/ 42 h 365"/>
                <a:gd name="T14" fmla="*/ 214 w 374"/>
                <a:gd name="T15" fmla="*/ 42 h 365"/>
                <a:gd name="T16" fmla="*/ 203 w 374"/>
                <a:gd name="T17" fmla="*/ 63 h 365"/>
                <a:gd name="T18" fmla="*/ 179 w 374"/>
                <a:gd name="T19" fmla="*/ 65 h 365"/>
                <a:gd name="T20" fmla="*/ 170 w 374"/>
                <a:gd name="T21" fmla="*/ 43 h 365"/>
                <a:gd name="T22" fmla="*/ 170 w 374"/>
                <a:gd name="T23" fmla="*/ 13 h 365"/>
                <a:gd name="T24" fmla="*/ 163 w 374"/>
                <a:gd name="T25" fmla="*/ 2 h 365"/>
                <a:gd name="T26" fmla="*/ 156 w 374"/>
                <a:gd name="T27" fmla="*/ 3 h 365"/>
                <a:gd name="T28" fmla="*/ 145 w 374"/>
                <a:gd name="T29" fmla="*/ 2 h 365"/>
                <a:gd name="T30" fmla="*/ 139 w 374"/>
                <a:gd name="T31" fmla="*/ 34 h 365"/>
                <a:gd name="T32" fmla="*/ 145 w 374"/>
                <a:gd name="T33" fmla="*/ 42 h 365"/>
                <a:gd name="T34" fmla="*/ 134 w 374"/>
                <a:gd name="T35" fmla="*/ 58 h 365"/>
                <a:gd name="T36" fmla="*/ 118 w 374"/>
                <a:gd name="T37" fmla="*/ 60 h 365"/>
                <a:gd name="T38" fmla="*/ 109 w 374"/>
                <a:gd name="T39" fmla="*/ 47 h 365"/>
                <a:gd name="T40" fmla="*/ 98 w 374"/>
                <a:gd name="T41" fmla="*/ 38 h 365"/>
                <a:gd name="T42" fmla="*/ 60 w 374"/>
                <a:gd name="T43" fmla="*/ 60 h 365"/>
                <a:gd name="T44" fmla="*/ 56 w 374"/>
                <a:gd name="T45" fmla="*/ 80 h 365"/>
                <a:gd name="T46" fmla="*/ 63 w 374"/>
                <a:gd name="T47" fmla="*/ 96 h 365"/>
                <a:gd name="T48" fmla="*/ 47 w 374"/>
                <a:gd name="T49" fmla="*/ 103 h 365"/>
                <a:gd name="T50" fmla="*/ 36 w 374"/>
                <a:gd name="T51" fmla="*/ 125 h 365"/>
                <a:gd name="T52" fmla="*/ 18 w 374"/>
                <a:gd name="T53" fmla="*/ 134 h 365"/>
                <a:gd name="T54" fmla="*/ 5 w 374"/>
                <a:gd name="T55" fmla="*/ 156 h 365"/>
                <a:gd name="T56" fmla="*/ 1 w 374"/>
                <a:gd name="T57" fmla="*/ 181 h 365"/>
                <a:gd name="T58" fmla="*/ 12 w 374"/>
                <a:gd name="T59" fmla="*/ 192 h 365"/>
                <a:gd name="T60" fmla="*/ 27 w 374"/>
                <a:gd name="T61" fmla="*/ 214 h 365"/>
                <a:gd name="T62" fmla="*/ 36 w 374"/>
                <a:gd name="T63" fmla="*/ 234 h 365"/>
                <a:gd name="T64" fmla="*/ 52 w 374"/>
                <a:gd name="T65" fmla="*/ 234 h 365"/>
                <a:gd name="T66" fmla="*/ 74 w 374"/>
                <a:gd name="T67" fmla="*/ 261 h 365"/>
                <a:gd name="T68" fmla="*/ 81 w 374"/>
                <a:gd name="T69" fmla="*/ 272 h 365"/>
                <a:gd name="T70" fmla="*/ 98 w 374"/>
                <a:gd name="T71" fmla="*/ 272 h 365"/>
                <a:gd name="T72" fmla="*/ 109 w 374"/>
                <a:gd name="T73" fmla="*/ 294 h 365"/>
                <a:gd name="T74" fmla="*/ 129 w 374"/>
                <a:gd name="T75" fmla="*/ 309 h 365"/>
                <a:gd name="T76" fmla="*/ 145 w 374"/>
                <a:gd name="T77" fmla="*/ 336 h 365"/>
                <a:gd name="T78" fmla="*/ 163 w 374"/>
                <a:gd name="T79" fmla="*/ 354 h 365"/>
                <a:gd name="T80" fmla="*/ 201 w 374"/>
                <a:gd name="T81" fmla="*/ 365 h 365"/>
                <a:gd name="T82" fmla="*/ 241 w 374"/>
                <a:gd name="T83" fmla="*/ 327 h 365"/>
                <a:gd name="T84" fmla="*/ 241 w 374"/>
                <a:gd name="T85" fmla="*/ 289 h 365"/>
                <a:gd name="T86" fmla="*/ 219 w 374"/>
                <a:gd name="T87" fmla="*/ 298 h 365"/>
                <a:gd name="T88" fmla="*/ 203 w 374"/>
                <a:gd name="T89" fmla="*/ 291 h 365"/>
                <a:gd name="T90" fmla="*/ 207 w 374"/>
                <a:gd name="T91" fmla="*/ 283 h 365"/>
                <a:gd name="T92" fmla="*/ 232 w 374"/>
                <a:gd name="T93" fmla="*/ 261 h 365"/>
                <a:gd name="T94" fmla="*/ 248 w 374"/>
                <a:gd name="T95" fmla="*/ 236 h 365"/>
                <a:gd name="T96" fmla="*/ 250 w 374"/>
                <a:gd name="T97" fmla="*/ 212 h 365"/>
                <a:gd name="T98" fmla="*/ 245 w 374"/>
                <a:gd name="T99" fmla="*/ 189 h 365"/>
                <a:gd name="T100" fmla="*/ 278 w 374"/>
                <a:gd name="T101" fmla="*/ 205 h 365"/>
                <a:gd name="T102" fmla="*/ 294 w 374"/>
                <a:gd name="T103" fmla="*/ 225 h 365"/>
                <a:gd name="T104" fmla="*/ 314 w 374"/>
                <a:gd name="T105" fmla="*/ 231 h 365"/>
                <a:gd name="T106" fmla="*/ 354 w 374"/>
                <a:gd name="T107" fmla="*/ 240 h 365"/>
                <a:gd name="T108" fmla="*/ 374 w 374"/>
                <a:gd name="T109" fmla="*/ 169 h 365"/>
                <a:gd name="T110" fmla="*/ 345 w 374"/>
                <a:gd name="T111" fmla="*/ 1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4" h="365">
                  <a:moveTo>
                    <a:pt x="345" y="165"/>
                  </a:moveTo>
                  <a:lnTo>
                    <a:pt x="325" y="156"/>
                  </a:lnTo>
                  <a:lnTo>
                    <a:pt x="312" y="136"/>
                  </a:lnTo>
                  <a:lnTo>
                    <a:pt x="305" y="114"/>
                  </a:lnTo>
                  <a:lnTo>
                    <a:pt x="303" y="100"/>
                  </a:lnTo>
                  <a:lnTo>
                    <a:pt x="303" y="92"/>
                  </a:lnTo>
                  <a:lnTo>
                    <a:pt x="303" y="92"/>
                  </a:lnTo>
                  <a:lnTo>
                    <a:pt x="303" y="94"/>
                  </a:lnTo>
                  <a:lnTo>
                    <a:pt x="301" y="92"/>
                  </a:lnTo>
                  <a:lnTo>
                    <a:pt x="301" y="92"/>
                  </a:lnTo>
                  <a:lnTo>
                    <a:pt x="301" y="85"/>
                  </a:lnTo>
                  <a:lnTo>
                    <a:pt x="303" y="78"/>
                  </a:lnTo>
                  <a:lnTo>
                    <a:pt x="303" y="69"/>
                  </a:lnTo>
                  <a:lnTo>
                    <a:pt x="303" y="65"/>
                  </a:lnTo>
                  <a:lnTo>
                    <a:pt x="301" y="62"/>
                  </a:lnTo>
                  <a:lnTo>
                    <a:pt x="297" y="58"/>
                  </a:lnTo>
                  <a:lnTo>
                    <a:pt x="294" y="54"/>
                  </a:lnTo>
                  <a:lnTo>
                    <a:pt x="294" y="51"/>
                  </a:lnTo>
                  <a:lnTo>
                    <a:pt x="294" y="47"/>
                  </a:lnTo>
                  <a:lnTo>
                    <a:pt x="294" y="47"/>
                  </a:lnTo>
                  <a:lnTo>
                    <a:pt x="283" y="47"/>
                  </a:lnTo>
                  <a:lnTo>
                    <a:pt x="274" y="51"/>
                  </a:lnTo>
                  <a:lnTo>
                    <a:pt x="270" y="51"/>
                  </a:lnTo>
                  <a:lnTo>
                    <a:pt x="267" y="47"/>
                  </a:lnTo>
                  <a:lnTo>
                    <a:pt x="259" y="43"/>
                  </a:lnTo>
                  <a:lnTo>
                    <a:pt x="252" y="43"/>
                  </a:lnTo>
                  <a:lnTo>
                    <a:pt x="247" y="43"/>
                  </a:lnTo>
                  <a:lnTo>
                    <a:pt x="239" y="42"/>
                  </a:lnTo>
                  <a:lnTo>
                    <a:pt x="232" y="40"/>
                  </a:lnTo>
                  <a:lnTo>
                    <a:pt x="227" y="40"/>
                  </a:lnTo>
                  <a:lnTo>
                    <a:pt x="223" y="40"/>
                  </a:lnTo>
                  <a:lnTo>
                    <a:pt x="214" y="42"/>
                  </a:lnTo>
                  <a:lnTo>
                    <a:pt x="210" y="47"/>
                  </a:lnTo>
                  <a:lnTo>
                    <a:pt x="207" y="52"/>
                  </a:lnTo>
                  <a:lnTo>
                    <a:pt x="205" y="58"/>
                  </a:lnTo>
                  <a:lnTo>
                    <a:pt x="203" y="63"/>
                  </a:lnTo>
                  <a:lnTo>
                    <a:pt x="201" y="69"/>
                  </a:lnTo>
                  <a:lnTo>
                    <a:pt x="198" y="74"/>
                  </a:lnTo>
                  <a:lnTo>
                    <a:pt x="183" y="72"/>
                  </a:lnTo>
                  <a:lnTo>
                    <a:pt x="179" y="65"/>
                  </a:lnTo>
                  <a:lnTo>
                    <a:pt x="176" y="60"/>
                  </a:lnTo>
                  <a:lnTo>
                    <a:pt x="172" y="56"/>
                  </a:lnTo>
                  <a:lnTo>
                    <a:pt x="172" y="52"/>
                  </a:lnTo>
                  <a:lnTo>
                    <a:pt x="170" y="43"/>
                  </a:lnTo>
                  <a:lnTo>
                    <a:pt x="169" y="36"/>
                  </a:lnTo>
                  <a:lnTo>
                    <a:pt x="167" y="31"/>
                  </a:lnTo>
                  <a:lnTo>
                    <a:pt x="167" y="23"/>
                  </a:lnTo>
                  <a:lnTo>
                    <a:pt x="170" y="13"/>
                  </a:lnTo>
                  <a:lnTo>
                    <a:pt x="170" y="5"/>
                  </a:lnTo>
                  <a:lnTo>
                    <a:pt x="167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1" y="2"/>
                  </a:lnTo>
                  <a:lnTo>
                    <a:pt x="159" y="5"/>
                  </a:lnTo>
                  <a:lnTo>
                    <a:pt x="158" y="5"/>
                  </a:lnTo>
                  <a:lnTo>
                    <a:pt x="156" y="3"/>
                  </a:lnTo>
                  <a:lnTo>
                    <a:pt x="150" y="2"/>
                  </a:lnTo>
                  <a:lnTo>
                    <a:pt x="149" y="0"/>
                  </a:lnTo>
                  <a:lnTo>
                    <a:pt x="147" y="0"/>
                  </a:lnTo>
                  <a:lnTo>
                    <a:pt x="145" y="2"/>
                  </a:lnTo>
                  <a:lnTo>
                    <a:pt x="141" y="14"/>
                  </a:lnTo>
                  <a:lnTo>
                    <a:pt x="139" y="20"/>
                  </a:lnTo>
                  <a:lnTo>
                    <a:pt x="139" y="25"/>
                  </a:lnTo>
                  <a:lnTo>
                    <a:pt x="139" y="34"/>
                  </a:lnTo>
                  <a:lnTo>
                    <a:pt x="141" y="38"/>
                  </a:lnTo>
                  <a:lnTo>
                    <a:pt x="141" y="40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5" y="43"/>
                  </a:lnTo>
                  <a:lnTo>
                    <a:pt x="143" y="47"/>
                  </a:lnTo>
                  <a:lnTo>
                    <a:pt x="139" y="54"/>
                  </a:lnTo>
                  <a:lnTo>
                    <a:pt x="134" y="58"/>
                  </a:lnTo>
                  <a:lnTo>
                    <a:pt x="130" y="60"/>
                  </a:lnTo>
                  <a:lnTo>
                    <a:pt x="129" y="60"/>
                  </a:lnTo>
                  <a:lnTo>
                    <a:pt x="121" y="58"/>
                  </a:lnTo>
                  <a:lnTo>
                    <a:pt x="118" y="60"/>
                  </a:lnTo>
                  <a:lnTo>
                    <a:pt x="114" y="58"/>
                  </a:lnTo>
                  <a:lnTo>
                    <a:pt x="110" y="58"/>
                  </a:lnTo>
                  <a:lnTo>
                    <a:pt x="110" y="56"/>
                  </a:lnTo>
                  <a:lnTo>
                    <a:pt x="109" y="47"/>
                  </a:lnTo>
                  <a:lnTo>
                    <a:pt x="107" y="38"/>
                  </a:lnTo>
                  <a:lnTo>
                    <a:pt x="107" y="31"/>
                  </a:lnTo>
                  <a:lnTo>
                    <a:pt x="101" y="36"/>
                  </a:lnTo>
                  <a:lnTo>
                    <a:pt x="98" y="38"/>
                  </a:lnTo>
                  <a:lnTo>
                    <a:pt x="89" y="38"/>
                  </a:lnTo>
                  <a:lnTo>
                    <a:pt x="83" y="33"/>
                  </a:lnTo>
                  <a:lnTo>
                    <a:pt x="74" y="47"/>
                  </a:lnTo>
                  <a:lnTo>
                    <a:pt x="60" y="60"/>
                  </a:lnTo>
                  <a:lnTo>
                    <a:pt x="58" y="69"/>
                  </a:lnTo>
                  <a:lnTo>
                    <a:pt x="56" y="76"/>
                  </a:lnTo>
                  <a:lnTo>
                    <a:pt x="56" y="78"/>
                  </a:lnTo>
                  <a:lnTo>
                    <a:pt x="56" y="80"/>
                  </a:lnTo>
                  <a:lnTo>
                    <a:pt x="61" y="87"/>
                  </a:lnTo>
                  <a:lnTo>
                    <a:pt x="63" y="92"/>
                  </a:lnTo>
                  <a:lnTo>
                    <a:pt x="63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56" y="100"/>
                  </a:lnTo>
                  <a:lnTo>
                    <a:pt x="52" y="102"/>
                  </a:lnTo>
                  <a:lnTo>
                    <a:pt x="47" y="103"/>
                  </a:lnTo>
                  <a:lnTo>
                    <a:pt x="45" y="105"/>
                  </a:lnTo>
                  <a:lnTo>
                    <a:pt x="43" y="114"/>
                  </a:lnTo>
                  <a:lnTo>
                    <a:pt x="40" y="120"/>
                  </a:lnTo>
                  <a:lnTo>
                    <a:pt x="36" y="125"/>
                  </a:lnTo>
                  <a:lnTo>
                    <a:pt x="32" y="129"/>
                  </a:lnTo>
                  <a:lnTo>
                    <a:pt x="31" y="129"/>
                  </a:lnTo>
                  <a:lnTo>
                    <a:pt x="21" y="134"/>
                  </a:lnTo>
                  <a:lnTo>
                    <a:pt x="18" y="134"/>
                  </a:lnTo>
                  <a:lnTo>
                    <a:pt x="14" y="140"/>
                  </a:lnTo>
                  <a:lnTo>
                    <a:pt x="11" y="143"/>
                  </a:lnTo>
                  <a:lnTo>
                    <a:pt x="7" y="149"/>
                  </a:lnTo>
                  <a:lnTo>
                    <a:pt x="5" y="156"/>
                  </a:lnTo>
                  <a:lnTo>
                    <a:pt x="1" y="162"/>
                  </a:lnTo>
                  <a:lnTo>
                    <a:pt x="0" y="167"/>
                  </a:lnTo>
                  <a:lnTo>
                    <a:pt x="0" y="172"/>
                  </a:lnTo>
                  <a:lnTo>
                    <a:pt x="1" y="181"/>
                  </a:lnTo>
                  <a:lnTo>
                    <a:pt x="1" y="185"/>
                  </a:lnTo>
                  <a:lnTo>
                    <a:pt x="5" y="187"/>
                  </a:lnTo>
                  <a:lnTo>
                    <a:pt x="11" y="191"/>
                  </a:lnTo>
                  <a:lnTo>
                    <a:pt x="12" y="192"/>
                  </a:lnTo>
                  <a:lnTo>
                    <a:pt x="16" y="203"/>
                  </a:lnTo>
                  <a:lnTo>
                    <a:pt x="18" y="207"/>
                  </a:lnTo>
                  <a:lnTo>
                    <a:pt x="21" y="211"/>
                  </a:lnTo>
                  <a:lnTo>
                    <a:pt x="27" y="214"/>
                  </a:lnTo>
                  <a:lnTo>
                    <a:pt x="32" y="221"/>
                  </a:lnTo>
                  <a:lnTo>
                    <a:pt x="32" y="227"/>
                  </a:lnTo>
                  <a:lnTo>
                    <a:pt x="34" y="231"/>
                  </a:lnTo>
                  <a:lnTo>
                    <a:pt x="36" y="234"/>
                  </a:lnTo>
                  <a:lnTo>
                    <a:pt x="38" y="234"/>
                  </a:lnTo>
                  <a:lnTo>
                    <a:pt x="47" y="232"/>
                  </a:lnTo>
                  <a:lnTo>
                    <a:pt x="49" y="232"/>
                  </a:lnTo>
                  <a:lnTo>
                    <a:pt x="52" y="234"/>
                  </a:lnTo>
                  <a:lnTo>
                    <a:pt x="61" y="247"/>
                  </a:lnTo>
                  <a:lnTo>
                    <a:pt x="65" y="252"/>
                  </a:lnTo>
                  <a:lnTo>
                    <a:pt x="69" y="256"/>
                  </a:lnTo>
                  <a:lnTo>
                    <a:pt x="74" y="261"/>
                  </a:lnTo>
                  <a:lnTo>
                    <a:pt x="76" y="265"/>
                  </a:lnTo>
                  <a:lnTo>
                    <a:pt x="80" y="269"/>
                  </a:lnTo>
                  <a:lnTo>
                    <a:pt x="80" y="272"/>
                  </a:lnTo>
                  <a:lnTo>
                    <a:pt x="81" y="272"/>
                  </a:lnTo>
                  <a:lnTo>
                    <a:pt x="87" y="271"/>
                  </a:lnTo>
                  <a:lnTo>
                    <a:pt x="90" y="271"/>
                  </a:lnTo>
                  <a:lnTo>
                    <a:pt x="94" y="271"/>
                  </a:lnTo>
                  <a:lnTo>
                    <a:pt x="98" y="272"/>
                  </a:lnTo>
                  <a:lnTo>
                    <a:pt x="101" y="278"/>
                  </a:lnTo>
                  <a:lnTo>
                    <a:pt x="103" y="285"/>
                  </a:lnTo>
                  <a:lnTo>
                    <a:pt x="107" y="291"/>
                  </a:lnTo>
                  <a:lnTo>
                    <a:pt x="109" y="294"/>
                  </a:lnTo>
                  <a:lnTo>
                    <a:pt x="118" y="301"/>
                  </a:lnTo>
                  <a:lnTo>
                    <a:pt x="129" y="294"/>
                  </a:lnTo>
                  <a:lnTo>
                    <a:pt x="136" y="305"/>
                  </a:lnTo>
                  <a:lnTo>
                    <a:pt x="129" y="309"/>
                  </a:lnTo>
                  <a:lnTo>
                    <a:pt x="138" y="320"/>
                  </a:lnTo>
                  <a:lnTo>
                    <a:pt x="145" y="325"/>
                  </a:lnTo>
                  <a:lnTo>
                    <a:pt x="145" y="334"/>
                  </a:lnTo>
                  <a:lnTo>
                    <a:pt x="145" y="336"/>
                  </a:lnTo>
                  <a:lnTo>
                    <a:pt x="145" y="336"/>
                  </a:lnTo>
                  <a:lnTo>
                    <a:pt x="156" y="334"/>
                  </a:lnTo>
                  <a:lnTo>
                    <a:pt x="167" y="347"/>
                  </a:lnTo>
                  <a:lnTo>
                    <a:pt x="163" y="354"/>
                  </a:lnTo>
                  <a:lnTo>
                    <a:pt x="167" y="360"/>
                  </a:lnTo>
                  <a:lnTo>
                    <a:pt x="170" y="358"/>
                  </a:lnTo>
                  <a:lnTo>
                    <a:pt x="179" y="356"/>
                  </a:lnTo>
                  <a:lnTo>
                    <a:pt x="201" y="365"/>
                  </a:lnTo>
                  <a:lnTo>
                    <a:pt x="219" y="352"/>
                  </a:lnTo>
                  <a:lnTo>
                    <a:pt x="214" y="340"/>
                  </a:lnTo>
                  <a:lnTo>
                    <a:pt x="234" y="327"/>
                  </a:lnTo>
                  <a:lnTo>
                    <a:pt x="241" y="327"/>
                  </a:lnTo>
                  <a:lnTo>
                    <a:pt x="265" y="309"/>
                  </a:lnTo>
                  <a:lnTo>
                    <a:pt x="250" y="291"/>
                  </a:lnTo>
                  <a:lnTo>
                    <a:pt x="245" y="294"/>
                  </a:lnTo>
                  <a:lnTo>
                    <a:pt x="241" y="289"/>
                  </a:lnTo>
                  <a:lnTo>
                    <a:pt x="227" y="296"/>
                  </a:lnTo>
                  <a:lnTo>
                    <a:pt x="228" y="301"/>
                  </a:lnTo>
                  <a:lnTo>
                    <a:pt x="223" y="305"/>
                  </a:lnTo>
                  <a:lnTo>
                    <a:pt x="219" y="298"/>
                  </a:lnTo>
                  <a:lnTo>
                    <a:pt x="212" y="294"/>
                  </a:lnTo>
                  <a:lnTo>
                    <a:pt x="207" y="296"/>
                  </a:lnTo>
                  <a:lnTo>
                    <a:pt x="205" y="292"/>
                  </a:lnTo>
                  <a:lnTo>
                    <a:pt x="203" y="291"/>
                  </a:lnTo>
                  <a:lnTo>
                    <a:pt x="209" y="289"/>
                  </a:lnTo>
                  <a:lnTo>
                    <a:pt x="207" y="287"/>
                  </a:lnTo>
                  <a:lnTo>
                    <a:pt x="207" y="285"/>
                  </a:lnTo>
                  <a:lnTo>
                    <a:pt x="207" y="283"/>
                  </a:lnTo>
                  <a:lnTo>
                    <a:pt x="210" y="278"/>
                  </a:lnTo>
                  <a:lnTo>
                    <a:pt x="218" y="272"/>
                  </a:lnTo>
                  <a:lnTo>
                    <a:pt x="223" y="263"/>
                  </a:lnTo>
                  <a:lnTo>
                    <a:pt x="232" y="261"/>
                  </a:lnTo>
                  <a:lnTo>
                    <a:pt x="241" y="261"/>
                  </a:lnTo>
                  <a:lnTo>
                    <a:pt x="243" y="261"/>
                  </a:lnTo>
                  <a:lnTo>
                    <a:pt x="239" y="247"/>
                  </a:lnTo>
                  <a:lnTo>
                    <a:pt x="248" y="236"/>
                  </a:lnTo>
                  <a:lnTo>
                    <a:pt x="250" y="229"/>
                  </a:lnTo>
                  <a:lnTo>
                    <a:pt x="252" y="223"/>
                  </a:lnTo>
                  <a:lnTo>
                    <a:pt x="252" y="220"/>
                  </a:lnTo>
                  <a:lnTo>
                    <a:pt x="250" y="212"/>
                  </a:lnTo>
                  <a:lnTo>
                    <a:pt x="248" y="207"/>
                  </a:lnTo>
                  <a:lnTo>
                    <a:pt x="245" y="200"/>
                  </a:lnTo>
                  <a:lnTo>
                    <a:pt x="245" y="191"/>
                  </a:lnTo>
                  <a:lnTo>
                    <a:pt x="245" y="189"/>
                  </a:lnTo>
                  <a:lnTo>
                    <a:pt x="247" y="187"/>
                  </a:lnTo>
                  <a:lnTo>
                    <a:pt x="248" y="183"/>
                  </a:lnTo>
                  <a:lnTo>
                    <a:pt x="268" y="194"/>
                  </a:lnTo>
                  <a:lnTo>
                    <a:pt x="278" y="205"/>
                  </a:lnTo>
                  <a:lnTo>
                    <a:pt x="294" y="214"/>
                  </a:lnTo>
                  <a:lnTo>
                    <a:pt x="294" y="220"/>
                  </a:lnTo>
                  <a:lnTo>
                    <a:pt x="294" y="223"/>
                  </a:lnTo>
                  <a:lnTo>
                    <a:pt x="294" y="225"/>
                  </a:lnTo>
                  <a:lnTo>
                    <a:pt x="296" y="232"/>
                  </a:lnTo>
                  <a:lnTo>
                    <a:pt x="303" y="229"/>
                  </a:lnTo>
                  <a:lnTo>
                    <a:pt x="308" y="234"/>
                  </a:lnTo>
                  <a:lnTo>
                    <a:pt x="314" y="231"/>
                  </a:lnTo>
                  <a:lnTo>
                    <a:pt x="323" y="241"/>
                  </a:lnTo>
                  <a:lnTo>
                    <a:pt x="330" y="240"/>
                  </a:lnTo>
                  <a:lnTo>
                    <a:pt x="343" y="251"/>
                  </a:lnTo>
                  <a:lnTo>
                    <a:pt x="354" y="240"/>
                  </a:lnTo>
                  <a:lnTo>
                    <a:pt x="350" y="231"/>
                  </a:lnTo>
                  <a:lnTo>
                    <a:pt x="356" y="211"/>
                  </a:lnTo>
                  <a:lnTo>
                    <a:pt x="347" y="201"/>
                  </a:lnTo>
                  <a:lnTo>
                    <a:pt x="374" y="169"/>
                  </a:lnTo>
                  <a:lnTo>
                    <a:pt x="359" y="165"/>
                  </a:lnTo>
                  <a:lnTo>
                    <a:pt x="345" y="165"/>
                  </a:lnTo>
                  <a:lnTo>
                    <a:pt x="345" y="165"/>
                  </a:lnTo>
                  <a:lnTo>
                    <a:pt x="345" y="1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8" name="Freeform 104">
              <a:extLst>
                <a:ext uri="{FF2B5EF4-FFF2-40B4-BE49-F238E27FC236}">
                  <a16:creationId xmlns:a16="http://schemas.microsoft.com/office/drawing/2014/main" id="{A30664A6-6045-E248-AB4C-4236A224D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57" y="4692091"/>
              <a:ext cx="111519" cy="78683"/>
            </a:xfrm>
            <a:custGeom>
              <a:avLst/>
              <a:gdLst>
                <a:gd name="T0" fmla="*/ 53 w 77"/>
                <a:gd name="T1" fmla="*/ 37 h 55"/>
                <a:gd name="T2" fmla="*/ 68 w 77"/>
                <a:gd name="T3" fmla="*/ 31 h 55"/>
                <a:gd name="T4" fmla="*/ 77 w 77"/>
                <a:gd name="T5" fmla="*/ 24 h 55"/>
                <a:gd name="T6" fmla="*/ 75 w 77"/>
                <a:gd name="T7" fmla="*/ 20 h 55"/>
                <a:gd name="T8" fmla="*/ 73 w 77"/>
                <a:gd name="T9" fmla="*/ 13 h 55"/>
                <a:gd name="T10" fmla="*/ 69 w 77"/>
                <a:gd name="T11" fmla="*/ 13 h 55"/>
                <a:gd name="T12" fmla="*/ 66 w 77"/>
                <a:gd name="T13" fmla="*/ 15 h 55"/>
                <a:gd name="T14" fmla="*/ 60 w 77"/>
                <a:gd name="T15" fmla="*/ 11 h 55"/>
                <a:gd name="T16" fmla="*/ 60 w 77"/>
                <a:gd name="T17" fmla="*/ 9 h 55"/>
                <a:gd name="T18" fmla="*/ 62 w 77"/>
                <a:gd name="T19" fmla="*/ 6 h 55"/>
                <a:gd name="T20" fmla="*/ 60 w 77"/>
                <a:gd name="T21" fmla="*/ 4 h 55"/>
                <a:gd name="T22" fmla="*/ 59 w 77"/>
                <a:gd name="T23" fmla="*/ 2 h 55"/>
                <a:gd name="T24" fmla="*/ 55 w 77"/>
                <a:gd name="T25" fmla="*/ 4 h 55"/>
                <a:gd name="T26" fmla="*/ 53 w 77"/>
                <a:gd name="T27" fmla="*/ 4 h 55"/>
                <a:gd name="T28" fmla="*/ 51 w 77"/>
                <a:gd name="T29" fmla="*/ 9 h 55"/>
                <a:gd name="T30" fmla="*/ 51 w 77"/>
                <a:gd name="T31" fmla="*/ 11 h 55"/>
                <a:gd name="T32" fmla="*/ 49 w 77"/>
                <a:gd name="T33" fmla="*/ 11 h 55"/>
                <a:gd name="T34" fmla="*/ 48 w 77"/>
                <a:gd name="T35" fmla="*/ 9 h 55"/>
                <a:gd name="T36" fmla="*/ 46 w 77"/>
                <a:gd name="T37" fmla="*/ 4 h 55"/>
                <a:gd name="T38" fmla="*/ 44 w 77"/>
                <a:gd name="T39" fmla="*/ 0 h 55"/>
                <a:gd name="T40" fmla="*/ 44 w 77"/>
                <a:gd name="T41" fmla="*/ 0 h 55"/>
                <a:gd name="T42" fmla="*/ 40 w 77"/>
                <a:gd name="T43" fmla="*/ 4 h 55"/>
                <a:gd name="T44" fmla="*/ 35 w 77"/>
                <a:gd name="T45" fmla="*/ 9 h 55"/>
                <a:gd name="T46" fmla="*/ 33 w 77"/>
                <a:gd name="T47" fmla="*/ 9 h 55"/>
                <a:gd name="T48" fmla="*/ 31 w 77"/>
                <a:gd name="T49" fmla="*/ 9 h 55"/>
                <a:gd name="T50" fmla="*/ 29 w 77"/>
                <a:gd name="T51" fmla="*/ 9 h 55"/>
                <a:gd name="T52" fmla="*/ 26 w 77"/>
                <a:gd name="T53" fmla="*/ 9 h 55"/>
                <a:gd name="T54" fmla="*/ 22 w 77"/>
                <a:gd name="T55" fmla="*/ 9 h 55"/>
                <a:gd name="T56" fmla="*/ 19 w 77"/>
                <a:gd name="T57" fmla="*/ 11 h 55"/>
                <a:gd name="T58" fmla="*/ 17 w 77"/>
                <a:gd name="T59" fmla="*/ 13 h 55"/>
                <a:gd name="T60" fmla="*/ 17 w 77"/>
                <a:gd name="T61" fmla="*/ 15 h 55"/>
                <a:gd name="T62" fmla="*/ 19 w 77"/>
                <a:gd name="T63" fmla="*/ 24 h 55"/>
                <a:gd name="T64" fmla="*/ 19 w 77"/>
                <a:gd name="T65" fmla="*/ 28 h 55"/>
                <a:gd name="T66" fmla="*/ 19 w 77"/>
                <a:gd name="T67" fmla="*/ 33 h 55"/>
                <a:gd name="T68" fmla="*/ 17 w 77"/>
                <a:gd name="T69" fmla="*/ 35 h 55"/>
                <a:gd name="T70" fmla="*/ 11 w 77"/>
                <a:gd name="T71" fmla="*/ 37 h 55"/>
                <a:gd name="T72" fmla="*/ 8 w 77"/>
                <a:gd name="T73" fmla="*/ 35 h 55"/>
                <a:gd name="T74" fmla="*/ 4 w 77"/>
                <a:gd name="T75" fmla="*/ 35 h 55"/>
                <a:gd name="T76" fmla="*/ 0 w 77"/>
                <a:gd name="T77" fmla="*/ 35 h 55"/>
                <a:gd name="T78" fmla="*/ 0 w 77"/>
                <a:gd name="T79" fmla="*/ 37 h 55"/>
                <a:gd name="T80" fmla="*/ 0 w 77"/>
                <a:gd name="T81" fmla="*/ 40 h 55"/>
                <a:gd name="T82" fmla="*/ 0 w 77"/>
                <a:gd name="T83" fmla="*/ 40 h 55"/>
                <a:gd name="T84" fmla="*/ 4 w 77"/>
                <a:gd name="T85" fmla="*/ 42 h 55"/>
                <a:gd name="T86" fmla="*/ 8 w 77"/>
                <a:gd name="T87" fmla="*/ 44 h 55"/>
                <a:gd name="T88" fmla="*/ 8 w 77"/>
                <a:gd name="T89" fmla="*/ 46 h 55"/>
                <a:gd name="T90" fmla="*/ 8 w 77"/>
                <a:gd name="T91" fmla="*/ 48 h 55"/>
                <a:gd name="T92" fmla="*/ 8 w 77"/>
                <a:gd name="T93" fmla="*/ 51 h 55"/>
                <a:gd name="T94" fmla="*/ 9 w 77"/>
                <a:gd name="T95" fmla="*/ 53 h 55"/>
                <a:gd name="T96" fmla="*/ 9 w 77"/>
                <a:gd name="T97" fmla="*/ 55 h 55"/>
                <a:gd name="T98" fmla="*/ 28 w 77"/>
                <a:gd name="T99" fmla="*/ 48 h 55"/>
                <a:gd name="T100" fmla="*/ 53 w 77"/>
                <a:gd name="T101" fmla="*/ 37 h 55"/>
                <a:gd name="T102" fmla="*/ 53 w 77"/>
                <a:gd name="T103" fmla="*/ 37 h 55"/>
                <a:gd name="T104" fmla="*/ 53 w 77"/>
                <a:gd name="T105" fmla="*/ 3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" h="55">
                  <a:moveTo>
                    <a:pt x="53" y="37"/>
                  </a:moveTo>
                  <a:lnTo>
                    <a:pt x="68" y="31"/>
                  </a:lnTo>
                  <a:lnTo>
                    <a:pt x="77" y="24"/>
                  </a:lnTo>
                  <a:lnTo>
                    <a:pt x="75" y="20"/>
                  </a:lnTo>
                  <a:lnTo>
                    <a:pt x="73" y="13"/>
                  </a:lnTo>
                  <a:lnTo>
                    <a:pt x="69" y="13"/>
                  </a:lnTo>
                  <a:lnTo>
                    <a:pt x="66" y="15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59" y="2"/>
                  </a:lnTo>
                  <a:lnTo>
                    <a:pt x="55" y="4"/>
                  </a:lnTo>
                  <a:lnTo>
                    <a:pt x="53" y="4"/>
                  </a:lnTo>
                  <a:lnTo>
                    <a:pt x="51" y="9"/>
                  </a:lnTo>
                  <a:lnTo>
                    <a:pt x="51" y="11"/>
                  </a:lnTo>
                  <a:lnTo>
                    <a:pt x="49" y="11"/>
                  </a:lnTo>
                  <a:lnTo>
                    <a:pt x="48" y="9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0" y="4"/>
                  </a:lnTo>
                  <a:lnTo>
                    <a:pt x="35" y="9"/>
                  </a:lnTo>
                  <a:lnTo>
                    <a:pt x="33" y="9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2" y="9"/>
                  </a:lnTo>
                  <a:lnTo>
                    <a:pt x="19" y="11"/>
                  </a:lnTo>
                  <a:lnTo>
                    <a:pt x="17" y="13"/>
                  </a:lnTo>
                  <a:lnTo>
                    <a:pt x="17" y="15"/>
                  </a:lnTo>
                  <a:lnTo>
                    <a:pt x="19" y="24"/>
                  </a:lnTo>
                  <a:lnTo>
                    <a:pt x="19" y="28"/>
                  </a:lnTo>
                  <a:lnTo>
                    <a:pt x="19" y="33"/>
                  </a:lnTo>
                  <a:lnTo>
                    <a:pt x="17" y="35"/>
                  </a:lnTo>
                  <a:lnTo>
                    <a:pt x="11" y="37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0" y="35"/>
                  </a:lnTo>
                  <a:lnTo>
                    <a:pt x="0" y="37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2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51"/>
                  </a:lnTo>
                  <a:lnTo>
                    <a:pt x="9" y="53"/>
                  </a:lnTo>
                  <a:lnTo>
                    <a:pt x="9" y="55"/>
                  </a:lnTo>
                  <a:lnTo>
                    <a:pt x="28" y="48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3" y="3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9" name="Freeform 105">
              <a:extLst>
                <a:ext uri="{FF2B5EF4-FFF2-40B4-BE49-F238E27FC236}">
                  <a16:creationId xmlns:a16="http://schemas.microsoft.com/office/drawing/2014/main" id="{3806C64E-A072-DC42-8229-EF58E1102A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391" y="4726425"/>
              <a:ext cx="127450" cy="80113"/>
            </a:xfrm>
            <a:custGeom>
              <a:avLst/>
              <a:gdLst>
                <a:gd name="T0" fmla="*/ 84 w 88"/>
                <a:gd name="T1" fmla="*/ 13 h 56"/>
                <a:gd name="T2" fmla="*/ 80 w 88"/>
                <a:gd name="T3" fmla="*/ 15 h 56"/>
                <a:gd name="T4" fmla="*/ 73 w 88"/>
                <a:gd name="T5" fmla="*/ 13 h 56"/>
                <a:gd name="T6" fmla="*/ 71 w 88"/>
                <a:gd name="T7" fmla="*/ 11 h 56"/>
                <a:gd name="T8" fmla="*/ 71 w 88"/>
                <a:gd name="T9" fmla="*/ 9 h 56"/>
                <a:gd name="T10" fmla="*/ 73 w 88"/>
                <a:gd name="T11" fmla="*/ 4 h 56"/>
                <a:gd name="T12" fmla="*/ 68 w 88"/>
                <a:gd name="T13" fmla="*/ 0 h 56"/>
                <a:gd name="T14" fmla="*/ 59 w 88"/>
                <a:gd name="T15" fmla="*/ 7 h 56"/>
                <a:gd name="T16" fmla="*/ 44 w 88"/>
                <a:gd name="T17" fmla="*/ 13 h 56"/>
                <a:gd name="T18" fmla="*/ 19 w 88"/>
                <a:gd name="T19" fmla="*/ 24 h 56"/>
                <a:gd name="T20" fmla="*/ 0 w 88"/>
                <a:gd name="T21" fmla="*/ 31 h 56"/>
                <a:gd name="T22" fmla="*/ 2 w 88"/>
                <a:gd name="T23" fmla="*/ 34 h 56"/>
                <a:gd name="T24" fmla="*/ 2 w 88"/>
                <a:gd name="T25" fmla="*/ 36 h 56"/>
                <a:gd name="T26" fmla="*/ 4 w 88"/>
                <a:gd name="T27" fmla="*/ 40 h 56"/>
                <a:gd name="T28" fmla="*/ 8 w 88"/>
                <a:gd name="T29" fmla="*/ 45 h 56"/>
                <a:gd name="T30" fmla="*/ 8 w 88"/>
                <a:gd name="T31" fmla="*/ 51 h 56"/>
                <a:gd name="T32" fmla="*/ 8 w 88"/>
                <a:gd name="T33" fmla="*/ 56 h 56"/>
                <a:gd name="T34" fmla="*/ 15 w 88"/>
                <a:gd name="T35" fmla="*/ 56 h 56"/>
                <a:gd name="T36" fmla="*/ 22 w 88"/>
                <a:gd name="T37" fmla="*/ 54 h 56"/>
                <a:gd name="T38" fmla="*/ 30 w 88"/>
                <a:gd name="T39" fmla="*/ 54 h 56"/>
                <a:gd name="T40" fmla="*/ 33 w 88"/>
                <a:gd name="T41" fmla="*/ 53 h 56"/>
                <a:gd name="T42" fmla="*/ 37 w 88"/>
                <a:gd name="T43" fmla="*/ 51 h 56"/>
                <a:gd name="T44" fmla="*/ 39 w 88"/>
                <a:gd name="T45" fmla="*/ 51 h 56"/>
                <a:gd name="T46" fmla="*/ 42 w 88"/>
                <a:gd name="T47" fmla="*/ 51 h 56"/>
                <a:gd name="T48" fmla="*/ 44 w 88"/>
                <a:gd name="T49" fmla="*/ 51 h 56"/>
                <a:gd name="T50" fmla="*/ 46 w 88"/>
                <a:gd name="T51" fmla="*/ 54 h 56"/>
                <a:gd name="T52" fmla="*/ 51 w 88"/>
                <a:gd name="T53" fmla="*/ 54 h 56"/>
                <a:gd name="T54" fmla="*/ 53 w 88"/>
                <a:gd name="T55" fmla="*/ 53 h 56"/>
                <a:gd name="T56" fmla="*/ 55 w 88"/>
                <a:gd name="T57" fmla="*/ 49 h 56"/>
                <a:gd name="T58" fmla="*/ 57 w 88"/>
                <a:gd name="T59" fmla="*/ 44 h 56"/>
                <a:gd name="T60" fmla="*/ 60 w 88"/>
                <a:gd name="T61" fmla="*/ 38 h 56"/>
                <a:gd name="T62" fmla="*/ 71 w 88"/>
                <a:gd name="T63" fmla="*/ 31 h 56"/>
                <a:gd name="T64" fmla="*/ 73 w 88"/>
                <a:gd name="T65" fmla="*/ 29 h 56"/>
                <a:gd name="T66" fmla="*/ 77 w 88"/>
                <a:gd name="T67" fmla="*/ 29 h 56"/>
                <a:gd name="T68" fmla="*/ 84 w 88"/>
                <a:gd name="T69" fmla="*/ 29 h 56"/>
                <a:gd name="T70" fmla="*/ 84 w 88"/>
                <a:gd name="T71" fmla="*/ 24 h 56"/>
                <a:gd name="T72" fmla="*/ 88 w 88"/>
                <a:gd name="T73" fmla="*/ 16 h 56"/>
                <a:gd name="T74" fmla="*/ 84 w 88"/>
                <a:gd name="T75" fmla="*/ 13 h 56"/>
                <a:gd name="T76" fmla="*/ 84 w 88"/>
                <a:gd name="T77" fmla="*/ 13 h 56"/>
                <a:gd name="T78" fmla="*/ 84 w 88"/>
                <a:gd name="T79" fmla="*/ 1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" h="56">
                  <a:moveTo>
                    <a:pt x="84" y="13"/>
                  </a:moveTo>
                  <a:lnTo>
                    <a:pt x="80" y="15"/>
                  </a:lnTo>
                  <a:lnTo>
                    <a:pt x="73" y="13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3" y="4"/>
                  </a:lnTo>
                  <a:lnTo>
                    <a:pt x="68" y="0"/>
                  </a:lnTo>
                  <a:lnTo>
                    <a:pt x="59" y="7"/>
                  </a:lnTo>
                  <a:lnTo>
                    <a:pt x="44" y="13"/>
                  </a:lnTo>
                  <a:lnTo>
                    <a:pt x="19" y="24"/>
                  </a:lnTo>
                  <a:lnTo>
                    <a:pt x="0" y="31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8" y="45"/>
                  </a:lnTo>
                  <a:lnTo>
                    <a:pt x="8" y="51"/>
                  </a:lnTo>
                  <a:lnTo>
                    <a:pt x="8" y="56"/>
                  </a:lnTo>
                  <a:lnTo>
                    <a:pt x="15" y="56"/>
                  </a:lnTo>
                  <a:lnTo>
                    <a:pt x="22" y="54"/>
                  </a:lnTo>
                  <a:lnTo>
                    <a:pt x="30" y="54"/>
                  </a:lnTo>
                  <a:lnTo>
                    <a:pt x="33" y="53"/>
                  </a:lnTo>
                  <a:lnTo>
                    <a:pt x="37" y="51"/>
                  </a:lnTo>
                  <a:lnTo>
                    <a:pt x="39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6" y="54"/>
                  </a:lnTo>
                  <a:lnTo>
                    <a:pt x="51" y="54"/>
                  </a:lnTo>
                  <a:lnTo>
                    <a:pt x="53" y="53"/>
                  </a:lnTo>
                  <a:lnTo>
                    <a:pt x="55" y="49"/>
                  </a:lnTo>
                  <a:lnTo>
                    <a:pt x="57" y="44"/>
                  </a:lnTo>
                  <a:lnTo>
                    <a:pt x="60" y="38"/>
                  </a:lnTo>
                  <a:lnTo>
                    <a:pt x="71" y="31"/>
                  </a:lnTo>
                  <a:lnTo>
                    <a:pt x="73" y="29"/>
                  </a:lnTo>
                  <a:lnTo>
                    <a:pt x="77" y="29"/>
                  </a:lnTo>
                  <a:lnTo>
                    <a:pt x="84" y="29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0" name="Freeform 106">
              <a:extLst>
                <a:ext uri="{FF2B5EF4-FFF2-40B4-BE49-F238E27FC236}">
                  <a16:creationId xmlns:a16="http://schemas.microsoft.com/office/drawing/2014/main" id="{9C6CBA37-44A0-B344-B323-B5EF10AB3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675" y="3297258"/>
              <a:ext cx="305591" cy="298995"/>
            </a:xfrm>
            <a:custGeom>
              <a:avLst/>
              <a:gdLst>
                <a:gd name="T0" fmla="*/ 205 w 211"/>
                <a:gd name="T1" fmla="*/ 140 h 209"/>
                <a:gd name="T2" fmla="*/ 194 w 211"/>
                <a:gd name="T3" fmla="*/ 125 h 209"/>
                <a:gd name="T4" fmla="*/ 183 w 211"/>
                <a:gd name="T5" fmla="*/ 114 h 209"/>
                <a:gd name="T6" fmla="*/ 178 w 211"/>
                <a:gd name="T7" fmla="*/ 114 h 209"/>
                <a:gd name="T8" fmla="*/ 180 w 211"/>
                <a:gd name="T9" fmla="*/ 121 h 209"/>
                <a:gd name="T10" fmla="*/ 176 w 211"/>
                <a:gd name="T11" fmla="*/ 125 h 209"/>
                <a:gd name="T12" fmla="*/ 167 w 211"/>
                <a:gd name="T13" fmla="*/ 118 h 209"/>
                <a:gd name="T14" fmla="*/ 156 w 211"/>
                <a:gd name="T15" fmla="*/ 114 h 209"/>
                <a:gd name="T16" fmla="*/ 138 w 211"/>
                <a:gd name="T17" fmla="*/ 101 h 209"/>
                <a:gd name="T18" fmla="*/ 132 w 211"/>
                <a:gd name="T19" fmla="*/ 40 h 209"/>
                <a:gd name="T20" fmla="*/ 129 w 211"/>
                <a:gd name="T21" fmla="*/ 23 h 209"/>
                <a:gd name="T22" fmla="*/ 131 w 211"/>
                <a:gd name="T23" fmla="*/ 14 h 209"/>
                <a:gd name="T24" fmla="*/ 74 w 211"/>
                <a:gd name="T25" fmla="*/ 1 h 209"/>
                <a:gd name="T26" fmla="*/ 87 w 211"/>
                <a:gd name="T27" fmla="*/ 18 h 209"/>
                <a:gd name="T28" fmla="*/ 85 w 211"/>
                <a:gd name="T29" fmla="*/ 31 h 209"/>
                <a:gd name="T30" fmla="*/ 78 w 211"/>
                <a:gd name="T31" fmla="*/ 43 h 209"/>
                <a:gd name="T32" fmla="*/ 83 w 211"/>
                <a:gd name="T33" fmla="*/ 60 h 209"/>
                <a:gd name="T34" fmla="*/ 76 w 211"/>
                <a:gd name="T35" fmla="*/ 74 h 209"/>
                <a:gd name="T36" fmla="*/ 69 w 211"/>
                <a:gd name="T37" fmla="*/ 60 h 209"/>
                <a:gd name="T38" fmla="*/ 65 w 211"/>
                <a:gd name="T39" fmla="*/ 43 h 209"/>
                <a:gd name="T40" fmla="*/ 51 w 211"/>
                <a:gd name="T41" fmla="*/ 38 h 209"/>
                <a:gd name="T42" fmla="*/ 45 w 211"/>
                <a:gd name="T43" fmla="*/ 32 h 209"/>
                <a:gd name="T44" fmla="*/ 34 w 211"/>
                <a:gd name="T45" fmla="*/ 32 h 209"/>
                <a:gd name="T46" fmla="*/ 25 w 211"/>
                <a:gd name="T47" fmla="*/ 40 h 209"/>
                <a:gd name="T48" fmla="*/ 2 w 211"/>
                <a:gd name="T49" fmla="*/ 40 h 209"/>
                <a:gd name="T50" fmla="*/ 5 w 211"/>
                <a:gd name="T51" fmla="*/ 51 h 209"/>
                <a:gd name="T52" fmla="*/ 4 w 211"/>
                <a:gd name="T53" fmla="*/ 58 h 209"/>
                <a:gd name="T54" fmla="*/ 9 w 211"/>
                <a:gd name="T55" fmla="*/ 72 h 209"/>
                <a:gd name="T56" fmla="*/ 4 w 211"/>
                <a:gd name="T57" fmla="*/ 85 h 209"/>
                <a:gd name="T58" fmla="*/ 2 w 211"/>
                <a:gd name="T59" fmla="*/ 98 h 209"/>
                <a:gd name="T60" fmla="*/ 2 w 211"/>
                <a:gd name="T61" fmla="*/ 109 h 209"/>
                <a:gd name="T62" fmla="*/ 7 w 211"/>
                <a:gd name="T63" fmla="*/ 110 h 209"/>
                <a:gd name="T64" fmla="*/ 11 w 211"/>
                <a:gd name="T65" fmla="*/ 110 h 209"/>
                <a:gd name="T66" fmla="*/ 22 w 211"/>
                <a:gd name="T67" fmla="*/ 105 h 209"/>
                <a:gd name="T68" fmla="*/ 25 w 211"/>
                <a:gd name="T69" fmla="*/ 110 h 209"/>
                <a:gd name="T70" fmla="*/ 34 w 211"/>
                <a:gd name="T71" fmla="*/ 118 h 209"/>
                <a:gd name="T72" fmla="*/ 49 w 211"/>
                <a:gd name="T73" fmla="*/ 120 h 209"/>
                <a:gd name="T74" fmla="*/ 58 w 211"/>
                <a:gd name="T75" fmla="*/ 127 h 209"/>
                <a:gd name="T76" fmla="*/ 69 w 211"/>
                <a:gd name="T77" fmla="*/ 121 h 209"/>
                <a:gd name="T78" fmla="*/ 74 w 211"/>
                <a:gd name="T79" fmla="*/ 138 h 209"/>
                <a:gd name="T80" fmla="*/ 74 w 211"/>
                <a:gd name="T81" fmla="*/ 154 h 209"/>
                <a:gd name="T82" fmla="*/ 83 w 211"/>
                <a:gd name="T83" fmla="*/ 154 h 209"/>
                <a:gd name="T84" fmla="*/ 93 w 211"/>
                <a:gd name="T85" fmla="*/ 158 h 209"/>
                <a:gd name="T86" fmla="*/ 98 w 211"/>
                <a:gd name="T87" fmla="*/ 165 h 209"/>
                <a:gd name="T88" fmla="*/ 100 w 211"/>
                <a:gd name="T89" fmla="*/ 174 h 209"/>
                <a:gd name="T90" fmla="*/ 98 w 211"/>
                <a:gd name="T91" fmla="*/ 183 h 209"/>
                <a:gd name="T92" fmla="*/ 107 w 211"/>
                <a:gd name="T93" fmla="*/ 203 h 209"/>
                <a:gd name="T94" fmla="*/ 116 w 211"/>
                <a:gd name="T95" fmla="*/ 203 h 209"/>
                <a:gd name="T96" fmla="*/ 132 w 211"/>
                <a:gd name="T97" fmla="*/ 207 h 209"/>
                <a:gd name="T98" fmla="*/ 145 w 211"/>
                <a:gd name="T99" fmla="*/ 203 h 209"/>
                <a:gd name="T100" fmla="*/ 149 w 211"/>
                <a:gd name="T101" fmla="*/ 196 h 209"/>
                <a:gd name="T102" fmla="*/ 156 w 211"/>
                <a:gd name="T103" fmla="*/ 181 h 209"/>
                <a:gd name="T104" fmla="*/ 180 w 211"/>
                <a:gd name="T105" fmla="*/ 167 h 209"/>
                <a:gd name="T106" fmla="*/ 192 w 211"/>
                <a:gd name="T107" fmla="*/ 163 h 209"/>
                <a:gd name="T108" fmla="*/ 200 w 211"/>
                <a:gd name="T109" fmla="*/ 161 h 209"/>
                <a:gd name="T110" fmla="*/ 211 w 211"/>
                <a:gd name="T111" fmla="*/ 154 h 209"/>
                <a:gd name="T112" fmla="*/ 211 w 211"/>
                <a:gd name="T113" fmla="*/ 14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1" h="209">
                  <a:moveTo>
                    <a:pt x="211" y="147"/>
                  </a:moveTo>
                  <a:lnTo>
                    <a:pt x="205" y="143"/>
                  </a:lnTo>
                  <a:lnTo>
                    <a:pt x="205" y="140"/>
                  </a:lnTo>
                  <a:lnTo>
                    <a:pt x="198" y="132"/>
                  </a:lnTo>
                  <a:lnTo>
                    <a:pt x="196" y="127"/>
                  </a:lnTo>
                  <a:lnTo>
                    <a:pt x="194" y="125"/>
                  </a:lnTo>
                  <a:lnTo>
                    <a:pt x="194" y="121"/>
                  </a:lnTo>
                  <a:lnTo>
                    <a:pt x="189" y="118"/>
                  </a:lnTo>
                  <a:lnTo>
                    <a:pt x="183" y="114"/>
                  </a:lnTo>
                  <a:lnTo>
                    <a:pt x="180" y="112"/>
                  </a:lnTo>
                  <a:lnTo>
                    <a:pt x="178" y="112"/>
                  </a:lnTo>
                  <a:lnTo>
                    <a:pt x="178" y="114"/>
                  </a:lnTo>
                  <a:lnTo>
                    <a:pt x="178" y="116"/>
                  </a:lnTo>
                  <a:lnTo>
                    <a:pt x="180" y="118"/>
                  </a:lnTo>
                  <a:lnTo>
                    <a:pt x="180" y="121"/>
                  </a:lnTo>
                  <a:lnTo>
                    <a:pt x="178" y="125"/>
                  </a:lnTo>
                  <a:lnTo>
                    <a:pt x="178" y="125"/>
                  </a:lnTo>
                  <a:lnTo>
                    <a:pt x="176" y="125"/>
                  </a:lnTo>
                  <a:lnTo>
                    <a:pt x="172" y="121"/>
                  </a:lnTo>
                  <a:lnTo>
                    <a:pt x="169" y="118"/>
                  </a:lnTo>
                  <a:lnTo>
                    <a:pt x="167" y="118"/>
                  </a:lnTo>
                  <a:lnTo>
                    <a:pt x="163" y="116"/>
                  </a:lnTo>
                  <a:lnTo>
                    <a:pt x="158" y="116"/>
                  </a:lnTo>
                  <a:lnTo>
                    <a:pt x="156" y="114"/>
                  </a:lnTo>
                  <a:lnTo>
                    <a:pt x="151" y="116"/>
                  </a:lnTo>
                  <a:lnTo>
                    <a:pt x="145" y="112"/>
                  </a:lnTo>
                  <a:lnTo>
                    <a:pt x="138" y="101"/>
                  </a:lnTo>
                  <a:lnTo>
                    <a:pt x="134" y="83"/>
                  </a:lnTo>
                  <a:lnTo>
                    <a:pt x="132" y="51"/>
                  </a:lnTo>
                  <a:lnTo>
                    <a:pt x="132" y="40"/>
                  </a:lnTo>
                  <a:lnTo>
                    <a:pt x="132" y="32"/>
                  </a:lnTo>
                  <a:lnTo>
                    <a:pt x="131" y="29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29" y="18"/>
                  </a:lnTo>
                  <a:lnTo>
                    <a:pt x="131" y="14"/>
                  </a:lnTo>
                  <a:lnTo>
                    <a:pt x="83" y="1"/>
                  </a:lnTo>
                  <a:lnTo>
                    <a:pt x="78" y="0"/>
                  </a:lnTo>
                  <a:lnTo>
                    <a:pt x="74" y="1"/>
                  </a:lnTo>
                  <a:lnTo>
                    <a:pt x="83" y="12"/>
                  </a:lnTo>
                  <a:lnTo>
                    <a:pt x="83" y="14"/>
                  </a:lnTo>
                  <a:lnTo>
                    <a:pt x="87" y="18"/>
                  </a:lnTo>
                  <a:lnTo>
                    <a:pt x="87" y="23"/>
                  </a:lnTo>
                  <a:lnTo>
                    <a:pt x="87" y="29"/>
                  </a:lnTo>
                  <a:lnTo>
                    <a:pt x="85" y="31"/>
                  </a:lnTo>
                  <a:lnTo>
                    <a:pt x="80" y="34"/>
                  </a:lnTo>
                  <a:lnTo>
                    <a:pt x="78" y="38"/>
                  </a:lnTo>
                  <a:lnTo>
                    <a:pt x="78" y="43"/>
                  </a:lnTo>
                  <a:lnTo>
                    <a:pt x="80" y="49"/>
                  </a:lnTo>
                  <a:lnTo>
                    <a:pt x="83" y="56"/>
                  </a:lnTo>
                  <a:lnTo>
                    <a:pt x="83" y="60"/>
                  </a:lnTo>
                  <a:lnTo>
                    <a:pt x="83" y="63"/>
                  </a:lnTo>
                  <a:lnTo>
                    <a:pt x="80" y="71"/>
                  </a:lnTo>
                  <a:lnTo>
                    <a:pt x="76" y="74"/>
                  </a:lnTo>
                  <a:lnTo>
                    <a:pt x="73" y="78"/>
                  </a:lnTo>
                  <a:lnTo>
                    <a:pt x="71" y="71"/>
                  </a:lnTo>
                  <a:lnTo>
                    <a:pt x="69" y="60"/>
                  </a:lnTo>
                  <a:lnTo>
                    <a:pt x="67" y="52"/>
                  </a:lnTo>
                  <a:lnTo>
                    <a:pt x="67" y="49"/>
                  </a:lnTo>
                  <a:lnTo>
                    <a:pt x="65" y="43"/>
                  </a:lnTo>
                  <a:lnTo>
                    <a:pt x="63" y="41"/>
                  </a:lnTo>
                  <a:lnTo>
                    <a:pt x="58" y="40"/>
                  </a:lnTo>
                  <a:lnTo>
                    <a:pt x="51" y="38"/>
                  </a:lnTo>
                  <a:lnTo>
                    <a:pt x="49" y="36"/>
                  </a:lnTo>
                  <a:lnTo>
                    <a:pt x="47" y="34"/>
                  </a:lnTo>
                  <a:lnTo>
                    <a:pt x="45" y="32"/>
                  </a:lnTo>
                  <a:lnTo>
                    <a:pt x="42" y="31"/>
                  </a:lnTo>
                  <a:lnTo>
                    <a:pt x="34" y="29"/>
                  </a:lnTo>
                  <a:lnTo>
                    <a:pt x="34" y="32"/>
                  </a:lnTo>
                  <a:lnTo>
                    <a:pt x="33" y="34"/>
                  </a:lnTo>
                  <a:lnTo>
                    <a:pt x="29" y="38"/>
                  </a:lnTo>
                  <a:lnTo>
                    <a:pt x="25" y="40"/>
                  </a:lnTo>
                  <a:lnTo>
                    <a:pt x="22" y="40"/>
                  </a:lnTo>
                  <a:lnTo>
                    <a:pt x="4" y="40"/>
                  </a:lnTo>
                  <a:lnTo>
                    <a:pt x="2" y="40"/>
                  </a:lnTo>
                  <a:lnTo>
                    <a:pt x="4" y="43"/>
                  </a:lnTo>
                  <a:lnTo>
                    <a:pt x="5" y="47"/>
                  </a:lnTo>
                  <a:lnTo>
                    <a:pt x="5" y="51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5" y="61"/>
                  </a:lnTo>
                  <a:lnTo>
                    <a:pt x="9" y="65"/>
                  </a:lnTo>
                  <a:lnTo>
                    <a:pt x="9" y="72"/>
                  </a:lnTo>
                  <a:lnTo>
                    <a:pt x="9" y="76"/>
                  </a:lnTo>
                  <a:lnTo>
                    <a:pt x="5" y="83"/>
                  </a:lnTo>
                  <a:lnTo>
                    <a:pt x="4" y="85"/>
                  </a:lnTo>
                  <a:lnTo>
                    <a:pt x="2" y="91"/>
                  </a:lnTo>
                  <a:lnTo>
                    <a:pt x="2" y="94"/>
                  </a:lnTo>
                  <a:lnTo>
                    <a:pt x="2" y="98"/>
                  </a:lnTo>
                  <a:lnTo>
                    <a:pt x="0" y="101"/>
                  </a:lnTo>
                  <a:lnTo>
                    <a:pt x="2" y="105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5" y="110"/>
                  </a:lnTo>
                  <a:lnTo>
                    <a:pt x="7" y="110"/>
                  </a:lnTo>
                  <a:lnTo>
                    <a:pt x="9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4" y="109"/>
                  </a:lnTo>
                  <a:lnTo>
                    <a:pt x="16" y="105"/>
                  </a:lnTo>
                  <a:lnTo>
                    <a:pt x="22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10"/>
                  </a:lnTo>
                  <a:lnTo>
                    <a:pt x="27" y="114"/>
                  </a:lnTo>
                  <a:lnTo>
                    <a:pt x="31" y="118"/>
                  </a:lnTo>
                  <a:lnTo>
                    <a:pt x="34" y="118"/>
                  </a:lnTo>
                  <a:lnTo>
                    <a:pt x="38" y="118"/>
                  </a:lnTo>
                  <a:lnTo>
                    <a:pt x="45" y="118"/>
                  </a:lnTo>
                  <a:lnTo>
                    <a:pt x="49" y="120"/>
                  </a:lnTo>
                  <a:lnTo>
                    <a:pt x="51" y="121"/>
                  </a:lnTo>
                  <a:lnTo>
                    <a:pt x="54" y="125"/>
                  </a:lnTo>
                  <a:lnTo>
                    <a:pt x="58" y="127"/>
                  </a:lnTo>
                  <a:lnTo>
                    <a:pt x="62" y="125"/>
                  </a:lnTo>
                  <a:lnTo>
                    <a:pt x="67" y="121"/>
                  </a:lnTo>
                  <a:lnTo>
                    <a:pt x="69" y="121"/>
                  </a:lnTo>
                  <a:lnTo>
                    <a:pt x="71" y="123"/>
                  </a:lnTo>
                  <a:lnTo>
                    <a:pt x="74" y="132"/>
                  </a:lnTo>
                  <a:lnTo>
                    <a:pt x="74" y="138"/>
                  </a:lnTo>
                  <a:lnTo>
                    <a:pt x="74" y="141"/>
                  </a:lnTo>
                  <a:lnTo>
                    <a:pt x="74" y="152"/>
                  </a:lnTo>
                  <a:lnTo>
                    <a:pt x="74" y="154"/>
                  </a:lnTo>
                  <a:lnTo>
                    <a:pt x="74" y="156"/>
                  </a:lnTo>
                  <a:lnTo>
                    <a:pt x="76" y="156"/>
                  </a:lnTo>
                  <a:lnTo>
                    <a:pt x="83" y="154"/>
                  </a:lnTo>
                  <a:lnTo>
                    <a:pt x="89" y="152"/>
                  </a:lnTo>
                  <a:lnTo>
                    <a:pt x="91" y="154"/>
                  </a:lnTo>
                  <a:lnTo>
                    <a:pt x="93" y="158"/>
                  </a:lnTo>
                  <a:lnTo>
                    <a:pt x="94" y="161"/>
                  </a:lnTo>
                  <a:lnTo>
                    <a:pt x="94" y="163"/>
                  </a:lnTo>
                  <a:lnTo>
                    <a:pt x="98" y="165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0" y="174"/>
                  </a:lnTo>
                  <a:lnTo>
                    <a:pt x="98" y="180"/>
                  </a:lnTo>
                  <a:lnTo>
                    <a:pt x="96" y="181"/>
                  </a:lnTo>
                  <a:lnTo>
                    <a:pt x="98" y="183"/>
                  </a:lnTo>
                  <a:lnTo>
                    <a:pt x="103" y="187"/>
                  </a:lnTo>
                  <a:lnTo>
                    <a:pt x="105" y="196"/>
                  </a:lnTo>
                  <a:lnTo>
                    <a:pt x="107" y="203"/>
                  </a:lnTo>
                  <a:lnTo>
                    <a:pt x="109" y="203"/>
                  </a:lnTo>
                  <a:lnTo>
                    <a:pt x="113" y="203"/>
                  </a:lnTo>
                  <a:lnTo>
                    <a:pt x="116" y="203"/>
                  </a:lnTo>
                  <a:lnTo>
                    <a:pt x="125" y="207"/>
                  </a:lnTo>
                  <a:lnTo>
                    <a:pt x="129" y="209"/>
                  </a:lnTo>
                  <a:lnTo>
                    <a:pt x="132" y="207"/>
                  </a:lnTo>
                  <a:lnTo>
                    <a:pt x="136" y="205"/>
                  </a:lnTo>
                  <a:lnTo>
                    <a:pt x="140" y="203"/>
                  </a:lnTo>
                  <a:lnTo>
                    <a:pt x="145" y="203"/>
                  </a:lnTo>
                  <a:lnTo>
                    <a:pt x="147" y="201"/>
                  </a:lnTo>
                  <a:lnTo>
                    <a:pt x="147" y="200"/>
                  </a:lnTo>
                  <a:lnTo>
                    <a:pt x="149" y="196"/>
                  </a:lnTo>
                  <a:lnTo>
                    <a:pt x="152" y="189"/>
                  </a:lnTo>
                  <a:lnTo>
                    <a:pt x="154" y="183"/>
                  </a:lnTo>
                  <a:lnTo>
                    <a:pt x="156" y="181"/>
                  </a:lnTo>
                  <a:lnTo>
                    <a:pt x="158" y="180"/>
                  </a:lnTo>
                  <a:lnTo>
                    <a:pt x="163" y="176"/>
                  </a:lnTo>
                  <a:lnTo>
                    <a:pt x="180" y="167"/>
                  </a:lnTo>
                  <a:lnTo>
                    <a:pt x="187" y="163"/>
                  </a:lnTo>
                  <a:lnTo>
                    <a:pt x="191" y="163"/>
                  </a:lnTo>
                  <a:lnTo>
                    <a:pt x="192" y="163"/>
                  </a:lnTo>
                  <a:lnTo>
                    <a:pt x="198" y="165"/>
                  </a:lnTo>
                  <a:lnTo>
                    <a:pt x="198" y="163"/>
                  </a:lnTo>
                  <a:lnTo>
                    <a:pt x="200" y="161"/>
                  </a:lnTo>
                  <a:lnTo>
                    <a:pt x="203" y="160"/>
                  </a:lnTo>
                  <a:lnTo>
                    <a:pt x="209" y="158"/>
                  </a:lnTo>
                  <a:lnTo>
                    <a:pt x="211" y="154"/>
                  </a:lnTo>
                  <a:lnTo>
                    <a:pt x="211" y="147"/>
                  </a:lnTo>
                  <a:lnTo>
                    <a:pt x="211" y="147"/>
                  </a:lnTo>
                  <a:lnTo>
                    <a:pt x="211" y="14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1" name="Freeform 107">
              <a:extLst>
                <a:ext uri="{FF2B5EF4-FFF2-40B4-BE49-F238E27FC236}">
                  <a16:creationId xmlns:a16="http://schemas.microsoft.com/office/drawing/2014/main" id="{5DA7C4D5-404E-274B-9E3F-20B04EEB9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1506" y="3125586"/>
              <a:ext cx="420007" cy="446347"/>
            </a:xfrm>
            <a:custGeom>
              <a:avLst/>
              <a:gdLst>
                <a:gd name="T0" fmla="*/ 287 w 290"/>
                <a:gd name="T1" fmla="*/ 58 h 312"/>
                <a:gd name="T2" fmla="*/ 274 w 290"/>
                <a:gd name="T3" fmla="*/ 47 h 312"/>
                <a:gd name="T4" fmla="*/ 272 w 290"/>
                <a:gd name="T5" fmla="*/ 34 h 312"/>
                <a:gd name="T6" fmla="*/ 261 w 290"/>
                <a:gd name="T7" fmla="*/ 22 h 312"/>
                <a:gd name="T8" fmla="*/ 252 w 290"/>
                <a:gd name="T9" fmla="*/ 0 h 312"/>
                <a:gd name="T10" fmla="*/ 205 w 290"/>
                <a:gd name="T11" fmla="*/ 34 h 312"/>
                <a:gd name="T12" fmla="*/ 192 w 290"/>
                <a:gd name="T13" fmla="*/ 36 h 312"/>
                <a:gd name="T14" fmla="*/ 191 w 290"/>
                <a:gd name="T15" fmla="*/ 45 h 312"/>
                <a:gd name="T16" fmla="*/ 183 w 290"/>
                <a:gd name="T17" fmla="*/ 47 h 312"/>
                <a:gd name="T18" fmla="*/ 172 w 290"/>
                <a:gd name="T19" fmla="*/ 49 h 312"/>
                <a:gd name="T20" fmla="*/ 172 w 290"/>
                <a:gd name="T21" fmla="*/ 56 h 312"/>
                <a:gd name="T22" fmla="*/ 171 w 290"/>
                <a:gd name="T23" fmla="*/ 63 h 312"/>
                <a:gd name="T24" fmla="*/ 160 w 290"/>
                <a:gd name="T25" fmla="*/ 67 h 312"/>
                <a:gd name="T26" fmla="*/ 154 w 290"/>
                <a:gd name="T27" fmla="*/ 78 h 312"/>
                <a:gd name="T28" fmla="*/ 151 w 290"/>
                <a:gd name="T29" fmla="*/ 87 h 312"/>
                <a:gd name="T30" fmla="*/ 132 w 290"/>
                <a:gd name="T31" fmla="*/ 89 h 312"/>
                <a:gd name="T32" fmla="*/ 116 w 290"/>
                <a:gd name="T33" fmla="*/ 111 h 312"/>
                <a:gd name="T34" fmla="*/ 109 w 290"/>
                <a:gd name="T35" fmla="*/ 134 h 312"/>
                <a:gd name="T36" fmla="*/ 105 w 290"/>
                <a:gd name="T37" fmla="*/ 141 h 312"/>
                <a:gd name="T38" fmla="*/ 89 w 290"/>
                <a:gd name="T39" fmla="*/ 143 h 312"/>
                <a:gd name="T40" fmla="*/ 34 w 290"/>
                <a:gd name="T41" fmla="*/ 140 h 312"/>
                <a:gd name="T42" fmla="*/ 2 w 290"/>
                <a:gd name="T43" fmla="*/ 134 h 312"/>
                <a:gd name="T44" fmla="*/ 0 w 290"/>
                <a:gd name="T45" fmla="*/ 143 h 312"/>
                <a:gd name="T46" fmla="*/ 3 w 290"/>
                <a:gd name="T47" fmla="*/ 160 h 312"/>
                <a:gd name="T48" fmla="*/ 9 w 290"/>
                <a:gd name="T49" fmla="*/ 221 h 312"/>
                <a:gd name="T50" fmla="*/ 27 w 290"/>
                <a:gd name="T51" fmla="*/ 234 h 312"/>
                <a:gd name="T52" fmla="*/ 38 w 290"/>
                <a:gd name="T53" fmla="*/ 238 h 312"/>
                <a:gd name="T54" fmla="*/ 47 w 290"/>
                <a:gd name="T55" fmla="*/ 245 h 312"/>
                <a:gd name="T56" fmla="*/ 51 w 290"/>
                <a:gd name="T57" fmla="*/ 241 h 312"/>
                <a:gd name="T58" fmla="*/ 49 w 290"/>
                <a:gd name="T59" fmla="*/ 234 h 312"/>
                <a:gd name="T60" fmla="*/ 54 w 290"/>
                <a:gd name="T61" fmla="*/ 234 h 312"/>
                <a:gd name="T62" fmla="*/ 65 w 290"/>
                <a:gd name="T63" fmla="*/ 245 h 312"/>
                <a:gd name="T64" fmla="*/ 76 w 290"/>
                <a:gd name="T65" fmla="*/ 260 h 312"/>
                <a:gd name="T66" fmla="*/ 82 w 290"/>
                <a:gd name="T67" fmla="*/ 274 h 312"/>
                <a:gd name="T68" fmla="*/ 76 w 290"/>
                <a:gd name="T69" fmla="*/ 280 h 312"/>
                <a:gd name="T70" fmla="*/ 69 w 290"/>
                <a:gd name="T71" fmla="*/ 285 h 312"/>
                <a:gd name="T72" fmla="*/ 92 w 290"/>
                <a:gd name="T73" fmla="*/ 292 h 312"/>
                <a:gd name="T74" fmla="*/ 114 w 290"/>
                <a:gd name="T75" fmla="*/ 287 h 312"/>
                <a:gd name="T76" fmla="*/ 125 w 290"/>
                <a:gd name="T77" fmla="*/ 296 h 312"/>
                <a:gd name="T78" fmla="*/ 132 w 290"/>
                <a:gd name="T79" fmla="*/ 312 h 312"/>
                <a:gd name="T80" fmla="*/ 147 w 290"/>
                <a:gd name="T81" fmla="*/ 303 h 312"/>
                <a:gd name="T82" fmla="*/ 156 w 290"/>
                <a:gd name="T83" fmla="*/ 283 h 312"/>
                <a:gd name="T84" fmla="*/ 167 w 290"/>
                <a:gd name="T85" fmla="*/ 278 h 312"/>
                <a:gd name="T86" fmla="*/ 174 w 290"/>
                <a:gd name="T87" fmla="*/ 272 h 312"/>
                <a:gd name="T88" fmla="*/ 167 w 290"/>
                <a:gd name="T89" fmla="*/ 258 h 312"/>
                <a:gd name="T90" fmla="*/ 169 w 290"/>
                <a:gd name="T91" fmla="*/ 247 h 312"/>
                <a:gd name="T92" fmla="*/ 194 w 290"/>
                <a:gd name="T93" fmla="*/ 211 h 312"/>
                <a:gd name="T94" fmla="*/ 212 w 290"/>
                <a:gd name="T95" fmla="*/ 214 h 312"/>
                <a:gd name="T96" fmla="*/ 220 w 290"/>
                <a:gd name="T97" fmla="*/ 196 h 312"/>
                <a:gd name="T98" fmla="*/ 221 w 290"/>
                <a:gd name="T99" fmla="*/ 181 h 312"/>
                <a:gd name="T100" fmla="*/ 216 w 290"/>
                <a:gd name="T101" fmla="*/ 169 h 312"/>
                <a:gd name="T102" fmla="*/ 231 w 290"/>
                <a:gd name="T103" fmla="*/ 152 h 312"/>
                <a:gd name="T104" fmla="*/ 247 w 290"/>
                <a:gd name="T105" fmla="*/ 140 h 312"/>
                <a:gd name="T106" fmla="*/ 249 w 290"/>
                <a:gd name="T107" fmla="*/ 129 h 312"/>
                <a:gd name="T108" fmla="*/ 261 w 290"/>
                <a:gd name="T109" fmla="*/ 127 h 312"/>
                <a:gd name="T110" fmla="*/ 278 w 290"/>
                <a:gd name="T111" fmla="*/ 120 h 312"/>
                <a:gd name="T112" fmla="*/ 283 w 290"/>
                <a:gd name="T113" fmla="*/ 107 h 312"/>
                <a:gd name="T114" fmla="*/ 290 w 290"/>
                <a:gd name="T115" fmla="*/ 76 h 312"/>
                <a:gd name="T116" fmla="*/ 290 w 290"/>
                <a:gd name="T117" fmla="*/ 65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0" h="312">
                  <a:moveTo>
                    <a:pt x="290" y="65"/>
                  </a:moveTo>
                  <a:lnTo>
                    <a:pt x="287" y="60"/>
                  </a:lnTo>
                  <a:lnTo>
                    <a:pt x="287" y="58"/>
                  </a:lnTo>
                  <a:lnTo>
                    <a:pt x="281" y="54"/>
                  </a:lnTo>
                  <a:lnTo>
                    <a:pt x="278" y="51"/>
                  </a:lnTo>
                  <a:lnTo>
                    <a:pt x="274" y="47"/>
                  </a:lnTo>
                  <a:lnTo>
                    <a:pt x="274" y="45"/>
                  </a:lnTo>
                  <a:lnTo>
                    <a:pt x="274" y="42"/>
                  </a:lnTo>
                  <a:lnTo>
                    <a:pt x="272" y="34"/>
                  </a:lnTo>
                  <a:lnTo>
                    <a:pt x="270" y="27"/>
                  </a:lnTo>
                  <a:lnTo>
                    <a:pt x="267" y="23"/>
                  </a:lnTo>
                  <a:lnTo>
                    <a:pt x="261" y="22"/>
                  </a:lnTo>
                  <a:lnTo>
                    <a:pt x="260" y="16"/>
                  </a:lnTo>
                  <a:lnTo>
                    <a:pt x="258" y="11"/>
                  </a:lnTo>
                  <a:lnTo>
                    <a:pt x="252" y="0"/>
                  </a:lnTo>
                  <a:lnTo>
                    <a:pt x="220" y="36"/>
                  </a:lnTo>
                  <a:lnTo>
                    <a:pt x="211" y="29"/>
                  </a:lnTo>
                  <a:lnTo>
                    <a:pt x="205" y="34"/>
                  </a:lnTo>
                  <a:lnTo>
                    <a:pt x="198" y="36"/>
                  </a:lnTo>
                  <a:lnTo>
                    <a:pt x="196" y="38"/>
                  </a:lnTo>
                  <a:lnTo>
                    <a:pt x="192" y="36"/>
                  </a:lnTo>
                  <a:lnTo>
                    <a:pt x="191" y="38"/>
                  </a:lnTo>
                  <a:lnTo>
                    <a:pt x="191" y="42"/>
                  </a:lnTo>
                  <a:lnTo>
                    <a:pt x="191" y="45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3" y="47"/>
                  </a:lnTo>
                  <a:lnTo>
                    <a:pt x="178" y="45"/>
                  </a:lnTo>
                  <a:lnTo>
                    <a:pt x="174" y="47"/>
                  </a:lnTo>
                  <a:lnTo>
                    <a:pt x="172" y="49"/>
                  </a:lnTo>
                  <a:lnTo>
                    <a:pt x="172" y="51"/>
                  </a:lnTo>
                  <a:lnTo>
                    <a:pt x="172" y="52"/>
                  </a:lnTo>
                  <a:lnTo>
                    <a:pt x="172" y="56"/>
                  </a:lnTo>
                  <a:lnTo>
                    <a:pt x="172" y="58"/>
                  </a:lnTo>
                  <a:lnTo>
                    <a:pt x="172" y="60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5" y="65"/>
                  </a:lnTo>
                  <a:lnTo>
                    <a:pt x="160" y="67"/>
                  </a:lnTo>
                  <a:lnTo>
                    <a:pt x="158" y="69"/>
                  </a:lnTo>
                  <a:lnTo>
                    <a:pt x="156" y="72"/>
                  </a:lnTo>
                  <a:lnTo>
                    <a:pt x="154" y="78"/>
                  </a:lnTo>
                  <a:lnTo>
                    <a:pt x="154" y="83"/>
                  </a:lnTo>
                  <a:lnTo>
                    <a:pt x="152" y="85"/>
                  </a:lnTo>
                  <a:lnTo>
                    <a:pt x="151" y="87"/>
                  </a:lnTo>
                  <a:lnTo>
                    <a:pt x="147" y="89"/>
                  </a:lnTo>
                  <a:lnTo>
                    <a:pt x="142" y="91"/>
                  </a:lnTo>
                  <a:lnTo>
                    <a:pt x="132" y="89"/>
                  </a:lnTo>
                  <a:lnTo>
                    <a:pt x="127" y="89"/>
                  </a:lnTo>
                  <a:lnTo>
                    <a:pt x="123" y="87"/>
                  </a:lnTo>
                  <a:lnTo>
                    <a:pt x="116" y="111"/>
                  </a:lnTo>
                  <a:lnTo>
                    <a:pt x="114" y="125"/>
                  </a:lnTo>
                  <a:lnTo>
                    <a:pt x="111" y="132"/>
                  </a:lnTo>
                  <a:lnTo>
                    <a:pt x="109" y="134"/>
                  </a:lnTo>
                  <a:lnTo>
                    <a:pt x="107" y="138"/>
                  </a:lnTo>
                  <a:lnTo>
                    <a:pt x="105" y="140"/>
                  </a:lnTo>
                  <a:lnTo>
                    <a:pt x="105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89" y="143"/>
                  </a:lnTo>
                  <a:lnTo>
                    <a:pt x="80" y="147"/>
                  </a:lnTo>
                  <a:lnTo>
                    <a:pt x="62" y="143"/>
                  </a:lnTo>
                  <a:lnTo>
                    <a:pt x="34" y="140"/>
                  </a:lnTo>
                  <a:lnTo>
                    <a:pt x="11" y="136"/>
                  </a:lnTo>
                  <a:lnTo>
                    <a:pt x="7" y="136"/>
                  </a:lnTo>
                  <a:lnTo>
                    <a:pt x="2" y="134"/>
                  </a:lnTo>
                  <a:lnTo>
                    <a:pt x="0" y="138"/>
                  </a:lnTo>
                  <a:lnTo>
                    <a:pt x="0" y="141"/>
                  </a:lnTo>
                  <a:lnTo>
                    <a:pt x="0" y="143"/>
                  </a:lnTo>
                  <a:lnTo>
                    <a:pt x="2" y="149"/>
                  </a:lnTo>
                  <a:lnTo>
                    <a:pt x="3" y="152"/>
                  </a:lnTo>
                  <a:lnTo>
                    <a:pt x="3" y="160"/>
                  </a:lnTo>
                  <a:lnTo>
                    <a:pt x="3" y="171"/>
                  </a:lnTo>
                  <a:lnTo>
                    <a:pt x="5" y="203"/>
                  </a:lnTo>
                  <a:lnTo>
                    <a:pt x="9" y="221"/>
                  </a:lnTo>
                  <a:lnTo>
                    <a:pt x="16" y="232"/>
                  </a:lnTo>
                  <a:lnTo>
                    <a:pt x="22" y="236"/>
                  </a:lnTo>
                  <a:lnTo>
                    <a:pt x="27" y="234"/>
                  </a:lnTo>
                  <a:lnTo>
                    <a:pt x="29" y="236"/>
                  </a:lnTo>
                  <a:lnTo>
                    <a:pt x="34" y="236"/>
                  </a:lnTo>
                  <a:lnTo>
                    <a:pt x="38" y="238"/>
                  </a:lnTo>
                  <a:lnTo>
                    <a:pt x="40" y="238"/>
                  </a:lnTo>
                  <a:lnTo>
                    <a:pt x="43" y="241"/>
                  </a:lnTo>
                  <a:lnTo>
                    <a:pt x="47" y="245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51" y="241"/>
                  </a:lnTo>
                  <a:lnTo>
                    <a:pt x="51" y="238"/>
                  </a:lnTo>
                  <a:lnTo>
                    <a:pt x="49" y="236"/>
                  </a:lnTo>
                  <a:lnTo>
                    <a:pt x="49" y="234"/>
                  </a:lnTo>
                  <a:lnTo>
                    <a:pt x="49" y="232"/>
                  </a:lnTo>
                  <a:lnTo>
                    <a:pt x="51" y="232"/>
                  </a:lnTo>
                  <a:lnTo>
                    <a:pt x="54" y="234"/>
                  </a:lnTo>
                  <a:lnTo>
                    <a:pt x="60" y="238"/>
                  </a:lnTo>
                  <a:lnTo>
                    <a:pt x="65" y="241"/>
                  </a:lnTo>
                  <a:lnTo>
                    <a:pt x="65" y="245"/>
                  </a:lnTo>
                  <a:lnTo>
                    <a:pt x="67" y="247"/>
                  </a:lnTo>
                  <a:lnTo>
                    <a:pt x="69" y="252"/>
                  </a:lnTo>
                  <a:lnTo>
                    <a:pt x="76" y="260"/>
                  </a:lnTo>
                  <a:lnTo>
                    <a:pt x="76" y="263"/>
                  </a:lnTo>
                  <a:lnTo>
                    <a:pt x="82" y="267"/>
                  </a:lnTo>
                  <a:lnTo>
                    <a:pt x="82" y="274"/>
                  </a:lnTo>
                  <a:lnTo>
                    <a:pt x="82" y="278"/>
                  </a:lnTo>
                  <a:lnTo>
                    <a:pt x="80" y="278"/>
                  </a:lnTo>
                  <a:lnTo>
                    <a:pt x="76" y="280"/>
                  </a:lnTo>
                  <a:lnTo>
                    <a:pt x="76" y="280"/>
                  </a:lnTo>
                  <a:lnTo>
                    <a:pt x="69" y="283"/>
                  </a:lnTo>
                  <a:lnTo>
                    <a:pt x="69" y="285"/>
                  </a:lnTo>
                  <a:lnTo>
                    <a:pt x="82" y="292"/>
                  </a:lnTo>
                  <a:lnTo>
                    <a:pt x="85" y="292"/>
                  </a:lnTo>
                  <a:lnTo>
                    <a:pt x="92" y="292"/>
                  </a:lnTo>
                  <a:lnTo>
                    <a:pt x="105" y="287"/>
                  </a:lnTo>
                  <a:lnTo>
                    <a:pt x="109" y="287"/>
                  </a:lnTo>
                  <a:lnTo>
                    <a:pt x="114" y="287"/>
                  </a:lnTo>
                  <a:lnTo>
                    <a:pt x="118" y="292"/>
                  </a:lnTo>
                  <a:lnTo>
                    <a:pt x="123" y="292"/>
                  </a:lnTo>
                  <a:lnTo>
                    <a:pt x="125" y="296"/>
                  </a:lnTo>
                  <a:lnTo>
                    <a:pt x="127" y="301"/>
                  </a:lnTo>
                  <a:lnTo>
                    <a:pt x="129" y="312"/>
                  </a:lnTo>
                  <a:lnTo>
                    <a:pt x="132" y="312"/>
                  </a:lnTo>
                  <a:lnTo>
                    <a:pt x="142" y="307"/>
                  </a:lnTo>
                  <a:lnTo>
                    <a:pt x="143" y="307"/>
                  </a:lnTo>
                  <a:lnTo>
                    <a:pt x="147" y="303"/>
                  </a:lnTo>
                  <a:lnTo>
                    <a:pt x="151" y="298"/>
                  </a:lnTo>
                  <a:lnTo>
                    <a:pt x="154" y="292"/>
                  </a:lnTo>
                  <a:lnTo>
                    <a:pt x="156" y="283"/>
                  </a:lnTo>
                  <a:lnTo>
                    <a:pt x="158" y="281"/>
                  </a:lnTo>
                  <a:lnTo>
                    <a:pt x="163" y="280"/>
                  </a:lnTo>
                  <a:lnTo>
                    <a:pt x="167" y="278"/>
                  </a:lnTo>
                  <a:lnTo>
                    <a:pt x="172" y="274"/>
                  </a:lnTo>
                  <a:lnTo>
                    <a:pt x="174" y="274"/>
                  </a:lnTo>
                  <a:lnTo>
                    <a:pt x="174" y="272"/>
                  </a:lnTo>
                  <a:lnTo>
                    <a:pt x="174" y="270"/>
                  </a:lnTo>
                  <a:lnTo>
                    <a:pt x="172" y="265"/>
                  </a:lnTo>
                  <a:lnTo>
                    <a:pt x="167" y="258"/>
                  </a:lnTo>
                  <a:lnTo>
                    <a:pt x="167" y="256"/>
                  </a:lnTo>
                  <a:lnTo>
                    <a:pt x="167" y="254"/>
                  </a:lnTo>
                  <a:lnTo>
                    <a:pt x="169" y="247"/>
                  </a:lnTo>
                  <a:lnTo>
                    <a:pt x="171" y="238"/>
                  </a:lnTo>
                  <a:lnTo>
                    <a:pt x="185" y="225"/>
                  </a:lnTo>
                  <a:lnTo>
                    <a:pt x="194" y="211"/>
                  </a:lnTo>
                  <a:lnTo>
                    <a:pt x="200" y="216"/>
                  </a:lnTo>
                  <a:lnTo>
                    <a:pt x="209" y="216"/>
                  </a:lnTo>
                  <a:lnTo>
                    <a:pt x="212" y="214"/>
                  </a:lnTo>
                  <a:lnTo>
                    <a:pt x="218" y="209"/>
                  </a:lnTo>
                  <a:lnTo>
                    <a:pt x="218" y="201"/>
                  </a:lnTo>
                  <a:lnTo>
                    <a:pt x="220" y="196"/>
                  </a:lnTo>
                  <a:lnTo>
                    <a:pt x="225" y="192"/>
                  </a:lnTo>
                  <a:lnTo>
                    <a:pt x="225" y="185"/>
                  </a:lnTo>
                  <a:lnTo>
                    <a:pt x="221" y="181"/>
                  </a:lnTo>
                  <a:lnTo>
                    <a:pt x="220" y="178"/>
                  </a:lnTo>
                  <a:lnTo>
                    <a:pt x="218" y="174"/>
                  </a:lnTo>
                  <a:lnTo>
                    <a:pt x="216" y="169"/>
                  </a:lnTo>
                  <a:lnTo>
                    <a:pt x="218" y="163"/>
                  </a:lnTo>
                  <a:lnTo>
                    <a:pt x="221" y="158"/>
                  </a:lnTo>
                  <a:lnTo>
                    <a:pt x="231" y="152"/>
                  </a:lnTo>
                  <a:lnTo>
                    <a:pt x="236" y="149"/>
                  </a:lnTo>
                  <a:lnTo>
                    <a:pt x="241" y="143"/>
                  </a:lnTo>
                  <a:lnTo>
                    <a:pt x="247" y="140"/>
                  </a:lnTo>
                  <a:lnTo>
                    <a:pt x="249" y="136"/>
                  </a:lnTo>
                  <a:lnTo>
                    <a:pt x="249" y="132"/>
                  </a:lnTo>
                  <a:lnTo>
                    <a:pt x="249" y="129"/>
                  </a:lnTo>
                  <a:lnTo>
                    <a:pt x="250" y="127"/>
                  </a:lnTo>
                  <a:lnTo>
                    <a:pt x="252" y="127"/>
                  </a:lnTo>
                  <a:lnTo>
                    <a:pt x="261" y="127"/>
                  </a:lnTo>
                  <a:lnTo>
                    <a:pt x="269" y="127"/>
                  </a:lnTo>
                  <a:lnTo>
                    <a:pt x="274" y="125"/>
                  </a:lnTo>
                  <a:lnTo>
                    <a:pt x="278" y="120"/>
                  </a:lnTo>
                  <a:lnTo>
                    <a:pt x="281" y="118"/>
                  </a:lnTo>
                  <a:lnTo>
                    <a:pt x="283" y="114"/>
                  </a:lnTo>
                  <a:lnTo>
                    <a:pt x="283" y="107"/>
                  </a:lnTo>
                  <a:lnTo>
                    <a:pt x="287" y="98"/>
                  </a:lnTo>
                  <a:lnTo>
                    <a:pt x="287" y="91"/>
                  </a:lnTo>
                  <a:lnTo>
                    <a:pt x="290" y="76"/>
                  </a:lnTo>
                  <a:lnTo>
                    <a:pt x="290" y="74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2" name="Freeform 108">
              <a:extLst>
                <a:ext uri="{FF2B5EF4-FFF2-40B4-BE49-F238E27FC236}">
                  <a16:creationId xmlns:a16="http://schemas.microsoft.com/office/drawing/2014/main" id="{301FF463-862C-2545-AD07-9EC656B85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062" y="4395957"/>
              <a:ext cx="23173" cy="37195"/>
            </a:xfrm>
            <a:custGeom>
              <a:avLst/>
              <a:gdLst>
                <a:gd name="T0" fmla="*/ 11 w 16"/>
                <a:gd name="T1" fmla="*/ 0 h 26"/>
                <a:gd name="T2" fmla="*/ 11 w 16"/>
                <a:gd name="T3" fmla="*/ 4 h 26"/>
                <a:gd name="T4" fmla="*/ 11 w 16"/>
                <a:gd name="T5" fmla="*/ 4 h 26"/>
                <a:gd name="T6" fmla="*/ 9 w 16"/>
                <a:gd name="T7" fmla="*/ 0 h 26"/>
                <a:gd name="T8" fmla="*/ 9 w 16"/>
                <a:gd name="T9" fmla="*/ 0 h 26"/>
                <a:gd name="T10" fmla="*/ 2 w 16"/>
                <a:gd name="T11" fmla="*/ 0 h 26"/>
                <a:gd name="T12" fmla="*/ 0 w 16"/>
                <a:gd name="T13" fmla="*/ 0 h 26"/>
                <a:gd name="T14" fmla="*/ 0 w 16"/>
                <a:gd name="T15" fmla="*/ 2 h 26"/>
                <a:gd name="T16" fmla="*/ 0 w 16"/>
                <a:gd name="T17" fmla="*/ 7 h 26"/>
                <a:gd name="T18" fmla="*/ 2 w 16"/>
                <a:gd name="T19" fmla="*/ 11 h 26"/>
                <a:gd name="T20" fmla="*/ 9 w 16"/>
                <a:gd name="T21" fmla="*/ 20 h 26"/>
                <a:gd name="T22" fmla="*/ 15 w 16"/>
                <a:gd name="T23" fmla="*/ 26 h 26"/>
                <a:gd name="T24" fmla="*/ 15 w 16"/>
                <a:gd name="T25" fmla="*/ 26 h 26"/>
                <a:gd name="T26" fmla="*/ 16 w 16"/>
                <a:gd name="T27" fmla="*/ 20 h 26"/>
                <a:gd name="T28" fmla="*/ 16 w 16"/>
                <a:gd name="T29" fmla="*/ 13 h 26"/>
                <a:gd name="T30" fmla="*/ 15 w 16"/>
                <a:gd name="T31" fmla="*/ 7 h 26"/>
                <a:gd name="T32" fmla="*/ 13 w 16"/>
                <a:gd name="T33" fmla="*/ 2 h 26"/>
                <a:gd name="T34" fmla="*/ 11 w 16"/>
                <a:gd name="T35" fmla="*/ 0 h 26"/>
                <a:gd name="T36" fmla="*/ 11 w 16"/>
                <a:gd name="T37" fmla="*/ 0 h 26"/>
                <a:gd name="T38" fmla="*/ 11 w 16"/>
                <a:gd name="T3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26">
                  <a:moveTo>
                    <a:pt x="11" y="0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7"/>
                  </a:lnTo>
                  <a:lnTo>
                    <a:pt x="2" y="11"/>
                  </a:lnTo>
                  <a:lnTo>
                    <a:pt x="9" y="20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0"/>
                  </a:lnTo>
                  <a:lnTo>
                    <a:pt x="16" y="13"/>
                  </a:lnTo>
                  <a:lnTo>
                    <a:pt x="15" y="7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3" name="Freeform 109">
              <a:extLst>
                <a:ext uri="{FF2B5EF4-FFF2-40B4-BE49-F238E27FC236}">
                  <a16:creationId xmlns:a16="http://schemas.microsoft.com/office/drawing/2014/main" id="{98C2E1EE-8494-E241-A62C-4B1523A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6131" y="4458903"/>
              <a:ext cx="10138" cy="10014"/>
            </a:xfrm>
            <a:custGeom>
              <a:avLst/>
              <a:gdLst>
                <a:gd name="T0" fmla="*/ 7 w 7"/>
                <a:gd name="T1" fmla="*/ 0 h 7"/>
                <a:gd name="T2" fmla="*/ 7 w 7"/>
                <a:gd name="T3" fmla="*/ 0 h 7"/>
                <a:gd name="T4" fmla="*/ 4 w 7"/>
                <a:gd name="T5" fmla="*/ 0 h 7"/>
                <a:gd name="T6" fmla="*/ 0 w 7"/>
                <a:gd name="T7" fmla="*/ 0 h 7"/>
                <a:gd name="T8" fmla="*/ 0 w 7"/>
                <a:gd name="T9" fmla="*/ 0 h 7"/>
                <a:gd name="T10" fmla="*/ 0 w 7"/>
                <a:gd name="T11" fmla="*/ 0 h 7"/>
                <a:gd name="T12" fmla="*/ 0 w 7"/>
                <a:gd name="T13" fmla="*/ 5 h 7"/>
                <a:gd name="T14" fmla="*/ 0 w 7"/>
                <a:gd name="T15" fmla="*/ 7 h 7"/>
                <a:gd name="T16" fmla="*/ 0 w 7"/>
                <a:gd name="T17" fmla="*/ 7 h 7"/>
                <a:gd name="T18" fmla="*/ 4 w 7"/>
                <a:gd name="T19" fmla="*/ 7 h 7"/>
                <a:gd name="T20" fmla="*/ 7 w 7"/>
                <a:gd name="T21" fmla="*/ 7 h 7"/>
                <a:gd name="T22" fmla="*/ 7 w 7"/>
                <a:gd name="T23" fmla="*/ 7 h 7"/>
                <a:gd name="T24" fmla="*/ 7 w 7"/>
                <a:gd name="T25" fmla="*/ 5 h 7"/>
                <a:gd name="T26" fmla="*/ 7 w 7"/>
                <a:gd name="T27" fmla="*/ 0 h 7"/>
                <a:gd name="T28" fmla="*/ 7 w 7"/>
                <a:gd name="T29" fmla="*/ 0 h 7"/>
                <a:gd name="T30" fmla="*/ 7 w 7"/>
                <a:gd name="T3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7">
                  <a:moveTo>
                    <a:pt x="7" y="0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4" name="Freeform 110">
              <a:extLst>
                <a:ext uri="{FF2B5EF4-FFF2-40B4-BE49-F238E27FC236}">
                  <a16:creationId xmlns:a16="http://schemas.microsoft.com/office/drawing/2014/main" id="{21BDF05B-B653-A343-9B7B-C09503177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6270" y="4544739"/>
              <a:ext cx="11587" cy="18598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3 h 13"/>
                <a:gd name="T4" fmla="*/ 0 w 8"/>
                <a:gd name="T5" fmla="*/ 3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5 h 13"/>
                <a:gd name="T18" fmla="*/ 8 w 8"/>
                <a:gd name="T19" fmla="*/ 3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5"/>
                  </a:lnTo>
                  <a:lnTo>
                    <a:pt x="8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5" name="Freeform 111">
              <a:extLst>
                <a:ext uri="{FF2B5EF4-FFF2-40B4-BE49-F238E27FC236}">
                  <a16:creationId xmlns:a16="http://schemas.microsoft.com/office/drawing/2014/main" id="{94BCA02E-D14C-B74F-85B7-2F5E8E70D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026" y="4294384"/>
              <a:ext cx="18828" cy="18598"/>
            </a:xfrm>
            <a:custGeom>
              <a:avLst/>
              <a:gdLst>
                <a:gd name="T0" fmla="*/ 13 w 13"/>
                <a:gd name="T1" fmla="*/ 4 h 13"/>
                <a:gd name="T2" fmla="*/ 9 w 13"/>
                <a:gd name="T3" fmla="*/ 0 h 13"/>
                <a:gd name="T4" fmla="*/ 9 w 13"/>
                <a:gd name="T5" fmla="*/ 0 h 13"/>
                <a:gd name="T6" fmla="*/ 4 w 13"/>
                <a:gd name="T7" fmla="*/ 4 h 13"/>
                <a:gd name="T8" fmla="*/ 0 w 13"/>
                <a:gd name="T9" fmla="*/ 8 h 13"/>
                <a:gd name="T10" fmla="*/ 4 w 13"/>
                <a:gd name="T11" fmla="*/ 11 h 13"/>
                <a:gd name="T12" fmla="*/ 5 w 13"/>
                <a:gd name="T13" fmla="*/ 13 h 13"/>
                <a:gd name="T14" fmla="*/ 7 w 13"/>
                <a:gd name="T15" fmla="*/ 13 h 13"/>
                <a:gd name="T16" fmla="*/ 11 w 13"/>
                <a:gd name="T17" fmla="*/ 13 h 13"/>
                <a:gd name="T18" fmla="*/ 13 w 13"/>
                <a:gd name="T19" fmla="*/ 9 h 13"/>
                <a:gd name="T20" fmla="*/ 13 w 13"/>
                <a:gd name="T21" fmla="*/ 4 h 13"/>
                <a:gd name="T22" fmla="*/ 13 w 13"/>
                <a:gd name="T23" fmla="*/ 4 h 13"/>
                <a:gd name="T24" fmla="*/ 13 w 13"/>
                <a:gd name="T2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3">
                  <a:moveTo>
                    <a:pt x="13" y="4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1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11" y="13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6" name="Freeform 112">
              <a:extLst>
                <a:ext uri="{FF2B5EF4-FFF2-40B4-BE49-F238E27FC236}">
                  <a16:creationId xmlns:a16="http://schemas.microsoft.com/office/drawing/2014/main" id="{B46EA340-35AD-4148-8955-EED64AF89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1925" y="4637728"/>
              <a:ext cx="18828" cy="38626"/>
            </a:xfrm>
            <a:custGeom>
              <a:avLst/>
              <a:gdLst>
                <a:gd name="T0" fmla="*/ 9 w 13"/>
                <a:gd name="T1" fmla="*/ 6 h 27"/>
                <a:gd name="T2" fmla="*/ 3 w 13"/>
                <a:gd name="T3" fmla="*/ 0 h 27"/>
                <a:gd name="T4" fmla="*/ 3 w 13"/>
                <a:gd name="T5" fmla="*/ 0 h 27"/>
                <a:gd name="T6" fmla="*/ 3 w 13"/>
                <a:gd name="T7" fmla="*/ 9 h 27"/>
                <a:gd name="T8" fmla="*/ 2 w 13"/>
                <a:gd name="T9" fmla="*/ 15 h 27"/>
                <a:gd name="T10" fmla="*/ 0 w 13"/>
                <a:gd name="T11" fmla="*/ 18 h 27"/>
                <a:gd name="T12" fmla="*/ 0 w 13"/>
                <a:gd name="T13" fmla="*/ 27 h 27"/>
                <a:gd name="T14" fmla="*/ 0 w 13"/>
                <a:gd name="T15" fmla="*/ 27 h 27"/>
                <a:gd name="T16" fmla="*/ 3 w 13"/>
                <a:gd name="T17" fmla="*/ 27 h 27"/>
                <a:gd name="T18" fmla="*/ 9 w 13"/>
                <a:gd name="T19" fmla="*/ 24 h 27"/>
                <a:gd name="T20" fmla="*/ 11 w 13"/>
                <a:gd name="T21" fmla="*/ 22 h 27"/>
                <a:gd name="T22" fmla="*/ 13 w 13"/>
                <a:gd name="T23" fmla="*/ 18 h 27"/>
                <a:gd name="T24" fmla="*/ 13 w 13"/>
                <a:gd name="T25" fmla="*/ 15 h 27"/>
                <a:gd name="T26" fmla="*/ 13 w 13"/>
                <a:gd name="T27" fmla="*/ 9 h 27"/>
                <a:gd name="T28" fmla="*/ 13 w 13"/>
                <a:gd name="T29" fmla="*/ 7 h 27"/>
                <a:gd name="T30" fmla="*/ 9 w 13"/>
                <a:gd name="T31" fmla="*/ 6 h 27"/>
                <a:gd name="T32" fmla="*/ 9 w 13"/>
                <a:gd name="T33" fmla="*/ 6 h 27"/>
                <a:gd name="T34" fmla="*/ 9 w 13"/>
                <a:gd name="T35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27">
                  <a:moveTo>
                    <a:pt x="9" y="6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9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9" y="24"/>
                  </a:lnTo>
                  <a:lnTo>
                    <a:pt x="11" y="22"/>
                  </a:lnTo>
                  <a:lnTo>
                    <a:pt x="13" y="18"/>
                  </a:lnTo>
                  <a:lnTo>
                    <a:pt x="13" y="15"/>
                  </a:lnTo>
                  <a:lnTo>
                    <a:pt x="13" y="9"/>
                  </a:lnTo>
                  <a:lnTo>
                    <a:pt x="13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7" name="Freeform 113">
              <a:extLst>
                <a:ext uri="{FF2B5EF4-FFF2-40B4-BE49-F238E27FC236}">
                  <a16:creationId xmlns:a16="http://schemas.microsoft.com/office/drawing/2014/main" id="{8EBF9B65-FCDA-4E4D-9F48-329D08D3A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097" y="4745022"/>
              <a:ext cx="21725" cy="80113"/>
            </a:xfrm>
            <a:custGeom>
              <a:avLst/>
              <a:gdLst>
                <a:gd name="T0" fmla="*/ 13 w 15"/>
                <a:gd name="T1" fmla="*/ 23 h 56"/>
                <a:gd name="T2" fmla="*/ 13 w 15"/>
                <a:gd name="T3" fmla="*/ 23 h 56"/>
                <a:gd name="T4" fmla="*/ 13 w 15"/>
                <a:gd name="T5" fmla="*/ 18 h 56"/>
                <a:gd name="T6" fmla="*/ 13 w 15"/>
                <a:gd name="T7" fmla="*/ 16 h 56"/>
                <a:gd name="T8" fmla="*/ 13 w 15"/>
                <a:gd name="T9" fmla="*/ 11 h 56"/>
                <a:gd name="T10" fmla="*/ 15 w 15"/>
                <a:gd name="T11" fmla="*/ 7 h 56"/>
                <a:gd name="T12" fmla="*/ 15 w 15"/>
                <a:gd name="T13" fmla="*/ 7 h 56"/>
                <a:gd name="T14" fmla="*/ 13 w 15"/>
                <a:gd name="T15" fmla="*/ 5 h 56"/>
                <a:gd name="T16" fmla="*/ 13 w 15"/>
                <a:gd name="T17" fmla="*/ 3 h 56"/>
                <a:gd name="T18" fmla="*/ 9 w 15"/>
                <a:gd name="T19" fmla="*/ 2 h 56"/>
                <a:gd name="T20" fmla="*/ 6 w 15"/>
                <a:gd name="T21" fmla="*/ 0 h 56"/>
                <a:gd name="T22" fmla="*/ 6 w 15"/>
                <a:gd name="T23" fmla="*/ 0 h 56"/>
                <a:gd name="T24" fmla="*/ 6 w 15"/>
                <a:gd name="T25" fmla="*/ 5 h 56"/>
                <a:gd name="T26" fmla="*/ 2 w 15"/>
                <a:gd name="T27" fmla="*/ 14 h 56"/>
                <a:gd name="T28" fmla="*/ 0 w 15"/>
                <a:gd name="T29" fmla="*/ 31 h 56"/>
                <a:gd name="T30" fmla="*/ 0 w 15"/>
                <a:gd name="T31" fmla="*/ 41 h 56"/>
                <a:gd name="T32" fmla="*/ 2 w 15"/>
                <a:gd name="T33" fmla="*/ 47 h 56"/>
                <a:gd name="T34" fmla="*/ 2 w 15"/>
                <a:gd name="T35" fmla="*/ 52 h 56"/>
                <a:gd name="T36" fmla="*/ 4 w 15"/>
                <a:gd name="T37" fmla="*/ 56 h 56"/>
                <a:gd name="T38" fmla="*/ 6 w 15"/>
                <a:gd name="T39" fmla="*/ 56 h 56"/>
                <a:gd name="T40" fmla="*/ 6 w 15"/>
                <a:gd name="T41" fmla="*/ 56 h 56"/>
                <a:gd name="T42" fmla="*/ 9 w 15"/>
                <a:gd name="T43" fmla="*/ 52 h 56"/>
                <a:gd name="T44" fmla="*/ 11 w 15"/>
                <a:gd name="T45" fmla="*/ 52 h 56"/>
                <a:gd name="T46" fmla="*/ 11 w 15"/>
                <a:gd name="T47" fmla="*/ 49 h 56"/>
                <a:gd name="T48" fmla="*/ 13 w 15"/>
                <a:gd name="T49" fmla="*/ 45 h 56"/>
                <a:gd name="T50" fmla="*/ 13 w 15"/>
                <a:gd name="T51" fmla="*/ 45 h 56"/>
                <a:gd name="T52" fmla="*/ 15 w 15"/>
                <a:gd name="T53" fmla="*/ 32 h 56"/>
                <a:gd name="T54" fmla="*/ 15 w 15"/>
                <a:gd name="T55" fmla="*/ 32 h 56"/>
                <a:gd name="T56" fmla="*/ 15 w 15"/>
                <a:gd name="T57" fmla="*/ 29 h 56"/>
                <a:gd name="T58" fmla="*/ 15 w 15"/>
                <a:gd name="T59" fmla="*/ 27 h 56"/>
                <a:gd name="T60" fmla="*/ 13 w 15"/>
                <a:gd name="T61" fmla="*/ 23 h 56"/>
                <a:gd name="T62" fmla="*/ 13 w 15"/>
                <a:gd name="T63" fmla="*/ 23 h 56"/>
                <a:gd name="T64" fmla="*/ 13 w 15"/>
                <a:gd name="T65" fmla="*/ 2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56">
                  <a:moveTo>
                    <a:pt x="13" y="23"/>
                  </a:moveTo>
                  <a:lnTo>
                    <a:pt x="13" y="23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1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9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5"/>
                  </a:lnTo>
                  <a:lnTo>
                    <a:pt x="2" y="14"/>
                  </a:lnTo>
                  <a:lnTo>
                    <a:pt x="0" y="31"/>
                  </a:lnTo>
                  <a:lnTo>
                    <a:pt x="0" y="41"/>
                  </a:lnTo>
                  <a:lnTo>
                    <a:pt x="2" y="47"/>
                  </a:lnTo>
                  <a:lnTo>
                    <a:pt x="2" y="52"/>
                  </a:lnTo>
                  <a:lnTo>
                    <a:pt x="4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9" y="52"/>
                  </a:lnTo>
                  <a:lnTo>
                    <a:pt x="11" y="52"/>
                  </a:lnTo>
                  <a:lnTo>
                    <a:pt x="11" y="49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8" name="Freeform 114">
              <a:extLst>
                <a:ext uri="{FF2B5EF4-FFF2-40B4-BE49-F238E27FC236}">
                  <a16:creationId xmlns:a16="http://schemas.microsoft.com/office/drawing/2014/main" id="{F7769E5F-A6C3-D640-B34B-6FBA1F631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3855" y="4846595"/>
              <a:ext cx="49242" cy="137337"/>
            </a:xfrm>
            <a:custGeom>
              <a:avLst/>
              <a:gdLst>
                <a:gd name="T0" fmla="*/ 18 w 34"/>
                <a:gd name="T1" fmla="*/ 12 h 96"/>
                <a:gd name="T2" fmla="*/ 18 w 34"/>
                <a:gd name="T3" fmla="*/ 12 h 96"/>
                <a:gd name="T4" fmla="*/ 18 w 34"/>
                <a:gd name="T5" fmla="*/ 20 h 96"/>
                <a:gd name="T6" fmla="*/ 18 w 34"/>
                <a:gd name="T7" fmla="*/ 23 h 96"/>
                <a:gd name="T8" fmla="*/ 18 w 34"/>
                <a:gd name="T9" fmla="*/ 29 h 96"/>
                <a:gd name="T10" fmla="*/ 18 w 34"/>
                <a:gd name="T11" fmla="*/ 29 h 96"/>
                <a:gd name="T12" fmla="*/ 16 w 34"/>
                <a:gd name="T13" fmla="*/ 30 h 96"/>
                <a:gd name="T14" fmla="*/ 14 w 34"/>
                <a:gd name="T15" fmla="*/ 32 h 96"/>
                <a:gd name="T16" fmla="*/ 9 w 34"/>
                <a:gd name="T17" fmla="*/ 32 h 96"/>
                <a:gd name="T18" fmla="*/ 5 w 34"/>
                <a:gd name="T19" fmla="*/ 32 h 96"/>
                <a:gd name="T20" fmla="*/ 1 w 34"/>
                <a:gd name="T21" fmla="*/ 32 h 96"/>
                <a:gd name="T22" fmla="*/ 1 w 34"/>
                <a:gd name="T23" fmla="*/ 32 h 96"/>
                <a:gd name="T24" fmla="*/ 1 w 34"/>
                <a:gd name="T25" fmla="*/ 36 h 96"/>
                <a:gd name="T26" fmla="*/ 0 w 34"/>
                <a:gd name="T27" fmla="*/ 38 h 96"/>
                <a:gd name="T28" fmla="*/ 0 w 34"/>
                <a:gd name="T29" fmla="*/ 47 h 96"/>
                <a:gd name="T30" fmla="*/ 1 w 34"/>
                <a:gd name="T31" fmla="*/ 61 h 96"/>
                <a:gd name="T32" fmla="*/ 1 w 34"/>
                <a:gd name="T33" fmla="*/ 61 h 96"/>
                <a:gd name="T34" fmla="*/ 3 w 34"/>
                <a:gd name="T35" fmla="*/ 76 h 96"/>
                <a:gd name="T36" fmla="*/ 5 w 34"/>
                <a:gd name="T37" fmla="*/ 92 h 96"/>
                <a:gd name="T38" fmla="*/ 9 w 34"/>
                <a:gd name="T39" fmla="*/ 96 h 96"/>
                <a:gd name="T40" fmla="*/ 9 w 34"/>
                <a:gd name="T41" fmla="*/ 96 h 96"/>
                <a:gd name="T42" fmla="*/ 12 w 34"/>
                <a:gd name="T43" fmla="*/ 92 h 96"/>
                <a:gd name="T44" fmla="*/ 14 w 34"/>
                <a:gd name="T45" fmla="*/ 85 h 96"/>
                <a:gd name="T46" fmla="*/ 16 w 34"/>
                <a:gd name="T47" fmla="*/ 79 h 96"/>
                <a:gd name="T48" fmla="*/ 18 w 34"/>
                <a:gd name="T49" fmla="*/ 72 h 96"/>
                <a:gd name="T50" fmla="*/ 18 w 34"/>
                <a:gd name="T51" fmla="*/ 72 h 96"/>
                <a:gd name="T52" fmla="*/ 18 w 34"/>
                <a:gd name="T53" fmla="*/ 65 h 96"/>
                <a:gd name="T54" fmla="*/ 18 w 34"/>
                <a:gd name="T55" fmla="*/ 60 h 96"/>
                <a:gd name="T56" fmla="*/ 18 w 34"/>
                <a:gd name="T57" fmla="*/ 60 h 96"/>
                <a:gd name="T58" fmla="*/ 18 w 34"/>
                <a:gd name="T59" fmla="*/ 56 h 96"/>
                <a:gd name="T60" fmla="*/ 21 w 34"/>
                <a:gd name="T61" fmla="*/ 52 h 96"/>
                <a:gd name="T62" fmla="*/ 23 w 34"/>
                <a:gd name="T63" fmla="*/ 49 h 96"/>
                <a:gd name="T64" fmla="*/ 23 w 34"/>
                <a:gd name="T65" fmla="*/ 49 h 96"/>
                <a:gd name="T66" fmla="*/ 23 w 34"/>
                <a:gd name="T67" fmla="*/ 43 h 96"/>
                <a:gd name="T68" fmla="*/ 25 w 34"/>
                <a:gd name="T69" fmla="*/ 36 h 96"/>
                <a:gd name="T70" fmla="*/ 25 w 34"/>
                <a:gd name="T71" fmla="*/ 27 h 96"/>
                <a:gd name="T72" fmla="*/ 25 w 34"/>
                <a:gd name="T73" fmla="*/ 27 h 96"/>
                <a:gd name="T74" fmla="*/ 29 w 34"/>
                <a:gd name="T75" fmla="*/ 16 h 96"/>
                <a:gd name="T76" fmla="*/ 34 w 34"/>
                <a:gd name="T77" fmla="*/ 5 h 96"/>
                <a:gd name="T78" fmla="*/ 34 w 34"/>
                <a:gd name="T79" fmla="*/ 5 h 96"/>
                <a:gd name="T80" fmla="*/ 29 w 34"/>
                <a:gd name="T81" fmla="*/ 5 h 96"/>
                <a:gd name="T82" fmla="*/ 25 w 34"/>
                <a:gd name="T83" fmla="*/ 1 h 96"/>
                <a:gd name="T84" fmla="*/ 21 w 34"/>
                <a:gd name="T85" fmla="*/ 0 h 96"/>
                <a:gd name="T86" fmla="*/ 21 w 34"/>
                <a:gd name="T87" fmla="*/ 0 h 96"/>
                <a:gd name="T88" fmla="*/ 20 w 34"/>
                <a:gd name="T89" fmla="*/ 1 h 96"/>
                <a:gd name="T90" fmla="*/ 18 w 34"/>
                <a:gd name="T91" fmla="*/ 12 h 96"/>
                <a:gd name="T92" fmla="*/ 18 w 34"/>
                <a:gd name="T93" fmla="*/ 12 h 96"/>
                <a:gd name="T94" fmla="*/ 18 w 34"/>
                <a:gd name="T95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" h="96">
                  <a:moveTo>
                    <a:pt x="18" y="12"/>
                  </a:moveTo>
                  <a:lnTo>
                    <a:pt x="18" y="12"/>
                  </a:lnTo>
                  <a:lnTo>
                    <a:pt x="18" y="20"/>
                  </a:lnTo>
                  <a:lnTo>
                    <a:pt x="18" y="23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6" y="30"/>
                  </a:lnTo>
                  <a:lnTo>
                    <a:pt x="14" y="32"/>
                  </a:lnTo>
                  <a:lnTo>
                    <a:pt x="9" y="32"/>
                  </a:lnTo>
                  <a:lnTo>
                    <a:pt x="5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6"/>
                  </a:lnTo>
                  <a:lnTo>
                    <a:pt x="0" y="38"/>
                  </a:lnTo>
                  <a:lnTo>
                    <a:pt x="0" y="47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3" y="76"/>
                  </a:lnTo>
                  <a:lnTo>
                    <a:pt x="5" y="92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12" y="92"/>
                  </a:lnTo>
                  <a:lnTo>
                    <a:pt x="14" y="85"/>
                  </a:lnTo>
                  <a:lnTo>
                    <a:pt x="16" y="79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65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56"/>
                  </a:lnTo>
                  <a:lnTo>
                    <a:pt x="21" y="52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3" y="43"/>
                  </a:lnTo>
                  <a:lnTo>
                    <a:pt x="25" y="36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9" y="1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29" y="5"/>
                  </a:lnTo>
                  <a:lnTo>
                    <a:pt x="25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0" y="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9" name="Freeform 115">
              <a:extLst>
                <a:ext uri="{FF2B5EF4-FFF2-40B4-BE49-F238E27FC236}">
                  <a16:creationId xmlns:a16="http://schemas.microsoft.com/office/drawing/2014/main" id="{69842351-0F26-AB47-910A-265A27B14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6199" y="4993947"/>
              <a:ext cx="60829" cy="101572"/>
            </a:xfrm>
            <a:custGeom>
              <a:avLst/>
              <a:gdLst>
                <a:gd name="T0" fmla="*/ 42 w 42"/>
                <a:gd name="T1" fmla="*/ 64 h 71"/>
                <a:gd name="T2" fmla="*/ 35 w 42"/>
                <a:gd name="T3" fmla="*/ 60 h 71"/>
                <a:gd name="T4" fmla="*/ 35 w 42"/>
                <a:gd name="T5" fmla="*/ 60 h 71"/>
                <a:gd name="T6" fmla="*/ 26 w 42"/>
                <a:gd name="T7" fmla="*/ 58 h 71"/>
                <a:gd name="T8" fmla="*/ 24 w 42"/>
                <a:gd name="T9" fmla="*/ 55 h 71"/>
                <a:gd name="T10" fmla="*/ 22 w 42"/>
                <a:gd name="T11" fmla="*/ 53 h 71"/>
                <a:gd name="T12" fmla="*/ 22 w 42"/>
                <a:gd name="T13" fmla="*/ 51 h 71"/>
                <a:gd name="T14" fmla="*/ 22 w 42"/>
                <a:gd name="T15" fmla="*/ 46 h 71"/>
                <a:gd name="T16" fmla="*/ 24 w 42"/>
                <a:gd name="T17" fmla="*/ 36 h 71"/>
                <a:gd name="T18" fmla="*/ 24 w 42"/>
                <a:gd name="T19" fmla="*/ 36 h 71"/>
                <a:gd name="T20" fmla="*/ 24 w 42"/>
                <a:gd name="T21" fmla="*/ 18 h 71"/>
                <a:gd name="T22" fmla="*/ 26 w 42"/>
                <a:gd name="T23" fmla="*/ 11 h 71"/>
                <a:gd name="T24" fmla="*/ 27 w 42"/>
                <a:gd name="T25" fmla="*/ 0 h 71"/>
                <a:gd name="T26" fmla="*/ 27 w 42"/>
                <a:gd name="T27" fmla="*/ 0 h 71"/>
                <a:gd name="T28" fmla="*/ 24 w 42"/>
                <a:gd name="T29" fmla="*/ 2 h 71"/>
                <a:gd name="T30" fmla="*/ 17 w 42"/>
                <a:gd name="T31" fmla="*/ 4 h 71"/>
                <a:gd name="T32" fmla="*/ 7 w 42"/>
                <a:gd name="T33" fmla="*/ 9 h 71"/>
                <a:gd name="T34" fmla="*/ 6 w 42"/>
                <a:gd name="T35" fmla="*/ 13 h 71"/>
                <a:gd name="T36" fmla="*/ 6 w 42"/>
                <a:gd name="T37" fmla="*/ 13 h 71"/>
                <a:gd name="T38" fmla="*/ 9 w 42"/>
                <a:gd name="T39" fmla="*/ 13 h 71"/>
                <a:gd name="T40" fmla="*/ 9 w 42"/>
                <a:gd name="T41" fmla="*/ 13 h 71"/>
                <a:gd name="T42" fmla="*/ 9 w 42"/>
                <a:gd name="T43" fmla="*/ 18 h 71"/>
                <a:gd name="T44" fmla="*/ 11 w 42"/>
                <a:gd name="T45" fmla="*/ 29 h 71"/>
                <a:gd name="T46" fmla="*/ 9 w 42"/>
                <a:gd name="T47" fmla="*/ 36 h 71"/>
                <a:gd name="T48" fmla="*/ 7 w 42"/>
                <a:gd name="T49" fmla="*/ 40 h 71"/>
                <a:gd name="T50" fmla="*/ 6 w 42"/>
                <a:gd name="T51" fmla="*/ 42 h 71"/>
                <a:gd name="T52" fmla="*/ 6 w 42"/>
                <a:gd name="T53" fmla="*/ 42 h 71"/>
                <a:gd name="T54" fmla="*/ 2 w 42"/>
                <a:gd name="T55" fmla="*/ 38 h 71"/>
                <a:gd name="T56" fmla="*/ 2 w 42"/>
                <a:gd name="T57" fmla="*/ 38 h 71"/>
                <a:gd name="T58" fmla="*/ 0 w 42"/>
                <a:gd name="T59" fmla="*/ 42 h 71"/>
                <a:gd name="T60" fmla="*/ 0 w 42"/>
                <a:gd name="T61" fmla="*/ 44 h 71"/>
                <a:gd name="T62" fmla="*/ 0 w 42"/>
                <a:gd name="T63" fmla="*/ 44 h 71"/>
                <a:gd name="T64" fmla="*/ 6 w 42"/>
                <a:gd name="T65" fmla="*/ 46 h 71"/>
                <a:gd name="T66" fmla="*/ 6 w 42"/>
                <a:gd name="T67" fmla="*/ 46 h 71"/>
                <a:gd name="T68" fmla="*/ 6 w 42"/>
                <a:gd name="T69" fmla="*/ 60 h 71"/>
                <a:gd name="T70" fmla="*/ 6 w 42"/>
                <a:gd name="T71" fmla="*/ 60 h 71"/>
                <a:gd name="T72" fmla="*/ 11 w 42"/>
                <a:gd name="T73" fmla="*/ 60 h 71"/>
                <a:gd name="T74" fmla="*/ 11 w 42"/>
                <a:gd name="T75" fmla="*/ 60 h 71"/>
                <a:gd name="T76" fmla="*/ 11 w 42"/>
                <a:gd name="T77" fmla="*/ 64 h 71"/>
                <a:gd name="T78" fmla="*/ 17 w 42"/>
                <a:gd name="T79" fmla="*/ 66 h 71"/>
                <a:gd name="T80" fmla="*/ 20 w 42"/>
                <a:gd name="T81" fmla="*/ 69 h 71"/>
                <a:gd name="T82" fmla="*/ 24 w 42"/>
                <a:gd name="T83" fmla="*/ 71 h 71"/>
                <a:gd name="T84" fmla="*/ 31 w 42"/>
                <a:gd name="T85" fmla="*/ 71 h 71"/>
                <a:gd name="T86" fmla="*/ 42 w 42"/>
                <a:gd name="T87" fmla="*/ 71 h 71"/>
                <a:gd name="T88" fmla="*/ 42 w 42"/>
                <a:gd name="T89" fmla="*/ 71 h 71"/>
                <a:gd name="T90" fmla="*/ 42 w 42"/>
                <a:gd name="T91" fmla="*/ 64 h 71"/>
                <a:gd name="T92" fmla="*/ 42 w 42"/>
                <a:gd name="T93" fmla="*/ 64 h 71"/>
                <a:gd name="T94" fmla="*/ 42 w 42"/>
                <a:gd name="T95" fmla="*/ 64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" h="71">
                  <a:moveTo>
                    <a:pt x="42" y="64"/>
                  </a:moveTo>
                  <a:lnTo>
                    <a:pt x="35" y="60"/>
                  </a:lnTo>
                  <a:lnTo>
                    <a:pt x="35" y="60"/>
                  </a:lnTo>
                  <a:lnTo>
                    <a:pt x="26" y="58"/>
                  </a:lnTo>
                  <a:lnTo>
                    <a:pt x="24" y="55"/>
                  </a:lnTo>
                  <a:lnTo>
                    <a:pt x="22" y="53"/>
                  </a:lnTo>
                  <a:lnTo>
                    <a:pt x="22" y="51"/>
                  </a:lnTo>
                  <a:lnTo>
                    <a:pt x="22" y="4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18"/>
                  </a:lnTo>
                  <a:lnTo>
                    <a:pt x="26" y="1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4" y="2"/>
                  </a:lnTo>
                  <a:lnTo>
                    <a:pt x="17" y="4"/>
                  </a:lnTo>
                  <a:lnTo>
                    <a:pt x="7" y="9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8"/>
                  </a:lnTo>
                  <a:lnTo>
                    <a:pt x="11" y="29"/>
                  </a:lnTo>
                  <a:lnTo>
                    <a:pt x="9" y="36"/>
                  </a:lnTo>
                  <a:lnTo>
                    <a:pt x="7" y="40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4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4" y="71"/>
                  </a:lnTo>
                  <a:lnTo>
                    <a:pt x="31" y="71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0" name="Freeform 116">
              <a:extLst>
                <a:ext uri="{FF2B5EF4-FFF2-40B4-BE49-F238E27FC236}">
                  <a16:creationId xmlns:a16="http://schemas.microsoft.com/office/drawing/2014/main" id="{9059CDA2-4C62-E246-B453-9322F36B1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924" y="5016836"/>
              <a:ext cx="15932" cy="24320"/>
            </a:xfrm>
            <a:custGeom>
              <a:avLst/>
              <a:gdLst>
                <a:gd name="T0" fmla="*/ 7 w 11"/>
                <a:gd name="T1" fmla="*/ 2 h 17"/>
                <a:gd name="T2" fmla="*/ 7 w 11"/>
                <a:gd name="T3" fmla="*/ 0 h 17"/>
                <a:gd name="T4" fmla="*/ 7 w 11"/>
                <a:gd name="T5" fmla="*/ 0 h 17"/>
                <a:gd name="T6" fmla="*/ 3 w 11"/>
                <a:gd name="T7" fmla="*/ 2 h 17"/>
                <a:gd name="T8" fmla="*/ 2 w 11"/>
                <a:gd name="T9" fmla="*/ 6 h 17"/>
                <a:gd name="T10" fmla="*/ 0 w 11"/>
                <a:gd name="T11" fmla="*/ 11 h 17"/>
                <a:gd name="T12" fmla="*/ 2 w 11"/>
                <a:gd name="T13" fmla="*/ 13 h 17"/>
                <a:gd name="T14" fmla="*/ 3 w 11"/>
                <a:gd name="T15" fmla="*/ 15 h 17"/>
                <a:gd name="T16" fmla="*/ 3 w 11"/>
                <a:gd name="T17" fmla="*/ 15 h 17"/>
                <a:gd name="T18" fmla="*/ 5 w 11"/>
                <a:gd name="T19" fmla="*/ 17 h 17"/>
                <a:gd name="T20" fmla="*/ 7 w 11"/>
                <a:gd name="T21" fmla="*/ 15 h 17"/>
                <a:gd name="T22" fmla="*/ 7 w 11"/>
                <a:gd name="T23" fmla="*/ 15 h 17"/>
                <a:gd name="T24" fmla="*/ 9 w 11"/>
                <a:gd name="T25" fmla="*/ 13 h 17"/>
                <a:gd name="T26" fmla="*/ 11 w 11"/>
                <a:gd name="T27" fmla="*/ 6 h 17"/>
                <a:gd name="T28" fmla="*/ 9 w 11"/>
                <a:gd name="T29" fmla="*/ 4 h 17"/>
                <a:gd name="T30" fmla="*/ 7 w 11"/>
                <a:gd name="T31" fmla="*/ 2 h 17"/>
                <a:gd name="T32" fmla="*/ 7 w 11"/>
                <a:gd name="T33" fmla="*/ 2 h 17"/>
                <a:gd name="T34" fmla="*/ 7 w 11"/>
                <a:gd name="T3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7">
                  <a:moveTo>
                    <a:pt x="7" y="2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3" y="2"/>
                  </a:lnTo>
                  <a:lnTo>
                    <a:pt x="2" y="6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3"/>
                  </a:lnTo>
                  <a:lnTo>
                    <a:pt x="11" y="6"/>
                  </a:lnTo>
                  <a:lnTo>
                    <a:pt x="9" y="4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1" name="Freeform 117">
              <a:extLst>
                <a:ext uri="{FF2B5EF4-FFF2-40B4-BE49-F238E27FC236}">
                  <a16:creationId xmlns:a16="http://schemas.microsoft.com/office/drawing/2014/main" id="{F766FDBA-69B5-2C42-92F5-5BF0E40ED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4131" y="3702117"/>
              <a:ext cx="60829" cy="21459"/>
            </a:xfrm>
            <a:custGeom>
              <a:avLst/>
              <a:gdLst>
                <a:gd name="T0" fmla="*/ 0 w 42"/>
                <a:gd name="T1" fmla="*/ 7 h 15"/>
                <a:gd name="T2" fmla="*/ 0 w 42"/>
                <a:gd name="T3" fmla="*/ 7 h 15"/>
                <a:gd name="T4" fmla="*/ 2 w 42"/>
                <a:gd name="T5" fmla="*/ 9 h 15"/>
                <a:gd name="T6" fmla="*/ 7 w 42"/>
                <a:gd name="T7" fmla="*/ 11 h 15"/>
                <a:gd name="T8" fmla="*/ 18 w 42"/>
                <a:gd name="T9" fmla="*/ 15 h 15"/>
                <a:gd name="T10" fmla="*/ 29 w 42"/>
                <a:gd name="T11" fmla="*/ 15 h 15"/>
                <a:gd name="T12" fmla="*/ 36 w 42"/>
                <a:gd name="T13" fmla="*/ 15 h 15"/>
                <a:gd name="T14" fmla="*/ 42 w 42"/>
                <a:gd name="T15" fmla="*/ 11 h 15"/>
                <a:gd name="T16" fmla="*/ 42 w 42"/>
                <a:gd name="T17" fmla="*/ 11 h 15"/>
                <a:gd name="T18" fmla="*/ 42 w 42"/>
                <a:gd name="T19" fmla="*/ 9 h 15"/>
                <a:gd name="T20" fmla="*/ 40 w 42"/>
                <a:gd name="T21" fmla="*/ 6 h 15"/>
                <a:gd name="T22" fmla="*/ 35 w 42"/>
                <a:gd name="T23" fmla="*/ 4 h 15"/>
                <a:gd name="T24" fmla="*/ 29 w 42"/>
                <a:gd name="T25" fmla="*/ 2 h 15"/>
                <a:gd name="T26" fmla="*/ 22 w 42"/>
                <a:gd name="T27" fmla="*/ 0 h 15"/>
                <a:gd name="T28" fmla="*/ 15 w 42"/>
                <a:gd name="T29" fmla="*/ 0 h 15"/>
                <a:gd name="T30" fmla="*/ 7 w 42"/>
                <a:gd name="T31" fmla="*/ 2 h 15"/>
                <a:gd name="T32" fmla="*/ 4 w 42"/>
                <a:gd name="T33" fmla="*/ 4 h 15"/>
                <a:gd name="T34" fmla="*/ 0 w 42"/>
                <a:gd name="T35" fmla="*/ 7 h 15"/>
                <a:gd name="T36" fmla="*/ 0 w 42"/>
                <a:gd name="T37" fmla="*/ 7 h 15"/>
                <a:gd name="T38" fmla="*/ 0 w 42"/>
                <a:gd name="T3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15">
                  <a:moveTo>
                    <a:pt x="0" y="7"/>
                  </a:moveTo>
                  <a:lnTo>
                    <a:pt x="0" y="7"/>
                  </a:lnTo>
                  <a:lnTo>
                    <a:pt x="2" y="9"/>
                  </a:lnTo>
                  <a:lnTo>
                    <a:pt x="7" y="11"/>
                  </a:lnTo>
                  <a:lnTo>
                    <a:pt x="18" y="15"/>
                  </a:lnTo>
                  <a:lnTo>
                    <a:pt x="29" y="15"/>
                  </a:lnTo>
                  <a:lnTo>
                    <a:pt x="36" y="15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9"/>
                  </a:lnTo>
                  <a:lnTo>
                    <a:pt x="40" y="6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2" y="0"/>
                  </a:lnTo>
                  <a:lnTo>
                    <a:pt x="15" y="0"/>
                  </a:lnTo>
                  <a:lnTo>
                    <a:pt x="7" y="2"/>
                  </a:lnTo>
                  <a:lnTo>
                    <a:pt x="4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2" name="Freeform 118">
              <a:extLst>
                <a:ext uri="{FF2B5EF4-FFF2-40B4-BE49-F238E27FC236}">
                  <a16:creationId xmlns:a16="http://schemas.microsoft.com/office/drawing/2014/main" id="{BCB4C6EE-A347-E148-932E-C7B9FC2A3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201" y="3673505"/>
              <a:ext cx="31862" cy="21459"/>
            </a:xfrm>
            <a:custGeom>
              <a:avLst/>
              <a:gdLst>
                <a:gd name="T0" fmla="*/ 20 w 22"/>
                <a:gd name="T1" fmla="*/ 0 h 15"/>
                <a:gd name="T2" fmla="*/ 19 w 22"/>
                <a:gd name="T3" fmla="*/ 0 h 15"/>
                <a:gd name="T4" fmla="*/ 19 w 22"/>
                <a:gd name="T5" fmla="*/ 0 h 15"/>
                <a:gd name="T6" fmla="*/ 15 w 22"/>
                <a:gd name="T7" fmla="*/ 2 h 15"/>
                <a:gd name="T8" fmla="*/ 6 w 22"/>
                <a:gd name="T9" fmla="*/ 6 h 15"/>
                <a:gd name="T10" fmla="*/ 2 w 22"/>
                <a:gd name="T11" fmla="*/ 7 h 15"/>
                <a:gd name="T12" fmla="*/ 0 w 22"/>
                <a:gd name="T13" fmla="*/ 9 h 15"/>
                <a:gd name="T14" fmla="*/ 0 w 22"/>
                <a:gd name="T15" fmla="*/ 9 h 15"/>
                <a:gd name="T16" fmla="*/ 2 w 22"/>
                <a:gd name="T17" fmla="*/ 15 h 15"/>
                <a:gd name="T18" fmla="*/ 2 w 22"/>
                <a:gd name="T19" fmla="*/ 15 h 15"/>
                <a:gd name="T20" fmla="*/ 6 w 22"/>
                <a:gd name="T21" fmla="*/ 15 h 15"/>
                <a:gd name="T22" fmla="*/ 8 w 22"/>
                <a:gd name="T23" fmla="*/ 15 h 15"/>
                <a:gd name="T24" fmla="*/ 17 w 22"/>
                <a:gd name="T25" fmla="*/ 9 h 15"/>
                <a:gd name="T26" fmla="*/ 20 w 22"/>
                <a:gd name="T27" fmla="*/ 6 h 15"/>
                <a:gd name="T28" fmla="*/ 22 w 22"/>
                <a:gd name="T29" fmla="*/ 4 h 15"/>
                <a:gd name="T30" fmla="*/ 22 w 22"/>
                <a:gd name="T31" fmla="*/ 2 h 15"/>
                <a:gd name="T32" fmla="*/ 20 w 22"/>
                <a:gd name="T33" fmla="*/ 0 h 15"/>
                <a:gd name="T34" fmla="*/ 20 w 22"/>
                <a:gd name="T35" fmla="*/ 0 h 15"/>
                <a:gd name="T36" fmla="*/ 20 w 22"/>
                <a:gd name="T3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15">
                  <a:moveTo>
                    <a:pt x="20" y="0"/>
                  </a:moveTo>
                  <a:lnTo>
                    <a:pt x="19" y="0"/>
                  </a:lnTo>
                  <a:lnTo>
                    <a:pt x="19" y="0"/>
                  </a:lnTo>
                  <a:lnTo>
                    <a:pt x="15" y="2"/>
                  </a:lnTo>
                  <a:lnTo>
                    <a:pt x="6" y="6"/>
                  </a:lnTo>
                  <a:lnTo>
                    <a:pt x="2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6" y="15"/>
                  </a:lnTo>
                  <a:lnTo>
                    <a:pt x="8" y="15"/>
                  </a:lnTo>
                  <a:lnTo>
                    <a:pt x="17" y="9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3" name="Freeform 119">
              <a:extLst>
                <a:ext uri="{FF2B5EF4-FFF2-40B4-BE49-F238E27FC236}">
                  <a16:creationId xmlns:a16="http://schemas.microsoft.com/office/drawing/2014/main" id="{BEBE71AA-84DE-A642-9212-5FCE65E07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883" y="3021153"/>
              <a:ext cx="28966" cy="25751"/>
            </a:xfrm>
            <a:custGeom>
              <a:avLst/>
              <a:gdLst>
                <a:gd name="T0" fmla="*/ 18 w 20"/>
                <a:gd name="T1" fmla="*/ 4 h 18"/>
                <a:gd name="T2" fmla="*/ 16 w 20"/>
                <a:gd name="T3" fmla="*/ 2 h 18"/>
                <a:gd name="T4" fmla="*/ 16 w 20"/>
                <a:gd name="T5" fmla="*/ 2 h 18"/>
                <a:gd name="T6" fmla="*/ 14 w 20"/>
                <a:gd name="T7" fmla="*/ 0 h 18"/>
                <a:gd name="T8" fmla="*/ 12 w 20"/>
                <a:gd name="T9" fmla="*/ 0 h 18"/>
                <a:gd name="T10" fmla="*/ 9 w 20"/>
                <a:gd name="T11" fmla="*/ 0 h 18"/>
                <a:gd name="T12" fmla="*/ 5 w 20"/>
                <a:gd name="T13" fmla="*/ 0 h 18"/>
                <a:gd name="T14" fmla="*/ 3 w 20"/>
                <a:gd name="T15" fmla="*/ 4 h 18"/>
                <a:gd name="T16" fmla="*/ 0 w 20"/>
                <a:gd name="T17" fmla="*/ 6 h 18"/>
                <a:gd name="T18" fmla="*/ 0 w 20"/>
                <a:gd name="T19" fmla="*/ 11 h 18"/>
                <a:gd name="T20" fmla="*/ 3 w 20"/>
                <a:gd name="T21" fmla="*/ 15 h 18"/>
                <a:gd name="T22" fmla="*/ 3 w 20"/>
                <a:gd name="T23" fmla="*/ 15 h 18"/>
                <a:gd name="T24" fmla="*/ 5 w 20"/>
                <a:gd name="T25" fmla="*/ 16 h 18"/>
                <a:gd name="T26" fmla="*/ 9 w 20"/>
                <a:gd name="T27" fmla="*/ 18 h 18"/>
                <a:gd name="T28" fmla="*/ 12 w 20"/>
                <a:gd name="T29" fmla="*/ 16 h 18"/>
                <a:gd name="T30" fmla="*/ 16 w 20"/>
                <a:gd name="T31" fmla="*/ 16 h 18"/>
                <a:gd name="T32" fmla="*/ 18 w 20"/>
                <a:gd name="T33" fmla="*/ 15 h 18"/>
                <a:gd name="T34" fmla="*/ 20 w 20"/>
                <a:gd name="T35" fmla="*/ 13 h 18"/>
                <a:gd name="T36" fmla="*/ 20 w 20"/>
                <a:gd name="T37" fmla="*/ 7 h 18"/>
                <a:gd name="T38" fmla="*/ 18 w 20"/>
                <a:gd name="T39" fmla="*/ 4 h 18"/>
                <a:gd name="T40" fmla="*/ 18 w 20"/>
                <a:gd name="T41" fmla="*/ 4 h 18"/>
                <a:gd name="T42" fmla="*/ 18 w 20"/>
                <a:gd name="T43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8">
                  <a:moveTo>
                    <a:pt x="18" y="4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3" y="4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6"/>
                  </a:lnTo>
                  <a:lnTo>
                    <a:pt x="9" y="18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8" y="15"/>
                  </a:lnTo>
                  <a:lnTo>
                    <a:pt x="20" y="13"/>
                  </a:lnTo>
                  <a:lnTo>
                    <a:pt x="20" y="7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4" name="Freeform 120">
              <a:extLst>
                <a:ext uri="{FF2B5EF4-FFF2-40B4-BE49-F238E27FC236}">
                  <a16:creationId xmlns:a16="http://schemas.microsoft.com/office/drawing/2014/main" id="{39A2A797-F144-9B47-A031-11ECB0FF4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3260" y="3011138"/>
              <a:ext cx="21725" cy="18598"/>
            </a:xfrm>
            <a:custGeom>
              <a:avLst/>
              <a:gdLst>
                <a:gd name="T0" fmla="*/ 15 w 15"/>
                <a:gd name="T1" fmla="*/ 0 h 13"/>
                <a:gd name="T2" fmla="*/ 15 w 15"/>
                <a:gd name="T3" fmla="*/ 0 h 13"/>
                <a:gd name="T4" fmla="*/ 15 w 15"/>
                <a:gd name="T5" fmla="*/ 0 h 13"/>
                <a:gd name="T6" fmla="*/ 6 w 15"/>
                <a:gd name="T7" fmla="*/ 0 h 13"/>
                <a:gd name="T8" fmla="*/ 2 w 15"/>
                <a:gd name="T9" fmla="*/ 0 h 13"/>
                <a:gd name="T10" fmla="*/ 2 w 15"/>
                <a:gd name="T11" fmla="*/ 0 h 13"/>
                <a:gd name="T12" fmla="*/ 2 w 15"/>
                <a:gd name="T13" fmla="*/ 0 h 13"/>
                <a:gd name="T14" fmla="*/ 0 w 15"/>
                <a:gd name="T15" fmla="*/ 3 h 13"/>
                <a:gd name="T16" fmla="*/ 2 w 15"/>
                <a:gd name="T17" fmla="*/ 7 h 13"/>
                <a:gd name="T18" fmla="*/ 4 w 15"/>
                <a:gd name="T19" fmla="*/ 11 h 13"/>
                <a:gd name="T20" fmla="*/ 4 w 15"/>
                <a:gd name="T21" fmla="*/ 11 h 13"/>
                <a:gd name="T22" fmla="*/ 9 w 15"/>
                <a:gd name="T23" fmla="*/ 13 h 13"/>
                <a:gd name="T24" fmla="*/ 11 w 15"/>
                <a:gd name="T25" fmla="*/ 13 h 13"/>
                <a:gd name="T26" fmla="*/ 13 w 15"/>
                <a:gd name="T27" fmla="*/ 13 h 13"/>
                <a:gd name="T28" fmla="*/ 15 w 15"/>
                <a:gd name="T29" fmla="*/ 11 h 13"/>
                <a:gd name="T30" fmla="*/ 15 w 15"/>
                <a:gd name="T31" fmla="*/ 7 h 13"/>
                <a:gd name="T32" fmla="*/ 15 w 15"/>
                <a:gd name="T33" fmla="*/ 2 h 13"/>
                <a:gd name="T34" fmla="*/ 15 w 15"/>
                <a:gd name="T35" fmla="*/ 2 h 13"/>
                <a:gd name="T36" fmla="*/ 15 w 15"/>
                <a:gd name="T37" fmla="*/ 2 h 13"/>
                <a:gd name="T38" fmla="*/ 15 w 15"/>
                <a:gd name="T39" fmla="*/ 0 h 13"/>
                <a:gd name="T40" fmla="*/ 15 w 15"/>
                <a:gd name="T41" fmla="*/ 0 h 13"/>
                <a:gd name="T42" fmla="*/ 15 w 15"/>
                <a:gd name="T4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" h="13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9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5" y="11"/>
                  </a:lnTo>
                  <a:lnTo>
                    <a:pt x="15" y="7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5" name="Freeform 121">
              <a:extLst>
                <a:ext uri="{FF2B5EF4-FFF2-40B4-BE49-F238E27FC236}">
                  <a16:creationId xmlns:a16="http://schemas.microsoft.com/office/drawing/2014/main" id="{C8904860-E6F7-A74A-A4AC-C18F19ACD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8086" y="3096974"/>
              <a:ext cx="20276" cy="17167"/>
            </a:xfrm>
            <a:custGeom>
              <a:avLst/>
              <a:gdLst>
                <a:gd name="T0" fmla="*/ 14 w 14"/>
                <a:gd name="T1" fmla="*/ 3 h 12"/>
                <a:gd name="T2" fmla="*/ 14 w 14"/>
                <a:gd name="T3" fmla="*/ 3 h 12"/>
                <a:gd name="T4" fmla="*/ 9 w 14"/>
                <a:gd name="T5" fmla="*/ 2 h 12"/>
                <a:gd name="T6" fmla="*/ 5 w 14"/>
                <a:gd name="T7" fmla="*/ 0 h 12"/>
                <a:gd name="T8" fmla="*/ 2 w 14"/>
                <a:gd name="T9" fmla="*/ 0 h 12"/>
                <a:gd name="T10" fmla="*/ 2 w 14"/>
                <a:gd name="T11" fmla="*/ 2 h 12"/>
                <a:gd name="T12" fmla="*/ 0 w 14"/>
                <a:gd name="T13" fmla="*/ 3 h 12"/>
                <a:gd name="T14" fmla="*/ 0 w 14"/>
                <a:gd name="T15" fmla="*/ 3 h 12"/>
                <a:gd name="T16" fmla="*/ 0 w 14"/>
                <a:gd name="T17" fmla="*/ 7 h 12"/>
                <a:gd name="T18" fmla="*/ 0 w 14"/>
                <a:gd name="T19" fmla="*/ 9 h 12"/>
                <a:gd name="T20" fmla="*/ 2 w 14"/>
                <a:gd name="T21" fmla="*/ 9 h 12"/>
                <a:gd name="T22" fmla="*/ 2 w 14"/>
                <a:gd name="T23" fmla="*/ 11 h 12"/>
                <a:gd name="T24" fmla="*/ 9 w 14"/>
                <a:gd name="T25" fmla="*/ 12 h 12"/>
                <a:gd name="T26" fmla="*/ 14 w 14"/>
                <a:gd name="T27" fmla="*/ 11 h 12"/>
                <a:gd name="T28" fmla="*/ 14 w 14"/>
                <a:gd name="T29" fmla="*/ 11 h 12"/>
                <a:gd name="T30" fmla="*/ 14 w 14"/>
                <a:gd name="T31" fmla="*/ 9 h 12"/>
                <a:gd name="T32" fmla="*/ 14 w 14"/>
                <a:gd name="T33" fmla="*/ 3 h 12"/>
                <a:gd name="T34" fmla="*/ 14 w 14"/>
                <a:gd name="T35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12">
                  <a:moveTo>
                    <a:pt x="14" y="3"/>
                  </a:moveTo>
                  <a:lnTo>
                    <a:pt x="14" y="3"/>
                  </a:lnTo>
                  <a:lnTo>
                    <a:pt x="9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9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9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6" name="Freeform 122">
              <a:extLst>
                <a:ext uri="{FF2B5EF4-FFF2-40B4-BE49-F238E27FC236}">
                  <a16:creationId xmlns:a16="http://schemas.microsoft.com/office/drawing/2014/main" id="{DED46147-25E3-7146-952C-8E94F25FA3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8847" y="3323009"/>
              <a:ext cx="17380" cy="20029"/>
            </a:xfrm>
            <a:custGeom>
              <a:avLst/>
              <a:gdLst>
                <a:gd name="T0" fmla="*/ 12 w 12"/>
                <a:gd name="T1" fmla="*/ 5 h 14"/>
                <a:gd name="T2" fmla="*/ 7 w 12"/>
                <a:gd name="T3" fmla="*/ 0 h 14"/>
                <a:gd name="T4" fmla="*/ 7 w 12"/>
                <a:gd name="T5" fmla="*/ 0 h 14"/>
                <a:gd name="T6" fmla="*/ 5 w 12"/>
                <a:gd name="T7" fmla="*/ 2 h 14"/>
                <a:gd name="T8" fmla="*/ 0 w 12"/>
                <a:gd name="T9" fmla="*/ 2 h 14"/>
                <a:gd name="T10" fmla="*/ 0 w 12"/>
                <a:gd name="T11" fmla="*/ 2 h 14"/>
                <a:gd name="T12" fmla="*/ 0 w 12"/>
                <a:gd name="T13" fmla="*/ 5 h 14"/>
                <a:gd name="T14" fmla="*/ 1 w 12"/>
                <a:gd name="T15" fmla="*/ 11 h 14"/>
                <a:gd name="T16" fmla="*/ 5 w 12"/>
                <a:gd name="T17" fmla="*/ 13 h 14"/>
                <a:gd name="T18" fmla="*/ 7 w 12"/>
                <a:gd name="T19" fmla="*/ 14 h 14"/>
                <a:gd name="T20" fmla="*/ 9 w 12"/>
                <a:gd name="T21" fmla="*/ 14 h 14"/>
                <a:gd name="T22" fmla="*/ 10 w 12"/>
                <a:gd name="T23" fmla="*/ 13 h 14"/>
                <a:gd name="T24" fmla="*/ 10 w 12"/>
                <a:gd name="T25" fmla="*/ 11 h 14"/>
                <a:gd name="T26" fmla="*/ 12 w 12"/>
                <a:gd name="T27" fmla="*/ 5 h 14"/>
                <a:gd name="T28" fmla="*/ 12 w 12"/>
                <a:gd name="T29" fmla="*/ 5 h 14"/>
                <a:gd name="T30" fmla="*/ 12 w 12"/>
                <a:gd name="T31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1" y="11"/>
                  </a:lnTo>
                  <a:lnTo>
                    <a:pt x="5" y="13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7" name="Freeform 123">
              <a:extLst>
                <a:ext uri="{FF2B5EF4-FFF2-40B4-BE49-F238E27FC236}">
                  <a16:creationId xmlns:a16="http://schemas.microsoft.com/office/drawing/2014/main" id="{9713D5FA-213E-1A4E-8918-D26F04F5F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6022" y="3348759"/>
              <a:ext cx="26069" cy="21459"/>
            </a:xfrm>
            <a:custGeom>
              <a:avLst/>
              <a:gdLst>
                <a:gd name="T0" fmla="*/ 18 w 18"/>
                <a:gd name="T1" fmla="*/ 0 h 15"/>
                <a:gd name="T2" fmla="*/ 18 w 18"/>
                <a:gd name="T3" fmla="*/ 0 h 15"/>
                <a:gd name="T4" fmla="*/ 18 w 18"/>
                <a:gd name="T5" fmla="*/ 0 h 15"/>
                <a:gd name="T6" fmla="*/ 15 w 18"/>
                <a:gd name="T7" fmla="*/ 0 h 15"/>
                <a:gd name="T8" fmla="*/ 9 w 18"/>
                <a:gd name="T9" fmla="*/ 0 h 15"/>
                <a:gd name="T10" fmla="*/ 9 w 18"/>
                <a:gd name="T11" fmla="*/ 0 h 15"/>
                <a:gd name="T12" fmla="*/ 9 w 18"/>
                <a:gd name="T13" fmla="*/ 2 h 15"/>
                <a:gd name="T14" fmla="*/ 7 w 18"/>
                <a:gd name="T15" fmla="*/ 4 h 15"/>
                <a:gd name="T16" fmla="*/ 4 w 18"/>
                <a:gd name="T17" fmla="*/ 5 h 15"/>
                <a:gd name="T18" fmla="*/ 0 w 18"/>
                <a:gd name="T19" fmla="*/ 7 h 15"/>
                <a:gd name="T20" fmla="*/ 0 w 18"/>
                <a:gd name="T21" fmla="*/ 7 h 15"/>
                <a:gd name="T22" fmla="*/ 2 w 18"/>
                <a:gd name="T23" fmla="*/ 13 h 15"/>
                <a:gd name="T24" fmla="*/ 2 w 18"/>
                <a:gd name="T25" fmla="*/ 13 h 15"/>
                <a:gd name="T26" fmla="*/ 4 w 18"/>
                <a:gd name="T27" fmla="*/ 15 h 15"/>
                <a:gd name="T28" fmla="*/ 6 w 18"/>
                <a:gd name="T29" fmla="*/ 15 h 15"/>
                <a:gd name="T30" fmla="*/ 9 w 18"/>
                <a:gd name="T31" fmla="*/ 15 h 15"/>
                <a:gd name="T32" fmla="*/ 15 w 18"/>
                <a:gd name="T33" fmla="*/ 13 h 15"/>
                <a:gd name="T34" fmla="*/ 16 w 18"/>
                <a:gd name="T35" fmla="*/ 11 h 15"/>
                <a:gd name="T36" fmla="*/ 18 w 18"/>
                <a:gd name="T37" fmla="*/ 7 h 15"/>
                <a:gd name="T38" fmla="*/ 18 w 18"/>
                <a:gd name="T39" fmla="*/ 4 h 15"/>
                <a:gd name="T40" fmla="*/ 18 w 18"/>
                <a:gd name="T41" fmla="*/ 0 h 15"/>
                <a:gd name="T42" fmla="*/ 18 w 18"/>
                <a:gd name="T43" fmla="*/ 0 h 15"/>
                <a:gd name="T44" fmla="*/ 18 w 18"/>
                <a:gd name="T4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15">
                  <a:moveTo>
                    <a:pt x="18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7" y="4"/>
                  </a:lnTo>
                  <a:lnTo>
                    <a:pt x="4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9" y="15"/>
                  </a:lnTo>
                  <a:lnTo>
                    <a:pt x="15" y="13"/>
                  </a:lnTo>
                  <a:lnTo>
                    <a:pt x="16" y="11"/>
                  </a:lnTo>
                  <a:lnTo>
                    <a:pt x="18" y="7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8" name="Freeform 124">
              <a:extLst>
                <a:ext uri="{FF2B5EF4-FFF2-40B4-BE49-F238E27FC236}">
                  <a16:creationId xmlns:a16="http://schemas.microsoft.com/office/drawing/2014/main" id="{FE417368-30AE-E04C-B8D7-0DE83573EE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093" y="3260062"/>
              <a:ext cx="21725" cy="8583"/>
            </a:xfrm>
            <a:custGeom>
              <a:avLst/>
              <a:gdLst>
                <a:gd name="T0" fmla="*/ 8 w 15"/>
                <a:gd name="T1" fmla="*/ 0 h 6"/>
                <a:gd name="T2" fmla="*/ 8 w 15"/>
                <a:gd name="T3" fmla="*/ 0 h 6"/>
                <a:gd name="T4" fmla="*/ 8 w 15"/>
                <a:gd name="T5" fmla="*/ 0 h 6"/>
                <a:gd name="T6" fmla="*/ 6 w 15"/>
                <a:gd name="T7" fmla="*/ 0 h 6"/>
                <a:gd name="T8" fmla="*/ 2 w 15"/>
                <a:gd name="T9" fmla="*/ 0 h 6"/>
                <a:gd name="T10" fmla="*/ 0 w 15"/>
                <a:gd name="T11" fmla="*/ 2 h 6"/>
                <a:gd name="T12" fmla="*/ 0 w 15"/>
                <a:gd name="T13" fmla="*/ 4 h 6"/>
                <a:gd name="T14" fmla="*/ 2 w 15"/>
                <a:gd name="T15" fmla="*/ 6 h 6"/>
                <a:gd name="T16" fmla="*/ 8 w 15"/>
                <a:gd name="T17" fmla="*/ 6 h 6"/>
                <a:gd name="T18" fmla="*/ 8 w 15"/>
                <a:gd name="T19" fmla="*/ 6 h 6"/>
                <a:gd name="T20" fmla="*/ 13 w 15"/>
                <a:gd name="T21" fmla="*/ 6 h 6"/>
                <a:gd name="T22" fmla="*/ 15 w 15"/>
                <a:gd name="T23" fmla="*/ 6 h 6"/>
                <a:gd name="T24" fmla="*/ 15 w 15"/>
                <a:gd name="T25" fmla="*/ 4 h 6"/>
                <a:gd name="T26" fmla="*/ 13 w 15"/>
                <a:gd name="T27" fmla="*/ 2 h 6"/>
                <a:gd name="T28" fmla="*/ 8 w 15"/>
                <a:gd name="T29" fmla="*/ 0 h 6"/>
                <a:gd name="T30" fmla="*/ 8 w 15"/>
                <a:gd name="T31" fmla="*/ 0 h 6"/>
                <a:gd name="T32" fmla="*/ 8 w 15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9" name="Freeform 125">
              <a:extLst>
                <a:ext uri="{FF2B5EF4-FFF2-40B4-BE49-F238E27FC236}">
                  <a16:creationId xmlns:a16="http://schemas.microsoft.com/office/drawing/2014/main" id="{198190A2-0F84-A341-9A7C-3099A1EC7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293" y="3427442"/>
              <a:ext cx="26069" cy="38626"/>
            </a:xfrm>
            <a:custGeom>
              <a:avLst/>
              <a:gdLst>
                <a:gd name="T0" fmla="*/ 18 w 18"/>
                <a:gd name="T1" fmla="*/ 3 h 27"/>
                <a:gd name="T2" fmla="*/ 13 w 18"/>
                <a:gd name="T3" fmla="*/ 0 h 27"/>
                <a:gd name="T4" fmla="*/ 13 w 18"/>
                <a:gd name="T5" fmla="*/ 0 h 27"/>
                <a:gd name="T6" fmla="*/ 7 w 18"/>
                <a:gd name="T7" fmla="*/ 0 h 27"/>
                <a:gd name="T8" fmla="*/ 6 w 18"/>
                <a:gd name="T9" fmla="*/ 1 h 27"/>
                <a:gd name="T10" fmla="*/ 2 w 18"/>
                <a:gd name="T11" fmla="*/ 5 h 27"/>
                <a:gd name="T12" fmla="*/ 0 w 18"/>
                <a:gd name="T13" fmla="*/ 9 h 27"/>
                <a:gd name="T14" fmla="*/ 0 w 18"/>
                <a:gd name="T15" fmla="*/ 9 h 27"/>
                <a:gd name="T16" fmla="*/ 0 w 18"/>
                <a:gd name="T17" fmla="*/ 18 h 27"/>
                <a:gd name="T18" fmla="*/ 0 w 18"/>
                <a:gd name="T19" fmla="*/ 23 h 27"/>
                <a:gd name="T20" fmla="*/ 0 w 18"/>
                <a:gd name="T21" fmla="*/ 25 h 27"/>
                <a:gd name="T22" fmla="*/ 0 w 18"/>
                <a:gd name="T23" fmla="*/ 25 h 27"/>
                <a:gd name="T24" fmla="*/ 2 w 18"/>
                <a:gd name="T25" fmla="*/ 27 h 27"/>
                <a:gd name="T26" fmla="*/ 4 w 18"/>
                <a:gd name="T27" fmla="*/ 27 h 27"/>
                <a:gd name="T28" fmla="*/ 7 w 18"/>
                <a:gd name="T29" fmla="*/ 27 h 27"/>
                <a:gd name="T30" fmla="*/ 11 w 18"/>
                <a:gd name="T31" fmla="*/ 23 h 27"/>
                <a:gd name="T32" fmla="*/ 13 w 18"/>
                <a:gd name="T33" fmla="*/ 21 h 27"/>
                <a:gd name="T34" fmla="*/ 13 w 18"/>
                <a:gd name="T35" fmla="*/ 21 h 27"/>
                <a:gd name="T36" fmla="*/ 17 w 18"/>
                <a:gd name="T37" fmla="*/ 18 h 27"/>
                <a:gd name="T38" fmla="*/ 17 w 18"/>
                <a:gd name="T39" fmla="*/ 12 h 27"/>
                <a:gd name="T40" fmla="*/ 18 w 18"/>
                <a:gd name="T41" fmla="*/ 3 h 27"/>
                <a:gd name="T42" fmla="*/ 18 w 18"/>
                <a:gd name="T43" fmla="*/ 3 h 27"/>
                <a:gd name="T44" fmla="*/ 18 w 18"/>
                <a:gd name="T45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" h="27">
                  <a:moveTo>
                    <a:pt x="18" y="3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7" y="27"/>
                  </a:lnTo>
                  <a:lnTo>
                    <a:pt x="11" y="23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7" y="18"/>
                  </a:lnTo>
                  <a:lnTo>
                    <a:pt x="17" y="12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0" name="Freeform 126">
              <a:extLst>
                <a:ext uri="{FF2B5EF4-FFF2-40B4-BE49-F238E27FC236}">
                  <a16:creationId xmlns:a16="http://schemas.microsoft.com/office/drawing/2014/main" id="{4F351147-4253-4E49-836C-8254F83A9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050" y="2903844"/>
              <a:ext cx="52139" cy="34334"/>
            </a:xfrm>
            <a:custGeom>
              <a:avLst/>
              <a:gdLst>
                <a:gd name="T0" fmla="*/ 34 w 36"/>
                <a:gd name="T1" fmla="*/ 0 h 24"/>
                <a:gd name="T2" fmla="*/ 34 w 36"/>
                <a:gd name="T3" fmla="*/ 0 h 24"/>
                <a:gd name="T4" fmla="*/ 29 w 36"/>
                <a:gd name="T5" fmla="*/ 4 h 24"/>
                <a:gd name="T6" fmla="*/ 25 w 36"/>
                <a:gd name="T7" fmla="*/ 6 h 24"/>
                <a:gd name="T8" fmla="*/ 21 w 36"/>
                <a:gd name="T9" fmla="*/ 9 h 24"/>
                <a:gd name="T10" fmla="*/ 21 w 36"/>
                <a:gd name="T11" fmla="*/ 9 h 24"/>
                <a:gd name="T12" fmla="*/ 16 w 36"/>
                <a:gd name="T13" fmla="*/ 9 h 24"/>
                <a:gd name="T14" fmla="*/ 12 w 36"/>
                <a:gd name="T15" fmla="*/ 9 h 24"/>
                <a:gd name="T16" fmla="*/ 12 w 36"/>
                <a:gd name="T17" fmla="*/ 9 h 24"/>
                <a:gd name="T18" fmla="*/ 5 w 36"/>
                <a:gd name="T19" fmla="*/ 9 h 24"/>
                <a:gd name="T20" fmla="*/ 1 w 36"/>
                <a:gd name="T21" fmla="*/ 13 h 24"/>
                <a:gd name="T22" fmla="*/ 0 w 36"/>
                <a:gd name="T23" fmla="*/ 13 h 24"/>
                <a:gd name="T24" fmla="*/ 0 w 36"/>
                <a:gd name="T25" fmla="*/ 17 h 24"/>
                <a:gd name="T26" fmla="*/ 5 w 36"/>
                <a:gd name="T27" fmla="*/ 20 h 24"/>
                <a:gd name="T28" fmla="*/ 5 w 36"/>
                <a:gd name="T29" fmla="*/ 20 h 24"/>
                <a:gd name="T30" fmla="*/ 7 w 36"/>
                <a:gd name="T31" fmla="*/ 22 h 24"/>
                <a:gd name="T32" fmla="*/ 9 w 36"/>
                <a:gd name="T33" fmla="*/ 24 h 24"/>
                <a:gd name="T34" fmla="*/ 14 w 36"/>
                <a:gd name="T35" fmla="*/ 24 h 24"/>
                <a:gd name="T36" fmla="*/ 20 w 36"/>
                <a:gd name="T37" fmla="*/ 24 h 24"/>
                <a:gd name="T38" fmla="*/ 27 w 36"/>
                <a:gd name="T39" fmla="*/ 22 h 24"/>
                <a:gd name="T40" fmla="*/ 27 w 36"/>
                <a:gd name="T41" fmla="*/ 22 h 24"/>
                <a:gd name="T42" fmla="*/ 32 w 36"/>
                <a:gd name="T43" fmla="*/ 20 h 24"/>
                <a:gd name="T44" fmla="*/ 34 w 36"/>
                <a:gd name="T45" fmla="*/ 15 h 24"/>
                <a:gd name="T46" fmla="*/ 36 w 36"/>
                <a:gd name="T47" fmla="*/ 9 h 24"/>
                <a:gd name="T48" fmla="*/ 36 w 36"/>
                <a:gd name="T49" fmla="*/ 4 h 24"/>
                <a:gd name="T50" fmla="*/ 36 w 36"/>
                <a:gd name="T51" fmla="*/ 4 h 24"/>
                <a:gd name="T52" fmla="*/ 34 w 36"/>
                <a:gd name="T53" fmla="*/ 2 h 24"/>
                <a:gd name="T54" fmla="*/ 34 w 36"/>
                <a:gd name="T55" fmla="*/ 0 h 24"/>
                <a:gd name="T56" fmla="*/ 34 w 36"/>
                <a:gd name="T5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" h="24">
                  <a:moveTo>
                    <a:pt x="34" y="0"/>
                  </a:moveTo>
                  <a:lnTo>
                    <a:pt x="34" y="0"/>
                  </a:lnTo>
                  <a:lnTo>
                    <a:pt x="29" y="4"/>
                  </a:lnTo>
                  <a:lnTo>
                    <a:pt x="25" y="6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6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5" y="9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2"/>
                  </a:lnTo>
                  <a:lnTo>
                    <a:pt x="9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32" y="20"/>
                  </a:lnTo>
                  <a:lnTo>
                    <a:pt x="34" y="15"/>
                  </a:lnTo>
                  <a:lnTo>
                    <a:pt x="36" y="9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1" name="Freeform 127">
              <a:extLst>
                <a:ext uri="{FF2B5EF4-FFF2-40B4-BE49-F238E27FC236}">
                  <a16:creationId xmlns:a16="http://schemas.microsoft.com/office/drawing/2014/main" id="{4FCAF0B8-95EB-AB48-9441-1855C29AA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257" y="2858064"/>
              <a:ext cx="21725" cy="22889"/>
            </a:xfrm>
            <a:custGeom>
              <a:avLst/>
              <a:gdLst>
                <a:gd name="T0" fmla="*/ 9 w 15"/>
                <a:gd name="T1" fmla="*/ 1 h 16"/>
                <a:gd name="T2" fmla="*/ 9 w 15"/>
                <a:gd name="T3" fmla="*/ 1 h 16"/>
                <a:gd name="T4" fmla="*/ 5 w 15"/>
                <a:gd name="T5" fmla="*/ 0 h 16"/>
                <a:gd name="T6" fmla="*/ 4 w 15"/>
                <a:gd name="T7" fmla="*/ 0 h 16"/>
                <a:gd name="T8" fmla="*/ 0 w 15"/>
                <a:gd name="T9" fmla="*/ 1 h 16"/>
                <a:gd name="T10" fmla="*/ 0 w 15"/>
                <a:gd name="T11" fmla="*/ 5 h 16"/>
                <a:gd name="T12" fmla="*/ 0 w 15"/>
                <a:gd name="T13" fmla="*/ 7 h 16"/>
                <a:gd name="T14" fmla="*/ 0 w 15"/>
                <a:gd name="T15" fmla="*/ 9 h 16"/>
                <a:gd name="T16" fmla="*/ 0 w 15"/>
                <a:gd name="T17" fmla="*/ 12 h 16"/>
                <a:gd name="T18" fmla="*/ 4 w 15"/>
                <a:gd name="T19" fmla="*/ 14 h 16"/>
                <a:gd name="T20" fmla="*/ 4 w 15"/>
                <a:gd name="T21" fmla="*/ 14 h 16"/>
                <a:gd name="T22" fmla="*/ 7 w 15"/>
                <a:gd name="T23" fmla="*/ 16 h 16"/>
                <a:gd name="T24" fmla="*/ 11 w 15"/>
                <a:gd name="T25" fmla="*/ 16 h 16"/>
                <a:gd name="T26" fmla="*/ 11 w 15"/>
                <a:gd name="T27" fmla="*/ 12 h 16"/>
                <a:gd name="T28" fmla="*/ 13 w 15"/>
                <a:gd name="T29" fmla="*/ 12 h 16"/>
                <a:gd name="T30" fmla="*/ 15 w 15"/>
                <a:gd name="T31" fmla="*/ 9 h 16"/>
                <a:gd name="T32" fmla="*/ 13 w 15"/>
                <a:gd name="T33" fmla="*/ 7 h 16"/>
                <a:gd name="T34" fmla="*/ 11 w 15"/>
                <a:gd name="T35" fmla="*/ 5 h 16"/>
                <a:gd name="T36" fmla="*/ 11 w 15"/>
                <a:gd name="T37" fmla="*/ 1 h 16"/>
                <a:gd name="T38" fmla="*/ 9 w 15"/>
                <a:gd name="T39" fmla="*/ 1 h 16"/>
                <a:gd name="T40" fmla="*/ 9 w 15"/>
                <a:gd name="T4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6">
                  <a:moveTo>
                    <a:pt x="9" y="1"/>
                  </a:moveTo>
                  <a:lnTo>
                    <a:pt x="9" y="1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7" y="16"/>
                  </a:lnTo>
                  <a:lnTo>
                    <a:pt x="11" y="16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5" y="9"/>
                  </a:lnTo>
                  <a:lnTo>
                    <a:pt x="13" y="7"/>
                  </a:lnTo>
                  <a:lnTo>
                    <a:pt x="11" y="5"/>
                  </a:lnTo>
                  <a:lnTo>
                    <a:pt x="11" y="1"/>
                  </a:lnTo>
                  <a:lnTo>
                    <a:pt x="9" y="1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2" name="Freeform 128">
              <a:extLst>
                <a:ext uri="{FF2B5EF4-FFF2-40B4-BE49-F238E27FC236}">
                  <a16:creationId xmlns:a16="http://schemas.microsoft.com/office/drawing/2014/main" id="{D570F4B0-1F56-9043-BA12-EBA66F770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5600" y="2899551"/>
              <a:ext cx="40552" cy="30042"/>
            </a:xfrm>
            <a:custGeom>
              <a:avLst/>
              <a:gdLst>
                <a:gd name="T0" fmla="*/ 28 w 28"/>
                <a:gd name="T1" fmla="*/ 3 h 21"/>
                <a:gd name="T2" fmla="*/ 28 w 28"/>
                <a:gd name="T3" fmla="*/ 3 h 21"/>
                <a:gd name="T4" fmla="*/ 24 w 28"/>
                <a:gd name="T5" fmla="*/ 3 h 21"/>
                <a:gd name="T6" fmla="*/ 24 w 28"/>
                <a:gd name="T7" fmla="*/ 3 h 21"/>
                <a:gd name="T8" fmla="*/ 20 w 28"/>
                <a:gd name="T9" fmla="*/ 1 h 21"/>
                <a:gd name="T10" fmla="*/ 17 w 28"/>
                <a:gd name="T11" fmla="*/ 0 h 21"/>
                <a:gd name="T12" fmla="*/ 15 w 28"/>
                <a:gd name="T13" fmla="*/ 0 h 21"/>
                <a:gd name="T14" fmla="*/ 13 w 28"/>
                <a:gd name="T15" fmla="*/ 0 h 21"/>
                <a:gd name="T16" fmla="*/ 13 w 28"/>
                <a:gd name="T17" fmla="*/ 0 h 21"/>
                <a:gd name="T18" fmla="*/ 6 w 28"/>
                <a:gd name="T19" fmla="*/ 1 h 21"/>
                <a:gd name="T20" fmla="*/ 2 w 28"/>
                <a:gd name="T21" fmla="*/ 3 h 21"/>
                <a:gd name="T22" fmla="*/ 0 w 28"/>
                <a:gd name="T23" fmla="*/ 7 h 21"/>
                <a:gd name="T24" fmla="*/ 0 w 28"/>
                <a:gd name="T25" fmla="*/ 12 h 21"/>
                <a:gd name="T26" fmla="*/ 0 w 28"/>
                <a:gd name="T27" fmla="*/ 14 h 21"/>
                <a:gd name="T28" fmla="*/ 0 w 28"/>
                <a:gd name="T29" fmla="*/ 14 h 21"/>
                <a:gd name="T30" fmla="*/ 4 w 28"/>
                <a:gd name="T31" fmla="*/ 20 h 21"/>
                <a:gd name="T32" fmla="*/ 8 w 28"/>
                <a:gd name="T33" fmla="*/ 21 h 21"/>
                <a:gd name="T34" fmla="*/ 13 w 28"/>
                <a:gd name="T35" fmla="*/ 21 h 21"/>
                <a:gd name="T36" fmla="*/ 19 w 28"/>
                <a:gd name="T37" fmla="*/ 21 h 21"/>
                <a:gd name="T38" fmla="*/ 19 w 28"/>
                <a:gd name="T39" fmla="*/ 21 h 21"/>
                <a:gd name="T40" fmla="*/ 22 w 28"/>
                <a:gd name="T41" fmla="*/ 20 h 21"/>
                <a:gd name="T42" fmla="*/ 26 w 28"/>
                <a:gd name="T43" fmla="*/ 18 h 21"/>
                <a:gd name="T44" fmla="*/ 28 w 28"/>
                <a:gd name="T45" fmla="*/ 14 h 21"/>
                <a:gd name="T46" fmla="*/ 28 w 28"/>
                <a:gd name="T47" fmla="*/ 7 h 21"/>
                <a:gd name="T48" fmla="*/ 28 w 28"/>
                <a:gd name="T49" fmla="*/ 3 h 21"/>
                <a:gd name="T50" fmla="*/ 28 w 28"/>
                <a:gd name="T5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" h="21">
                  <a:moveTo>
                    <a:pt x="28" y="3"/>
                  </a:moveTo>
                  <a:lnTo>
                    <a:pt x="28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6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20"/>
                  </a:lnTo>
                  <a:lnTo>
                    <a:pt x="8" y="21"/>
                  </a:lnTo>
                  <a:lnTo>
                    <a:pt x="13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2" y="20"/>
                  </a:lnTo>
                  <a:lnTo>
                    <a:pt x="26" y="18"/>
                  </a:lnTo>
                  <a:lnTo>
                    <a:pt x="28" y="14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28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3" name="Freeform 129">
              <a:extLst>
                <a:ext uri="{FF2B5EF4-FFF2-40B4-BE49-F238E27FC236}">
                  <a16:creationId xmlns:a16="http://schemas.microsoft.com/office/drawing/2014/main" id="{85841B8A-1C70-D943-A165-E28CECCA3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7463" y="2880954"/>
              <a:ext cx="24621" cy="18598"/>
            </a:xfrm>
            <a:custGeom>
              <a:avLst/>
              <a:gdLst>
                <a:gd name="T0" fmla="*/ 2 w 17"/>
                <a:gd name="T1" fmla="*/ 2 h 13"/>
                <a:gd name="T2" fmla="*/ 2 w 17"/>
                <a:gd name="T3" fmla="*/ 2 h 13"/>
                <a:gd name="T4" fmla="*/ 0 w 17"/>
                <a:gd name="T5" fmla="*/ 5 h 13"/>
                <a:gd name="T6" fmla="*/ 0 w 17"/>
                <a:gd name="T7" fmla="*/ 9 h 13"/>
                <a:gd name="T8" fmla="*/ 2 w 17"/>
                <a:gd name="T9" fmla="*/ 9 h 13"/>
                <a:gd name="T10" fmla="*/ 4 w 17"/>
                <a:gd name="T11" fmla="*/ 11 h 13"/>
                <a:gd name="T12" fmla="*/ 8 w 17"/>
                <a:gd name="T13" fmla="*/ 11 h 13"/>
                <a:gd name="T14" fmla="*/ 13 w 17"/>
                <a:gd name="T15" fmla="*/ 13 h 13"/>
                <a:gd name="T16" fmla="*/ 13 w 17"/>
                <a:gd name="T17" fmla="*/ 13 h 13"/>
                <a:gd name="T18" fmla="*/ 15 w 17"/>
                <a:gd name="T19" fmla="*/ 9 h 13"/>
                <a:gd name="T20" fmla="*/ 17 w 17"/>
                <a:gd name="T21" fmla="*/ 5 h 13"/>
                <a:gd name="T22" fmla="*/ 17 w 17"/>
                <a:gd name="T23" fmla="*/ 5 h 13"/>
                <a:gd name="T24" fmla="*/ 13 w 17"/>
                <a:gd name="T25" fmla="*/ 0 h 13"/>
                <a:gd name="T26" fmla="*/ 8 w 17"/>
                <a:gd name="T27" fmla="*/ 0 h 13"/>
                <a:gd name="T28" fmla="*/ 4 w 17"/>
                <a:gd name="T29" fmla="*/ 0 h 13"/>
                <a:gd name="T30" fmla="*/ 2 w 17"/>
                <a:gd name="T31" fmla="*/ 2 h 13"/>
                <a:gd name="T32" fmla="*/ 2 w 17"/>
                <a:gd name="T33" fmla="*/ 2 h 13"/>
                <a:gd name="T34" fmla="*/ 2 w 17"/>
                <a:gd name="T3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13">
                  <a:moveTo>
                    <a:pt x="2" y="2"/>
                  </a:move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2" y="9"/>
                  </a:lnTo>
                  <a:lnTo>
                    <a:pt x="4" y="11"/>
                  </a:lnTo>
                  <a:lnTo>
                    <a:pt x="8" y="11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9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4" name="Freeform 130">
              <a:extLst>
                <a:ext uri="{FF2B5EF4-FFF2-40B4-BE49-F238E27FC236}">
                  <a16:creationId xmlns:a16="http://schemas.microsoft.com/office/drawing/2014/main" id="{6FA91701-848F-8741-9815-C0C82072F1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0360" y="2816577"/>
              <a:ext cx="26069" cy="20029"/>
            </a:xfrm>
            <a:custGeom>
              <a:avLst/>
              <a:gdLst>
                <a:gd name="T0" fmla="*/ 13 w 18"/>
                <a:gd name="T1" fmla="*/ 0 h 14"/>
                <a:gd name="T2" fmla="*/ 13 w 18"/>
                <a:gd name="T3" fmla="*/ 0 h 14"/>
                <a:gd name="T4" fmla="*/ 7 w 18"/>
                <a:gd name="T5" fmla="*/ 0 h 14"/>
                <a:gd name="T6" fmla="*/ 4 w 18"/>
                <a:gd name="T7" fmla="*/ 1 h 14"/>
                <a:gd name="T8" fmla="*/ 4 w 18"/>
                <a:gd name="T9" fmla="*/ 1 h 14"/>
                <a:gd name="T10" fmla="*/ 4 w 18"/>
                <a:gd name="T11" fmla="*/ 3 h 14"/>
                <a:gd name="T12" fmla="*/ 0 w 18"/>
                <a:gd name="T13" fmla="*/ 3 h 14"/>
                <a:gd name="T14" fmla="*/ 0 w 18"/>
                <a:gd name="T15" fmla="*/ 3 h 14"/>
                <a:gd name="T16" fmla="*/ 0 w 18"/>
                <a:gd name="T17" fmla="*/ 9 h 14"/>
                <a:gd name="T18" fmla="*/ 0 w 18"/>
                <a:gd name="T19" fmla="*/ 10 h 14"/>
                <a:gd name="T20" fmla="*/ 4 w 18"/>
                <a:gd name="T21" fmla="*/ 12 h 14"/>
                <a:gd name="T22" fmla="*/ 4 w 18"/>
                <a:gd name="T23" fmla="*/ 12 h 14"/>
                <a:gd name="T24" fmla="*/ 11 w 18"/>
                <a:gd name="T25" fmla="*/ 14 h 14"/>
                <a:gd name="T26" fmla="*/ 16 w 18"/>
                <a:gd name="T27" fmla="*/ 14 h 14"/>
                <a:gd name="T28" fmla="*/ 18 w 18"/>
                <a:gd name="T29" fmla="*/ 10 h 14"/>
                <a:gd name="T30" fmla="*/ 18 w 18"/>
                <a:gd name="T31" fmla="*/ 10 h 14"/>
                <a:gd name="T32" fmla="*/ 16 w 18"/>
                <a:gd name="T33" fmla="*/ 5 h 14"/>
                <a:gd name="T34" fmla="*/ 16 w 18"/>
                <a:gd name="T35" fmla="*/ 3 h 14"/>
                <a:gd name="T36" fmla="*/ 15 w 18"/>
                <a:gd name="T37" fmla="*/ 1 h 14"/>
                <a:gd name="T38" fmla="*/ 13 w 18"/>
                <a:gd name="T39" fmla="*/ 0 h 14"/>
                <a:gd name="T40" fmla="*/ 13 w 18"/>
                <a:gd name="T41" fmla="*/ 0 h 14"/>
                <a:gd name="T42" fmla="*/ 13 w 18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14">
                  <a:moveTo>
                    <a:pt x="13" y="0"/>
                  </a:moveTo>
                  <a:lnTo>
                    <a:pt x="13" y="0"/>
                  </a:lnTo>
                  <a:lnTo>
                    <a:pt x="7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5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5" name="Freeform 131">
              <a:extLst>
                <a:ext uri="{FF2B5EF4-FFF2-40B4-BE49-F238E27FC236}">
                  <a16:creationId xmlns:a16="http://schemas.microsoft.com/office/drawing/2014/main" id="{0DAEEA55-5FB3-BF46-BED5-4918167D7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461" y="2859495"/>
              <a:ext cx="28966" cy="28612"/>
            </a:xfrm>
            <a:custGeom>
              <a:avLst/>
              <a:gdLst>
                <a:gd name="T0" fmla="*/ 9 w 20"/>
                <a:gd name="T1" fmla="*/ 4 h 20"/>
                <a:gd name="T2" fmla="*/ 9 w 20"/>
                <a:gd name="T3" fmla="*/ 4 h 20"/>
                <a:gd name="T4" fmla="*/ 7 w 20"/>
                <a:gd name="T5" fmla="*/ 2 h 20"/>
                <a:gd name="T6" fmla="*/ 6 w 20"/>
                <a:gd name="T7" fmla="*/ 0 h 20"/>
                <a:gd name="T8" fmla="*/ 2 w 20"/>
                <a:gd name="T9" fmla="*/ 2 h 20"/>
                <a:gd name="T10" fmla="*/ 0 w 20"/>
                <a:gd name="T11" fmla="*/ 6 h 20"/>
                <a:gd name="T12" fmla="*/ 0 w 20"/>
                <a:gd name="T13" fmla="*/ 8 h 20"/>
                <a:gd name="T14" fmla="*/ 0 w 20"/>
                <a:gd name="T15" fmla="*/ 8 h 20"/>
                <a:gd name="T16" fmla="*/ 0 w 20"/>
                <a:gd name="T17" fmla="*/ 8 h 20"/>
                <a:gd name="T18" fmla="*/ 7 w 20"/>
                <a:gd name="T19" fmla="*/ 15 h 20"/>
                <a:gd name="T20" fmla="*/ 7 w 20"/>
                <a:gd name="T21" fmla="*/ 15 h 20"/>
                <a:gd name="T22" fmla="*/ 11 w 20"/>
                <a:gd name="T23" fmla="*/ 20 h 20"/>
                <a:gd name="T24" fmla="*/ 11 w 20"/>
                <a:gd name="T25" fmla="*/ 20 h 20"/>
                <a:gd name="T26" fmla="*/ 13 w 20"/>
                <a:gd name="T27" fmla="*/ 20 h 20"/>
                <a:gd name="T28" fmla="*/ 13 w 20"/>
                <a:gd name="T29" fmla="*/ 20 h 20"/>
                <a:gd name="T30" fmla="*/ 16 w 20"/>
                <a:gd name="T31" fmla="*/ 15 h 20"/>
                <a:gd name="T32" fmla="*/ 16 w 20"/>
                <a:gd name="T33" fmla="*/ 8 h 20"/>
                <a:gd name="T34" fmla="*/ 20 w 20"/>
                <a:gd name="T35" fmla="*/ 4 h 20"/>
                <a:gd name="T36" fmla="*/ 20 w 20"/>
                <a:gd name="T37" fmla="*/ 4 h 20"/>
                <a:gd name="T38" fmla="*/ 16 w 20"/>
                <a:gd name="T39" fmla="*/ 2 h 20"/>
                <a:gd name="T40" fmla="*/ 13 w 20"/>
                <a:gd name="T41" fmla="*/ 0 h 20"/>
                <a:gd name="T42" fmla="*/ 9 w 20"/>
                <a:gd name="T43" fmla="*/ 4 h 20"/>
                <a:gd name="T44" fmla="*/ 9 w 20"/>
                <a:gd name="T45" fmla="*/ 4 h 20"/>
                <a:gd name="T46" fmla="*/ 9 w 20"/>
                <a:gd name="T47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20">
                  <a:moveTo>
                    <a:pt x="9" y="4"/>
                  </a:moveTo>
                  <a:lnTo>
                    <a:pt x="9" y="4"/>
                  </a:lnTo>
                  <a:lnTo>
                    <a:pt x="7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6" y="15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6" name="Freeform 132">
              <a:extLst>
                <a:ext uri="{FF2B5EF4-FFF2-40B4-BE49-F238E27FC236}">
                  <a16:creationId xmlns:a16="http://schemas.microsoft.com/office/drawing/2014/main" id="{67751DF7-D3A1-3A45-B383-19C062211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083" y="2948192"/>
              <a:ext cx="17380" cy="15736"/>
            </a:xfrm>
            <a:custGeom>
              <a:avLst/>
              <a:gdLst>
                <a:gd name="T0" fmla="*/ 7 w 12"/>
                <a:gd name="T1" fmla="*/ 0 h 11"/>
                <a:gd name="T2" fmla="*/ 7 w 12"/>
                <a:gd name="T3" fmla="*/ 0 h 11"/>
                <a:gd name="T4" fmla="*/ 3 w 12"/>
                <a:gd name="T5" fmla="*/ 0 h 11"/>
                <a:gd name="T6" fmla="*/ 3 w 12"/>
                <a:gd name="T7" fmla="*/ 0 h 11"/>
                <a:gd name="T8" fmla="*/ 1 w 12"/>
                <a:gd name="T9" fmla="*/ 0 h 11"/>
                <a:gd name="T10" fmla="*/ 0 w 12"/>
                <a:gd name="T11" fmla="*/ 2 h 11"/>
                <a:gd name="T12" fmla="*/ 0 w 12"/>
                <a:gd name="T13" fmla="*/ 4 h 11"/>
                <a:gd name="T14" fmla="*/ 0 w 12"/>
                <a:gd name="T15" fmla="*/ 7 h 11"/>
                <a:gd name="T16" fmla="*/ 0 w 12"/>
                <a:gd name="T17" fmla="*/ 7 h 11"/>
                <a:gd name="T18" fmla="*/ 3 w 12"/>
                <a:gd name="T19" fmla="*/ 11 h 11"/>
                <a:gd name="T20" fmla="*/ 3 w 12"/>
                <a:gd name="T21" fmla="*/ 11 h 11"/>
                <a:gd name="T22" fmla="*/ 7 w 12"/>
                <a:gd name="T23" fmla="*/ 11 h 11"/>
                <a:gd name="T24" fmla="*/ 9 w 12"/>
                <a:gd name="T25" fmla="*/ 11 h 11"/>
                <a:gd name="T26" fmla="*/ 12 w 12"/>
                <a:gd name="T27" fmla="*/ 9 h 11"/>
                <a:gd name="T28" fmla="*/ 12 w 12"/>
                <a:gd name="T29" fmla="*/ 7 h 11"/>
                <a:gd name="T30" fmla="*/ 12 w 12"/>
                <a:gd name="T31" fmla="*/ 4 h 11"/>
                <a:gd name="T32" fmla="*/ 12 w 12"/>
                <a:gd name="T33" fmla="*/ 0 h 11"/>
                <a:gd name="T34" fmla="*/ 7 w 12"/>
                <a:gd name="T35" fmla="*/ 0 h 11"/>
                <a:gd name="T36" fmla="*/ 7 w 12"/>
                <a:gd name="T37" fmla="*/ 0 h 11"/>
                <a:gd name="T38" fmla="*/ 7 w 12"/>
                <a:gd name="T3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1">
                  <a:moveTo>
                    <a:pt x="7" y="0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7" name="Freeform 133">
              <a:extLst>
                <a:ext uri="{FF2B5EF4-FFF2-40B4-BE49-F238E27FC236}">
                  <a16:creationId xmlns:a16="http://schemas.microsoft.com/office/drawing/2014/main" id="{AD896110-E41F-EF46-B8BD-F5050CB3C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3462" y="2896691"/>
              <a:ext cx="42000" cy="31473"/>
            </a:xfrm>
            <a:custGeom>
              <a:avLst/>
              <a:gdLst>
                <a:gd name="T0" fmla="*/ 18 w 29"/>
                <a:gd name="T1" fmla="*/ 2 h 22"/>
                <a:gd name="T2" fmla="*/ 17 w 29"/>
                <a:gd name="T3" fmla="*/ 5 h 22"/>
                <a:gd name="T4" fmla="*/ 17 w 29"/>
                <a:gd name="T5" fmla="*/ 5 h 22"/>
                <a:gd name="T6" fmla="*/ 13 w 29"/>
                <a:gd name="T7" fmla="*/ 5 h 22"/>
                <a:gd name="T8" fmla="*/ 11 w 29"/>
                <a:gd name="T9" fmla="*/ 5 h 22"/>
                <a:gd name="T10" fmla="*/ 9 w 29"/>
                <a:gd name="T11" fmla="*/ 2 h 22"/>
                <a:gd name="T12" fmla="*/ 7 w 29"/>
                <a:gd name="T13" fmla="*/ 2 h 22"/>
                <a:gd name="T14" fmla="*/ 4 w 29"/>
                <a:gd name="T15" fmla="*/ 2 h 22"/>
                <a:gd name="T16" fmla="*/ 2 w 29"/>
                <a:gd name="T17" fmla="*/ 2 h 22"/>
                <a:gd name="T18" fmla="*/ 0 w 29"/>
                <a:gd name="T19" fmla="*/ 5 h 22"/>
                <a:gd name="T20" fmla="*/ 0 w 29"/>
                <a:gd name="T21" fmla="*/ 5 h 22"/>
                <a:gd name="T22" fmla="*/ 0 w 29"/>
                <a:gd name="T23" fmla="*/ 9 h 22"/>
                <a:gd name="T24" fmla="*/ 0 w 29"/>
                <a:gd name="T25" fmla="*/ 14 h 22"/>
                <a:gd name="T26" fmla="*/ 2 w 29"/>
                <a:gd name="T27" fmla="*/ 16 h 22"/>
                <a:gd name="T28" fmla="*/ 2 w 29"/>
                <a:gd name="T29" fmla="*/ 16 h 22"/>
                <a:gd name="T30" fmla="*/ 4 w 29"/>
                <a:gd name="T31" fmla="*/ 16 h 22"/>
                <a:gd name="T32" fmla="*/ 9 w 29"/>
                <a:gd name="T33" fmla="*/ 16 h 22"/>
                <a:gd name="T34" fmla="*/ 9 w 29"/>
                <a:gd name="T35" fmla="*/ 16 h 22"/>
                <a:gd name="T36" fmla="*/ 11 w 29"/>
                <a:gd name="T37" fmla="*/ 18 h 22"/>
                <a:gd name="T38" fmla="*/ 13 w 29"/>
                <a:gd name="T39" fmla="*/ 18 h 22"/>
                <a:gd name="T40" fmla="*/ 13 w 29"/>
                <a:gd name="T41" fmla="*/ 18 h 22"/>
                <a:gd name="T42" fmla="*/ 17 w 29"/>
                <a:gd name="T43" fmla="*/ 22 h 22"/>
                <a:gd name="T44" fmla="*/ 18 w 29"/>
                <a:gd name="T45" fmla="*/ 22 h 22"/>
                <a:gd name="T46" fmla="*/ 22 w 29"/>
                <a:gd name="T47" fmla="*/ 20 h 22"/>
                <a:gd name="T48" fmla="*/ 22 w 29"/>
                <a:gd name="T49" fmla="*/ 20 h 22"/>
                <a:gd name="T50" fmla="*/ 26 w 29"/>
                <a:gd name="T51" fmla="*/ 18 h 22"/>
                <a:gd name="T52" fmla="*/ 29 w 29"/>
                <a:gd name="T53" fmla="*/ 18 h 22"/>
                <a:gd name="T54" fmla="*/ 29 w 29"/>
                <a:gd name="T55" fmla="*/ 14 h 22"/>
                <a:gd name="T56" fmla="*/ 29 w 29"/>
                <a:gd name="T57" fmla="*/ 14 h 22"/>
                <a:gd name="T58" fmla="*/ 29 w 29"/>
                <a:gd name="T59" fmla="*/ 9 h 22"/>
                <a:gd name="T60" fmla="*/ 26 w 29"/>
                <a:gd name="T61" fmla="*/ 3 h 22"/>
                <a:gd name="T62" fmla="*/ 24 w 29"/>
                <a:gd name="T63" fmla="*/ 2 h 22"/>
                <a:gd name="T64" fmla="*/ 22 w 29"/>
                <a:gd name="T65" fmla="*/ 0 h 22"/>
                <a:gd name="T66" fmla="*/ 20 w 29"/>
                <a:gd name="T67" fmla="*/ 0 h 22"/>
                <a:gd name="T68" fmla="*/ 18 w 29"/>
                <a:gd name="T69" fmla="*/ 2 h 22"/>
                <a:gd name="T70" fmla="*/ 18 w 29"/>
                <a:gd name="T71" fmla="*/ 2 h 22"/>
                <a:gd name="T72" fmla="*/ 18 w 29"/>
                <a:gd name="T73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9" h="22">
                  <a:moveTo>
                    <a:pt x="18" y="2"/>
                  </a:moveTo>
                  <a:lnTo>
                    <a:pt x="17" y="5"/>
                  </a:lnTo>
                  <a:lnTo>
                    <a:pt x="17" y="5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9" y="2"/>
                  </a:lnTo>
                  <a:lnTo>
                    <a:pt x="7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7" y="22"/>
                  </a:lnTo>
                  <a:lnTo>
                    <a:pt x="18" y="2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9"/>
                  </a:lnTo>
                  <a:lnTo>
                    <a:pt x="26" y="3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8" name="Freeform 134">
              <a:extLst>
                <a:ext uri="{FF2B5EF4-FFF2-40B4-BE49-F238E27FC236}">
                  <a16:creationId xmlns:a16="http://schemas.microsoft.com/office/drawing/2014/main" id="{F6043935-71DE-6B44-805D-F754DB2D7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6497" y="2823730"/>
              <a:ext cx="79657" cy="72960"/>
            </a:xfrm>
            <a:custGeom>
              <a:avLst/>
              <a:gdLst>
                <a:gd name="T0" fmla="*/ 55 w 55"/>
                <a:gd name="T1" fmla="*/ 27 h 51"/>
                <a:gd name="T2" fmla="*/ 55 w 55"/>
                <a:gd name="T3" fmla="*/ 25 h 51"/>
                <a:gd name="T4" fmla="*/ 47 w 55"/>
                <a:gd name="T5" fmla="*/ 16 h 51"/>
                <a:gd name="T6" fmla="*/ 44 w 55"/>
                <a:gd name="T7" fmla="*/ 9 h 51"/>
                <a:gd name="T8" fmla="*/ 40 w 55"/>
                <a:gd name="T9" fmla="*/ 4 h 51"/>
                <a:gd name="T10" fmla="*/ 33 w 55"/>
                <a:gd name="T11" fmla="*/ 0 h 51"/>
                <a:gd name="T12" fmla="*/ 31 w 55"/>
                <a:gd name="T13" fmla="*/ 4 h 51"/>
                <a:gd name="T14" fmla="*/ 27 w 55"/>
                <a:gd name="T15" fmla="*/ 9 h 51"/>
                <a:gd name="T16" fmla="*/ 24 w 55"/>
                <a:gd name="T17" fmla="*/ 11 h 51"/>
                <a:gd name="T18" fmla="*/ 24 w 55"/>
                <a:gd name="T19" fmla="*/ 7 h 51"/>
                <a:gd name="T20" fmla="*/ 22 w 55"/>
                <a:gd name="T21" fmla="*/ 7 h 51"/>
                <a:gd name="T22" fmla="*/ 22 w 55"/>
                <a:gd name="T23" fmla="*/ 11 h 51"/>
                <a:gd name="T24" fmla="*/ 24 w 55"/>
                <a:gd name="T25" fmla="*/ 16 h 51"/>
                <a:gd name="T26" fmla="*/ 24 w 55"/>
                <a:gd name="T27" fmla="*/ 20 h 51"/>
                <a:gd name="T28" fmla="*/ 20 w 55"/>
                <a:gd name="T29" fmla="*/ 20 h 51"/>
                <a:gd name="T30" fmla="*/ 15 w 55"/>
                <a:gd name="T31" fmla="*/ 16 h 51"/>
                <a:gd name="T32" fmla="*/ 11 w 55"/>
                <a:gd name="T33" fmla="*/ 9 h 51"/>
                <a:gd name="T34" fmla="*/ 8 w 55"/>
                <a:gd name="T35" fmla="*/ 7 h 51"/>
                <a:gd name="T36" fmla="*/ 6 w 55"/>
                <a:gd name="T37" fmla="*/ 7 h 51"/>
                <a:gd name="T38" fmla="*/ 4 w 55"/>
                <a:gd name="T39" fmla="*/ 11 h 51"/>
                <a:gd name="T40" fmla="*/ 8 w 55"/>
                <a:gd name="T41" fmla="*/ 15 h 51"/>
                <a:gd name="T42" fmla="*/ 11 w 55"/>
                <a:gd name="T43" fmla="*/ 20 h 51"/>
                <a:gd name="T44" fmla="*/ 11 w 55"/>
                <a:gd name="T45" fmla="*/ 25 h 51"/>
                <a:gd name="T46" fmla="*/ 4 w 55"/>
                <a:gd name="T47" fmla="*/ 16 h 51"/>
                <a:gd name="T48" fmla="*/ 0 w 55"/>
                <a:gd name="T49" fmla="*/ 18 h 51"/>
                <a:gd name="T50" fmla="*/ 0 w 55"/>
                <a:gd name="T51" fmla="*/ 24 h 51"/>
                <a:gd name="T52" fmla="*/ 4 w 55"/>
                <a:gd name="T53" fmla="*/ 31 h 51"/>
                <a:gd name="T54" fmla="*/ 8 w 55"/>
                <a:gd name="T55" fmla="*/ 36 h 51"/>
                <a:gd name="T56" fmla="*/ 15 w 55"/>
                <a:gd name="T57" fmla="*/ 42 h 51"/>
                <a:gd name="T58" fmla="*/ 20 w 55"/>
                <a:gd name="T59" fmla="*/ 42 h 51"/>
                <a:gd name="T60" fmla="*/ 24 w 55"/>
                <a:gd name="T61" fmla="*/ 42 h 51"/>
                <a:gd name="T62" fmla="*/ 27 w 55"/>
                <a:gd name="T63" fmla="*/ 49 h 51"/>
                <a:gd name="T64" fmla="*/ 31 w 55"/>
                <a:gd name="T65" fmla="*/ 51 h 51"/>
                <a:gd name="T66" fmla="*/ 35 w 55"/>
                <a:gd name="T67" fmla="*/ 49 h 51"/>
                <a:gd name="T68" fmla="*/ 35 w 55"/>
                <a:gd name="T69" fmla="*/ 38 h 51"/>
                <a:gd name="T70" fmla="*/ 40 w 55"/>
                <a:gd name="T71" fmla="*/ 36 h 51"/>
                <a:gd name="T72" fmla="*/ 35 w 55"/>
                <a:gd name="T73" fmla="*/ 36 h 51"/>
                <a:gd name="T74" fmla="*/ 31 w 55"/>
                <a:gd name="T75" fmla="*/ 33 h 51"/>
                <a:gd name="T76" fmla="*/ 31 w 55"/>
                <a:gd name="T77" fmla="*/ 33 h 51"/>
                <a:gd name="T78" fmla="*/ 37 w 55"/>
                <a:gd name="T79" fmla="*/ 33 h 51"/>
                <a:gd name="T80" fmla="*/ 35 w 55"/>
                <a:gd name="T81" fmla="*/ 20 h 51"/>
                <a:gd name="T82" fmla="*/ 40 w 55"/>
                <a:gd name="T83" fmla="*/ 20 h 51"/>
                <a:gd name="T84" fmla="*/ 47 w 55"/>
                <a:gd name="T85" fmla="*/ 24 h 51"/>
                <a:gd name="T86" fmla="*/ 53 w 55"/>
                <a:gd name="T87" fmla="*/ 27 h 51"/>
                <a:gd name="T88" fmla="*/ 55 w 55"/>
                <a:gd name="T89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" h="51">
                  <a:moveTo>
                    <a:pt x="55" y="27"/>
                  </a:moveTo>
                  <a:lnTo>
                    <a:pt x="55" y="27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1" y="20"/>
                  </a:lnTo>
                  <a:lnTo>
                    <a:pt x="47" y="16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2" y="5"/>
                  </a:lnTo>
                  <a:lnTo>
                    <a:pt x="40" y="4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29" y="5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11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5" y="18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8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4" y="9"/>
                  </a:lnTo>
                  <a:lnTo>
                    <a:pt x="4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11" y="18"/>
                  </a:lnTo>
                  <a:lnTo>
                    <a:pt x="11" y="20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7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1" y="40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20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5"/>
                  </a:lnTo>
                  <a:lnTo>
                    <a:pt x="27" y="49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0"/>
                  </a:lnTo>
                  <a:lnTo>
                    <a:pt x="35" y="38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5" y="36"/>
                  </a:lnTo>
                  <a:lnTo>
                    <a:pt x="33" y="34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5" y="27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7" y="24"/>
                  </a:lnTo>
                  <a:lnTo>
                    <a:pt x="51" y="25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9" name="Freeform 135">
              <a:extLst>
                <a:ext uri="{FF2B5EF4-FFF2-40B4-BE49-F238E27FC236}">
                  <a16:creationId xmlns:a16="http://schemas.microsoft.com/office/drawing/2014/main" id="{27A8771D-5708-A84F-89E8-84B01ED5D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2495" y="2859495"/>
              <a:ext cx="15932" cy="18598"/>
            </a:xfrm>
            <a:custGeom>
              <a:avLst/>
              <a:gdLst>
                <a:gd name="T0" fmla="*/ 0 w 11"/>
                <a:gd name="T1" fmla="*/ 6 h 13"/>
                <a:gd name="T2" fmla="*/ 0 w 11"/>
                <a:gd name="T3" fmla="*/ 6 h 13"/>
                <a:gd name="T4" fmla="*/ 2 w 11"/>
                <a:gd name="T5" fmla="*/ 9 h 13"/>
                <a:gd name="T6" fmla="*/ 4 w 11"/>
                <a:gd name="T7" fmla="*/ 11 h 13"/>
                <a:gd name="T8" fmla="*/ 7 w 11"/>
                <a:gd name="T9" fmla="*/ 13 h 13"/>
                <a:gd name="T10" fmla="*/ 7 w 11"/>
                <a:gd name="T11" fmla="*/ 13 h 13"/>
                <a:gd name="T12" fmla="*/ 9 w 11"/>
                <a:gd name="T13" fmla="*/ 9 h 13"/>
                <a:gd name="T14" fmla="*/ 11 w 11"/>
                <a:gd name="T15" fmla="*/ 8 h 13"/>
                <a:gd name="T16" fmla="*/ 11 w 11"/>
                <a:gd name="T17" fmla="*/ 0 h 13"/>
                <a:gd name="T18" fmla="*/ 11 w 11"/>
                <a:gd name="T19" fmla="*/ 0 h 13"/>
                <a:gd name="T20" fmla="*/ 7 w 11"/>
                <a:gd name="T21" fmla="*/ 0 h 13"/>
                <a:gd name="T22" fmla="*/ 4 w 11"/>
                <a:gd name="T23" fmla="*/ 0 h 13"/>
                <a:gd name="T24" fmla="*/ 0 w 11"/>
                <a:gd name="T25" fmla="*/ 0 h 13"/>
                <a:gd name="T26" fmla="*/ 0 w 11"/>
                <a:gd name="T27" fmla="*/ 0 h 13"/>
                <a:gd name="T28" fmla="*/ 0 w 11"/>
                <a:gd name="T29" fmla="*/ 4 h 13"/>
                <a:gd name="T30" fmla="*/ 0 w 11"/>
                <a:gd name="T31" fmla="*/ 6 h 13"/>
                <a:gd name="T32" fmla="*/ 0 w 11"/>
                <a:gd name="T33" fmla="*/ 6 h 13"/>
                <a:gd name="T34" fmla="*/ 0 w 11"/>
                <a:gd name="T35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" h="13">
                  <a:moveTo>
                    <a:pt x="0" y="6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4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9"/>
                  </a:lnTo>
                  <a:lnTo>
                    <a:pt x="11" y="8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0" name="Freeform 136">
              <a:extLst>
                <a:ext uri="{FF2B5EF4-FFF2-40B4-BE49-F238E27FC236}">
                  <a16:creationId xmlns:a16="http://schemas.microsoft.com/office/drawing/2014/main" id="{F5B7130B-9547-3C43-BD12-7D48BD8E3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220" y="2859495"/>
              <a:ext cx="13035" cy="15736"/>
            </a:xfrm>
            <a:custGeom>
              <a:avLst/>
              <a:gdLst>
                <a:gd name="T0" fmla="*/ 5 w 9"/>
                <a:gd name="T1" fmla="*/ 0 h 11"/>
                <a:gd name="T2" fmla="*/ 2 w 9"/>
                <a:gd name="T3" fmla="*/ 4 h 11"/>
                <a:gd name="T4" fmla="*/ 2 w 9"/>
                <a:gd name="T5" fmla="*/ 4 h 11"/>
                <a:gd name="T6" fmla="*/ 0 w 9"/>
                <a:gd name="T7" fmla="*/ 4 h 11"/>
                <a:gd name="T8" fmla="*/ 0 w 9"/>
                <a:gd name="T9" fmla="*/ 4 h 11"/>
                <a:gd name="T10" fmla="*/ 2 w 9"/>
                <a:gd name="T11" fmla="*/ 6 h 11"/>
                <a:gd name="T12" fmla="*/ 2 w 9"/>
                <a:gd name="T13" fmla="*/ 8 h 11"/>
                <a:gd name="T14" fmla="*/ 7 w 9"/>
                <a:gd name="T15" fmla="*/ 11 h 11"/>
                <a:gd name="T16" fmla="*/ 7 w 9"/>
                <a:gd name="T17" fmla="*/ 11 h 11"/>
                <a:gd name="T18" fmla="*/ 9 w 9"/>
                <a:gd name="T19" fmla="*/ 8 h 11"/>
                <a:gd name="T20" fmla="*/ 9 w 9"/>
                <a:gd name="T21" fmla="*/ 6 h 11"/>
                <a:gd name="T22" fmla="*/ 9 w 9"/>
                <a:gd name="T23" fmla="*/ 4 h 11"/>
                <a:gd name="T24" fmla="*/ 5 w 9"/>
                <a:gd name="T25" fmla="*/ 0 h 11"/>
                <a:gd name="T26" fmla="*/ 5 w 9"/>
                <a:gd name="T27" fmla="*/ 0 h 11"/>
                <a:gd name="T28" fmla="*/ 5 w 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11">
                  <a:moveTo>
                    <a:pt x="5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1" name="Freeform 137">
              <a:extLst>
                <a:ext uri="{FF2B5EF4-FFF2-40B4-BE49-F238E27FC236}">
                  <a16:creationId xmlns:a16="http://schemas.microsoft.com/office/drawing/2014/main" id="{60F60AD9-E365-A34A-A644-66AAD32E4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323" y="2773659"/>
              <a:ext cx="84001" cy="62946"/>
            </a:xfrm>
            <a:custGeom>
              <a:avLst/>
              <a:gdLst>
                <a:gd name="T0" fmla="*/ 56 w 58"/>
                <a:gd name="T1" fmla="*/ 35 h 44"/>
                <a:gd name="T2" fmla="*/ 52 w 58"/>
                <a:gd name="T3" fmla="*/ 30 h 44"/>
                <a:gd name="T4" fmla="*/ 56 w 58"/>
                <a:gd name="T5" fmla="*/ 24 h 44"/>
                <a:gd name="T6" fmla="*/ 47 w 58"/>
                <a:gd name="T7" fmla="*/ 19 h 44"/>
                <a:gd name="T8" fmla="*/ 43 w 58"/>
                <a:gd name="T9" fmla="*/ 19 h 44"/>
                <a:gd name="T10" fmla="*/ 40 w 58"/>
                <a:gd name="T11" fmla="*/ 19 h 44"/>
                <a:gd name="T12" fmla="*/ 36 w 58"/>
                <a:gd name="T13" fmla="*/ 19 h 44"/>
                <a:gd name="T14" fmla="*/ 32 w 58"/>
                <a:gd name="T15" fmla="*/ 17 h 44"/>
                <a:gd name="T16" fmla="*/ 27 w 58"/>
                <a:gd name="T17" fmla="*/ 10 h 44"/>
                <a:gd name="T18" fmla="*/ 25 w 58"/>
                <a:gd name="T19" fmla="*/ 6 h 44"/>
                <a:gd name="T20" fmla="*/ 16 w 58"/>
                <a:gd name="T21" fmla="*/ 4 h 44"/>
                <a:gd name="T22" fmla="*/ 13 w 58"/>
                <a:gd name="T23" fmla="*/ 2 h 44"/>
                <a:gd name="T24" fmla="*/ 3 w 58"/>
                <a:gd name="T25" fmla="*/ 0 h 44"/>
                <a:gd name="T26" fmla="*/ 0 w 58"/>
                <a:gd name="T27" fmla="*/ 4 h 44"/>
                <a:gd name="T28" fmla="*/ 2 w 58"/>
                <a:gd name="T29" fmla="*/ 10 h 44"/>
                <a:gd name="T30" fmla="*/ 3 w 58"/>
                <a:gd name="T31" fmla="*/ 10 h 44"/>
                <a:gd name="T32" fmla="*/ 13 w 58"/>
                <a:gd name="T33" fmla="*/ 11 h 44"/>
                <a:gd name="T34" fmla="*/ 20 w 58"/>
                <a:gd name="T35" fmla="*/ 11 h 44"/>
                <a:gd name="T36" fmla="*/ 22 w 58"/>
                <a:gd name="T37" fmla="*/ 13 h 44"/>
                <a:gd name="T38" fmla="*/ 22 w 58"/>
                <a:gd name="T39" fmla="*/ 22 h 44"/>
                <a:gd name="T40" fmla="*/ 16 w 58"/>
                <a:gd name="T41" fmla="*/ 24 h 44"/>
                <a:gd name="T42" fmla="*/ 7 w 58"/>
                <a:gd name="T43" fmla="*/ 26 h 44"/>
                <a:gd name="T44" fmla="*/ 3 w 58"/>
                <a:gd name="T45" fmla="*/ 30 h 44"/>
                <a:gd name="T46" fmla="*/ 3 w 58"/>
                <a:gd name="T47" fmla="*/ 31 h 44"/>
                <a:gd name="T48" fmla="*/ 5 w 58"/>
                <a:gd name="T49" fmla="*/ 33 h 44"/>
                <a:gd name="T50" fmla="*/ 2 w 58"/>
                <a:gd name="T51" fmla="*/ 40 h 44"/>
                <a:gd name="T52" fmla="*/ 3 w 58"/>
                <a:gd name="T53" fmla="*/ 42 h 44"/>
                <a:gd name="T54" fmla="*/ 14 w 58"/>
                <a:gd name="T55" fmla="*/ 42 h 44"/>
                <a:gd name="T56" fmla="*/ 16 w 58"/>
                <a:gd name="T57" fmla="*/ 39 h 44"/>
                <a:gd name="T58" fmla="*/ 27 w 58"/>
                <a:gd name="T59" fmla="*/ 40 h 44"/>
                <a:gd name="T60" fmla="*/ 38 w 58"/>
                <a:gd name="T61" fmla="*/ 44 h 44"/>
                <a:gd name="T62" fmla="*/ 47 w 58"/>
                <a:gd name="T63" fmla="*/ 44 h 44"/>
                <a:gd name="T64" fmla="*/ 56 w 58"/>
                <a:gd name="T65" fmla="*/ 44 h 44"/>
                <a:gd name="T66" fmla="*/ 58 w 58"/>
                <a:gd name="T67" fmla="*/ 40 h 44"/>
                <a:gd name="T68" fmla="*/ 56 w 58"/>
                <a:gd name="T69" fmla="*/ 35 h 44"/>
                <a:gd name="T70" fmla="*/ 56 w 58"/>
                <a:gd name="T71" fmla="*/ 3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8" h="44">
                  <a:moveTo>
                    <a:pt x="56" y="35"/>
                  </a:moveTo>
                  <a:lnTo>
                    <a:pt x="56" y="35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9" y="22"/>
                  </a:lnTo>
                  <a:lnTo>
                    <a:pt x="47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0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2" y="17"/>
                  </a:lnTo>
                  <a:lnTo>
                    <a:pt x="32" y="13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5" y="6"/>
                  </a:lnTo>
                  <a:lnTo>
                    <a:pt x="23" y="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5" y="11"/>
                  </a:lnTo>
                  <a:lnTo>
                    <a:pt x="13" y="11"/>
                  </a:lnTo>
                  <a:lnTo>
                    <a:pt x="16" y="10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2" y="13"/>
                  </a:lnTo>
                  <a:lnTo>
                    <a:pt x="22" y="19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6" y="24"/>
                  </a:lnTo>
                  <a:lnTo>
                    <a:pt x="11" y="24"/>
                  </a:lnTo>
                  <a:lnTo>
                    <a:pt x="7" y="26"/>
                  </a:lnTo>
                  <a:lnTo>
                    <a:pt x="3" y="26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3" y="42"/>
                  </a:lnTo>
                  <a:lnTo>
                    <a:pt x="7" y="40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8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2"/>
                  </a:lnTo>
                  <a:lnTo>
                    <a:pt x="58" y="40"/>
                  </a:lnTo>
                  <a:lnTo>
                    <a:pt x="58" y="39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2" name="Freeform 138">
              <a:extLst>
                <a:ext uri="{FF2B5EF4-FFF2-40B4-BE49-F238E27FC236}">
                  <a16:creationId xmlns:a16="http://schemas.microsoft.com/office/drawing/2014/main" id="{5A98DFF4-DACF-A348-9E09-7B7F8987EB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427" y="2789396"/>
              <a:ext cx="18828" cy="15736"/>
            </a:xfrm>
            <a:custGeom>
              <a:avLst/>
              <a:gdLst>
                <a:gd name="T0" fmla="*/ 13 w 13"/>
                <a:gd name="T1" fmla="*/ 8 h 11"/>
                <a:gd name="T2" fmla="*/ 7 w 13"/>
                <a:gd name="T3" fmla="*/ 0 h 11"/>
                <a:gd name="T4" fmla="*/ 7 w 13"/>
                <a:gd name="T5" fmla="*/ 0 h 11"/>
                <a:gd name="T6" fmla="*/ 4 w 13"/>
                <a:gd name="T7" fmla="*/ 0 h 11"/>
                <a:gd name="T8" fmla="*/ 2 w 13"/>
                <a:gd name="T9" fmla="*/ 2 h 11"/>
                <a:gd name="T10" fmla="*/ 0 w 13"/>
                <a:gd name="T11" fmla="*/ 2 h 11"/>
                <a:gd name="T12" fmla="*/ 2 w 13"/>
                <a:gd name="T13" fmla="*/ 8 h 11"/>
                <a:gd name="T14" fmla="*/ 2 w 13"/>
                <a:gd name="T15" fmla="*/ 8 h 11"/>
                <a:gd name="T16" fmla="*/ 4 w 13"/>
                <a:gd name="T17" fmla="*/ 11 h 11"/>
                <a:gd name="T18" fmla="*/ 9 w 13"/>
                <a:gd name="T19" fmla="*/ 11 h 11"/>
                <a:gd name="T20" fmla="*/ 13 w 13"/>
                <a:gd name="T21" fmla="*/ 11 h 11"/>
                <a:gd name="T22" fmla="*/ 13 w 13"/>
                <a:gd name="T23" fmla="*/ 9 h 11"/>
                <a:gd name="T24" fmla="*/ 13 w 13"/>
                <a:gd name="T25" fmla="*/ 8 h 11"/>
                <a:gd name="T26" fmla="*/ 13 w 13"/>
                <a:gd name="T27" fmla="*/ 8 h 11"/>
                <a:gd name="T28" fmla="*/ 13 w 13"/>
                <a:gd name="T2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1">
                  <a:moveTo>
                    <a:pt x="13" y="8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3" name="Freeform 139">
              <a:extLst>
                <a:ext uri="{FF2B5EF4-FFF2-40B4-BE49-F238E27FC236}">
                  <a16:creationId xmlns:a16="http://schemas.microsoft.com/office/drawing/2014/main" id="{8895051F-3242-4042-8969-ECBF41EAB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3437" y="3577655"/>
              <a:ext cx="28966" cy="64377"/>
            </a:xfrm>
            <a:custGeom>
              <a:avLst/>
              <a:gdLst>
                <a:gd name="T0" fmla="*/ 6 w 20"/>
                <a:gd name="T1" fmla="*/ 0 h 45"/>
                <a:gd name="T2" fmla="*/ 6 w 20"/>
                <a:gd name="T3" fmla="*/ 0 h 45"/>
                <a:gd name="T4" fmla="*/ 4 w 20"/>
                <a:gd name="T5" fmla="*/ 0 h 45"/>
                <a:gd name="T6" fmla="*/ 2 w 20"/>
                <a:gd name="T7" fmla="*/ 2 h 45"/>
                <a:gd name="T8" fmla="*/ 2 w 20"/>
                <a:gd name="T9" fmla="*/ 5 h 45"/>
                <a:gd name="T10" fmla="*/ 0 w 20"/>
                <a:gd name="T11" fmla="*/ 11 h 45"/>
                <a:gd name="T12" fmla="*/ 2 w 20"/>
                <a:gd name="T13" fmla="*/ 20 h 45"/>
                <a:gd name="T14" fmla="*/ 4 w 20"/>
                <a:gd name="T15" fmla="*/ 27 h 45"/>
                <a:gd name="T16" fmla="*/ 6 w 20"/>
                <a:gd name="T17" fmla="*/ 31 h 45"/>
                <a:gd name="T18" fmla="*/ 11 w 20"/>
                <a:gd name="T19" fmla="*/ 38 h 45"/>
                <a:gd name="T20" fmla="*/ 13 w 20"/>
                <a:gd name="T21" fmla="*/ 40 h 45"/>
                <a:gd name="T22" fmla="*/ 19 w 20"/>
                <a:gd name="T23" fmla="*/ 45 h 45"/>
                <a:gd name="T24" fmla="*/ 19 w 20"/>
                <a:gd name="T25" fmla="*/ 45 h 45"/>
                <a:gd name="T26" fmla="*/ 20 w 20"/>
                <a:gd name="T27" fmla="*/ 33 h 45"/>
                <a:gd name="T28" fmla="*/ 20 w 20"/>
                <a:gd name="T29" fmla="*/ 14 h 45"/>
                <a:gd name="T30" fmla="*/ 19 w 20"/>
                <a:gd name="T31" fmla="*/ 7 h 45"/>
                <a:gd name="T32" fmla="*/ 17 w 20"/>
                <a:gd name="T33" fmla="*/ 4 h 45"/>
                <a:gd name="T34" fmla="*/ 15 w 20"/>
                <a:gd name="T35" fmla="*/ 0 h 45"/>
                <a:gd name="T36" fmla="*/ 13 w 20"/>
                <a:gd name="T37" fmla="*/ 0 h 45"/>
                <a:gd name="T38" fmla="*/ 8 w 20"/>
                <a:gd name="T39" fmla="*/ 0 h 45"/>
                <a:gd name="T40" fmla="*/ 6 w 20"/>
                <a:gd name="T41" fmla="*/ 0 h 45"/>
                <a:gd name="T42" fmla="*/ 6 w 20"/>
                <a:gd name="T43" fmla="*/ 0 h 45"/>
                <a:gd name="T44" fmla="*/ 6 w 20"/>
                <a:gd name="T4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45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5"/>
                  </a:lnTo>
                  <a:lnTo>
                    <a:pt x="0" y="11"/>
                  </a:lnTo>
                  <a:lnTo>
                    <a:pt x="2" y="20"/>
                  </a:lnTo>
                  <a:lnTo>
                    <a:pt x="4" y="27"/>
                  </a:lnTo>
                  <a:lnTo>
                    <a:pt x="6" y="31"/>
                  </a:lnTo>
                  <a:lnTo>
                    <a:pt x="11" y="38"/>
                  </a:lnTo>
                  <a:lnTo>
                    <a:pt x="13" y="40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0" y="33"/>
                  </a:lnTo>
                  <a:lnTo>
                    <a:pt x="20" y="14"/>
                  </a:lnTo>
                  <a:lnTo>
                    <a:pt x="19" y="7"/>
                  </a:lnTo>
                  <a:lnTo>
                    <a:pt x="17" y="4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4" name="Freeform 140">
              <a:extLst>
                <a:ext uri="{FF2B5EF4-FFF2-40B4-BE49-F238E27FC236}">
                  <a16:creationId xmlns:a16="http://schemas.microsoft.com/office/drawing/2014/main" id="{A6CC729F-B996-7146-B516-DA339F928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52" y="4079794"/>
              <a:ext cx="163658" cy="185978"/>
            </a:xfrm>
            <a:custGeom>
              <a:avLst/>
              <a:gdLst>
                <a:gd name="T0" fmla="*/ 11 w 113"/>
                <a:gd name="T1" fmla="*/ 56 h 130"/>
                <a:gd name="T2" fmla="*/ 5 w 113"/>
                <a:gd name="T3" fmla="*/ 56 h 130"/>
                <a:gd name="T4" fmla="*/ 2 w 113"/>
                <a:gd name="T5" fmla="*/ 52 h 130"/>
                <a:gd name="T6" fmla="*/ 0 w 113"/>
                <a:gd name="T7" fmla="*/ 56 h 130"/>
                <a:gd name="T8" fmla="*/ 2 w 113"/>
                <a:gd name="T9" fmla="*/ 70 h 130"/>
                <a:gd name="T10" fmla="*/ 9 w 113"/>
                <a:gd name="T11" fmla="*/ 78 h 130"/>
                <a:gd name="T12" fmla="*/ 24 w 113"/>
                <a:gd name="T13" fmla="*/ 83 h 130"/>
                <a:gd name="T14" fmla="*/ 40 w 113"/>
                <a:gd name="T15" fmla="*/ 87 h 130"/>
                <a:gd name="T16" fmla="*/ 47 w 113"/>
                <a:gd name="T17" fmla="*/ 90 h 130"/>
                <a:gd name="T18" fmla="*/ 51 w 113"/>
                <a:gd name="T19" fmla="*/ 98 h 130"/>
                <a:gd name="T20" fmla="*/ 56 w 113"/>
                <a:gd name="T21" fmla="*/ 99 h 130"/>
                <a:gd name="T22" fmla="*/ 67 w 113"/>
                <a:gd name="T23" fmla="*/ 99 h 130"/>
                <a:gd name="T24" fmla="*/ 74 w 113"/>
                <a:gd name="T25" fmla="*/ 101 h 130"/>
                <a:gd name="T26" fmla="*/ 78 w 113"/>
                <a:gd name="T27" fmla="*/ 107 h 130"/>
                <a:gd name="T28" fmla="*/ 78 w 113"/>
                <a:gd name="T29" fmla="*/ 112 h 130"/>
                <a:gd name="T30" fmla="*/ 78 w 113"/>
                <a:gd name="T31" fmla="*/ 116 h 130"/>
                <a:gd name="T32" fmla="*/ 84 w 113"/>
                <a:gd name="T33" fmla="*/ 119 h 130"/>
                <a:gd name="T34" fmla="*/ 93 w 113"/>
                <a:gd name="T35" fmla="*/ 130 h 130"/>
                <a:gd name="T36" fmla="*/ 96 w 113"/>
                <a:gd name="T37" fmla="*/ 130 h 130"/>
                <a:gd name="T38" fmla="*/ 102 w 113"/>
                <a:gd name="T39" fmla="*/ 125 h 130"/>
                <a:gd name="T40" fmla="*/ 107 w 113"/>
                <a:gd name="T41" fmla="*/ 125 h 130"/>
                <a:gd name="T42" fmla="*/ 113 w 113"/>
                <a:gd name="T43" fmla="*/ 123 h 130"/>
                <a:gd name="T44" fmla="*/ 107 w 113"/>
                <a:gd name="T45" fmla="*/ 114 h 130"/>
                <a:gd name="T46" fmla="*/ 104 w 113"/>
                <a:gd name="T47" fmla="*/ 109 h 130"/>
                <a:gd name="T48" fmla="*/ 100 w 113"/>
                <a:gd name="T49" fmla="*/ 109 h 130"/>
                <a:gd name="T50" fmla="*/ 96 w 113"/>
                <a:gd name="T51" fmla="*/ 109 h 130"/>
                <a:gd name="T52" fmla="*/ 94 w 113"/>
                <a:gd name="T53" fmla="*/ 101 h 130"/>
                <a:gd name="T54" fmla="*/ 89 w 113"/>
                <a:gd name="T55" fmla="*/ 99 h 130"/>
                <a:gd name="T56" fmla="*/ 85 w 113"/>
                <a:gd name="T57" fmla="*/ 98 h 130"/>
                <a:gd name="T58" fmla="*/ 80 w 113"/>
                <a:gd name="T59" fmla="*/ 94 h 130"/>
                <a:gd name="T60" fmla="*/ 78 w 113"/>
                <a:gd name="T61" fmla="*/ 94 h 130"/>
                <a:gd name="T62" fmla="*/ 76 w 113"/>
                <a:gd name="T63" fmla="*/ 89 h 130"/>
                <a:gd name="T64" fmla="*/ 76 w 113"/>
                <a:gd name="T65" fmla="*/ 85 h 130"/>
                <a:gd name="T66" fmla="*/ 76 w 113"/>
                <a:gd name="T67" fmla="*/ 80 h 130"/>
                <a:gd name="T68" fmla="*/ 80 w 113"/>
                <a:gd name="T69" fmla="*/ 76 h 130"/>
                <a:gd name="T70" fmla="*/ 84 w 113"/>
                <a:gd name="T71" fmla="*/ 76 h 130"/>
                <a:gd name="T72" fmla="*/ 89 w 113"/>
                <a:gd name="T73" fmla="*/ 61 h 130"/>
                <a:gd name="T74" fmla="*/ 87 w 113"/>
                <a:gd name="T75" fmla="*/ 36 h 130"/>
                <a:gd name="T76" fmla="*/ 78 w 113"/>
                <a:gd name="T77" fmla="*/ 14 h 130"/>
                <a:gd name="T78" fmla="*/ 80 w 113"/>
                <a:gd name="T79" fmla="*/ 12 h 130"/>
                <a:gd name="T80" fmla="*/ 78 w 113"/>
                <a:gd name="T81" fmla="*/ 9 h 130"/>
                <a:gd name="T82" fmla="*/ 76 w 113"/>
                <a:gd name="T83" fmla="*/ 9 h 130"/>
                <a:gd name="T84" fmla="*/ 71 w 113"/>
                <a:gd name="T85" fmla="*/ 12 h 130"/>
                <a:gd name="T86" fmla="*/ 56 w 113"/>
                <a:gd name="T87" fmla="*/ 14 h 130"/>
                <a:gd name="T88" fmla="*/ 38 w 113"/>
                <a:gd name="T89" fmla="*/ 5 h 130"/>
                <a:gd name="T90" fmla="*/ 25 w 113"/>
                <a:gd name="T91" fmla="*/ 0 h 130"/>
                <a:gd name="T92" fmla="*/ 20 w 113"/>
                <a:gd name="T93" fmla="*/ 0 h 130"/>
                <a:gd name="T94" fmla="*/ 16 w 113"/>
                <a:gd name="T95" fmla="*/ 0 h 130"/>
                <a:gd name="T96" fmla="*/ 16 w 113"/>
                <a:gd name="T97" fmla="*/ 5 h 130"/>
                <a:gd name="T98" fmla="*/ 25 w 113"/>
                <a:gd name="T99" fmla="*/ 14 h 130"/>
                <a:gd name="T100" fmla="*/ 25 w 113"/>
                <a:gd name="T101" fmla="*/ 27 h 130"/>
                <a:gd name="T102" fmla="*/ 29 w 113"/>
                <a:gd name="T103" fmla="*/ 36 h 130"/>
                <a:gd name="T104" fmla="*/ 24 w 113"/>
                <a:gd name="T105" fmla="*/ 47 h 130"/>
                <a:gd name="T106" fmla="*/ 15 w 113"/>
                <a:gd name="T107" fmla="*/ 5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3" h="130">
                  <a:moveTo>
                    <a:pt x="15" y="50"/>
                  </a:moveTo>
                  <a:lnTo>
                    <a:pt x="11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2" y="70"/>
                  </a:lnTo>
                  <a:lnTo>
                    <a:pt x="5" y="74"/>
                  </a:lnTo>
                  <a:lnTo>
                    <a:pt x="9" y="78"/>
                  </a:lnTo>
                  <a:lnTo>
                    <a:pt x="15" y="83"/>
                  </a:lnTo>
                  <a:lnTo>
                    <a:pt x="24" y="83"/>
                  </a:lnTo>
                  <a:lnTo>
                    <a:pt x="33" y="83"/>
                  </a:lnTo>
                  <a:lnTo>
                    <a:pt x="40" y="87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9" y="94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6" y="99"/>
                  </a:lnTo>
                  <a:lnTo>
                    <a:pt x="58" y="98"/>
                  </a:lnTo>
                  <a:lnTo>
                    <a:pt x="67" y="99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6" y="103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8" y="112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82" y="119"/>
                  </a:lnTo>
                  <a:lnTo>
                    <a:pt x="84" y="119"/>
                  </a:lnTo>
                  <a:lnTo>
                    <a:pt x="87" y="127"/>
                  </a:lnTo>
                  <a:lnTo>
                    <a:pt x="93" y="130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8" y="129"/>
                  </a:lnTo>
                  <a:lnTo>
                    <a:pt x="102" y="125"/>
                  </a:lnTo>
                  <a:lnTo>
                    <a:pt x="102" y="125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3"/>
                  </a:lnTo>
                  <a:lnTo>
                    <a:pt x="109" y="118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0" y="109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4" y="105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89" y="99"/>
                  </a:lnTo>
                  <a:lnTo>
                    <a:pt x="85" y="98"/>
                  </a:lnTo>
                  <a:lnTo>
                    <a:pt x="85" y="98"/>
                  </a:lnTo>
                  <a:lnTo>
                    <a:pt x="84" y="96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78" y="94"/>
                  </a:lnTo>
                  <a:lnTo>
                    <a:pt x="76" y="92"/>
                  </a:lnTo>
                  <a:lnTo>
                    <a:pt x="76" y="89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78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5" y="70"/>
                  </a:lnTo>
                  <a:lnTo>
                    <a:pt x="89" y="61"/>
                  </a:lnTo>
                  <a:lnTo>
                    <a:pt x="91" y="50"/>
                  </a:lnTo>
                  <a:lnTo>
                    <a:pt x="87" y="36"/>
                  </a:lnTo>
                  <a:lnTo>
                    <a:pt x="82" y="27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80" y="12"/>
                  </a:lnTo>
                  <a:lnTo>
                    <a:pt x="78" y="10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6" y="9"/>
                  </a:lnTo>
                  <a:lnTo>
                    <a:pt x="74" y="10"/>
                  </a:lnTo>
                  <a:lnTo>
                    <a:pt x="71" y="12"/>
                  </a:lnTo>
                  <a:lnTo>
                    <a:pt x="65" y="18"/>
                  </a:lnTo>
                  <a:lnTo>
                    <a:pt x="56" y="14"/>
                  </a:lnTo>
                  <a:lnTo>
                    <a:pt x="47" y="9"/>
                  </a:lnTo>
                  <a:lnTo>
                    <a:pt x="38" y="5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5"/>
                  </a:lnTo>
                  <a:lnTo>
                    <a:pt x="25" y="10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5" y="27"/>
                  </a:lnTo>
                  <a:lnTo>
                    <a:pt x="25" y="30"/>
                  </a:lnTo>
                  <a:lnTo>
                    <a:pt x="29" y="36"/>
                  </a:lnTo>
                  <a:lnTo>
                    <a:pt x="27" y="43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5" y="5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325" name="Прямоугольник 324">
            <a:extLst>
              <a:ext uri="{FF2B5EF4-FFF2-40B4-BE49-F238E27FC236}">
                <a16:creationId xmlns:a16="http://schemas.microsoft.com/office/drawing/2014/main" id="{D5572E83-CF22-1245-B50E-650127642FAC}"/>
              </a:ext>
            </a:extLst>
          </p:cNvPr>
          <p:cNvSpPr/>
          <p:nvPr/>
        </p:nvSpPr>
        <p:spPr>
          <a:xfrm>
            <a:off x="2279576" y="6120999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26" name="Прямоугольник 325">
            <a:extLst>
              <a:ext uri="{FF2B5EF4-FFF2-40B4-BE49-F238E27FC236}">
                <a16:creationId xmlns:a16="http://schemas.microsoft.com/office/drawing/2014/main" id="{5E18FC36-F3C5-EF46-935F-E688BFB56A7E}"/>
              </a:ext>
            </a:extLst>
          </p:cNvPr>
          <p:cNvSpPr/>
          <p:nvPr/>
        </p:nvSpPr>
        <p:spPr>
          <a:xfrm>
            <a:off x="3221213" y="5765966"/>
            <a:ext cx="160164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27" name="Прямоугольник 326">
            <a:extLst>
              <a:ext uri="{FF2B5EF4-FFF2-40B4-BE49-F238E27FC236}">
                <a16:creationId xmlns:a16="http://schemas.microsoft.com/office/drawing/2014/main" id="{62AEEEEF-4FAB-3E4F-893D-D85FB5496211}"/>
              </a:ext>
            </a:extLst>
          </p:cNvPr>
          <p:cNvSpPr/>
          <p:nvPr/>
        </p:nvSpPr>
        <p:spPr>
          <a:xfrm>
            <a:off x="1053641" y="5577645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cxnSp>
        <p:nvCxnSpPr>
          <p:cNvPr id="328" name="Прямая со стрелкой 327">
            <a:extLst>
              <a:ext uri="{FF2B5EF4-FFF2-40B4-BE49-F238E27FC236}">
                <a16:creationId xmlns:a16="http://schemas.microsoft.com/office/drawing/2014/main" id="{6814C204-7501-754A-A301-A683A180D1B3}"/>
              </a:ext>
            </a:extLst>
          </p:cNvPr>
          <p:cNvCxnSpPr>
            <a:cxnSpLocks/>
          </p:cNvCxnSpPr>
          <p:nvPr/>
        </p:nvCxnSpPr>
        <p:spPr>
          <a:xfrm flipV="1">
            <a:off x="3143672" y="4897100"/>
            <a:ext cx="0" cy="105148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Прямая со стрелкой 328">
            <a:extLst>
              <a:ext uri="{FF2B5EF4-FFF2-40B4-BE49-F238E27FC236}">
                <a16:creationId xmlns:a16="http://schemas.microsoft.com/office/drawing/2014/main" id="{F15B17F9-3197-794B-A6C1-3888D242B241}"/>
              </a:ext>
            </a:extLst>
          </p:cNvPr>
          <p:cNvCxnSpPr>
            <a:cxnSpLocks/>
          </p:cNvCxnSpPr>
          <p:nvPr/>
        </p:nvCxnSpPr>
        <p:spPr>
          <a:xfrm flipV="1">
            <a:off x="2238416" y="4148380"/>
            <a:ext cx="0" cy="216094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Прямая со стрелкой 329">
            <a:extLst>
              <a:ext uri="{FF2B5EF4-FFF2-40B4-BE49-F238E27FC236}">
                <a16:creationId xmlns:a16="http://schemas.microsoft.com/office/drawing/2014/main" id="{E7C88C5A-29D7-C844-8498-2F6042E3F4F7}"/>
              </a:ext>
            </a:extLst>
          </p:cNvPr>
          <p:cNvCxnSpPr>
            <a:cxnSpLocks/>
          </p:cNvCxnSpPr>
          <p:nvPr/>
        </p:nvCxnSpPr>
        <p:spPr>
          <a:xfrm flipV="1">
            <a:off x="1936664" y="3910636"/>
            <a:ext cx="0" cy="1855330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Прямая со стрелкой 330">
            <a:extLst>
              <a:ext uri="{FF2B5EF4-FFF2-40B4-BE49-F238E27FC236}">
                <a16:creationId xmlns:a16="http://schemas.microsoft.com/office/drawing/2014/main" id="{B89DE915-10E8-EB45-B3C8-AB01B56BB420}"/>
              </a:ext>
            </a:extLst>
          </p:cNvPr>
          <p:cNvCxnSpPr>
            <a:cxnSpLocks/>
          </p:cNvCxnSpPr>
          <p:nvPr/>
        </p:nvCxnSpPr>
        <p:spPr>
          <a:xfrm>
            <a:off x="2245696" y="2564204"/>
            <a:ext cx="0" cy="1104946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33B7CEE4-BCC5-5A45-8474-2CC852F74227}"/>
              </a:ext>
            </a:extLst>
          </p:cNvPr>
          <p:cNvSpPr/>
          <p:nvPr/>
        </p:nvSpPr>
        <p:spPr>
          <a:xfrm>
            <a:off x="2292469" y="2545695"/>
            <a:ext cx="80548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cxnSp>
        <p:nvCxnSpPr>
          <p:cNvPr id="333" name="Прямая со стрелкой 332">
            <a:extLst>
              <a:ext uri="{FF2B5EF4-FFF2-40B4-BE49-F238E27FC236}">
                <a16:creationId xmlns:a16="http://schemas.microsoft.com/office/drawing/2014/main" id="{094C8E6F-5A2C-6341-AE2B-BBF712154354}"/>
              </a:ext>
            </a:extLst>
          </p:cNvPr>
          <p:cNvCxnSpPr>
            <a:cxnSpLocks/>
          </p:cNvCxnSpPr>
          <p:nvPr/>
        </p:nvCxnSpPr>
        <p:spPr>
          <a:xfrm>
            <a:off x="2840056" y="2276172"/>
            <a:ext cx="0" cy="1813602"/>
          </a:xfrm>
          <a:prstGeom prst="straightConnector1">
            <a:avLst/>
          </a:prstGeom>
          <a:ln w="12700">
            <a:solidFill>
              <a:srgbClr val="00459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Прямоугольник 333">
            <a:extLst>
              <a:ext uri="{FF2B5EF4-FFF2-40B4-BE49-F238E27FC236}">
                <a16:creationId xmlns:a16="http://schemas.microsoft.com/office/drawing/2014/main" id="{F5417AA2-B651-584D-89DB-8B172A954BB0}"/>
              </a:ext>
            </a:extLst>
          </p:cNvPr>
          <p:cNvSpPr/>
          <p:nvPr/>
        </p:nvSpPr>
        <p:spPr>
          <a:xfrm>
            <a:off x="2927648" y="2302905"/>
            <a:ext cx="209755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srgbClr val="706F6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F9430A9F-204C-2B47-BE45-0BF5E000AC22}"/>
              </a:ext>
            </a:extLst>
          </p:cNvPr>
          <p:cNvSpPr txBox="1"/>
          <p:nvPr/>
        </p:nvSpPr>
        <p:spPr>
          <a:xfrm>
            <a:off x="5639681" y="2891195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7035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ИНФОРМАЦИЯ</a:t>
            </a:r>
          </a:p>
        </p:txBody>
      </p:sp>
      <p:sp>
        <p:nvSpPr>
          <p:cNvPr id="182" name="Freeform: Shape 371">
            <a:extLst>
              <a:ext uri="{FF2B5EF4-FFF2-40B4-BE49-F238E27FC236}">
                <a16:creationId xmlns:a16="http://schemas.microsoft.com/office/drawing/2014/main" id="{BF551866-CD89-2342-B5A5-1E5819E33A50}"/>
              </a:ext>
            </a:extLst>
          </p:cNvPr>
          <p:cNvSpPr>
            <a:spLocks/>
          </p:cNvSpPr>
          <p:nvPr/>
        </p:nvSpPr>
        <p:spPr>
          <a:xfrm>
            <a:off x="5976889" y="1132455"/>
            <a:ext cx="5880149" cy="302613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4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pPr marL="0" lvl="1" fontAlgn="base"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188" name="Таблица 187">
            <a:extLst>
              <a:ext uri="{FF2B5EF4-FFF2-40B4-BE49-F238E27FC236}">
                <a16:creationId xmlns:a16="http://schemas.microsoft.com/office/drawing/2014/main" id="{CC14F690-9195-994E-B44F-041460A2609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8333650"/>
              </p:ext>
            </p:extLst>
          </p:nvPr>
        </p:nvGraphicFramePr>
        <p:xfrm>
          <a:off x="5976890" y="4204364"/>
          <a:ext cx="5144766" cy="2411771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9301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4581">
                  <a:extLst>
                    <a:ext uri="{9D8B030D-6E8A-4147-A177-3AD203B41FA5}">
                      <a16:colId xmlns:a16="http://schemas.microsoft.com/office/drawing/2014/main" val="404444048"/>
                    </a:ext>
                  </a:extLst>
                </a:gridCol>
              </a:tblGrid>
              <a:tr h="348527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b="0" i="0" spc="3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+mn-cs"/>
                      </a:endParaRPr>
                    </a:p>
                  </a:txBody>
                  <a:tcPr marL="36000" marR="36000" marT="360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7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133790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4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382577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35 501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414003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</a:t>
                      </a:r>
                      <a:r>
                        <a:rPr lang="ru-RU" sz="1000" b="0" i="0" kern="120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 034</a:t>
                      </a:r>
                      <a:endParaRPr lang="ru-RU" sz="10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DIN Pro Cond Medium" panose="020B0606020101010102" pitchFamily="34" charset="-52"/>
                      </a:endParaRP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%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260 000</a:t>
                      </a:r>
                    </a:p>
                  </a:txBody>
                  <a:tcPr marL="180000" marR="72000" marT="36000" marB="36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388620"/>
                  </a:ext>
                </a:extLst>
              </a:tr>
              <a:tr h="343874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72000" marT="36000" marB="36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47</a:t>
                      </a:r>
                      <a:r>
                        <a:rPr lang="en-US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,</a:t>
                      </a:r>
                      <a:r>
                        <a:rPr lang="ru-RU" sz="10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5%</a:t>
                      </a:r>
                    </a:p>
                  </a:txBody>
                  <a:tcPr marL="180000" marR="72000" marT="36000" marB="36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148108"/>
                  </a:ext>
                </a:extLst>
              </a:tr>
            </a:tbl>
          </a:graphicData>
        </a:graphic>
      </p:graphicFrame>
      <p:sp>
        <p:nvSpPr>
          <p:cNvPr id="184" name="TextBox 183">
            <a:extLst>
              <a:ext uri="{FF2B5EF4-FFF2-40B4-BE49-F238E27FC236}">
                <a16:creationId xmlns:a16="http://schemas.microsoft.com/office/drawing/2014/main" id="{0803CA33-DDAB-DA43-BD96-4209395761F4}"/>
              </a:ext>
            </a:extLst>
          </p:cNvPr>
          <p:cNvSpPr txBox="1"/>
          <p:nvPr/>
        </p:nvSpPr>
        <p:spPr>
          <a:xfrm>
            <a:off x="6058145" y="2826105"/>
            <a:ext cx="5717631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447948" y="1219501"/>
            <a:ext cx="199072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fontAlgn="base">
              <a:spcBef>
                <a:spcPts val="600"/>
              </a:spcBef>
              <a:buClr>
                <a:schemeClr val="tx2"/>
              </a:buClr>
              <a:buSzPct val="100000"/>
              <a:defRPr/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b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</a:b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  <a:cs typeface="DIN Pro Cond Medium" panose="020B0606020101010102" pitchFamily="34" charset="-52"/>
              </a:rPr>
              <a:t>текст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DIN Pro Cond Medium" panose="020B0606020101010102" pitchFamily="34" charset="-52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BEEA7C-1A10-F78C-B1D0-19E371BEEA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2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904609-1775-44D9-87C6-9E662A3A57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290" y="1132456"/>
            <a:ext cx="1740741" cy="174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84506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8856771" cy="30777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0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7" name="russia">
            <a:extLst>
              <a:ext uri="{FF2B5EF4-FFF2-40B4-BE49-F238E27FC236}">
                <a16:creationId xmlns:a16="http://schemas.microsoft.com/office/drawing/2014/main" id="{78C728EB-9991-9E41-A9AE-993B036CC5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8594" y="955752"/>
            <a:ext cx="9974132" cy="5260982"/>
            <a:chOff x="676" y="1056"/>
            <a:chExt cx="4406" cy="2324"/>
          </a:xfrm>
          <a:solidFill>
            <a:srgbClr val="CCCCCC"/>
          </a:solidFill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0C44ABC-60F5-BB4A-9342-D8C6B8A0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13758C14-DC08-0C43-B483-3CAFFFD6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4FFF9958-0360-A24E-B4D0-BDBFB38CF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9E959F9-564D-2445-A40B-877B50DF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C7CBC5C5-D4A5-AC4B-9E4D-E9B9FC46B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6D12BDA-867B-A148-BD99-691B027EF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DF63898F-13A5-B842-89F2-5A2868162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DDF39E0-E214-5F4F-AB60-88E95BB9A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F4CF74F0-9E42-9141-95C5-6FAA96BAF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EA5ACA0F-4032-C747-AF4F-893DB0126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0F1B05EF-7DC0-F241-9BA1-2508C3A5A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33BD940-ADBE-1240-8E53-8524C3C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3A5D212B-F18C-CC49-B0D8-AF4807CB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DC96E266-65BA-A34E-8315-EAA5C1406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150DB6D5-0D53-BC43-BA9F-AFC49EDED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5E7E8E49-33B9-9A4F-801B-C586BCBAB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5E705075-4118-8249-B826-BB00D5C4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3E7A09D6-700C-D84F-B58F-CA73A1408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6" name="Freeform 23">
              <a:extLst>
                <a:ext uri="{FF2B5EF4-FFF2-40B4-BE49-F238E27FC236}">
                  <a16:creationId xmlns:a16="http://schemas.microsoft.com/office/drawing/2014/main" id="{B7F0021D-7CF7-8C49-87F5-13CB4E014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Freeform 24">
              <a:extLst>
                <a:ext uri="{FF2B5EF4-FFF2-40B4-BE49-F238E27FC236}">
                  <a16:creationId xmlns:a16="http://schemas.microsoft.com/office/drawing/2014/main" id="{4D4D34D3-77B9-6549-83FC-D79E79B57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8" name="Freeform 25">
              <a:extLst>
                <a:ext uri="{FF2B5EF4-FFF2-40B4-BE49-F238E27FC236}">
                  <a16:creationId xmlns:a16="http://schemas.microsoft.com/office/drawing/2014/main" id="{AB848F87-375A-0549-9F04-CBE824F3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05F96BC0-A472-034E-B428-0B9F0BA07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Freeform 27">
              <a:extLst>
                <a:ext uri="{FF2B5EF4-FFF2-40B4-BE49-F238E27FC236}">
                  <a16:creationId xmlns:a16="http://schemas.microsoft.com/office/drawing/2014/main" id="{FD438CC8-4454-6A47-A853-504EA4A9A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1" name="Freeform 28">
              <a:extLst>
                <a:ext uri="{FF2B5EF4-FFF2-40B4-BE49-F238E27FC236}">
                  <a16:creationId xmlns:a16="http://schemas.microsoft.com/office/drawing/2014/main" id="{C54688A4-F7DB-604E-9FFA-31D87CE54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2" name="Freeform 29">
              <a:extLst>
                <a:ext uri="{FF2B5EF4-FFF2-40B4-BE49-F238E27FC236}">
                  <a16:creationId xmlns:a16="http://schemas.microsoft.com/office/drawing/2014/main" id="{1D21DEB7-E8F4-7D49-ACF5-CDF920027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7ADD9C45-7CFE-F14C-BB07-0DC942704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4" name="Freeform 31">
              <a:extLst>
                <a:ext uri="{FF2B5EF4-FFF2-40B4-BE49-F238E27FC236}">
                  <a16:creationId xmlns:a16="http://schemas.microsoft.com/office/drawing/2014/main" id="{E61D6316-BE55-6E4A-9136-4115D75DE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5" name="Freeform 32">
              <a:extLst>
                <a:ext uri="{FF2B5EF4-FFF2-40B4-BE49-F238E27FC236}">
                  <a16:creationId xmlns:a16="http://schemas.microsoft.com/office/drawing/2014/main" id="{D43E4439-9F45-5948-B92B-1650B482B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060E7ADC-1F16-F347-9478-937256F3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Freeform 34">
              <a:extLst>
                <a:ext uri="{FF2B5EF4-FFF2-40B4-BE49-F238E27FC236}">
                  <a16:creationId xmlns:a16="http://schemas.microsoft.com/office/drawing/2014/main" id="{85658EE1-CBAC-D043-95ED-29B1F1DA1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8" name="Freeform 35">
              <a:extLst>
                <a:ext uri="{FF2B5EF4-FFF2-40B4-BE49-F238E27FC236}">
                  <a16:creationId xmlns:a16="http://schemas.microsoft.com/office/drawing/2014/main" id="{1FF6158D-514C-104B-A8F5-10032BD3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9" name="Freeform 36">
              <a:extLst>
                <a:ext uri="{FF2B5EF4-FFF2-40B4-BE49-F238E27FC236}">
                  <a16:creationId xmlns:a16="http://schemas.microsoft.com/office/drawing/2014/main" id="{D793E053-66FE-7547-91DF-BD5A8E66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" name="Freeform 37">
              <a:extLst>
                <a:ext uri="{FF2B5EF4-FFF2-40B4-BE49-F238E27FC236}">
                  <a16:creationId xmlns:a16="http://schemas.microsoft.com/office/drawing/2014/main" id="{69D5286E-1525-974A-BBD6-548D1FF4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1" name="Freeform 38">
              <a:extLst>
                <a:ext uri="{FF2B5EF4-FFF2-40B4-BE49-F238E27FC236}">
                  <a16:creationId xmlns:a16="http://schemas.microsoft.com/office/drawing/2014/main" id="{CC44FE6E-72F3-4D4F-AEC8-AFF5DD384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" name="Freeform 39">
              <a:extLst>
                <a:ext uri="{FF2B5EF4-FFF2-40B4-BE49-F238E27FC236}">
                  <a16:creationId xmlns:a16="http://schemas.microsoft.com/office/drawing/2014/main" id="{A3EE40D6-AAA1-7347-BCBD-3D19E243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F696CB3A-4DAC-9E41-9ABF-A1CECB0E4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10BFD23A-6E4C-3949-98AA-80E547ADC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Freeform 42">
              <a:extLst>
                <a:ext uri="{FF2B5EF4-FFF2-40B4-BE49-F238E27FC236}">
                  <a16:creationId xmlns:a16="http://schemas.microsoft.com/office/drawing/2014/main" id="{0C57EAEB-E1EA-A14F-A495-E03CD2C36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Freeform 43">
              <a:extLst>
                <a:ext uri="{FF2B5EF4-FFF2-40B4-BE49-F238E27FC236}">
                  <a16:creationId xmlns:a16="http://schemas.microsoft.com/office/drawing/2014/main" id="{9D8459FF-1963-C04A-86DA-D13DFB45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Freeform 44">
              <a:extLst>
                <a:ext uri="{FF2B5EF4-FFF2-40B4-BE49-F238E27FC236}">
                  <a16:creationId xmlns:a16="http://schemas.microsoft.com/office/drawing/2014/main" id="{06391863-9C2D-624E-95B0-4CF075E7A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Freeform 45">
              <a:extLst>
                <a:ext uri="{FF2B5EF4-FFF2-40B4-BE49-F238E27FC236}">
                  <a16:creationId xmlns:a16="http://schemas.microsoft.com/office/drawing/2014/main" id="{4059D316-6C00-5147-AF17-77807CA6D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9" name="Freeform 46">
              <a:extLst>
                <a:ext uri="{FF2B5EF4-FFF2-40B4-BE49-F238E27FC236}">
                  <a16:creationId xmlns:a16="http://schemas.microsoft.com/office/drawing/2014/main" id="{99270A3A-6976-C54B-B829-3878A8C96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0" name="Freeform 47">
              <a:extLst>
                <a:ext uri="{FF2B5EF4-FFF2-40B4-BE49-F238E27FC236}">
                  <a16:creationId xmlns:a16="http://schemas.microsoft.com/office/drawing/2014/main" id="{1B27C512-0313-6948-99D7-79D5C0BD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 48">
              <a:extLst>
                <a:ext uri="{FF2B5EF4-FFF2-40B4-BE49-F238E27FC236}">
                  <a16:creationId xmlns:a16="http://schemas.microsoft.com/office/drawing/2014/main" id="{E20CE529-A37B-8E43-A68A-51D8D8D5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2" name="Freeform 49">
              <a:extLst>
                <a:ext uri="{FF2B5EF4-FFF2-40B4-BE49-F238E27FC236}">
                  <a16:creationId xmlns:a16="http://schemas.microsoft.com/office/drawing/2014/main" id="{34EFBE8E-C35E-7748-B0FB-57E0A5A1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3" name="Freeform 50">
              <a:extLst>
                <a:ext uri="{FF2B5EF4-FFF2-40B4-BE49-F238E27FC236}">
                  <a16:creationId xmlns:a16="http://schemas.microsoft.com/office/drawing/2014/main" id="{67930CAC-738A-6A44-8201-26D0DEBBF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4" name="Freeform 51">
              <a:extLst>
                <a:ext uri="{FF2B5EF4-FFF2-40B4-BE49-F238E27FC236}">
                  <a16:creationId xmlns:a16="http://schemas.microsoft.com/office/drawing/2014/main" id="{150D60B9-B1C3-7344-BF02-6100B8B89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5" name="Freeform 52">
              <a:extLst>
                <a:ext uri="{FF2B5EF4-FFF2-40B4-BE49-F238E27FC236}">
                  <a16:creationId xmlns:a16="http://schemas.microsoft.com/office/drawing/2014/main" id="{61617D6D-3FDF-4A44-B89F-7F60A017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6" name="Freeform 53">
              <a:extLst>
                <a:ext uri="{FF2B5EF4-FFF2-40B4-BE49-F238E27FC236}">
                  <a16:creationId xmlns:a16="http://schemas.microsoft.com/office/drawing/2014/main" id="{2BB56E17-D93E-4F42-9C9E-FE49AE466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id="{DB8EB79D-F612-444D-8F16-5C52333DA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id="{A027DEBA-5CCF-EE45-ABB3-A83878AE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id="{56377882-2554-814D-A54E-D652017CF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id="{A2B8ECEE-A33A-3F40-92FD-AA876B20E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 58">
              <a:extLst>
                <a:ext uri="{FF2B5EF4-FFF2-40B4-BE49-F238E27FC236}">
                  <a16:creationId xmlns:a16="http://schemas.microsoft.com/office/drawing/2014/main" id="{ACFAC9B5-D13D-8F4D-BEC3-23BACE501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Freeform 59">
              <a:extLst>
                <a:ext uri="{FF2B5EF4-FFF2-40B4-BE49-F238E27FC236}">
                  <a16:creationId xmlns:a16="http://schemas.microsoft.com/office/drawing/2014/main" id="{2B9DEB7C-48F2-4F4C-B622-B34E353F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Freeform 60">
              <a:extLst>
                <a:ext uri="{FF2B5EF4-FFF2-40B4-BE49-F238E27FC236}">
                  <a16:creationId xmlns:a16="http://schemas.microsoft.com/office/drawing/2014/main" id="{9EB76827-3E90-534A-94DA-C349BA20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" name="Freeform 61">
              <a:extLst>
                <a:ext uri="{FF2B5EF4-FFF2-40B4-BE49-F238E27FC236}">
                  <a16:creationId xmlns:a16="http://schemas.microsoft.com/office/drawing/2014/main" id="{C06E7518-9880-7842-8539-34AAD8540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5" name="Freeform 62">
              <a:extLst>
                <a:ext uri="{FF2B5EF4-FFF2-40B4-BE49-F238E27FC236}">
                  <a16:creationId xmlns:a16="http://schemas.microsoft.com/office/drawing/2014/main" id="{960EDF19-137E-B349-A648-6B4C32DE6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Freeform 63">
              <a:extLst>
                <a:ext uri="{FF2B5EF4-FFF2-40B4-BE49-F238E27FC236}">
                  <a16:creationId xmlns:a16="http://schemas.microsoft.com/office/drawing/2014/main" id="{8BFCA970-D65F-D049-A6C9-EE86D4B9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7" name="Freeform 64">
              <a:extLst>
                <a:ext uri="{FF2B5EF4-FFF2-40B4-BE49-F238E27FC236}">
                  <a16:creationId xmlns:a16="http://schemas.microsoft.com/office/drawing/2014/main" id="{4C76DDA3-2373-6A45-84AE-35FACCB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8" name="Freeform 65">
              <a:extLst>
                <a:ext uri="{FF2B5EF4-FFF2-40B4-BE49-F238E27FC236}">
                  <a16:creationId xmlns:a16="http://schemas.microsoft.com/office/drawing/2014/main" id="{A3A77DD5-2EF6-5D49-88EE-1F2BCFD7C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Freeform 66">
              <a:extLst>
                <a:ext uri="{FF2B5EF4-FFF2-40B4-BE49-F238E27FC236}">
                  <a16:creationId xmlns:a16="http://schemas.microsoft.com/office/drawing/2014/main" id="{532A9100-5924-B64B-8170-969FCCBC7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0" name="Freeform 67">
              <a:extLst>
                <a:ext uri="{FF2B5EF4-FFF2-40B4-BE49-F238E27FC236}">
                  <a16:creationId xmlns:a16="http://schemas.microsoft.com/office/drawing/2014/main" id="{CE51C9E5-AA57-E340-B97D-AA750480B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1" name="Freeform 68">
              <a:extLst>
                <a:ext uri="{FF2B5EF4-FFF2-40B4-BE49-F238E27FC236}">
                  <a16:creationId xmlns:a16="http://schemas.microsoft.com/office/drawing/2014/main" id="{6B13ED49-CD8D-0E44-8FC4-2487E362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Freeform 69">
              <a:extLst>
                <a:ext uri="{FF2B5EF4-FFF2-40B4-BE49-F238E27FC236}">
                  <a16:creationId xmlns:a16="http://schemas.microsoft.com/office/drawing/2014/main" id="{F8EBA717-5BFB-B54C-9021-B27915757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3" name="Freeform 70">
              <a:extLst>
                <a:ext uri="{FF2B5EF4-FFF2-40B4-BE49-F238E27FC236}">
                  <a16:creationId xmlns:a16="http://schemas.microsoft.com/office/drawing/2014/main" id="{3E520697-E83E-3947-91E0-2E84A59F0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4" name="Freeform 71">
              <a:extLst>
                <a:ext uri="{FF2B5EF4-FFF2-40B4-BE49-F238E27FC236}">
                  <a16:creationId xmlns:a16="http://schemas.microsoft.com/office/drawing/2014/main" id="{9646C0A3-B5CF-854B-AE21-C4E06E38B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Freeform 72">
              <a:extLst>
                <a:ext uri="{FF2B5EF4-FFF2-40B4-BE49-F238E27FC236}">
                  <a16:creationId xmlns:a16="http://schemas.microsoft.com/office/drawing/2014/main" id="{18D05402-0EB8-694D-B7BD-38E45B1E3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6" name="Freeform 73">
              <a:extLst>
                <a:ext uri="{FF2B5EF4-FFF2-40B4-BE49-F238E27FC236}">
                  <a16:creationId xmlns:a16="http://schemas.microsoft.com/office/drawing/2014/main" id="{7D2C599C-B6FD-AC49-97D0-1588826A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7" name="Freeform 74">
              <a:extLst>
                <a:ext uri="{FF2B5EF4-FFF2-40B4-BE49-F238E27FC236}">
                  <a16:creationId xmlns:a16="http://schemas.microsoft.com/office/drawing/2014/main" id="{68ECD10F-C639-3548-A7BE-BCB2CF19E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8" name="Freeform 75">
              <a:extLst>
                <a:ext uri="{FF2B5EF4-FFF2-40B4-BE49-F238E27FC236}">
                  <a16:creationId xmlns:a16="http://schemas.microsoft.com/office/drawing/2014/main" id="{077A91CB-533F-A94A-B7A0-1535A67BF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9" name="Freeform 76">
              <a:extLst>
                <a:ext uri="{FF2B5EF4-FFF2-40B4-BE49-F238E27FC236}">
                  <a16:creationId xmlns:a16="http://schemas.microsoft.com/office/drawing/2014/main" id="{3327A2A5-63EF-004F-90C5-F238ED74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0" name="Freeform 77">
              <a:extLst>
                <a:ext uri="{FF2B5EF4-FFF2-40B4-BE49-F238E27FC236}">
                  <a16:creationId xmlns:a16="http://schemas.microsoft.com/office/drawing/2014/main" id="{54230014-95EA-F647-A563-1CDEBF22C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1" name="Freeform 78">
              <a:extLst>
                <a:ext uri="{FF2B5EF4-FFF2-40B4-BE49-F238E27FC236}">
                  <a16:creationId xmlns:a16="http://schemas.microsoft.com/office/drawing/2014/main" id="{9555B07A-8E69-8A44-91D6-C4E7EFF4B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2" name="Freeform 79">
              <a:extLst>
                <a:ext uri="{FF2B5EF4-FFF2-40B4-BE49-F238E27FC236}">
                  <a16:creationId xmlns:a16="http://schemas.microsoft.com/office/drawing/2014/main" id="{AE0187A6-2434-944A-A4A3-BE05C9D39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" y="1056"/>
              <a:ext cx="573" cy="669"/>
            </a:xfrm>
            <a:custGeom>
              <a:avLst/>
              <a:gdLst>
                <a:gd name="T0" fmla="*/ 44 w 573"/>
                <a:gd name="T1" fmla="*/ 502 h 669"/>
                <a:gd name="T2" fmla="*/ 46 w 573"/>
                <a:gd name="T3" fmla="*/ 550 h 669"/>
                <a:gd name="T4" fmla="*/ 26 w 573"/>
                <a:gd name="T5" fmla="*/ 613 h 669"/>
                <a:gd name="T6" fmla="*/ 59 w 573"/>
                <a:gd name="T7" fmla="*/ 633 h 669"/>
                <a:gd name="T8" fmla="*/ 113 w 573"/>
                <a:gd name="T9" fmla="*/ 653 h 669"/>
                <a:gd name="T10" fmla="*/ 145 w 573"/>
                <a:gd name="T11" fmla="*/ 663 h 669"/>
                <a:gd name="T12" fmla="*/ 187 w 573"/>
                <a:gd name="T13" fmla="*/ 661 h 669"/>
                <a:gd name="T14" fmla="*/ 211 w 573"/>
                <a:gd name="T15" fmla="*/ 651 h 669"/>
                <a:gd name="T16" fmla="*/ 241 w 573"/>
                <a:gd name="T17" fmla="*/ 631 h 669"/>
                <a:gd name="T18" fmla="*/ 294 w 573"/>
                <a:gd name="T19" fmla="*/ 580 h 669"/>
                <a:gd name="T20" fmla="*/ 392 w 573"/>
                <a:gd name="T21" fmla="*/ 526 h 669"/>
                <a:gd name="T22" fmla="*/ 460 w 573"/>
                <a:gd name="T23" fmla="*/ 554 h 669"/>
                <a:gd name="T24" fmla="*/ 480 w 573"/>
                <a:gd name="T25" fmla="*/ 508 h 669"/>
                <a:gd name="T26" fmla="*/ 497 w 573"/>
                <a:gd name="T27" fmla="*/ 474 h 669"/>
                <a:gd name="T28" fmla="*/ 519 w 573"/>
                <a:gd name="T29" fmla="*/ 456 h 669"/>
                <a:gd name="T30" fmla="*/ 539 w 573"/>
                <a:gd name="T31" fmla="*/ 384 h 669"/>
                <a:gd name="T32" fmla="*/ 553 w 573"/>
                <a:gd name="T33" fmla="*/ 356 h 669"/>
                <a:gd name="T34" fmla="*/ 565 w 573"/>
                <a:gd name="T35" fmla="*/ 319 h 669"/>
                <a:gd name="T36" fmla="*/ 493 w 573"/>
                <a:gd name="T37" fmla="*/ 315 h 669"/>
                <a:gd name="T38" fmla="*/ 448 w 573"/>
                <a:gd name="T39" fmla="*/ 327 h 669"/>
                <a:gd name="T40" fmla="*/ 436 w 573"/>
                <a:gd name="T41" fmla="*/ 309 h 669"/>
                <a:gd name="T42" fmla="*/ 436 w 573"/>
                <a:gd name="T43" fmla="*/ 261 h 669"/>
                <a:gd name="T44" fmla="*/ 416 w 573"/>
                <a:gd name="T45" fmla="*/ 231 h 669"/>
                <a:gd name="T46" fmla="*/ 380 w 573"/>
                <a:gd name="T47" fmla="*/ 235 h 669"/>
                <a:gd name="T48" fmla="*/ 386 w 573"/>
                <a:gd name="T49" fmla="*/ 211 h 669"/>
                <a:gd name="T50" fmla="*/ 416 w 573"/>
                <a:gd name="T51" fmla="*/ 215 h 669"/>
                <a:gd name="T52" fmla="*/ 436 w 573"/>
                <a:gd name="T53" fmla="*/ 193 h 669"/>
                <a:gd name="T54" fmla="*/ 432 w 573"/>
                <a:gd name="T55" fmla="*/ 173 h 669"/>
                <a:gd name="T56" fmla="*/ 470 w 573"/>
                <a:gd name="T57" fmla="*/ 159 h 669"/>
                <a:gd name="T58" fmla="*/ 488 w 573"/>
                <a:gd name="T59" fmla="*/ 143 h 669"/>
                <a:gd name="T60" fmla="*/ 523 w 573"/>
                <a:gd name="T61" fmla="*/ 123 h 669"/>
                <a:gd name="T62" fmla="*/ 531 w 573"/>
                <a:gd name="T63" fmla="*/ 94 h 669"/>
                <a:gd name="T64" fmla="*/ 515 w 573"/>
                <a:gd name="T65" fmla="*/ 80 h 669"/>
                <a:gd name="T66" fmla="*/ 476 w 573"/>
                <a:gd name="T67" fmla="*/ 70 h 669"/>
                <a:gd name="T68" fmla="*/ 476 w 573"/>
                <a:gd name="T69" fmla="*/ 46 h 669"/>
                <a:gd name="T70" fmla="*/ 470 w 573"/>
                <a:gd name="T71" fmla="*/ 22 h 669"/>
                <a:gd name="T72" fmla="*/ 456 w 573"/>
                <a:gd name="T73" fmla="*/ 2 h 669"/>
                <a:gd name="T74" fmla="*/ 438 w 573"/>
                <a:gd name="T75" fmla="*/ 14 h 669"/>
                <a:gd name="T76" fmla="*/ 392 w 573"/>
                <a:gd name="T77" fmla="*/ 34 h 669"/>
                <a:gd name="T78" fmla="*/ 384 w 573"/>
                <a:gd name="T79" fmla="*/ 56 h 669"/>
                <a:gd name="T80" fmla="*/ 368 w 573"/>
                <a:gd name="T81" fmla="*/ 90 h 669"/>
                <a:gd name="T82" fmla="*/ 392 w 573"/>
                <a:gd name="T83" fmla="*/ 92 h 669"/>
                <a:gd name="T84" fmla="*/ 376 w 573"/>
                <a:gd name="T85" fmla="*/ 106 h 669"/>
                <a:gd name="T86" fmla="*/ 340 w 573"/>
                <a:gd name="T87" fmla="*/ 104 h 669"/>
                <a:gd name="T88" fmla="*/ 257 w 573"/>
                <a:gd name="T89" fmla="*/ 149 h 669"/>
                <a:gd name="T90" fmla="*/ 217 w 573"/>
                <a:gd name="T91" fmla="*/ 177 h 669"/>
                <a:gd name="T92" fmla="*/ 165 w 573"/>
                <a:gd name="T93" fmla="*/ 207 h 669"/>
                <a:gd name="T94" fmla="*/ 97 w 573"/>
                <a:gd name="T95" fmla="*/ 291 h 669"/>
                <a:gd name="T96" fmla="*/ 73 w 573"/>
                <a:gd name="T97" fmla="*/ 325 h 669"/>
                <a:gd name="T98" fmla="*/ 119 w 573"/>
                <a:gd name="T99" fmla="*/ 339 h 669"/>
                <a:gd name="T100" fmla="*/ 133 w 573"/>
                <a:gd name="T101" fmla="*/ 370 h 669"/>
                <a:gd name="T102" fmla="*/ 111 w 573"/>
                <a:gd name="T103" fmla="*/ 376 h 669"/>
                <a:gd name="T104" fmla="*/ 75 w 573"/>
                <a:gd name="T105" fmla="*/ 380 h 669"/>
                <a:gd name="T106" fmla="*/ 57 w 573"/>
                <a:gd name="T107" fmla="*/ 380 h 669"/>
                <a:gd name="T108" fmla="*/ 40 w 573"/>
                <a:gd name="T109" fmla="*/ 432 h 669"/>
                <a:gd name="T110" fmla="*/ 12 w 573"/>
                <a:gd name="T111" fmla="*/ 456 h 669"/>
                <a:gd name="T112" fmla="*/ 28 w 573"/>
                <a:gd name="T113" fmla="*/ 48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3" h="669">
                  <a:moveTo>
                    <a:pt x="28" y="486"/>
                  </a:moveTo>
                  <a:lnTo>
                    <a:pt x="28" y="486"/>
                  </a:lnTo>
                  <a:lnTo>
                    <a:pt x="28" y="490"/>
                  </a:lnTo>
                  <a:lnTo>
                    <a:pt x="28" y="494"/>
                  </a:lnTo>
                  <a:lnTo>
                    <a:pt x="36" y="496"/>
                  </a:lnTo>
                  <a:lnTo>
                    <a:pt x="44" y="496"/>
                  </a:lnTo>
                  <a:lnTo>
                    <a:pt x="44" y="502"/>
                  </a:lnTo>
                  <a:lnTo>
                    <a:pt x="50" y="508"/>
                  </a:lnTo>
                  <a:lnTo>
                    <a:pt x="65" y="520"/>
                  </a:lnTo>
                  <a:lnTo>
                    <a:pt x="48" y="536"/>
                  </a:lnTo>
                  <a:lnTo>
                    <a:pt x="48" y="536"/>
                  </a:lnTo>
                  <a:lnTo>
                    <a:pt x="48" y="548"/>
                  </a:lnTo>
                  <a:lnTo>
                    <a:pt x="48" y="548"/>
                  </a:lnTo>
                  <a:lnTo>
                    <a:pt x="46" y="550"/>
                  </a:lnTo>
                  <a:lnTo>
                    <a:pt x="44" y="558"/>
                  </a:lnTo>
                  <a:lnTo>
                    <a:pt x="38" y="562"/>
                  </a:lnTo>
                  <a:lnTo>
                    <a:pt x="26" y="578"/>
                  </a:lnTo>
                  <a:lnTo>
                    <a:pt x="24" y="587"/>
                  </a:lnTo>
                  <a:lnTo>
                    <a:pt x="18" y="593"/>
                  </a:lnTo>
                  <a:lnTo>
                    <a:pt x="24" y="609"/>
                  </a:lnTo>
                  <a:lnTo>
                    <a:pt x="26" y="613"/>
                  </a:lnTo>
                  <a:lnTo>
                    <a:pt x="30" y="611"/>
                  </a:lnTo>
                  <a:lnTo>
                    <a:pt x="36" y="611"/>
                  </a:lnTo>
                  <a:lnTo>
                    <a:pt x="26" y="619"/>
                  </a:lnTo>
                  <a:lnTo>
                    <a:pt x="30" y="631"/>
                  </a:lnTo>
                  <a:lnTo>
                    <a:pt x="40" y="633"/>
                  </a:lnTo>
                  <a:lnTo>
                    <a:pt x="48" y="637"/>
                  </a:lnTo>
                  <a:lnTo>
                    <a:pt x="59" y="633"/>
                  </a:lnTo>
                  <a:lnTo>
                    <a:pt x="73" y="631"/>
                  </a:lnTo>
                  <a:lnTo>
                    <a:pt x="83" y="637"/>
                  </a:lnTo>
                  <a:lnTo>
                    <a:pt x="91" y="659"/>
                  </a:lnTo>
                  <a:lnTo>
                    <a:pt x="91" y="659"/>
                  </a:lnTo>
                  <a:lnTo>
                    <a:pt x="93" y="661"/>
                  </a:lnTo>
                  <a:lnTo>
                    <a:pt x="113" y="653"/>
                  </a:lnTo>
                  <a:lnTo>
                    <a:pt x="113" y="653"/>
                  </a:lnTo>
                  <a:lnTo>
                    <a:pt x="119" y="661"/>
                  </a:lnTo>
                  <a:lnTo>
                    <a:pt x="127" y="667"/>
                  </a:lnTo>
                  <a:lnTo>
                    <a:pt x="129" y="669"/>
                  </a:lnTo>
                  <a:lnTo>
                    <a:pt x="131" y="669"/>
                  </a:lnTo>
                  <a:lnTo>
                    <a:pt x="131" y="669"/>
                  </a:lnTo>
                  <a:lnTo>
                    <a:pt x="137" y="669"/>
                  </a:lnTo>
                  <a:lnTo>
                    <a:pt x="145" y="663"/>
                  </a:lnTo>
                  <a:lnTo>
                    <a:pt x="157" y="663"/>
                  </a:lnTo>
                  <a:lnTo>
                    <a:pt x="163" y="661"/>
                  </a:lnTo>
                  <a:lnTo>
                    <a:pt x="163" y="661"/>
                  </a:lnTo>
                  <a:lnTo>
                    <a:pt x="173" y="663"/>
                  </a:lnTo>
                  <a:lnTo>
                    <a:pt x="179" y="663"/>
                  </a:lnTo>
                  <a:lnTo>
                    <a:pt x="183" y="663"/>
                  </a:lnTo>
                  <a:lnTo>
                    <a:pt x="187" y="661"/>
                  </a:lnTo>
                  <a:lnTo>
                    <a:pt x="187" y="659"/>
                  </a:lnTo>
                  <a:lnTo>
                    <a:pt x="187" y="659"/>
                  </a:lnTo>
                  <a:lnTo>
                    <a:pt x="195" y="655"/>
                  </a:lnTo>
                  <a:lnTo>
                    <a:pt x="201" y="651"/>
                  </a:lnTo>
                  <a:lnTo>
                    <a:pt x="205" y="651"/>
                  </a:lnTo>
                  <a:lnTo>
                    <a:pt x="211" y="651"/>
                  </a:lnTo>
                  <a:lnTo>
                    <a:pt x="211" y="651"/>
                  </a:lnTo>
                  <a:lnTo>
                    <a:pt x="221" y="651"/>
                  </a:lnTo>
                  <a:lnTo>
                    <a:pt x="227" y="647"/>
                  </a:lnTo>
                  <a:lnTo>
                    <a:pt x="231" y="645"/>
                  </a:lnTo>
                  <a:lnTo>
                    <a:pt x="235" y="639"/>
                  </a:lnTo>
                  <a:lnTo>
                    <a:pt x="235" y="639"/>
                  </a:lnTo>
                  <a:lnTo>
                    <a:pt x="237" y="637"/>
                  </a:lnTo>
                  <a:lnTo>
                    <a:pt x="241" y="631"/>
                  </a:lnTo>
                  <a:lnTo>
                    <a:pt x="237" y="627"/>
                  </a:lnTo>
                  <a:lnTo>
                    <a:pt x="241" y="625"/>
                  </a:lnTo>
                  <a:lnTo>
                    <a:pt x="247" y="613"/>
                  </a:lnTo>
                  <a:lnTo>
                    <a:pt x="257" y="599"/>
                  </a:lnTo>
                  <a:lnTo>
                    <a:pt x="271" y="591"/>
                  </a:lnTo>
                  <a:lnTo>
                    <a:pt x="269" y="587"/>
                  </a:lnTo>
                  <a:lnTo>
                    <a:pt x="294" y="580"/>
                  </a:lnTo>
                  <a:lnTo>
                    <a:pt x="310" y="562"/>
                  </a:lnTo>
                  <a:lnTo>
                    <a:pt x="308" y="550"/>
                  </a:lnTo>
                  <a:lnTo>
                    <a:pt x="326" y="548"/>
                  </a:lnTo>
                  <a:lnTo>
                    <a:pt x="342" y="536"/>
                  </a:lnTo>
                  <a:lnTo>
                    <a:pt x="364" y="532"/>
                  </a:lnTo>
                  <a:lnTo>
                    <a:pt x="376" y="526"/>
                  </a:lnTo>
                  <a:lnTo>
                    <a:pt x="392" y="526"/>
                  </a:lnTo>
                  <a:lnTo>
                    <a:pt x="396" y="548"/>
                  </a:lnTo>
                  <a:lnTo>
                    <a:pt x="404" y="564"/>
                  </a:lnTo>
                  <a:lnTo>
                    <a:pt x="422" y="558"/>
                  </a:lnTo>
                  <a:lnTo>
                    <a:pt x="422" y="558"/>
                  </a:lnTo>
                  <a:lnTo>
                    <a:pt x="454" y="556"/>
                  </a:lnTo>
                  <a:lnTo>
                    <a:pt x="454" y="556"/>
                  </a:lnTo>
                  <a:lnTo>
                    <a:pt x="460" y="554"/>
                  </a:lnTo>
                  <a:lnTo>
                    <a:pt x="464" y="554"/>
                  </a:lnTo>
                  <a:lnTo>
                    <a:pt x="470" y="548"/>
                  </a:lnTo>
                  <a:lnTo>
                    <a:pt x="480" y="526"/>
                  </a:lnTo>
                  <a:lnTo>
                    <a:pt x="480" y="526"/>
                  </a:lnTo>
                  <a:lnTo>
                    <a:pt x="480" y="518"/>
                  </a:lnTo>
                  <a:lnTo>
                    <a:pt x="480" y="512"/>
                  </a:lnTo>
                  <a:lnTo>
                    <a:pt x="480" y="508"/>
                  </a:lnTo>
                  <a:lnTo>
                    <a:pt x="484" y="504"/>
                  </a:lnTo>
                  <a:lnTo>
                    <a:pt x="484" y="504"/>
                  </a:lnTo>
                  <a:lnTo>
                    <a:pt x="493" y="492"/>
                  </a:lnTo>
                  <a:lnTo>
                    <a:pt x="495" y="486"/>
                  </a:lnTo>
                  <a:lnTo>
                    <a:pt x="497" y="480"/>
                  </a:lnTo>
                  <a:lnTo>
                    <a:pt x="497" y="480"/>
                  </a:lnTo>
                  <a:lnTo>
                    <a:pt x="497" y="474"/>
                  </a:lnTo>
                  <a:lnTo>
                    <a:pt x="499" y="466"/>
                  </a:lnTo>
                  <a:lnTo>
                    <a:pt x="501" y="458"/>
                  </a:lnTo>
                  <a:lnTo>
                    <a:pt x="503" y="456"/>
                  </a:lnTo>
                  <a:lnTo>
                    <a:pt x="505" y="454"/>
                  </a:lnTo>
                  <a:lnTo>
                    <a:pt x="505" y="454"/>
                  </a:lnTo>
                  <a:lnTo>
                    <a:pt x="513" y="454"/>
                  </a:lnTo>
                  <a:lnTo>
                    <a:pt x="519" y="456"/>
                  </a:lnTo>
                  <a:lnTo>
                    <a:pt x="523" y="456"/>
                  </a:lnTo>
                  <a:lnTo>
                    <a:pt x="543" y="456"/>
                  </a:lnTo>
                  <a:lnTo>
                    <a:pt x="543" y="456"/>
                  </a:lnTo>
                  <a:lnTo>
                    <a:pt x="543" y="412"/>
                  </a:lnTo>
                  <a:lnTo>
                    <a:pt x="543" y="412"/>
                  </a:lnTo>
                  <a:lnTo>
                    <a:pt x="541" y="400"/>
                  </a:lnTo>
                  <a:lnTo>
                    <a:pt x="539" y="384"/>
                  </a:lnTo>
                  <a:lnTo>
                    <a:pt x="539" y="378"/>
                  </a:lnTo>
                  <a:lnTo>
                    <a:pt x="539" y="374"/>
                  </a:lnTo>
                  <a:lnTo>
                    <a:pt x="541" y="370"/>
                  </a:lnTo>
                  <a:lnTo>
                    <a:pt x="543" y="362"/>
                  </a:lnTo>
                  <a:lnTo>
                    <a:pt x="543" y="362"/>
                  </a:lnTo>
                  <a:lnTo>
                    <a:pt x="549" y="358"/>
                  </a:lnTo>
                  <a:lnTo>
                    <a:pt x="553" y="356"/>
                  </a:lnTo>
                  <a:lnTo>
                    <a:pt x="565" y="350"/>
                  </a:lnTo>
                  <a:lnTo>
                    <a:pt x="573" y="345"/>
                  </a:lnTo>
                  <a:lnTo>
                    <a:pt x="573" y="341"/>
                  </a:lnTo>
                  <a:lnTo>
                    <a:pt x="573" y="337"/>
                  </a:lnTo>
                  <a:lnTo>
                    <a:pt x="573" y="337"/>
                  </a:lnTo>
                  <a:lnTo>
                    <a:pt x="569" y="327"/>
                  </a:lnTo>
                  <a:lnTo>
                    <a:pt x="565" y="319"/>
                  </a:lnTo>
                  <a:lnTo>
                    <a:pt x="555" y="317"/>
                  </a:lnTo>
                  <a:lnTo>
                    <a:pt x="555" y="317"/>
                  </a:lnTo>
                  <a:lnTo>
                    <a:pt x="549" y="315"/>
                  </a:lnTo>
                  <a:lnTo>
                    <a:pt x="539" y="315"/>
                  </a:lnTo>
                  <a:lnTo>
                    <a:pt x="519" y="317"/>
                  </a:lnTo>
                  <a:lnTo>
                    <a:pt x="519" y="317"/>
                  </a:lnTo>
                  <a:lnTo>
                    <a:pt x="493" y="315"/>
                  </a:lnTo>
                  <a:lnTo>
                    <a:pt x="468" y="311"/>
                  </a:lnTo>
                  <a:lnTo>
                    <a:pt x="468" y="311"/>
                  </a:lnTo>
                  <a:lnTo>
                    <a:pt x="462" y="311"/>
                  </a:lnTo>
                  <a:lnTo>
                    <a:pt x="462" y="315"/>
                  </a:lnTo>
                  <a:lnTo>
                    <a:pt x="456" y="319"/>
                  </a:lnTo>
                  <a:lnTo>
                    <a:pt x="452" y="325"/>
                  </a:lnTo>
                  <a:lnTo>
                    <a:pt x="448" y="327"/>
                  </a:lnTo>
                  <a:lnTo>
                    <a:pt x="442" y="327"/>
                  </a:lnTo>
                  <a:lnTo>
                    <a:pt x="442" y="327"/>
                  </a:lnTo>
                  <a:lnTo>
                    <a:pt x="438" y="325"/>
                  </a:lnTo>
                  <a:lnTo>
                    <a:pt x="434" y="325"/>
                  </a:lnTo>
                  <a:lnTo>
                    <a:pt x="430" y="319"/>
                  </a:lnTo>
                  <a:lnTo>
                    <a:pt x="430" y="319"/>
                  </a:lnTo>
                  <a:lnTo>
                    <a:pt x="436" y="309"/>
                  </a:lnTo>
                  <a:lnTo>
                    <a:pt x="440" y="299"/>
                  </a:lnTo>
                  <a:lnTo>
                    <a:pt x="442" y="291"/>
                  </a:lnTo>
                  <a:lnTo>
                    <a:pt x="442" y="291"/>
                  </a:lnTo>
                  <a:lnTo>
                    <a:pt x="442" y="285"/>
                  </a:lnTo>
                  <a:lnTo>
                    <a:pt x="440" y="279"/>
                  </a:lnTo>
                  <a:lnTo>
                    <a:pt x="436" y="261"/>
                  </a:lnTo>
                  <a:lnTo>
                    <a:pt x="436" y="261"/>
                  </a:lnTo>
                  <a:lnTo>
                    <a:pt x="432" y="251"/>
                  </a:lnTo>
                  <a:lnTo>
                    <a:pt x="426" y="247"/>
                  </a:lnTo>
                  <a:lnTo>
                    <a:pt x="422" y="243"/>
                  </a:lnTo>
                  <a:lnTo>
                    <a:pt x="416" y="237"/>
                  </a:lnTo>
                  <a:lnTo>
                    <a:pt x="416" y="237"/>
                  </a:lnTo>
                  <a:lnTo>
                    <a:pt x="416" y="235"/>
                  </a:lnTo>
                  <a:lnTo>
                    <a:pt x="416" y="231"/>
                  </a:lnTo>
                  <a:lnTo>
                    <a:pt x="408" y="231"/>
                  </a:lnTo>
                  <a:lnTo>
                    <a:pt x="408" y="231"/>
                  </a:lnTo>
                  <a:lnTo>
                    <a:pt x="396" y="235"/>
                  </a:lnTo>
                  <a:lnTo>
                    <a:pt x="390" y="237"/>
                  </a:lnTo>
                  <a:lnTo>
                    <a:pt x="386" y="237"/>
                  </a:lnTo>
                  <a:lnTo>
                    <a:pt x="382" y="235"/>
                  </a:lnTo>
                  <a:lnTo>
                    <a:pt x="380" y="235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0" y="217"/>
                  </a:lnTo>
                  <a:lnTo>
                    <a:pt x="382" y="213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6" y="211"/>
                  </a:lnTo>
                  <a:lnTo>
                    <a:pt x="386" y="211"/>
                  </a:lnTo>
                  <a:lnTo>
                    <a:pt x="392" y="213"/>
                  </a:lnTo>
                  <a:lnTo>
                    <a:pt x="39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10" y="215"/>
                  </a:lnTo>
                  <a:lnTo>
                    <a:pt x="416" y="215"/>
                  </a:lnTo>
                  <a:lnTo>
                    <a:pt x="418" y="217"/>
                  </a:lnTo>
                  <a:lnTo>
                    <a:pt x="422" y="215"/>
                  </a:lnTo>
                  <a:lnTo>
                    <a:pt x="422" y="213"/>
                  </a:lnTo>
                  <a:lnTo>
                    <a:pt x="422" y="213"/>
                  </a:lnTo>
                  <a:lnTo>
                    <a:pt x="432" y="201"/>
                  </a:lnTo>
                  <a:lnTo>
                    <a:pt x="434" y="195"/>
                  </a:lnTo>
                  <a:lnTo>
                    <a:pt x="436" y="193"/>
                  </a:lnTo>
                  <a:lnTo>
                    <a:pt x="434" y="191"/>
                  </a:lnTo>
                  <a:lnTo>
                    <a:pt x="434" y="191"/>
                  </a:lnTo>
                  <a:lnTo>
                    <a:pt x="434" y="185"/>
                  </a:lnTo>
                  <a:lnTo>
                    <a:pt x="430" y="183"/>
                  </a:lnTo>
                  <a:lnTo>
                    <a:pt x="430" y="179"/>
                  </a:lnTo>
                  <a:lnTo>
                    <a:pt x="432" y="173"/>
                  </a:lnTo>
                  <a:lnTo>
                    <a:pt x="432" y="173"/>
                  </a:lnTo>
                  <a:lnTo>
                    <a:pt x="438" y="167"/>
                  </a:lnTo>
                  <a:lnTo>
                    <a:pt x="446" y="159"/>
                  </a:lnTo>
                  <a:lnTo>
                    <a:pt x="454" y="155"/>
                  </a:lnTo>
                  <a:lnTo>
                    <a:pt x="458" y="155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70" y="159"/>
                  </a:lnTo>
                  <a:lnTo>
                    <a:pt x="474" y="159"/>
                  </a:lnTo>
                  <a:lnTo>
                    <a:pt x="478" y="157"/>
                  </a:lnTo>
                  <a:lnTo>
                    <a:pt x="478" y="157"/>
                  </a:lnTo>
                  <a:lnTo>
                    <a:pt x="480" y="155"/>
                  </a:lnTo>
                  <a:lnTo>
                    <a:pt x="484" y="153"/>
                  </a:lnTo>
                  <a:lnTo>
                    <a:pt x="484" y="147"/>
                  </a:lnTo>
                  <a:lnTo>
                    <a:pt x="488" y="143"/>
                  </a:lnTo>
                  <a:lnTo>
                    <a:pt x="488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503" y="133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3" y="123"/>
                  </a:lnTo>
                  <a:lnTo>
                    <a:pt x="527" y="119"/>
                  </a:lnTo>
                  <a:lnTo>
                    <a:pt x="533" y="114"/>
                  </a:lnTo>
                  <a:lnTo>
                    <a:pt x="533" y="110"/>
                  </a:lnTo>
                  <a:lnTo>
                    <a:pt x="533" y="106"/>
                  </a:lnTo>
                  <a:lnTo>
                    <a:pt x="533" y="106"/>
                  </a:lnTo>
                  <a:lnTo>
                    <a:pt x="531" y="102"/>
                  </a:lnTo>
                  <a:lnTo>
                    <a:pt x="531" y="94"/>
                  </a:lnTo>
                  <a:lnTo>
                    <a:pt x="529" y="90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5" y="86"/>
                  </a:lnTo>
                  <a:lnTo>
                    <a:pt x="521" y="86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07" y="78"/>
                  </a:lnTo>
                  <a:lnTo>
                    <a:pt x="501" y="76"/>
                  </a:lnTo>
                  <a:lnTo>
                    <a:pt x="488" y="74"/>
                  </a:lnTo>
                  <a:lnTo>
                    <a:pt x="488" y="74"/>
                  </a:lnTo>
                  <a:lnTo>
                    <a:pt x="484" y="74"/>
                  </a:lnTo>
                  <a:lnTo>
                    <a:pt x="476" y="70"/>
                  </a:lnTo>
                  <a:lnTo>
                    <a:pt x="472" y="68"/>
                  </a:lnTo>
                  <a:lnTo>
                    <a:pt x="470" y="66"/>
                  </a:lnTo>
                  <a:lnTo>
                    <a:pt x="470" y="64"/>
                  </a:lnTo>
                  <a:lnTo>
                    <a:pt x="470" y="64"/>
                  </a:lnTo>
                  <a:lnTo>
                    <a:pt x="472" y="60"/>
                  </a:lnTo>
                  <a:lnTo>
                    <a:pt x="474" y="54"/>
                  </a:lnTo>
                  <a:lnTo>
                    <a:pt x="476" y="46"/>
                  </a:lnTo>
                  <a:lnTo>
                    <a:pt x="478" y="42"/>
                  </a:lnTo>
                  <a:lnTo>
                    <a:pt x="478" y="42"/>
                  </a:lnTo>
                  <a:lnTo>
                    <a:pt x="476" y="32"/>
                  </a:lnTo>
                  <a:lnTo>
                    <a:pt x="476" y="28"/>
                  </a:lnTo>
                  <a:lnTo>
                    <a:pt x="474" y="24"/>
                  </a:lnTo>
                  <a:lnTo>
                    <a:pt x="474" y="24"/>
                  </a:lnTo>
                  <a:lnTo>
                    <a:pt x="470" y="22"/>
                  </a:lnTo>
                  <a:lnTo>
                    <a:pt x="462" y="20"/>
                  </a:lnTo>
                  <a:lnTo>
                    <a:pt x="458" y="18"/>
                  </a:lnTo>
                  <a:lnTo>
                    <a:pt x="458" y="16"/>
                  </a:lnTo>
                  <a:lnTo>
                    <a:pt x="456" y="14"/>
                  </a:lnTo>
                  <a:lnTo>
                    <a:pt x="456" y="14"/>
                  </a:lnTo>
                  <a:lnTo>
                    <a:pt x="458" y="6"/>
                  </a:lnTo>
                  <a:lnTo>
                    <a:pt x="456" y="2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8"/>
                  </a:lnTo>
                  <a:lnTo>
                    <a:pt x="438" y="14"/>
                  </a:lnTo>
                  <a:lnTo>
                    <a:pt x="438" y="14"/>
                  </a:lnTo>
                  <a:lnTo>
                    <a:pt x="424" y="24"/>
                  </a:lnTo>
                  <a:lnTo>
                    <a:pt x="416" y="34"/>
                  </a:lnTo>
                  <a:lnTo>
                    <a:pt x="412" y="34"/>
                  </a:lnTo>
                  <a:lnTo>
                    <a:pt x="408" y="34"/>
                  </a:lnTo>
                  <a:lnTo>
                    <a:pt x="408" y="34"/>
                  </a:lnTo>
                  <a:lnTo>
                    <a:pt x="396" y="34"/>
                  </a:lnTo>
                  <a:lnTo>
                    <a:pt x="392" y="34"/>
                  </a:lnTo>
                  <a:lnTo>
                    <a:pt x="390" y="38"/>
                  </a:lnTo>
                  <a:lnTo>
                    <a:pt x="390" y="38"/>
                  </a:lnTo>
                  <a:lnTo>
                    <a:pt x="388" y="40"/>
                  </a:lnTo>
                  <a:lnTo>
                    <a:pt x="386" y="44"/>
                  </a:lnTo>
                  <a:lnTo>
                    <a:pt x="386" y="48"/>
                  </a:lnTo>
                  <a:lnTo>
                    <a:pt x="384" y="56"/>
                  </a:lnTo>
                  <a:lnTo>
                    <a:pt x="384" y="56"/>
                  </a:lnTo>
                  <a:lnTo>
                    <a:pt x="380" y="60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0" y="82"/>
                  </a:lnTo>
                  <a:lnTo>
                    <a:pt x="368" y="86"/>
                  </a:lnTo>
                  <a:lnTo>
                    <a:pt x="368" y="90"/>
                  </a:lnTo>
                  <a:lnTo>
                    <a:pt x="368" y="90"/>
                  </a:lnTo>
                  <a:lnTo>
                    <a:pt x="370" y="90"/>
                  </a:lnTo>
                  <a:lnTo>
                    <a:pt x="372" y="90"/>
                  </a:lnTo>
                  <a:lnTo>
                    <a:pt x="380" y="90"/>
                  </a:lnTo>
                  <a:lnTo>
                    <a:pt x="388" y="90"/>
                  </a:lnTo>
                  <a:lnTo>
                    <a:pt x="390" y="92"/>
                  </a:lnTo>
                  <a:lnTo>
                    <a:pt x="392" y="92"/>
                  </a:lnTo>
                  <a:lnTo>
                    <a:pt x="392" y="92"/>
                  </a:lnTo>
                  <a:lnTo>
                    <a:pt x="400" y="102"/>
                  </a:lnTo>
                  <a:lnTo>
                    <a:pt x="400" y="104"/>
                  </a:lnTo>
                  <a:lnTo>
                    <a:pt x="400" y="104"/>
                  </a:lnTo>
                  <a:lnTo>
                    <a:pt x="400" y="106"/>
                  </a:lnTo>
                  <a:lnTo>
                    <a:pt x="396" y="106"/>
                  </a:lnTo>
                  <a:lnTo>
                    <a:pt x="396" y="106"/>
                  </a:lnTo>
                  <a:lnTo>
                    <a:pt x="376" y="106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56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0" y="104"/>
                  </a:lnTo>
                  <a:lnTo>
                    <a:pt x="336" y="104"/>
                  </a:lnTo>
                  <a:lnTo>
                    <a:pt x="318" y="114"/>
                  </a:lnTo>
                  <a:lnTo>
                    <a:pt x="318" y="114"/>
                  </a:lnTo>
                  <a:lnTo>
                    <a:pt x="288" y="133"/>
                  </a:lnTo>
                  <a:lnTo>
                    <a:pt x="271" y="145"/>
                  </a:lnTo>
                  <a:lnTo>
                    <a:pt x="265" y="147"/>
                  </a:lnTo>
                  <a:lnTo>
                    <a:pt x="257" y="149"/>
                  </a:lnTo>
                  <a:lnTo>
                    <a:pt x="257" y="149"/>
                  </a:lnTo>
                  <a:lnTo>
                    <a:pt x="253" y="151"/>
                  </a:lnTo>
                  <a:lnTo>
                    <a:pt x="247" y="155"/>
                  </a:lnTo>
                  <a:lnTo>
                    <a:pt x="235" y="165"/>
                  </a:lnTo>
                  <a:lnTo>
                    <a:pt x="227" y="171"/>
                  </a:lnTo>
                  <a:lnTo>
                    <a:pt x="223" y="175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07" y="179"/>
                  </a:lnTo>
                  <a:lnTo>
                    <a:pt x="197" y="183"/>
                  </a:lnTo>
                  <a:lnTo>
                    <a:pt x="187" y="191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65" y="207"/>
                  </a:lnTo>
                  <a:lnTo>
                    <a:pt x="153" y="219"/>
                  </a:lnTo>
                  <a:lnTo>
                    <a:pt x="141" y="229"/>
                  </a:lnTo>
                  <a:lnTo>
                    <a:pt x="135" y="235"/>
                  </a:lnTo>
                  <a:lnTo>
                    <a:pt x="131" y="241"/>
                  </a:lnTo>
                  <a:lnTo>
                    <a:pt x="131" y="241"/>
                  </a:lnTo>
                  <a:lnTo>
                    <a:pt x="111" y="273"/>
                  </a:lnTo>
                  <a:lnTo>
                    <a:pt x="97" y="291"/>
                  </a:lnTo>
                  <a:lnTo>
                    <a:pt x="93" y="297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1" y="309"/>
                  </a:lnTo>
                  <a:lnTo>
                    <a:pt x="75" y="315"/>
                  </a:lnTo>
                  <a:lnTo>
                    <a:pt x="73" y="321"/>
                  </a:lnTo>
                  <a:lnTo>
                    <a:pt x="73" y="325"/>
                  </a:lnTo>
                  <a:lnTo>
                    <a:pt x="73" y="325"/>
                  </a:lnTo>
                  <a:lnTo>
                    <a:pt x="79" y="329"/>
                  </a:lnTo>
                  <a:lnTo>
                    <a:pt x="83" y="333"/>
                  </a:lnTo>
                  <a:lnTo>
                    <a:pt x="89" y="337"/>
                  </a:lnTo>
                  <a:lnTo>
                    <a:pt x="89" y="337"/>
                  </a:lnTo>
                  <a:lnTo>
                    <a:pt x="109" y="337"/>
                  </a:lnTo>
                  <a:lnTo>
                    <a:pt x="119" y="339"/>
                  </a:lnTo>
                  <a:lnTo>
                    <a:pt x="125" y="341"/>
                  </a:lnTo>
                  <a:lnTo>
                    <a:pt x="129" y="343"/>
                  </a:lnTo>
                  <a:lnTo>
                    <a:pt x="129" y="343"/>
                  </a:lnTo>
                  <a:lnTo>
                    <a:pt x="131" y="350"/>
                  </a:lnTo>
                  <a:lnTo>
                    <a:pt x="133" y="360"/>
                  </a:lnTo>
                  <a:lnTo>
                    <a:pt x="133" y="364"/>
                  </a:lnTo>
                  <a:lnTo>
                    <a:pt x="133" y="370"/>
                  </a:lnTo>
                  <a:lnTo>
                    <a:pt x="131" y="374"/>
                  </a:lnTo>
                  <a:lnTo>
                    <a:pt x="129" y="376"/>
                  </a:lnTo>
                  <a:lnTo>
                    <a:pt x="129" y="376"/>
                  </a:lnTo>
                  <a:lnTo>
                    <a:pt x="125" y="376"/>
                  </a:lnTo>
                  <a:lnTo>
                    <a:pt x="119" y="376"/>
                  </a:lnTo>
                  <a:lnTo>
                    <a:pt x="115" y="374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93" y="382"/>
                  </a:lnTo>
                  <a:lnTo>
                    <a:pt x="85" y="384"/>
                  </a:lnTo>
                  <a:lnTo>
                    <a:pt x="83" y="384"/>
                  </a:lnTo>
                  <a:lnTo>
                    <a:pt x="79" y="384"/>
                  </a:lnTo>
                  <a:lnTo>
                    <a:pt x="79" y="384"/>
                  </a:lnTo>
                  <a:lnTo>
                    <a:pt x="75" y="380"/>
                  </a:lnTo>
                  <a:lnTo>
                    <a:pt x="69" y="378"/>
                  </a:lnTo>
                  <a:lnTo>
                    <a:pt x="63" y="378"/>
                  </a:lnTo>
                  <a:lnTo>
                    <a:pt x="63" y="378"/>
                  </a:lnTo>
                  <a:lnTo>
                    <a:pt x="61" y="378"/>
                  </a:lnTo>
                  <a:lnTo>
                    <a:pt x="59" y="378"/>
                  </a:lnTo>
                  <a:lnTo>
                    <a:pt x="57" y="380"/>
                  </a:lnTo>
                  <a:lnTo>
                    <a:pt x="57" y="380"/>
                  </a:lnTo>
                  <a:lnTo>
                    <a:pt x="61" y="390"/>
                  </a:lnTo>
                  <a:lnTo>
                    <a:pt x="61" y="400"/>
                  </a:lnTo>
                  <a:lnTo>
                    <a:pt x="57" y="406"/>
                  </a:lnTo>
                  <a:lnTo>
                    <a:pt x="57" y="406"/>
                  </a:lnTo>
                  <a:lnTo>
                    <a:pt x="50" y="420"/>
                  </a:lnTo>
                  <a:lnTo>
                    <a:pt x="40" y="432"/>
                  </a:lnTo>
                  <a:lnTo>
                    <a:pt x="40" y="432"/>
                  </a:lnTo>
                  <a:lnTo>
                    <a:pt x="34" y="440"/>
                  </a:lnTo>
                  <a:lnTo>
                    <a:pt x="28" y="442"/>
                  </a:lnTo>
                  <a:lnTo>
                    <a:pt x="28" y="442"/>
                  </a:lnTo>
                  <a:lnTo>
                    <a:pt x="26" y="444"/>
                  </a:lnTo>
                  <a:lnTo>
                    <a:pt x="22" y="446"/>
                  </a:lnTo>
                  <a:lnTo>
                    <a:pt x="12" y="456"/>
                  </a:lnTo>
                  <a:lnTo>
                    <a:pt x="12" y="456"/>
                  </a:lnTo>
                  <a:lnTo>
                    <a:pt x="8" y="462"/>
                  </a:lnTo>
                  <a:lnTo>
                    <a:pt x="4" y="466"/>
                  </a:lnTo>
                  <a:lnTo>
                    <a:pt x="0" y="476"/>
                  </a:lnTo>
                  <a:lnTo>
                    <a:pt x="8" y="482"/>
                  </a:lnTo>
                  <a:lnTo>
                    <a:pt x="8" y="482"/>
                  </a:lnTo>
                  <a:lnTo>
                    <a:pt x="18" y="482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3" name="Freeform 80">
              <a:extLst>
                <a:ext uri="{FF2B5EF4-FFF2-40B4-BE49-F238E27FC236}">
                  <a16:creationId xmlns:a16="http://schemas.microsoft.com/office/drawing/2014/main" id="{CB24E9E3-B32E-E345-8F63-C7D81401D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4" name="Freeform 81">
              <a:extLst>
                <a:ext uri="{FF2B5EF4-FFF2-40B4-BE49-F238E27FC236}">
                  <a16:creationId xmlns:a16="http://schemas.microsoft.com/office/drawing/2014/main" id="{B0743C47-39CF-E545-BA7A-851210307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5" name="Freeform 82">
              <a:extLst>
                <a:ext uri="{FF2B5EF4-FFF2-40B4-BE49-F238E27FC236}">
                  <a16:creationId xmlns:a16="http://schemas.microsoft.com/office/drawing/2014/main" id="{B7464F0E-4EB4-914C-92F0-91C6593D4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6" name="Freeform 83">
              <a:extLst>
                <a:ext uri="{FF2B5EF4-FFF2-40B4-BE49-F238E27FC236}">
                  <a16:creationId xmlns:a16="http://schemas.microsoft.com/office/drawing/2014/main" id="{AEE9C260-D810-9A47-B8ED-D2AE7B2C5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7" name="Freeform 84">
              <a:extLst>
                <a:ext uri="{FF2B5EF4-FFF2-40B4-BE49-F238E27FC236}">
                  <a16:creationId xmlns:a16="http://schemas.microsoft.com/office/drawing/2014/main" id="{89151FA4-F78C-814F-8A7B-EC0F5643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8" name="Freeform 85">
              <a:extLst>
                <a:ext uri="{FF2B5EF4-FFF2-40B4-BE49-F238E27FC236}">
                  <a16:creationId xmlns:a16="http://schemas.microsoft.com/office/drawing/2014/main" id="{AB7762F4-724C-8642-8726-EC4C5049F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9" name="Freeform 86">
              <a:extLst>
                <a:ext uri="{FF2B5EF4-FFF2-40B4-BE49-F238E27FC236}">
                  <a16:creationId xmlns:a16="http://schemas.microsoft.com/office/drawing/2014/main" id="{415F807C-8DB5-6044-8A15-9C02454E9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0" name="Freeform 87">
              <a:extLst>
                <a:ext uri="{FF2B5EF4-FFF2-40B4-BE49-F238E27FC236}">
                  <a16:creationId xmlns:a16="http://schemas.microsoft.com/office/drawing/2014/main" id="{417D2117-0BAF-7748-8163-A2E1B7E7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1" name="Freeform 88">
              <a:extLst>
                <a:ext uri="{FF2B5EF4-FFF2-40B4-BE49-F238E27FC236}">
                  <a16:creationId xmlns:a16="http://schemas.microsoft.com/office/drawing/2014/main" id="{F5C09342-05F2-3B4D-AC81-356C0E030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2" name="Freeform 89">
              <a:extLst>
                <a:ext uri="{FF2B5EF4-FFF2-40B4-BE49-F238E27FC236}">
                  <a16:creationId xmlns:a16="http://schemas.microsoft.com/office/drawing/2014/main" id="{9F68A3D7-32C4-2E48-9AED-34017D05A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3" name="Freeform 90">
              <a:extLst>
                <a:ext uri="{FF2B5EF4-FFF2-40B4-BE49-F238E27FC236}">
                  <a16:creationId xmlns:a16="http://schemas.microsoft.com/office/drawing/2014/main" id="{DE4F6EC3-8556-8D46-A3F1-2C37FBE4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4" name="Freeform 91">
              <a:extLst>
                <a:ext uri="{FF2B5EF4-FFF2-40B4-BE49-F238E27FC236}">
                  <a16:creationId xmlns:a16="http://schemas.microsoft.com/office/drawing/2014/main" id="{C67F5DF5-7E19-1D41-A0ED-300C84E9A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5" name="Freeform 92">
              <a:extLst>
                <a:ext uri="{FF2B5EF4-FFF2-40B4-BE49-F238E27FC236}">
                  <a16:creationId xmlns:a16="http://schemas.microsoft.com/office/drawing/2014/main" id="{ECB68591-5422-FB47-BF94-9564F30F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6" name="Freeform 93">
              <a:extLst>
                <a:ext uri="{FF2B5EF4-FFF2-40B4-BE49-F238E27FC236}">
                  <a16:creationId xmlns:a16="http://schemas.microsoft.com/office/drawing/2014/main" id="{8C2269A9-952D-554E-A6EE-FDBEF4745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7" name="Freeform 94">
              <a:extLst>
                <a:ext uri="{FF2B5EF4-FFF2-40B4-BE49-F238E27FC236}">
                  <a16:creationId xmlns:a16="http://schemas.microsoft.com/office/drawing/2014/main" id="{D46D61D5-94ED-9449-8BC8-E99B009B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8" name="Freeform 95">
              <a:extLst>
                <a:ext uri="{FF2B5EF4-FFF2-40B4-BE49-F238E27FC236}">
                  <a16:creationId xmlns:a16="http://schemas.microsoft.com/office/drawing/2014/main" id="{B39225C8-7063-FD41-97EA-09CC627ED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9" name="Freeform 96">
              <a:extLst>
                <a:ext uri="{FF2B5EF4-FFF2-40B4-BE49-F238E27FC236}">
                  <a16:creationId xmlns:a16="http://schemas.microsoft.com/office/drawing/2014/main" id="{D9AB2163-1998-1D48-BD90-E54B49548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0" name="Freeform 97">
              <a:extLst>
                <a:ext uri="{FF2B5EF4-FFF2-40B4-BE49-F238E27FC236}">
                  <a16:creationId xmlns:a16="http://schemas.microsoft.com/office/drawing/2014/main" id="{9E90A2B8-46BA-A149-B31C-02ADF5DD8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" y="1136"/>
              <a:ext cx="38" cy="75"/>
            </a:xfrm>
            <a:custGeom>
              <a:avLst/>
              <a:gdLst>
                <a:gd name="T0" fmla="*/ 28 w 38"/>
                <a:gd name="T1" fmla="*/ 75 h 75"/>
                <a:gd name="T2" fmla="*/ 28 w 38"/>
                <a:gd name="T3" fmla="*/ 75 h 75"/>
                <a:gd name="T4" fmla="*/ 24 w 38"/>
                <a:gd name="T5" fmla="*/ 75 h 75"/>
                <a:gd name="T6" fmla="*/ 16 w 38"/>
                <a:gd name="T7" fmla="*/ 75 h 75"/>
                <a:gd name="T8" fmla="*/ 14 w 38"/>
                <a:gd name="T9" fmla="*/ 73 h 75"/>
                <a:gd name="T10" fmla="*/ 12 w 38"/>
                <a:gd name="T11" fmla="*/ 71 h 75"/>
                <a:gd name="T12" fmla="*/ 12 w 38"/>
                <a:gd name="T13" fmla="*/ 71 h 75"/>
                <a:gd name="T14" fmla="*/ 4 w 38"/>
                <a:gd name="T15" fmla="*/ 59 h 75"/>
                <a:gd name="T16" fmla="*/ 0 w 38"/>
                <a:gd name="T17" fmla="*/ 51 h 75"/>
                <a:gd name="T18" fmla="*/ 0 w 38"/>
                <a:gd name="T19" fmla="*/ 47 h 75"/>
                <a:gd name="T20" fmla="*/ 0 w 38"/>
                <a:gd name="T21" fmla="*/ 41 h 75"/>
                <a:gd name="T22" fmla="*/ 0 w 38"/>
                <a:gd name="T23" fmla="*/ 41 h 75"/>
                <a:gd name="T24" fmla="*/ 2 w 38"/>
                <a:gd name="T25" fmla="*/ 30 h 75"/>
                <a:gd name="T26" fmla="*/ 4 w 38"/>
                <a:gd name="T27" fmla="*/ 22 h 75"/>
                <a:gd name="T28" fmla="*/ 8 w 38"/>
                <a:gd name="T29" fmla="*/ 12 h 75"/>
                <a:gd name="T30" fmla="*/ 14 w 38"/>
                <a:gd name="T31" fmla="*/ 6 h 75"/>
                <a:gd name="T32" fmla="*/ 14 w 38"/>
                <a:gd name="T33" fmla="*/ 6 h 75"/>
                <a:gd name="T34" fmla="*/ 20 w 38"/>
                <a:gd name="T35" fmla="*/ 2 h 75"/>
                <a:gd name="T36" fmla="*/ 26 w 38"/>
                <a:gd name="T37" fmla="*/ 0 h 75"/>
                <a:gd name="T38" fmla="*/ 32 w 38"/>
                <a:gd name="T39" fmla="*/ 0 h 75"/>
                <a:gd name="T40" fmla="*/ 32 w 38"/>
                <a:gd name="T41" fmla="*/ 2 h 75"/>
                <a:gd name="T42" fmla="*/ 34 w 38"/>
                <a:gd name="T43" fmla="*/ 2 h 75"/>
                <a:gd name="T44" fmla="*/ 34 w 38"/>
                <a:gd name="T45" fmla="*/ 2 h 75"/>
                <a:gd name="T46" fmla="*/ 36 w 38"/>
                <a:gd name="T47" fmla="*/ 10 h 75"/>
                <a:gd name="T48" fmla="*/ 38 w 38"/>
                <a:gd name="T49" fmla="*/ 18 h 75"/>
                <a:gd name="T50" fmla="*/ 38 w 38"/>
                <a:gd name="T51" fmla="*/ 34 h 75"/>
                <a:gd name="T52" fmla="*/ 38 w 38"/>
                <a:gd name="T53" fmla="*/ 34 h 75"/>
                <a:gd name="T54" fmla="*/ 36 w 38"/>
                <a:gd name="T55" fmla="*/ 39 h 75"/>
                <a:gd name="T56" fmla="*/ 34 w 38"/>
                <a:gd name="T57" fmla="*/ 43 h 75"/>
                <a:gd name="T58" fmla="*/ 32 w 38"/>
                <a:gd name="T59" fmla="*/ 47 h 75"/>
                <a:gd name="T60" fmla="*/ 30 w 38"/>
                <a:gd name="T61" fmla="*/ 51 h 75"/>
                <a:gd name="T62" fmla="*/ 30 w 38"/>
                <a:gd name="T63" fmla="*/ 51 h 75"/>
                <a:gd name="T64" fmla="*/ 30 w 38"/>
                <a:gd name="T65" fmla="*/ 59 h 75"/>
                <a:gd name="T66" fmla="*/ 30 w 38"/>
                <a:gd name="T67" fmla="*/ 65 h 75"/>
                <a:gd name="T68" fmla="*/ 30 w 38"/>
                <a:gd name="T69" fmla="*/ 65 h 75"/>
                <a:gd name="T70" fmla="*/ 28 w 38"/>
                <a:gd name="T71" fmla="*/ 75 h 75"/>
                <a:gd name="T72" fmla="*/ 28 w 38"/>
                <a:gd name="T73" fmla="*/ 75 h 75"/>
                <a:gd name="T74" fmla="*/ 28 w 38"/>
                <a:gd name="T75" fmla="*/ 75 h 75"/>
                <a:gd name="T76" fmla="*/ 28 w 38"/>
                <a:gd name="T77" fmla="*/ 75 h 75"/>
                <a:gd name="T78" fmla="*/ 28 w 38"/>
                <a:gd name="T7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" h="75">
                  <a:moveTo>
                    <a:pt x="28" y="75"/>
                  </a:moveTo>
                  <a:lnTo>
                    <a:pt x="28" y="75"/>
                  </a:lnTo>
                  <a:lnTo>
                    <a:pt x="24" y="75"/>
                  </a:lnTo>
                  <a:lnTo>
                    <a:pt x="16" y="75"/>
                  </a:lnTo>
                  <a:lnTo>
                    <a:pt x="14" y="73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4" y="59"/>
                  </a:lnTo>
                  <a:lnTo>
                    <a:pt x="0" y="51"/>
                  </a:lnTo>
                  <a:lnTo>
                    <a:pt x="0" y="4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8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10"/>
                  </a:lnTo>
                  <a:lnTo>
                    <a:pt x="38" y="1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9"/>
                  </a:lnTo>
                  <a:lnTo>
                    <a:pt x="34" y="43"/>
                  </a:lnTo>
                  <a:lnTo>
                    <a:pt x="32" y="47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1" name="Freeform 98">
              <a:extLst>
                <a:ext uri="{FF2B5EF4-FFF2-40B4-BE49-F238E27FC236}">
                  <a16:creationId xmlns:a16="http://schemas.microsoft.com/office/drawing/2014/main" id="{654CE691-0FA4-4F43-BFB1-59640175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2" name="Freeform 99">
              <a:extLst>
                <a:ext uri="{FF2B5EF4-FFF2-40B4-BE49-F238E27FC236}">
                  <a16:creationId xmlns:a16="http://schemas.microsoft.com/office/drawing/2014/main" id="{C838DED4-031E-B64F-B653-9244432D5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3" name="Freeform 100">
              <a:extLst>
                <a:ext uri="{FF2B5EF4-FFF2-40B4-BE49-F238E27FC236}">
                  <a16:creationId xmlns:a16="http://schemas.microsoft.com/office/drawing/2014/main" id="{D6A79041-B038-CA4A-A03F-741EAE9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4" name="Freeform 101">
              <a:extLst>
                <a:ext uri="{FF2B5EF4-FFF2-40B4-BE49-F238E27FC236}">
                  <a16:creationId xmlns:a16="http://schemas.microsoft.com/office/drawing/2014/main" id="{59B3CDEE-0575-E44D-BA36-1DB09E0FF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5" name="Freeform 102">
              <a:extLst>
                <a:ext uri="{FF2B5EF4-FFF2-40B4-BE49-F238E27FC236}">
                  <a16:creationId xmlns:a16="http://schemas.microsoft.com/office/drawing/2014/main" id="{6C77D2EB-7A99-684A-BB5A-56430F00D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Freeform 103">
              <a:extLst>
                <a:ext uri="{FF2B5EF4-FFF2-40B4-BE49-F238E27FC236}">
                  <a16:creationId xmlns:a16="http://schemas.microsoft.com/office/drawing/2014/main" id="{1A990EC6-63C9-B84C-B85B-7DBB44632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7" name="Freeform 104">
              <a:extLst>
                <a:ext uri="{FF2B5EF4-FFF2-40B4-BE49-F238E27FC236}">
                  <a16:creationId xmlns:a16="http://schemas.microsoft.com/office/drawing/2014/main" id="{0D07E9F1-518F-B649-AAD6-2535017C5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8" name="Freeform 105">
              <a:extLst>
                <a:ext uri="{FF2B5EF4-FFF2-40B4-BE49-F238E27FC236}">
                  <a16:creationId xmlns:a16="http://schemas.microsoft.com/office/drawing/2014/main" id="{6F92A5D4-574F-BA4C-B23C-19D10D3CC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9" name="Freeform 106">
              <a:extLst>
                <a:ext uri="{FF2B5EF4-FFF2-40B4-BE49-F238E27FC236}">
                  <a16:creationId xmlns:a16="http://schemas.microsoft.com/office/drawing/2014/main" id="{1D86937F-CCD1-A94D-870C-B34848655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0" name="Freeform 107">
              <a:extLst>
                <a:ext uri="{FF2B5EF4-FFF2-40B4-BE49-F238E27FC236}">
                  <a16:creationId xmlns:a16="http://schemas.microsoft.com/office/drawing/2014/main" id="{66B57636-AF2F-A545-96E2-F82FE8A8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1" name="Freeform 108">
              <a:extLst>
                <a:ext uri="{FF2B5EF4-FFF2-40B4-BE49-F238E27FC236}">
                  <a16:creationId xmlns:a16="http://schemas.microsoft.com/office/drawing/2014/main" id="{F5E6CDEE-D508-EC4B-9A03-C0F54302E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2" name="Freeform 109">
              <a:extLst>
                <a:ext uri="{FF2B5EF4-FFF2-40B4-BE49-F238E27FC236}">
                  <a16:creationId xmlns:a16="http://schemas.microsoft.com/office/drawing/2014/main" id="{660EEBCB-550E-964E-86FC-9C4008046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3" name="Freeform 110">
              <a:extLst>
                <a:ext uri="{FF2B5EF4-FFF2-40B4-BE49-F238E27FC236}">
                  <a16:creationId xmlns:a16="http://schemas.microsoft.com/office/drawing/2014/main" id="{16EC2C40-F33B-554B-95F0-210B1195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4" name="Freeform 111">
              <a:extLst>
                <a:ext uri="{FF2B5EF4-FFF2-40B4-BE49-F238E27FC236}">
                  <a16:creationId xmlns:a16="http://schemas.microsoft.com/office/drawing/2014/main" id="{19201354-56C3-2B49-B3A9-6DC06A753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5" name="Freeform 112">
              <a:extLst>
                <a:ext uri="{FF2B5EF4-FFF2-40B4-BE49-F238E27FC236}">
                  <a16:creationId xmlns:a16="http://schemas.microsoft.com/office/drawing/2014/main" id="{FC1B988E-C0A6-9D4B-93FB-E8C6CA5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6" name="Freeform 113">
              <a:extLst>
                <a:ext uri="{FF2B5EF4-FFF2-40B4-BE49-F238E27FC236}">
                  <a16:creationId xmlns:a16="http://schemas.microsoft.com/office/drawing/2014/main" id="{67D4269F-F93B-794A-8CA5-82B841390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7" name="Freeform 114">
              <a:extLst>
                <a:ext uri="{FF2B5EF4-FFF2-40B4-BE49-F238E27FC236}">
                  <a16:creationId xmlns:a16="http://schemas.microsoft.com/office/drawing/2014/main" id="{BE305916-CDED-4E49-B71A-F0CA0BD31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8" name="Freeform 115">
              <a:extLst>
                <a:ext uri="{FF2B5EF4-FFF2-40B4-BE49-F238E27FC236}">
                  <a16:creationId xmlns:a16="http://schemas.microsoft.com/office/drawing/2014/main" id="{3DEFFB0A-5AC4-A244-B6F5-232B3C02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9" name="Freeform 116">
              <a:extLst>
                <a:ext uri="{FF2B5EF4-FFF2-40B4-BE49-F238E27FC236}">
                  <a16:creationId xmlns:a16="http://schemas.microsoft.com/office/drawing/2014/main" id="{9719BE69-1474-C346-9978-2368B4204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0" name="Freeform 117">
              <a:extLst>
                <a:ext uri="{FF2B5EF4-FFF2-40B4-BE49-F238E27FC236}">
                  <a16:creationId xmlns:a16="http://schemas.microsoft.com/office/drawing/2014/main" id="{3FCF36D8-8130-234F-81DA-4AFE62EFF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1" name="Freeform 118">
              <a:extLst>
                <a:ext uri="{FF2B5EF4-FFF2-40B4-BE49-F238E27FC236}">
                  <a16:creationId xmlns:a16="http://schemas.microsoft.com/office/drawing/2014/main" id="{A7A7A93E-4E08-6D43-AE96-C50DDBB1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id="{C24E2395-A83B-6D45-A77F-942479A6D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id="{01CCF2F4-9C32-0240-91B6-7D40C4F3B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id="{003AD4A6-6A6C-9045-A937-9E40B663E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id="{065CC282-766C-BD40-84D8-E52529AF9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id="{E52B7B52-819A-F642-8868-8EF8209D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id="{F0A1EF68-370A-4A40-A59C-C9E5911B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id="{349C29AA-6BB5-0347-9CBE-E11C73C71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id="{66797A6E-68BB-424A-B8EA-6F94BACD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id="{01F4D92A-BC9E-7D46-A974-76AA6322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id="{9A7D6F85-7BF4-374F-8C7A-818079339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id="{B4F65872-5182-0F4C-AEF0-784E10672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id="{E1EDF4C4-BA0F-B742-8B0F-A82BF485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4" name="Freeform 131">
              <a:extLst>
                <a:ext uri="{FF2B5EF4-FFF2-40B4-BE49-F238E27FC236}">
                  <a16:creationId xmlns:a16="http://schemas.microsoft.com/office/drawing/2014/main" id="{19161425-1157-584B-A248-6A8FF889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5" name="Freeform 132">
              <a:extLst>
                <a:ext uri="{FF2B5EF4-FFF2-40B4-BE49-F238E27FC236}">
                  <a16:creationId xmlns:a16="http://schemas.microsoft.com/office/drawing/2014/main" id="{610DA046-25C9-A943-95AE-4838C746B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6" name="Freeform 133">
              <a:extLst>
                <a:ext uri="{FF2B5EF4-FFF2-40B4-BE49-F238E27FC236}">
                  <a16:creationId xmlns:a16="http://schemas.microsoft.com/office/drawing/2014/main" id="{F2AA99A2-589B-0D43-AF20-0D648790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7" name="Freeform 134">
              <a:extLst>
                <a:ext uri="{FF2B5EF4-FFF2-40B4-BE49-F238E27FC236}">
                  <a16:creationId xmlns:a16="http://schemas.microsoft.com/office/drawing/2014/main" id="{2FFEDFA5-0869-B54D-B52F-2619BCB5D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8" name="Freeform 135">
              <a:extLst>
                <a:ext uri="{FF2B5EF4-FFF2-40B4-BE49-F238E27FC236}">
                  <a16:creationId xmlns:a16="http://schemas.microsoft.com/office/drawing/2014/main" id="{212D9708-67C9-5441-915F-0AE7623C2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9" name="Freeform 136">
              <a:extLst>
                <a:ext uri="{FF2B5EF4-FFF2-40B4-BE49-F238E27FC236}">
                  <a16:creationId xmlns:a16="http://schemas.microsoft.com/office/drawing/2014/main" id="{4D78DF25-AB54-4640-A79B-82DE01DE0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0" name="Freeform 137">
              <a:extLst>
                <a:ext uri="{FF2B5EF4-FFF2-40B4-BE49-F238E27FC236}">
                  <a16:creationId xmlns:a16="http://schemas.microsoft.com/office/drawing/2014/main" id="{3ED037CC-8F6F-7640-AF56-81C47DBD4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1" name="Freeform 138">
              <a:extLst>
                <a:ext uri="{FF2B5EF4-FFF2-40B4-BE49-F238E27FC236}">
                  <a16:creationId xmlns:a16="http://schemas.microsoft.com/office/drawing/2014/main" id="{A21DC0B0-16AB-EF44-9885-99A15307C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2" name="Freeform 139">
              <a:extLst>
                <a:ext uri="{FF2B5EF4-FFF2-40B4-BE49-F238E27FC236}">
                  <a16:creationId xmlns:a16="http://schemas.microsoft.com/office/drawing/2014/main" id="{EE57F8A7-A6E0-2D47-B23D-0EAA91239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3" name="Freeform 140">
              <a:extLst>
                <a:ext uri="{FF2B5EF4-FFF2-40B4-BE49-F238E27FC236}">
                  <a16:creationId xmlns:a16="http://schemas.microsoft.com/office/drawing/2014/main" id="{8E50837B-BA97-E546-98BE-8134DE6C3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84" name="Rectangle 38">
            <a:extLst>
              <a:ext uri="{FF2B5EF4-FFF2-40B4-BE49-F238E27FC236}">
                <a16:creationId xmlns:a16="http://schemas.microsoft.com/office/drawing/2014/main" id="{A2E39FCA-096D-8E48-B051-1538A33A426B}"/>
              </a:ext>
            </a:extLst>
          </p:cNvPr>
          <p:cNvSpPr/>
          <p:nvPr/>
        </p:nvSpPr>
        <p:spPr>
          <a:xfrm>
            <a:off x="5195888" y="1281789"/>
            <a:ext cx="6661150" cy="1283612"/>
          </a:xfrm>
          <a:prstGeom prst="rect">
            <a:avLst/>
          </a:prstGeom>
          <a:solidFill>
            <a:srgbClr val="28BE46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endParaRPr lang="ru-RU" sz="16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D9C0C45-FFA3-B94D-B13C-4014CAFBE631}"/>
              </a:ext>
            </a:extLst>
          </p:cNvPr>
          <p:cNvGrpSpPr/>
          <p:nvPr/>
        </p:nvGrpSpPr>
        <p:grpSpPr>
          <a:xfrm>
            <a:off x="5437628" y="1388440"/>
            <a:ext cx="1017907" cy="565887"/>
            <a:chOff x="5338603" y="1575531"/>
            <a:chExt cx="1017907" cy="565887"/>
          </a:xfrm>
        </p:grpSpPr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1EABA796-F2CD-9048-A859-4256B0B2BB6C}"/>
                </a:ext>
              </a:extLst>
            </p:cNvPr>
            <p:cNvSpPr txBox="1"/>
            <p:nvPr/>
          </p:nvSpPr>
          <p:spPr>
            <a:xfrm>
              <a:off x="5338603" y="1575531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36AD1636-D8F4-494C-B7C8-094D1AC2A970}"/>
                </a:ext>
              </a:extLst>
            </p:cNvPr>
            <p:cNvSpPr txBox="1"/>
            <p:nvPr/>
          </p:nvSpPr>
          <p:spPr>
            <a:xfrm>
              <a:off x="5338603" y="2030618"/>
              <a:ext cx="1017907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BB914F97-46A0-F84F-87D0-A1597F0E403E}"/>
                </a:ext>
              </a:extLst>
            </p:cNvPr>
            <p:cNvSpPr txBox="1"/>
            <p:nvPr/>
          </p:nvSpPr>
          <p:spPr>
            <a:xfrm>
              <a:off x="5853587" y="1677496"/>
              <a:ext cx="39244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lnSpc>
                  <a:spcPct val="90000"/>
                </a:lnSpc>
                <a:spcBef>
                  <a:spcPts val="600"/>
                </a:spcBef>
                <a:defRPr sz="1050">
                  <a:solidFill>
                    <a:schemeClr val="bg1"/>
                  </a:solidFill>
                  <a:latin typeface="GPN_DIN Condensed Bold" panose="020B0706020202020204" pitchFamily="34" charset="-52"/>
                  <a:ea typeface="GPN_DIN Condensed Bold" panose="020B0706020202020204" pitchFamily="34" charset="-52"/>
                </a:defRPr>
              </a:lvl1pPr>
            </a:lstStyle>
            <a:p>
              <a: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  <a:t>МЛН</a:t>
              </a:r>
              <a:b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1000" dirty="0">
                  <a:latin typeface="Verdana" panose="020B0604030504040204" pitchFamily="34" charset="0"/>
                  <a:ea typeface="Verdana" panose="020B0604030504040204" pitchFamily="34" charset="0"/>
                </a:rPr>
                <a:t>ТОНН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ED309DF-57B6-9347-955E-5BC10B1F2782}"/>
              </a:ext>
            </a:extLst>
          </p:cNvPr>
          <p:cNvGrpSpPr/>
          <p:nvPr/>
        </p:nvGrpSpPr>
        <p:grpSpPr>
          <a:xfrm>
            <a:off x="8081282" y="1388440"/>
            <a:ext cx="1723241" cy="565887"/>
            <a:chOff x="7865671" y="1575531"/>
            <a:chExt cx="1723241" cy="565887"/>
          </a:xfrm>
        </p:grpSpPr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4A40599A-D3CC-5847-B7D5-4D1160980F05}"/>
                </a:ext>
              </a:extLst>
            </p:cNvPr>
            <p:cNvSpPr txBox="1"/>
            <p:nvPr/>
          </p:nvSpPr>
          <p:spPr>
            <a:xfrm>
              <a:off x="7865671" y="1575531"/>
              <a:ext cx="1489190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ОП </a:t>
              </a: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59380EAB-A26A-A247-B025-E2D8F8A97884}"/>
                </a:ext>
              </a:extLst>
            </p:cNvPr>
            <p:cNvSpPr txBox="1"/>
            <p:nvPr/>
          </p:nvSpPr>
          <p:spPr>
            <a:xfrm>
              <a:off x="7865672" y="2030618"/>
              <a:ext cx="1723240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A7B50E4-70B6-E148-A203-865FDA41626D}"/>
              </a:ext>
            </a:extLst>
          </p:cNvPr>
          <p:cNvGrpSpPr/>
          <p:nvPr/>
        </p:nvGrpSpPr>
        <p:grpSpPr>
          <a:xfrm>
            <a:off x="9991412" y="1387164"/>
            <a:ext cx="1633927" cy="567163"/>
            <a:chOff x="9923311" y="1574255"/>
            <a:chExt cx="1633927" cy="567163"/>
          </a:xfrm>
        </p:grpSpPr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BEB975C4-8D52-0B49-94EF-508D85111475}"/>
                </a:ext>
              </a:extLst>
            </p:cNvPr>
            <p:cNvSpPr txBox="1"/>
            <p:nvPr/>
          </p:nvSpPr>
          <p:spPr>
            <a:xfrm>
              <a:off x="9923311" y="1574255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164F343F-77DE-044D-81E7-FD20F5089DDE}"/>
                </a:ext>
              </a:extLst>
            </p:cNvPr>
            <p:cNvSpPr txBox="1"/>
            <p:nvPr/>
          </p:nvSpPr>
          <p:spPr>
            <a:xfrm>
              <a:off x="9942005" y="2030618"/>
              <a:ext cx="1615233" cy="110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256AAD-915E-C541-92BE-D60493360761}"/>
              </a:ext>
            </a:extLst>
          </p:cNvPr>
          <p:cNvGrpSpPr/>
          <p:nvPr/>
        </p:nvGrpSpPr>
        <p:grpSpPr>
          <a:xfrm>
            <a:off x="6759455" y="1388440"/>
            <a:ext cx="904352" cy="565887"/>
            <a:chOff x="6658967" y="1575531"/>
            <a:chExt cx="904352" cy="565887"/>
          </a:xfrm>
        </p:grpSpPr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12E00379-90D9-FF46-B39B-5909852BED39}"/>
                </a:ext>
              </a:extLst>
            </p:cNvPr>
            <p:cNvSpPr txBox="1"/>
            <p:nvPr/>
          </p:nvSpPr>
          <p:spPr>
            <a:xfrm>
              <a:off x="6658967" y="1575531"/>
              <a:ext cx="525785" cy="4616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3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XX</a:t>
              </a:r>
              <a:endPara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6AEEC374-A978-1645-A74E-53B0BB6E7AE2}"/>
                </a:ext>
              </a:extLst>
            </p:cNvPr>
            <p:cNvSpPr txBox="1"/>
            <p:nvPr/>
          </p:nvSpPr>
          <p:spPr>
            <a:xfrm>
              <a:off x="7133714" y="1808040"/>
              <a:ext cx="429605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10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СТРАН</a:t>
              </a: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DE2DD7AB-171B-B447-8256-3CA8870F5B85}"/>
                </a:ext>
              </a:extLst>
            </p:cNvPr>
            <p:cNvSpPr txBox="1"/>
            <p:nvPr/>
          </p:nvSpPr>
          <p:spPr>
            <a:xfrm>
              <a:off x="6658967" y="2030618"/>
              <a:ext cx="278923" cy="1108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ru-RU" sz="800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sp>
        <p:nvSpPr>
          <p:cNvPr id="220" name="Rectangle 38">
            <a:extLst>
              <a:ext uri="{FF2B5EF4-FFF2-40B4-BE49-F238E27FC236}">
                <a16:creationId xmlns:a16="http://schemas.microsoft.com/office/drawing/2014/main" id="{1C20DA1F-A310-0543-87F7-2AE27C34DC7E}"/>
              </a:ext>
            </a:extLst>
          </p:cNvPr>
          <p:cNvSpPr/>
          <p:nvPr/>
        </p:nvSpPr>
        <p:spPr>
          <a:xfrm>
            <a:off x="5195889" y="2713023"/>
            <a:ext cx="4860924" cy="1436702"/>
          </a:xfrm>
          <a:prstGeom prst="rect">
            <a:avLst/>
          </a:pr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36000" rtlCol="0" anchor="ctr"/>
          <a:lstStyle/>
          <a:p>
            <a:endParaRPr lang="ru-RU" sz="16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1" name="Rectangle 37">
            <a:extLst>
              <a:ext uri="{FF2B5EF4-FFF2-40B4-BE49-F238E27FC236}">
                <a16:creationId xmlns:a16="http://schemas.microsoft.com/office/drawing/2014/main" id="{98DA59DE-5155-054B-9729-2B8CFD7BD65E}"/>
              </a:ext>
            </a:extLst>
          </p:cNvPr>
          <p:cNvSpPr/>
          <p:nvPr/>
        </p:nvSpPr>
        <p:spPr>
          <a:xfrm>
            <a:off x="5195888" y="4712196"/>
            <a:ext cx="6661150" cy="148857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32000" rIns="144000" bIns="144000" rtlCol="0" anchor="t" anchorCtr="0"/>
          <a:lstStyle/>
          <a:p>
            <a:pPr marL="180975" indent="-180975">
              <a:lnSpc>
                <a:spcPct val="8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2" name="Rectangle 38">
            <a:extLst>
              <a:ext uri="{FF2B5EF4-FFF2-40B4-BE49-F238E27FC236}">
                <a16:creationId xmlns:a16="http://schemas.microsoft.com/office/drawing/2014/main" id="{B8DB162D-7313-EB4F-B263-EF403A9FB03D}"/>
              </a:ext>
            </a:extLst>
          </p:cNvPr>
          <p:cNvSpPr/>
          <p:nvPr/>
        </p:nvSpPr>
        <p:spPr>
          <a:xfrm>
            <a:off x="5195889" y="4298510"/>
            <a:ext cx="6661149" cy="413687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ru-RU" sz="14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F03EA663-507D-7E4F-AE67-1A2B8E140469}"/>
              </a:ext>
            </a:extLst>
          </p:cNvPr>
          <p:cNvSpPr txBox="1"/>
          <p:nvPr/>
        </p:nvSpPr>
        <p:spPr>
          <a:xfrm>
            <a:off x="5435791" y="2926739"/>
            <a:ext cx="2699680" cy="80021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ACA4078F-BF2C-A140-973F-0DE66C22B88D}"/>
              </a:ext>
            </a:extLst>
          </p:cNvPr>
          <p:cNvSpPr txBox="1"/>
          <p:nvPr/>
        </p:nvSpPr>
        <p:spPr>
          <a:xfrm>
            <a:off x="7749520" y="2926739"/>
            <a:ext cx="2699680" cy="8515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8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800"/>
              </a:spcBef>
            </a:pP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25" name="Рисунок 224">
            <a:extLst>
              <a:ext uri="{FF2B5EF4-FFF2-40B4-BE49-F238E27FC236}">
                <a16:creationId xmlns:a16="http://schemas.microsoft.com/office/drawing/2014/main" id="{97CA0C32-680D-B34B-9EA3-534FF09179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56813" y="2714185"/>
            <a:ext cx="1800224" cy="1434835"/>
          </a:xfrm>
          <a:prstGeom prst="rect">
            <a:avLst/>
          </a:prstGeom>
          <a:ln w="9525">
            <a:noFill/>
          </a:ln>
        </p:spPr>
      </p:pic>
      <p:grpSp>
        <p:nvGrpSpPr>
          <p:cNvPr id="242" name="Группа 241">
            <a:extLst>
              <a:ext uri="{FF2B5EF4-FFF2-40B4-BE49-F238E27FC236}">
                <a16:creationId xmlns:a16="http://schemas.microsoft.com/office/drawing/2014/main" id="{E7FFC0B3-A735-604B-9EA3-C1E59A50AB1C}"/>
              </a:ext>
            </a:extLst>
          </p:cNvPr>
          <p:cNvGrpSpPr/>
          <p:nvPr/>
        </p:nvGrpSpPr>
        <p:grpSpPr>
          <a:xfrm>
            <a:off x="5593763" y="4945695"/>
            <a:ext cx="1263434" cy="435615"/>
            <a:chOff x="664720" y="5636085"/>
            <a:chExt cx="1263434" cy="435615"/>
          </a:xfrm>
        </p:grpSpPr>
        <p:pic>
          <p:nvPicPr>
            <p:cNvPr id="243" name="Рисунок 242">
              <a:extLst>
                <a:ext uri="{FF2B5EF4-FFF2-40B4-BE49-F238E27FC236}">
                  <a16:creationId xmlns:a16="http://schemas.microsoft.com/office/drawing/2014/main" id="{1632F269-356F-A14F-8984-95F90B4C5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4720" y="5636085"/>
              <a:ext cx="398124" cy="435615"/>
            </a:xfrm>
            <a:prstGeom prst="rect">
              <a:avLst/>
            </a:prstGeom>
          </p:spPr>
        </p:pic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BE9D868E-D36C-0546-AA51-15E09E820042}"/>
                </a:ext>
              </a:extLst>
            </p:cNvPr>
            <p:cNvSpPr txBox="1"/>
            <p:nvPr/>
          </p:nvSpPr>
          <p:spPr>
            <a:xfrm>
              <a:off x="1144285" y="5715393"/>
              <a:ext cx="783869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Министерство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ранспорта РФ</a:t>
              </a:r>
            </a:p>
          </p:txBody>
        </p:sp>
      </p:grpSp>
      <p:grpSp>
        <p:nvGrpSpPr>
          <p:cNvPr id="245" name="Группа 244">
            <a:extLst>
              <a:ext uri="{FF2B5EF4-FFF2-40B4-BE49-F238E27FC236}">
                <a16:creationId xmlns:a16="http://schemas.microsoft.com/office/drawing/2014/main" id="{7B1CBC2A-3D29-6445-B3BD-3271FF27907C}"/>
              </a:ext>
            </a:extLst>
          </p:cNvPr>
          <p:cNvGrpSpPr/>
          <p:nvPr/>
        </p:nvGrpSpPr>
        <p:grpSpPr>
          <a:xfrm>
            <a:off x="6973099" y="4942262"/>
            <a:ext cx="1452792" cy="571139"/>
            <a:chOff x="2051939" y="5636697"/>
            <a:chExt cx="1452792" cy="571139"/>
          </a:xfrm>
        </p:grpSpPr>
        <p:pic>
          <p:nvPicPr>
            <p:cNvPr id="246" name="Рисунок 245">
              <a:extLst>
                <a:ext uri="{FF2B5EF4-FFF2-40B4-BE49-F238E27FC236}">
                  <a16:creationId xmlns:a16="http://schemas.microsoft.com/office/drawing/2014/main" id="{58F3D481-DC11-664B-A9EA-EA82D7446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51939" y="5636697"/>
              <a:ext cx="396100" cy="434391"/>
            </a:xfrm>
            <a:prstGeom prst="rect">
              <a:avLst/>
            </a:prstGeom>
          </p:spPr>
        </p:pic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9512AA22-85A9-B344-8507-05975966E7BC}"/>
                </a:ext>
              </a:extLst>
            </p:cNvPr>
            <p:cNvSpPr txBox="1"/>
            <p:nvPr/>
          </p:nvSpPr>
          <p:spPr>
            <a:xfrm>
              <a:off x="2514659" y="5715393"/>
              <a:ext cx="990072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едеральное дорожное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агентство (Росавтодор)</a:t>
              </a:r>
            </a:p>
          </p:txBody>
        </p:sp>
      </p:grpSp>
      <p:grpSp>
        <p:nvGrpSpPr>
          <p:cNvPr id="248" name="Группа 247">
            <a:extLst>
              <a:ext uri="{FF2B5EF4-FFF2-40B4-BE49-F238E27FC236}">
                <a16:creationId xmlns:a16="http://schemas.microsoft.com/office/drawing/2014/main" id="{BDC16880-EDB5-CA42-8292-B33DF8F280C2}"/>
              </a:ext>
            </a:extLst>
          </p:cNvPr>
          <p:cNvGrpSpPr/>
          <p:nvPr/>
        </p:nvGrpSpPr>
        <p:grpSpPr>
          <a:xfrm>
            <a:off x="8580905" y="4942262"/>
            <a:ext cx="1966105" cy="448977"/>
            <a:chOff x="3655161" y="5635748"/>
            <a:chExt cx="1966105" cy="448977"/>
          </a:xfrm>
        </p:grpSpPr>
        <p:pic>
          <p:nvPicPr>
            <p:cNvPr id="249" name="Рисунок 248">
              <a:extLst>
                <a:ext uri="{FF2B5EF4-FFF2-40B4-BE49-F238E27FC236}">
                  <a16:creationId xmlns:a16="http://schemas.microsoft.com/office/drawing/2014/main" id="{BF88A55B-9983-3C46-BB44-44C310E71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55161" y="5635748"/>
              <a:ext cx="396627" cy="436288"/>
            </a:xfrm>
            <a:prstGeom prst="rect">
              <a:avLst/>
            </a:prstGeom>
          </p:spPr>
        </p:pic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A17898D7-6035-5849-8D46-E6BCA4A4810E}"/>
                </a:ext>
              </a:extLst>
            </p:cNvPr>
            <p:cNvSpPr txBox="1"/>
            <p:nvPr/>
          </p:nvSpPr>
          <p:spPr>
            <a:xfrm>
              <a:off x="4117319" y="5715393"/>
              <a:ext cx="150394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800"/>
                </a:spcBef>
              </a:pP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Федеральное агентство</a:t>
              </a:r>
              <a:b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ru-RU" sz="800" dirty="0">
                  <a:solidFill>
                    <a:schemeClr val="tx2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воздушного транспорта (Росавиация)</a:t>
              </a:r>
            </a:p>
          </p:txBody>
        </p:sp>
      </p:grpSp>
      <p:sp>
        <p:nvSpPr>
          <p:cNvPr id="253" name="TextBox 252">
            <a:extLst>
              <a:ext uri="{FF2B5EF4-FFF2-40B4-BE49-F238E27FC236}">
                <a16:creationId xmlns:a16="http://schemas.microsoft.com/office/drawing/2014/main" id="{C91642D8-8B8B-3B40-87C2-F8645EE66669}"/>
              </a:ext>
            </a:extLst>
          </p:cNvPr>
          <p:cNvSpPr txBox="1"/>
          <p:nvPr/>
        </p:nvSpPr>
        <p:spPr>
          <a:xfrm>
            <a:off x="9327430" y="5555914"/>
            <a:ext cx="1673535" cy="4154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раслевые </a:t>
            </a:r>
            <a:b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учно-исследовательские </a:t>
            </a:r>
            <a:b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ганизации</a:t>
            </a:r>
          </a:p>
        </p:txBody>
      </p:sp>
      <p:pic>
        <p:nvPicPr>
          <p:cNvPr id="255" name="Picture 6" descr="Avtodor Invest">
            <a:extLst>
              <a:ext uri="{FF2B5EF4-FFF2-40B4-BE49-F238E27FC236}">
                <a16:creationId xmlns:a16="http://schemas.microsoft.com/office/drawing/2014/main" id="{490E871F-9030-1F40-812F-AD2D0D72B4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109203" y="5107869"/>
            <a:ext cx="720738" cy="116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" name="Picture 8" descr="Список экспонентов выставки Транспорт России">
            <a:extLst>
              <a:ext uri="{FF2B5EF4-FFF2-40B4-BE49-F238E27FC236}">
                <a16:creationId xmlns:a16="http://schemas.microsoft.com/office/drawing/2014/main" id="{CDB873B8-4BBF-5048-8222-298491727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1086" y="5641744"/>
            <a:ext cx="666572" cy="313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7" name="Рисунок 256">
            <a:extLst>
              <a:ext uri="{FF2B5EF4-FFF2-40B4-BE49-F238E27FC236}">
                <a16:creationId xmlns:a16="http://schemas.microsoft.com/office/drawing/2014/main" id="{19A26C34-94FF-7348-9B41-BE1601414E3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4995" y="5641743"/>
            <a:ext cx="1149113" cy="323188"/>
          </a:xfrm>
          <a:prstGeom prst="rect">
            <a:avLst/>
          </a:prstGeom>
        </p:spPr>
      </p:pic>
      <p:pic>
        <p:nvPicPr>
          <p:cNvPr id="10242" name="Picture 2" descr="Российская академия наук — Википедия">
            <a:extLst>
              <a:ext uri="{FF2B5EF4-FFF2-40B4-BE49-F238E27FC236}">
                <a16:creationId xmlns:a16="http://schemas.microsoft.com/office/drawing/2014/main" id="{B1D4AD5F-E201-C441-A036-7FB35E499B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2160" y="5537385"/>
            <a:ext cx="681656" cy="340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8" name="TextBox 257">
            <a:extLst>
              <a:ext uri="{FF2B5EF4-FFF2-40B4-BE49-F238E27FC236}">
                <a16:creationId xmlns:a16="http://schemas.microsoft.com/office/drawing/2014/main" id="{E31D4955-9E3E-0F48-8394-090D3F8E0818}"/>
              </a:ext>
            </a:extLst>
          </p:cNvPr>
          <p:cNvSpPr txBox="1"/>
          <p:nvPr/>
        </p:nvSpPr>
        <p:spPr>
          <a:xfrm>
            <a:off x="1550874" y="2789418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59" name="Овал 258">
            <a:extLst>
              <a:ext uri="{FF2B5EF4-FFF2-40B4-BE49-F238E27FC236}">
                <a16:creationId xmlns:a16="http://schemas.microsoft.com/office/drawing/2014/main" id="{1444A9DC-196B-A846-B393-9E327F8402A1}"/>
              </a:ext>
            </a:extLst>
          </p:cNvPr>
          <p:cNvSpPr/>
          <p:nvPr/>
        </p:nvSpPr>
        <p:spPr>
          <a:xfrm>
            <a:off x="862665" y="4010286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25E9AF70-3896-7445-ACBA-A4ED229C7A82}"/>
              </a:ext>
            </a:extLst>
          </p:cNvPr>
          <p:cNvSpPr txBox="1"/>
          <p:nvPr/>
        </p:nvSpPr>
        <p:spPr>
          <a:xfrm>
            <a:off x="1014031" y="3998837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8E217F87-D4BC-0D49-BFD9-CF1AD8CDFE70}"/>
              </a:ext>
            </a:extLst>
          </p:cNvPr>
          <p:cNvSpPr txBox="1"/>
          <p:nvPr/>
        </p:nvSpPr>
        <p:spPr>
          <a:xfrm>
            <a:off x="3078693" y="3797583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2" name="Овал 261">
            <a:extLst>
              <a:ext uri="{FF2B5EF4-FFF2-40B4-BE49-F238E27FC236}">
                <a16:creationId xmlns:a16="http://schemas.microsoft.com/office/drawing/2014/main" id="{21719B5A-3416-8E4E-9C55-5711E16A7ACF}"/>
              </a:ext>
            </a:extLst>
          </p:cNvPr>
          <p:cNvSpPr/>
          <p:nvPr/>
        </p:nvSpPr>
        <p:spPr>
          <a:xfrm>
            <a:off x="2951957" y="3815804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3" name="Овал 262">
            <a:extLst>
              <a:ext uri="{FF2B5EF4-FFF2-40B4-BE49-F238E27FC236}">
                <a16:creationId xmlns:a16="http://schemas.microsoft.com/office/drawing/2014/main" id="{52C667EA-EEF5-0940-AB5D-E830ABA50D37}"/>
              </a:ext>
            </a:extLst>
          </p:cNvPr>
          <p:cNvSpPr/>
          <p:nvPr/>
        </p:nvSpPr>
        <p:spPr>
          <a:xfrm>
            <a:off x="3865097" y="4685416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B7A59C89-1E60-284B-98DE-9172589812FE}"/>
              </a:ext>
            </a:extLst>
          </p:cNvPr>
          <p:cNvSpPr txBox="1"/>
          <p:nvPr/>
        </p:nvSpPr>
        <p:spPr>
          <a:xfrm>
            <a:off x="3985496" y="4673943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DCF21337-149F-6845-A2E6-734C449F88DC}"/>
              </a:ext>
            </a:extLst>
          </p:cNvPr>
          <p:cNvSpPr txBox="1"/>
          <p:nvPr/>
        </p:nvSpPr>
        <p:spPr>
          <a:xfrm>
            <a:off x="2136288" y="2401758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6" name="Овал 265">
            <a:extLst>
              <a:ext uri="{FF2B5EF4-FFF2-40B4-BE49-F238E27FC236}">
                <a16:creationId xmlns:a16="http://schemas.microsoft.com/office/drawing/2014/main" id="{4F551C90-4C02-FB48-8309-DDEB5B6DA1EE}"/>
              </a:ext>
            </a:extLst>
          </p:cNvPr>
          <p:cNvSpPr/>
          <p:nvPr/>
        </p:nvSpPr>
        <p:spPr>
          <a:xfrm>
            <a:off x="2009553" y="2419979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7" name="Овал 266">
            <a:extLst>
              <a:ext uri="{FF2B5EF4-FFF2-40B4-BE49-F238E27FC236}">
                <a16:creationId xmlns:a16="http://schemas.microsoft.com/office/drawing/2014/main" id="{CBD161CF-51A5-0841-8CEE-590F78D7BE6E}"/>
              </a:ext>
            </a:extLst>
          </p:cNvPr>
          <p:cNvSpPr/>
          <p:nvPr/>
        </p:nvSpPr>
        <p:spPr>
          <a:xfrm>
            <a:off x="1602067" y="2888441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FB1E8E7-6744-EE42-820A-501BD31AB63C}"/>
              </a:ext>
            </a:extLst>
          </p:cNvPr>
          <p:cNvSpPr txBox="1"/>
          <p:nvPr/>
        </p:nvSpPr>
        <p:spPr>
          <a:xfrm>
            <a:off x="880870" y="3030925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9" name="Овал 268">
            <a:extLst>
              <a:ext uri="{FF2B5EF4-FFF2-40B4-BE49-F238E27FC236}">
                <a16:creationId xmlns:a16="http://schemas.microsoft.com/office/drawing/2014/main" id="{854A66B2-68A6-6143-BBB1-10B94BA67B13}"/>
              </a:ext>
            </a:extLst>
          </p:cNvPr>
          <p:cNvSpPr/>
          <p:nvPr/>
        </p:nvSpPr>
        <p:spPr>
          <a:xfrm>
            <a:off x="1788214" y="3094035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9DE77530-45DA-5842-8CB4-EA3AEB4B9AD8}"/>
              </a:ext>
            </a:extLst>
          </p:cNvPr>
          <p:cNvSpPr txBox="1"/>
          <p:nvPr/>
        </p:nvSpPr>
        <p:spPr>
          <a:xfrm>
            <a:off x="492851" y="3476550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1" name="Овал 270">
            <a:extLst>
              <a:ext uri="{FF2B5EF4-FFF2-40B4-BE49-F238E27FC236}">
                <a16:creationId xmlns:a16="http://schemas.microsoft.com/office/drawing/2014/main" id="{509C4272-3143-F54E-8B73-FECB93AC3644}"/>
              </a:ext>
            </a:extLst>
          </p:cNvPr>
          <p:cNvSpPr/>
          <p:nvPr/>
        </p:nvSpPr>
        <p:spPr>
          <a:xfrm>
            <a:off x="1788214" y="3366310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8CD477C2-8213-5E47-9264-D77D4D6BF6F4}"/>
              </a:ext>
            </a:extLst>
          </p:cNvPr>
          <p:cNvSpPr txBox="1"/>
          <p:nvPr/>
        </p:nvSpPr>
        <p:spPr>
          <a:xfrm>
            <a:off x="2211859" y="2998716"/>
            <a:ext cx="29014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3" name="Овал 272">
            <a:extLst>
              <a:ext uri="{FF2B5EF4-FFF2-40B4-BE49-F238E27FC236}">
                <a16:creationId xmlns:a16="http://schemas.microsoft.com/office/drawing/2014/main" id="{115523B2-AD67-574F-8576-C02CA6C5704F}"/>
              </a:ext>
            </a:extLst>
          </p:cNvPr>
          <p:cNvSpPr/>
          <p:nvPr/>
        </p:nvSpPr>
        <p:spPr>
          <a:xfrm>
            <a:off x="2085123" y="3015650"/>
            <a:ext cx="84006" cy="84006"/>
          </a:xfrm>
          <a:prstGeom prst="ellipse">
            <a:avLst/>
          </a:prstGeom>
          <a:solidFill>
            <a:srgbClr val="0097D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rgbClr val="0097D8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C9CC850C-7415-FF4C-BB28-E721F7A5DE5A}"/>
              </a:ext>
            </a:extLst>
          </p:cNvPr>
          <p:cNvSpPr txBox="1"/>
          <p:nvPr/>
        </p:nvSpPr>
        <p:spPr>
          <a:xfrm>
            <a:off x="334963" y="2627636"/>
            <a:ext cx="185200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ОБЛАСТЬ</a:t>
            </a:r>
          </a:p>
        </p:txBody>
      </p:sp>
      <p:cxnSp>
        <p:nvCxnSpPr>
          <p:cNvPr id="15" name="Соединительная линия уступом 14">
            <a:extLst>
              <a:ext uri="{FF2B5EF4-FFF2-40B4-BE49-F238E27FC236}">
                <a16:creationId xmlns:a16="http://schemas.microsoft.com/office/drawing/2014/main" id="{8BC500FA-343B-3C40-A95B-8663F0A12F2E}"/>
              </a:ext>
            </a:extLst>
          </p:cNvPr>
          <p:cNvCxnSpPr>
            <a:cxnSpLocks/>
          </p:cNvCxnSpPr>
          <p:nvPr/>
        </p:nvCxnSpPr>
        <p:spPr>
          <a:xfrm rot="16200000" flipH="1">
            <a:off x="1227580" y="2464802"/>
            <a:ext cx="468000" cy="144000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B8840-3EEF-9FF7-FFB8-7B818A1124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61322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9967768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47" name="russia">
            <a:extLst>
              <a:ext uri="{FF2B5EF4-FFF2-40B4-BE49-F238E27FC236}">
                <a16:creationId xmlns:a16="http://schemas.microsoft.com/office/drawing/2014/main" id="{78C728EB-9991-9E41-A9AE-993B036CC53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98594" y="1428225"/>
            <a:ext cx="9974132" cy="4928209"/>
            <a:chOff x="676" y="1203"/>
            <a:chExt cx="4406" cy="2177"/>
          </a:xfrm>
          <a:solidFill>
            <a:srgbClr val="CCCCCC"/>
          </a:solidFill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30C44ABC-60F5-BB4A-9342-D8C6B8A05E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13758C14-DC08-0C43-B483-3CAFFFD6F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4FFF9958-0360-A24E-B4D0-BDBFB38CF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29E959F9-564D-2445-A40B-877B50DF9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C7CBC5C5-D4A5-AC4B-9E4D-E9B9FC46BD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6D12BDA-867B-A148-BD99-691B027EF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DF63898F-13A5-B842-89F2-5A2868162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DDF39E0-E214-5F4F-AB60-88E95BB9A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F4CF74F0-9E42-9141-95C5-6FAA96BAF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EA5ACA0F-4032-C747-AF4F-893DB0126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0F1B05EF-7DC0-F241-9BA1-2508C3A5A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333BD940-ADBE-1240-8E53-8524C3C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3A5D212B-F18C-CC49-B0D8-AF4807CB7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DC96E266-65BA-A34E-8315-EAA5C1406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150DB6D5-0D53-BC43-BA9F-AFC49EDED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3" name="Freeform 20">
              <a:extLst>
                <a:ext uri="{FF2B5EF4-FFF2-40B4-BE49-F238E27FC236}">
                  <a16:creationId xmlns:a16="http://schemas.microsoft.com/office/drawing/2014/main" id="{5E7E8E49-33B9-9A4F-801B-C586BCBAB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4" name="Freeform 21">
              <a:extLst>
                <a:ext uri="{FF2B5EF4-FFF2-40B4-BE49-F238E27FC236}">
                  <a16:creationId xmlns:a16="http://schemas.microsoft.com/office/drawing/2014/main" id="{5E705075-4118-8249-B826-BB00D5C4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" name="Freeform 22">
              <a:extLst>
                <a:ext uri="{FF2B5EF4-FFF2-40B4-BE49-F238E27FC236}">
                  <a16:creationId xmlns:a16="http://schemas.microsoft.com/office/drawing/2014/main" id="{3E7A09D6-700C-D84F-B58F-CA73A1408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6" name="Freeform 23">
              <a:extLst>
                <a:ext uri="{FF2B5EF4-FFF2-40B4-BE49-F238E27FC236}">
                  <a16:creationId xmlns:a16="http://schemas.microsoft.com/office/drawing/2014/main" id="{B7F0021D-7CF7-8C49-87F5-13CB4E014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7" name="Freeform 24">
              <a:extLst>
                <a:ext uri="{FF2B5EF4-FFF2-40B4-BE49-F238E27FC236}">
                  <a16:creationId xmlns:a16="http://schemas.microsoft.com/office/drawing/2014/main" id="{4D4D34D3-77B9-6549-83FC-D79E79B57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8" name="Freeform 25">
              <a:extLst>
                <a:ext uri="{FF2B5EF4-FFF2-40B4-BE49-F238E27FC236}">
                  <a16:creationId xmlns:a16="http://schemas.microsoft.com/office/drawing/2014/main" id="{AB848F87-375A-0549-9F04-CBE824F3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9" name="Freeform 26">
              <a:extLst>
                <a:ext uri="{FF2B5EF4-FFF2-40B4-BE49-F238E27FC236}">
                  <a16:creationId xmlns:a16="http://schemas.microsoft.com/office/drawing/2014/main" id="{05F96BC0-A472-034E-B428-0B9F0BA07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" name="Freeform 27">
              <a:extLst>
                <a:ext uri="{FF2B5EF4-FFF2-40B4-BE49-F238E27FC236}">
                  <a16:creationId xmlns:a16="http://schemas.microsoft.com/office/drawing/2014/main" id="{FD438CC8-4454-6A47-A853-504EA4A9A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1" name="Freeform 28">
              <a:extLst>
                <a:ext uri="{FF2B5EF4-FFF2-40B4-BE49-F238E27FC236}">
                  <a16:creationId xmlns:a16="http://schemas.microsoft.com/office/drawing/2014/main" id="{C54688A4-F7DB-604E-9FFA-31D87CE541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2" name="Freeform 29">
              <a:extLst>
                <a:ext uri="{FF2B5EF4-FFF2-40B4-BE49-F238E27FC236}">
                  <a16:creationId xmlns:a16="http://schemas.microsoft.com/office/drawing/2014/main" id="{1D21DEB7-E8F4-7D49-ACF5-CDF920027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3" name="Freeform 30">
              <a:extLst>
                <a:ext uri="{FF2B5EF4-FFF2-40B4-BE49-F238E27FC236}">
                  <a16:creationId xmlns:a16="http://schemas.microsoft.com/office/drawing/2014/main" id="{7ADD9C45-7CFE-F14C-BB07-0DC942704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4" name="Freeform 31">
              <a:extLst>
                <a:ext uri="{FF2B5EF4-FFF2-40B4-BE49-F238E27FC236}">
                  <a16:creationId xmlns:a16="http://schemas.microsoft.com/office/drawing/2014/main" id="{E61D6316-BE55-6E4A-9136-4115D75DE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5" name="Freeform 32">
              <a:extLst>
                <a:ext uri="{FF2B5EF4-FFF2-40B4-BE49-F238E27FC236}">
                  <a16:creationId xmlns:a16="http://schemas.microsoft.com/office/drawing/2014/main" id="{D43E4439-9F45-5948-B92B-1650B482B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6" name="Freeform 33">
              <a:extLst>
                <a:ext uri="{FF2B5EF4-FFF2-40B4-BE49-F238E27FC236}">
                  <a16:creationId xmlns:a16="http://schemas.microsoft.com/office/drawing/2014/main" id="{060E7ADC-1F16-F347-9478-937256F3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7" name="Freeform 34">
              <a:extLst>
                <a:ext uri="{FF2B5EF4-FFF2-40B4-BE49-F238E27FC236}">
                  <a16:creationId xmlns:a16="http://schemas.microsoft.com/office/drawing/2014/main" id="{85658EE1-CBAC-D043-95ED-29B1F1DA1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8" name="Freeform 35">
              <a:extLst>
                <a:ext uri="{FF2B5EF4-FFF2-40B4-BE49-F238E27FC236}">
                  <a16:creationId xmlns:a16="http://schemas.microsoft.com/office/drawing/2014/main" id="{1FF6158D-514C-104B-A8F5-10032BD3EE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9" name="Freeform 36">
              <a:extLst>
                <a:ext uri="{FF2B5EF4-FFF2-40B4-BE49-F238E27FC236}">
                  <a16:creationId xmlns:a16="http://schemas.microsoft.com/office/drawing/2014/main" id="{D793E053-66FE-7547-91DF-BD5A8E66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" name="Freeform 37">
              <a:extLst>
                <a:ext uri="{FF2B5EF4-FFF2-40B4-BE49-F238E27FC236}">
                  <a16:creationId xmlns:a16="http://schemas.microsoft.com/office/drawing/2014/main" id="{69D5286E-1525-974A-BBD6-548D1FF4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1" name="Freeform 38">
              <a:extLst>
                <a:ext uri="{FF2B5EF4-FFF2-40B4-BE49-F238E27FC236}">
                  <a16:creationId xmlns:a16="http://schemas.microsoft.com/office/drawing/2014/main" id="{CC44FE6E-72F3-4D4F-AEC8-AFF5DD384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" name="Freeform 39">
              <a:extLst>
                <a:ext uri="{FF2B5EF4-FFF2-40B4-BE49-F238E27FC236}">
                  <a16:creationId xmlns:a16="http://schemas.microsoft.com/office/drawing/2014/main" id="{A3EE40D6-AAA1-7347-BCBD-3D19E2431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F696CB3A-4DAC-9E41-9ABF-A1CECB0E4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10BFD23A-6E4C-3949-98AA-80E547ADC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5" name="Freeform 42">
              <a:extLst>
                <a:ext uri="{FF2B5EF4-FFF2-40B4-BE49-F238E27FC236}">
                  <a16:creationId xmlns:a16="http://schemas.microsoft.com/office/drawing/2014/main" id="{0C57EAEB-E1EA-A14F-A495-E03CD2C367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6" name="Freeform 43">
              <a:extLst>
                <a:ext uri="{FF2B5EF4-FFF2-40B4-BE49-F238E27FC236}">
                  <a16:creationId xmlns:a16="http://schemas.microsoft.com/office/drawing/2014/main" id="{9D8459FF-1963-C04A-86DA-D13DFB459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7" name="Freeform 44">
              <a:extLst>
                <a:ext uri="{FF2B5EF4-FFF2-40B4-BE49-F238E27FC236}">
                  <a16:creationId xmlns:a16="http://schemas.microsoft.com/office/drawing/2014/main" id="{06391863-9C2D-624E-95B0-4CF075E7A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" name="Freeform 45">
              <a:extLst>
                <a:ext uri="{FF2B5EF4-FFF2-40B4-BE49-F238E27FC236}">
                  <a16:creationId xmlns:a16="http://schemas.microsoft.com/office/drawing/2014/main" id="{4059D316-6C00-5147-AF17-77807CA6D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9" name="Freeform 46">
              <a:extLst>
                <a:ext uri="{FF2B5EF4-FFF2-40B4-BE49-F238E27FC236}">
                  <a16:creationId xmlns:a16="http://schemas.microsoft.com/office/drawing/2014/main" id="{99270A3A-6976-C54B-B829-3878A8C96F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0" name="Freeform 47">
              <a:extLst>
                <a:ext uri="{FF2B5EF4-FFF2-40B4-BE49-F238E27FC236}">
                  <a16:creationId xmlns:a16="http://schemas.microsoft.com/office/drawing/2014/main" id="{1B27C512-0313-6948-99D7-79D5C0BD20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1" name="Freeform 48">
              <a:extLst>
                <a:ext uri="{FF2B5EF4-FFF2-40B4-BE49-F238E27FC236}">
                  <a16:creationId xmlns:a16="http://schemas.microsoft.com/office/drawing/2014/main" id="{E20CE529-A37B-8E43-A68A-51D8D8D5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2" name="Freeform 49">
              <a:extLst>
                <a:ext uri="{FF2B5EF4-FFF2-40B4-BE49-F238E27FC236}">
                  <a16:creationId xmlns:a16="http://schemas.microsoft.com/office/drawing/2014/main" id="{34EFBE8E-C35E-7748-B0FB-57E0A5A1B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3" name="Freeform 50">
              <a:extLst>
                <a:ext uri="{FF2B5EF4-FFF2-40B4-BE49-F238E27FC236}">
                  <a16:creationId xmlns:a16="http://schemas.microsoft.com/office/drawing/2014/main" id="{67930CAC-738A-6A44-8201-26D0DEBBF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4" name="Freeform 51">
              <a:extLst>
                <a:ext uri="{FF2B5EF4-FFF2-40B4-BE49-F238E27FC236}">
                  <a16:creationId xmlns:a16="http://schemas.microsoft.com/office/drawing/2014/main" id="{150D60B9-B1C3-7344-BF02-6100B8B89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5" name="Freeform 52">
              <a:extLst>
                <a:ext uri="{FF2B5EF4-FFF2-40B4-BE49-F238E27FC236}">
                  <a16:creationId xmlns:a16="http://schemas.microsoft.com/office/drawing/2014/main" id="{61617D6D-3FDF-4A44-B89F-7F60A017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6" name="Freeform 53">
              <a:extLst>
                <a:ext uri="{FF2B5EF4-FFF2-40B4-BE49-F238E27FC236}">
                  <a16:creationId xmlns:a16="http://schemas.microsoft.com/office/drawing/2014/main" id="{2BB56E17-D93E-4F42-9C9E-FE49AE466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7" name="Freeform 54">
              <a:extLst>
                <a:ext uri="{FF2B5EF4-FFF2-40B4-BE49-F238E27FC236}">
                  <a16:creationId xmlns:a16="http://schemas.microsoft.com/office/drawing/2014/main" id="{DB8EB79D-F612-444D-8F16-5C52333DA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8" name="Freeform 55">
              <a:extLst>
                <a:ext uri="{FF2B5EF4-FFF2-40B4-BE49-F238E27FC236}">
                  <a16:creationId xmlns:a16="http://schemas.microsoft.com/office/drawing/2014/main" id="{A027DEBA-5CCF-EE45-ABB3-A83878AED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99" name="Freeform 56">
              <a:extLst>
                <a:ext uri="{FF2B5EF4-FFF2-40B4-BE49-F238E27FC236}">
                  <a16:creationId xmlns:a16="http://schemas.microsoft.com/office/drawing/2014/main" id="{56377882-2554-814D-A54E-D652017CF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0" name="Freeform 57">
              <a:extLst>
                <a:ext uri="{FF2B5EF4-FFF2-40B4-BE49-F238E27FC236}">
                  <a16:creationId xmlns:a16="http://schemas.microsoft.com/office/drawing/2014/main" id="{A2B8ECEE-A33A-3F40-92FD-AA876B20E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1" name="Freeform 58">
              <a:extLst>
                <a:ext uri="{FF2B5EF4-FFF2-40B4-BE49-F238E27FC236}">
                  <a16:creationId xmlns:a16="http://schemas.microsoft.com/office/drawing/2014/main" id="{ACFAC9B5-D13D-8F4D-BEC3-23BACE501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" name="Freeform 59">
              <a:extLst>
                <a:ext uri="{FF2B5EF4-FFF2-40B4-BE49-F238E27FC236}">
                  <a16:creationId xmlns:a16="http://schemas.microsoft.com/office/drawing/2014/main" id="{2B9DEB7C-48F2-4F4C-B622-B34E353F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3" name="Freeform 60">
              <a:extLst>
                <a:ext uri="{FF2B5EF4-FFF2-40B4-BE49-F238E27FC236}">
                  <a16:creationId xmlns:a16="http://schemas.microsoft.com/office/drawing/2014/main" id="{9EB76827-3E90-534A-94DA-C349BA208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4" name="Freeform 61">
              <a:extLst>
                <a:ext uri="{FF2B5EF4-FFF2-40B4-BE49-F238E27FC236}">
                  <a16:creationId xmlns:a16="http://schemas.microsoft.com/office/drawing/2014/main" id="{C06E7518-9880-7842-8539-34AAD8540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5" name="Freeform 62">
              <a:extLst>
                <a:ext uri="{FF2B5EF4-FFF2-40B4-BE49-F238E27FC236}">
                  <a16:creationId xmlns:a16="http://schemas.microsoft.com/office/drawing/2014/main" id="{960EDF19-137E-B349-A648-6B4C32DE6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6" name="Freeform 63">
              <a:extLst>
                <a:ext uri="{FF2B5EF4-FFF2-40B4-BE49-F238E27FC236}">
                  <a16:creationId xmlns:a16="http://schemas.microsoft.com/office/drawing/2014/main" id="{8BFCA970-D65F-D049-A6C9-EE86D4B9F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7" name="Freeform 64">
              <a:extLst>
                <a:ext uri="{FF2B5EF4-FFF2-40B4-BE49-F238E27FC236}">
                  <a16:creationId xmlns:a16="http://schemas.microsoft.com/office/drawing/2014/main" id="{4C76DDA3-2373-6A45-84AE-35FACCB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8" name="Freeform 65">
              <a:extLst>
                <a:ext uri="{FF2B5EF4-FFF2-40B4-BE49-F238E27FC236}">
                  <a16:creationId xmlns:a16="http://schemas.microsoft.com/office/drawing/2014/main" id="{A3A77DD5-2EF6-5D49-88EE-1F2BCFD7C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9" name="Freeform 66">
              <a:extLst>
                <a:ext uri="{FF2B5EF4-FFF2-40B4-BE49-F238E27FC236}">
                  <a16:creationId xmlns:a16="http://schemas.microsoft.com/office/drawing/2014/main" id="{532A9100-5924-B64B-8170-969FCCBC7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0" name="Freeform 67">
              <a:extLst>
                <a:ext uri="{FF2B5EF4-FFF2-40B4-BE49-F238E27FC236}">
                  <a16:creationId xmlns:a16="http://schemas.microsoft.com/office/drawing/2014/main" id="{CE51C9E5-AA57-E340-B97D-AA750480B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1" name="Freeform 68">
              <a:extLst>
                <a:ext uri="{FF2B5EF4-FFF2-40B4-BE49-F238E27FC236}">
                  <a16:creationId xmlns:a16="http://schemas.microsoft.com/office/drawing/2014/main" id="{6B13ED49-CD8D-0E44-8FC4-2487E3625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2" name="Freeform 69">
              <a:extLst>
                <a:ext uri="{FF2B5EF4-FFF2-40B4-BE49-F238E27FC236}">
                  <a16:creationId xmlns:a16="http://schemas.microsoft.com/office/drawing/2014/main" id="{F8EBA717-5BFB-B54C-9021-B27915757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3" name="Freeform 70">
              <a:extLst>
                <a:ext uri="{FF2B5EF4-FFF2-40B4-BE49-F238E27FC236}">
                  <a16:creationId xmlns:a16="http://schemas.microsoft.com/office/drawing/2014/main" id="{3E520697-E83E-3947-91E0-2E84A59F0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4" name="Freeform 71">
              <a:extLst>
                <a:ext uri="{FF2B5EF4-FFF2-40B4-BE49-F238E27FC236}">
                  <a16:creationId xmlns:a16="http://schemas.microsoft.com/office/drawing/2014/main" id="{9646C0A3-B5CF-854B-AE21-C4E06E38B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5" name="Freeform 72">
              <a:extLst>
                <a:ext uri="{FF2B5EF4-FFF2-40B4-BE49-F238E27FC236}">
                  <a16:creationId xmlns:a16="http://schemas.microsoft.com/office/drawing/2014/main" id="{18D05402-0EB8-694D-B7BD-38E45B1E3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6" name="Freeform 73">
              <a:extLst>
                <a:ext uri="{FF2B5EF4-FFF2-40B4-BE49-F238E27FC236}">
                  <a16:creationId xmlns:a16="http://schemas.microsoft.com/office/drawing/2014/main" id="{7D2C599C-B6FD-AC49-97D0-1588826A5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7" name="Freeform 74">
              <a:extLst>
                <a:ext uri="{FF2B5EF4-FFF2-40B4-BE49-F238E27FC236}">
                  <a16:creationId xmlns:a16="http://schemas.microsoft.com/office/drawing/2014/main" id="{68ECD10F-C639-3548-A7BE-BCB2CF19E3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8" name="Freeform 75">
              <a:extLst>
                <a:ext uri="{FF2B5EF4-FFF2-40B4-BE49-F238E27FC236}">
                  <a16:creationId xmlns:a16="http://schemas.microsoft.com/office/drawing/2014/main" id="{077A91CB-533F-A94A-B7A0-1535A67BF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19" name="Freeform 76">
              <a:extLst>
                <a:ext uri="{FF2B5EF4-FFF2-40B4-BE49-F238E27FC236}">
                  <a16:creationId xmlns:a16="http://schemas.microsoft.com/office/drawing/2014/main" id="{3327A2A5-63EF-004F-90C5-F238ED748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0" name="Freeform 77">
              <a:extLst>
                <a:ext uri="{FF2B5EF4-FFF2-40B4-BE49-F238E27FC236}">
                  <a16:creationId xmlns:a16="http://schemas.microsoft.com/office/drawing/2014/main" id="{54230014-95EA-F647-A563-1CDEBF22C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1" name="Freeform 78">
              <a:extLst>
                <a:ext uri="{FF2B5EF4-FFF2-40B4-BE49-F238E27FC236}">
                  <a16:creationId xmlns:a16="http://schemas.microsoft.com/office/drawing/2014/main" id="{9555B07A-8E69-8A44-91D6-C4E7EFF4B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3" name="Freeform 80">
              <a:extLst>
                <a:ext uri="{FF2B5EF4-FFF2-40B4-BE49-F238E27FC236}">
                  <a16:creationId xmlns:a16="http://schemas.microsoft.com/office/drawing/2014/main" id="{CB24E9E3-B32E-E345-8F63-C7D81401D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4" name="Freeform 81">
              <a:extLst>
                <a:ext uri="{FF2B5EF4-FFF2-40B4-BE49-F238E27FC236}">
                  <a16:creationId xmlns:a16="http://schemas.microsoft.com/office/drawing/2014/main" id="{B0743C47-39CF-E545-BA7A-851210307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5" name="Freeform 82">
              <a:extLst>
                <a:ext uri="{FF2B5EF4-FFF2-40B4-BE49-F238E27FC236}">
                  <a16:creationId xmlns:a16="http://schemas.microsoft.com/office/drawing/2014/main" id="{B7464F0E-4EB4-914C-92F0-91C6593D4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6" name="Freeform 83">
              <a:extLst>
                <a:ext uri="{FF2B5EF4-FFF2-40B4-BE49-F238E27FC236}">
                  <a16:creationId xmlns:a16="http://schemas.microsoft.com/office/drawing/2014/main" id="{AEE9C260-D810-9A47-B8ED-D2AE7B2C5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7" name="Freeform 84">
              <a:extLst>
                <a:ext uri="{FF2B5EF4-FFF2-40B4-BE49-F238E27FC236}">
                  <a16:creationId xmlns:a16="http://schemas.microsoft.com/office/drawing/2014/main" id="{89151FA4-F78C-814F-8A7B-EC0F5643B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8" name="Freeform 85">
              <a:extLst>
                <a:ext uri="{FF2B5EF4-FFF2-40B4-BE49-F238E27FC236}">
                  <a16:creationId xmlns:a16="http://schemas.microsoft.com/office/drawing/2014/main" id="{AB7762F4-724C-8642-8726-EC4C5049F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29" name="Freeform 86">
              <a:extLst>
                <a:ext uri="{FF2B5EF4-FFF2-40B4-BE49-F238E27FC236}">
                  <a16:creationId xmlns:a16="http://schemas.microsoft.com/office/drawing/2014/main" id="{415F807C-8DB5-6044-8A15-9C02454E9E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0" name="Freeform 87">
              <a:extLst>
                <a:ext uri="{FF2B5EF4-FFF2-40B4-BE49-F238E27FC236}">
                  <a16:creationId xmlns:a16="http://schemas.microsoft.com/office/drawing/2014/main" id="{417D2117-0BAF-7748-8163-A2E1B7E73E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1" name="Freeform 88">
              <a:extLst>
                <a:ext uri="{FF2B5EF4-FFF2-40B4-BE49-F238E27FC236}">
                  <a16:creationId xmlns:a16="http://schemas.microsoft.com/office/drawing/2014/main" id="{F5C09342-05F2-3B4D-AC81-356C0E030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2" name="Freeform 89">
              <a:extLst>
                <a:ext uri="{FF2B5EF4-FFF2-40B4-BE49-F238E27FC236}">
                  <a16:creationId xmlns:a16="http://schemas.microsoft.com/office/drawing/2014/main" id="{9F68A3D7-32C4-2E48-9AED-34017D05A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3" name="Freeform 90">
              <a:extLst>
                <a:ext uri="{FF2B5EF4-FFF2-40B4-BE49-F238E27FC236}">
                  <a16:creationId xmlns:a16="http://schemas.microsoft.com/office/drawing/2014/main" id="{DE4F6EC3-8556-8D46-A3F1-2C37FBE4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4" name="Freeform 91">
              <a:extLst>
                <a:ext uri="{FF2B5EF4-FFF2-40B4-BE49-F238E27FC236}">
                  <a16:creationId xmlns:a16="http://schemas.microsoft.com/office/drawing/2014/main" id="{C67F5DF5-7E19-1D41-A0ED-300C84E9A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5" name="Freeform 92">
              <a:extLst>
                <a:ext uri="{FF2B5EF4-FFF2-40B4-BE49-F238E27FC236}">
                  <a16:creationId xmlns:a16="http://schemas.microsoft.com/office/drawing/2014/main" id="{ECB68591-5422-FB47-BF94-9564F30F3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6" name="Freeform 93">
              <a:extLst>
                <a:ext uri="{FF2B5EF4-FFF2-40B4-BE49-F238E27FC236}">
                  <a16:creationId xmlns:a16="http://schemas.microsoft.com/office/drawing/2014/main" id="{8C2269A9-952D-554E-A6EE-FDBEF4745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7" name="Freeform 94">
              <a:extLst>
                <a:ext uri="{FF2B5EF4-FFF2-40B4-BE49-F238E27FC236}">
                  <a16:creationId xmlns:a16="http://schemas.microsoft.com/office/drawing/2014/main" id="{D46D61D5-94ED-9449-8BC8-E99B009B4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8" name="Freeform 95">
              <a:extLst>
                <a:ext uri="{FF2B5EF4-FFF2-40B4-BE49-F238E27FC236}">
                  <a16:creationId xmlns:a16="http://schemas.microsoft.com/office/drawing/2014/main" id="{B39225C8-7063-FD41-97EA-09CC627ED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39" name="Freeform 96">
              <a:extLst>
                <a:ext uri="{FF2B5EF4-FFF2-40B4-BE49-F238E27FC236}">
                  <a16:creationId xmlns:a16="http://schemas.microsoft.com/office/drawing/2014/main" id="{D9AB2163-1998-1D48-BD90-E54B49548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1" name="Freeform 98">
              <a:extLst>
                <a:ext uri="{FF2B5EF4-FFF2-40B4-BE49-F238E27FC236}">
                  <a16:creationId xmlns:a16="http://schemas.microsoft.com/office/drawing/2014/main" id="{654CE691-0FA4-4F43-BFB1-596401751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2" name="Freeform 99">
              <a:extLst>
                <a:ext uri="{FF2B5EF4-FFF2-40B4-BE49-F238E27FC236}">
                  <a16:creationId xmlns:a16="http://schemas.microsoft.com/office/drawing/2014/main" id="{C838DED4-031E-B64F-B653-9244432D5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3" name="Freeform 100">
              <a:extLst>
                <a:ext uri="{FF2B5EF4-FFF2-40B4-BE49-F238E27FC236}">
                  <a16:creationId xmlns:a16="http://schemas.microsoft.com/office/drawing/2014/main" id="{D6A79041-B038-CA4A-A03F-741EAE9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4" name="Freeform 101">
              <a:extLst>
                <a:ext uri="{FF2B5EF4-FFF2-40B4-BE49-F238E27FC236}">
                  <a16:creationId xmlns:a16="http://schemas.microsoft.com/office/drawing/2014/main" id="{59B3CDEE-0575-E44D-BA36-1DB09E0FF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solidFill>
              <a:srgbClr val="28BE46"/>
            </a:solidFill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5" name="Freeform 102">
              <a:extLst>
                <a:ext uri="{FF2B5EF4-FFF2-40B4-BE49-F238E27FC236}">
                  <a16:creationId xmlns:a16="http://schemas.microsoft.com/office/drawing/2014/main" id="{6C77D2EB-7A99-684A-BB5A-56430F00D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6" name="Freeform 103">
              <a:extLst>
                <a:ext uri="{FF2B5EF4-FFF2-40B4-BE49-F238E27FC236}">
                  <a16:creationId xmlns:a16="http://schemas.microsoft.com/office/drawing/2014/main" id="{1A990EC6-63C9-B84C-B85B-7DBB44632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7" name="Freeform 104">
              <a:extLst>
                <a:ext uri="{FF2B5EF4-FFF2-40B4-BE49-F238E27FC236}">
                  <a16:creationId xmlns:a16="http://schemas.microsoft.com/office/drawing/2014/main" id="{0D07E9F1-518F-B649-AAD6-2535017C5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8" name="Freeform 105">
              <a:extLst>
                <a:ext uri="{FF2B5EF4-FFF2-40B4-BE49-F238E27FC236}">
                  <a16:creationId xmlns:a16="http://schemas.microsoft.com/office/drawing/2014/main" id="{6F92A5D4-574F-BA4C-B23C-19D10D3CC3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49" name="Freeform 106">
              <a:extLst>
                <a:ext uri="{FF2B5EF4-FFF2-40B4-BE49-F238E27FC236}">
                  <a16:creationId xmlns:a16="http://schemas.microsoft.com/office/drawing/2014/main" id="{1D86937F-CCD1-A94D-870C-B34848655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0" name="Freeform 107">
              <a:extLst>
                <a:ext uri="{FF2B5EF4-FFF2-40B4-BE49-F238E27FC236}">
                  <a16:creationId xmlns:a16="http://schemas.microsoft.com/office/drawing/2014/main" id="{66B57636-AF2F-A545-96E2-F82FE8A82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1" name="Freeform 108">
              <a:extLst>
                <a:ext uri="{FF2B5EF4-FFF2-40B4-BE49-F238E27FC236}">
                  <a16:creationId xmlns:a16="http://schemas.microsoft.com/office/drawing/2014/main" id="{F5E6CDEE-D508-EC4B-9A03-C0F54302E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2" name="Freeform 109">
              <a:extLst>
                <a:ext uri="{FF2B5EF4-FFF2-40B4-BE49-F238E27FC236}">
                  <a16:creationId xmlns:a16="http://schemas.microsoft.com/office/drawing/2014/main" id="{660EEBCB-550E-964E-86FC-9C4008046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3" name="Freeform 110">
              <a:extLst>
                <a:ext uri="{FF2B5EF4-FFF2-40B4-BE49-F238E27FC236}">
                  <a16:creationId xmlns:a16="http://schemas.microsoft.com/office/drawing/2014/main" id="{16EC2C40-F33B-554B-95F0-210B11958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4" name="Freeform 111">
              <a:extLst>
                <a:ext uri="{FF2B5EF4-FFF2-40B4-BE49-F238E27FC236}">
                  <a16:creationId xmlns:a16="http://schemas.microsoft.com/office/drawing/2014/main" id="{19201354-56C3-2B49-B3A9-6DC06A753B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5" name="Freeform 112">
              <a:extLst>
                <a:ext uri="{FF2B5EF4-FFF2-40B4-BE49-F238E27FC236}">
                  <a16:creationId xmlns:a16="http://schemas.microsoft.com/office/drawing/2014/main" id="{FC1B988E-C0A6-9D4B-93FB-E8C6CA5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6" name="Freeform 113">
              <a:extLst>
                <a:ext uri="{FF2B5EF4-FFF2-40B4-BE49-F238E27FC236}">
                  <a16:creationId xmlns:a16="http://schemas.microsoft.com/office/drawing/2014/main" id="{67D4269F-F93B-794A-8CA5-82B841390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7" name="Freeform 114">
              <a:extLst>
                <a:ext uri="{FF2B5EF4-FFF2-40B4-BE49-F238E27FC236}">
                  <a16:creationId xmlns:a16="http://schemas.microsoft.com/office/drawing/2014/main" id="{BE305916-CDED-4E49-B71A-F0CA0BD31A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8" name="Freeform 115">
              <a:extLst>
                <a:ext uri="{FF2B5EF4-FFF2-40B4-BE49-F238E27FC236}">
                  <a16:creationId xmlns:a16="http://schemas.microsoft.com/office/drawing/2014/main" id="{3DEFFB0A-5AC4-A244-B6F5-232B3C026C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59" name="Freeform 116">
              <a:extLst>
                <a:ext uri="{FF2B5EF4-FFF2-40B4-BE49-F238E27FC236}">
                  <a16:creationId xmlns:a16="http://schemas.microsoft.com/office/drawing/2014/main" id="{9719BE69-1474-C346-9978-2368B4204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0" name="Freeform 117">
              <a:extLst>
                <a:ext uri="{FF2B5EF4-FFF2-40B4-BE49-F238E27FC236}">
                  <a16:creationId xmlns:a16="http://schemas.microsoft.com/office/drawing/2014/main" id="{3FCF36D8-8130-234F-81DA-4AFE62EFF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1" name="Freeform 118">
              <a:extLst>
                <a:ext uri="{FF2B5EF4-FFF2-40B4-BE49-F238E27FC236}">
                  <a16:creationId xmlns:a16="http://schemas.microsoft.com/office/drawing/2014/main" id="{A7A7A93E-4E08-6D43-AE96-C50DDBB1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id="{C24E2395-A83B-6D45-A77F-942479A6D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id="{01CCF2F4-9C32-0240-91B6-7D40C4F3B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id="{003AD4A6-6A6C-9045-A937-9E40B663E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id="{065CC282-766C-BD40-84D8-E52529AF9A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id="{E52B7B52-819A-F642-8868-8EF8209DE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id="{F0A1EF68-370A-4A40-A59C-C9E5911B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id="{349C29AA-6BB5-0347-9CBE-E11C73C71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id="{66797A6E-68BB-424A-B8EA-6F94BACD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id="{01F4D92A-BC9E-7D46-A974-76AA6322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id="{9A7D6F85-7BF4-374F-8C7A-818079339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id="{B4F65872-5182-0F4C-AEF0-784E106726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id="{E1EDF4C4-BA0F-B742-8B0F-A82BF485A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4" name="Freeform 131">
              <a:extLst>
                <a:ext uri="{FF2B5EF4-FFF2-40B4-BE49-F238E27FC236}">
                  <a16:creationId xmlns:a16="http://schemas.microsoft.com/office/drawing/2014/main" id="{19161425-1157-584B-A248-6A8FF8898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5" name="Freeform 132">
              <a:extLst>
                <a:ext uri="{FF2B5EF4-FFF2-40B4-BE49-F238E27FC236}">
                  <a16:creationId xmlns:a16="http://schemas.microsoft.com/office/drawing/2014/main" id="{610DA046-25C9-A943-95AE-4838C746B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6" name="Freeform 133">
              <a:extLst>
                <a:ext uri="{FF2B5EF4-FFF2-40B4-BE49-F238E27FC236}">
                  <a16:creationId xmlns:a16="http://schemas.microsoft.com/office/drawing/2014/main" id="{F2AA99A2-589B-0D43-AF20-0D6487909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7" name="Freeform 134">
              <a:extLst>
                <a:ext uri="{FF2B5EF4-FFF2-40B4-BE49-F238E27FC236}">
                  <a16:creationId xmlns:a16="http://schemas.microsoft.com/office/drawing/2014/main" id="{2FFEDFA5-0869-B54D-B52F-2619BCB5D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8" name="Freeform 135">
              <a:extLst>
                <a:ext uri="{FF2B5EF4-FFF2-40B4-BE49-F238E27FC236}">
                  <a16:creationId xmlns:a16="http://schemas.microsoft.com/office/drawing/2014/main" id="{212D9708-67C9-5441-915F-0AE7623C2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79" name="Freeform 136">
              <a:extLst>
                <a:ext uri="{FF2B5EF4-FFF2-40B4-BE49-F238E27FC236}">
                  <a16:creationId xmlns:a16="http://schemas.microsoft.com/office/drawing/2014/main" id="{4D78DF25-AB54-4640-A79B-82DE01DE0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0" name="Freeform 137">
              <a:extLst>
                <a:ext uri="{FF2B5EF4-FFF2-40B4-BE49-F238E27FC236}">
                  <a16:creationId xmlns:a16="http://schemas.microsoft.com/office/drawing/2014/main" id="{3ED037CC-8F6F-7640-AF56-81C47DBD4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1" name="Freeform 138">
              <a:extLst>
                <a:ext uri="{FF2B5EF4-FFF2-40B4-BE49-F238E27FC236}">
                  <a16:creationId xmlns:a16="http://schemas.microsoft.com/office/drawing/2014/main" id="{A21DC0B0-16AB-EF44-9885-99A15307C0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2" name="Freeform 139">
              <a:extLst>
                <a:ext uri="{FF2B5EF4-FFF2-40B4-BE49-F238E27FC236}">
                  <a16:creationId xmlns:a16="http://schemas.microsoft.com/office/drawing/2014/main" id="{EE57F8A7-A6E0-2D47-B23D-0EAA91239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83" name="Freeform 140">
              <a:extLst>
                <a:ext uri="{FF2B5EF4-FFF2-40B4-BE49-F238E27FC236}">
                  <a16:creationId xmlns:a16="http://schemas.microsoft.com/office/drawing/2014/main" id="{8E50837B-BA97-E546-98BE-8134DE6C3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B117F21-4B44-5B41-BC4F-AE7D30BA679F}"/>
              </a:ext>
            </a:extLst>
          </p:cNvPr>
          <p:cNvSpPr/>
          <p:nvPr/>
        </p:nvSpPr>
        <p:spPr>
          <a:xfrm>
            <a:off x="6024562" y="1265238"/>
            <a:ext cx="5832475" cy="507523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8E9E2EE-14E1-2F4E-AC4C-8D6BA77D7731}"/>
              </a:ext>
            </a:extLst>
          </p:cNvPr>
          <p:cNvSpPr txBox="1"/>
          <p:nvPr/>
        </p:nvSpPr>
        <p:spPr>
          <a:xfrm>
            <a:off x="7131204" y="1904881"/>
            <a:ext cx="206216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8CFDEAEF-73FB-A643-86A0-F307AFE391C3}"/>
              </a:ext>
            </a:extLst>
          </p:cNvPr>
          <p:cNvSpPr txBox="1"/>
          <p:nvPr/>
        </p:nvSpPr>
        <p:spPr>
          <a:xfrm>
            <a:off x="8931429" y="1904881"/>
            <a:ext cx="206216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F730BF1A-99CD-E748-8B08-CDD6FF6A6517}"/>
              </a:ext>
            </a:extLst>
          </p:cNvPr>
          <p:cNvSpPr/>
          <p:nvPr/>
        </p:nvSpPr>
        <p:spPr>
          <a:xfrm>
            <a:off x="7132252" y="2847975"/>
            <a:ext cx="9239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X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2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6" name="Прямоугольник 205">
            <a:extLst>
              <a:ext uri="{FF2B5EF4-FFF2-40B4-BE49-F238E27FC236}">
                <a16:creationId xmlns:a16="http://schemas.microsoft.com/office/drawing/2014/main" id="{76C0D84C-B916-8E47-8CC0-E758218C384F}"/>
              </a:ext>
            </a:extLst>
          </p:cNvPr>
          <p:cNvSpPr/>
          <p:nvPr/>
        </p:nvSpPr>
        <p:spPr>
          <a:xfrm>
            <a:off x="8946304" y="2847975"/>
            <a:ext cx="9239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  <a:p>
            <a:pPr>
              <a:spcBef>
                <a:spcPts val="1200"/>
              </a:spcBef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ED63F2A5-83B3-7C44-BE28-A9FDA698EF42}"/>
              </a:ext>
            </a:extLst>
          </p:cNvPr>
          <p:cNvSpPr txBox="1"/>
          <p:nvPr/>
        </p:nvSpPr>
        <p:spPr>
          <a:xfrm>
            <a:off x="6348281" y="5192114"/>
            <a:ext cx="703448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ВСЕГО</a:t>
            </a:r>
          </a:p>
        </p:txBody>
      </p:sp>
      <p:sp>
        <p:nvSpPr>
          <p:cNvPr id="208" name="Прямоугольник 207">
            <a:extLst>
              <a:ext uri="{FF2B5EF4-FFF2-40B4-BE49-F238E27FC236}">
                <a16:creationId xmlns:a16="http://schemas.microsoft.com/office/drawing/2014/main" id="{4F8F8EC7-A77A-C844-B70B-2671DE3F3AEE}"/>
              </a:ext>
            </a:extLst>
          </p:cNvPr>
          <p:cNvSpPr/>
          <p:nvPr/>
        </p:nvSpPr>
        <p:spPr>
          <a:xfrm>
            <a:off x="7140575" y="5192114"/>
            <a:ext cx="923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XX XX</a:t>
            </a: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Х</a:t>
            </a:r>
          </a:p>
        </p:txBody>
      </p:sp>
      <p:sp>
        <p:nvSpPr>
          <p:cNvPr id="209" name="Прямоугольник 208">
            <a:extLst>
              <a:ext uri="{FF2B5EF4-FFF2-40B4-BE49-F238E27FC236}">
                <a16:creationId xmlns:a16="http://schemas.microsoft.com/office/drawing/2014/main" id="{F428B681-6CA6-FA4F-A916-9D0AA0113B88}"/>
              </a:ext>
            </a:extLst>
          </p:cNvPr>
          <p:cNvSpPr/>
          <p:nvPr/>
        </p:nvSpPr>
        <p:spPr>
          <a:xfrm>
            <a:off x="8946127" y="5192114"/>
            <a:ext cx="9239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</a:rPr>
              <a:t>XX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Прямоугольник 209">
            <a:extLst>
              <a:ext uri="{FF2B5EF4-FFF2-40B4-BE49-F238E27FC236}">
                <a16:creationId xmlns:a16="http://schemas.microsoft.com/office/drawing/2014/main" id="{682843F9-07A6-5046-B599-F9BCE243710C}"/>
              </a:ext>
            </a:extLst>
          </p:cNvPr>
          <p:cNvSpPr/>
          <p:nvPr/>
        </p:nvSpPr>
        <p:spPr>
          <a:xfrm>
            <a:off x="8946304" y="5474150"/>
            <a:ext cx="27239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6D085D3-7DFD-AD48-AE4C-ED98AD42E9AD}"/>
              </a:ext>
            </a:extLst>
          </p:cNvPr>
          <p:cNvSpPr txBox="1"/>
          <p:nvPr/>
        </p:nvSpPr>
        <p:spPr>
          <a:xfrm>
            <a:off x="3569652" y="3640138"/>
            <a:ext cx="81432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ый Уренгой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862E7515-9F93-6E44-ADB6-EAC326B2C25D}"/>
              </a:ext>
            </a:extLst>
          </p:cNvPr>
          <p:cNvSpPr txBox="1"/>
          <p:nvPr/>
        </p:nvSpPr>
        <p:spPr>
          <a:xfrm>
            <a:off x="4142966" y="3901396"/>
            <a:ext cx="55463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ктябрьск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7FFF07F1-04A1-4042-8494-1FB4FD53C246}"/>
              </a:ext>
            </a:extLst>
          </p:cNvPr>
          <p:cNvSpPr txBox="1"/>
          <p:nvPr/>
        </p:nvSpPr>
        <p:spPr>
          <a:xfrm>
            <a:off x="3108325" y="4024507"/>
            <a:ext cx="8912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анты-Мансийск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97D9D127-77DC-B641-8857-B1BC25663E90}"/>
              </a:ext>
            </a:extLst>
          </p:cNvPr>
          <p:cNvSpPr txBox="1"/>
          <p:nvPr/>
        </p:nvSpPr>
        <p:spPr>
          <a:xfrm>
            <a:off x="3803129" y="4227869"/>
            <a:ext cx="38953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гион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107D41DB-82E0-CC42-A4A2-8A120914A203}"/>
              </a:ext>
            </a:extLst>
          </p:cNvPr>
          <p:cNvSpPr txBox="1"/>
          <p:nvPr/>
        </p:nvSpPr>
        <p:spPr>
          <a:xfrm>
            <a:off x="4271767" y="4909941"/>
            <a:ext cx="31258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мск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704C944E-5244-1F43-B1F3-77FE24F55545}"/>
              </a:ext>
            </a:extLst>
          </p:cNvPr>
          <p:cNvSpPr txBox="1"/>
          <p:nvPr/>
        </p:nvSpPr>
        <p:spPr>
          <a:xfrm>
            <a:off x="1921187" y="4619753"/>
            <a:ext cx="50654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ренбург</a:t>
            </a:r>
          </a:p>
        </p:txBody>
      </p:sp>
      <p:grpSp>
        <p:nvGrpSpPr>
          <p:cNvPr id="217" name="Группа 216">
            <a:extLst>
              <a:ext uri="{FF2B5EF4-FFF2-40B4-BE49-F238E27FC236}">
                <a16:creationId xmlns:a16="http://schemas.microsoft.com/office/drawing/2014/main" id="{DD0284E9-4589-894B-B5CA-026A4FB4B20D}"/>
              </a:ext>
            </a:extLst>
          </p:cNvPr>
          <p:cNvGrpSpPr>
            <a:grpSpLocks noChangeAspect="1"/>
          </p:cNvGrpSpPr>
          <p:nvPr/>
        </p:nvGrpSpPr>
        <p:grpSpPr>
          <a:xfrm>
            <a:off x="4342453" y="2985874"/>
            <a:ext cx="216000" cy="216000"/>
            <a:chOff x="3908628" y="1116692"/>
            <a:chExt cx="244305" cy="244305"/>
          </a:xfrm>
        </p:grpSpPr>
        <p:sp>
          <p:nvSpPr>
            <p:cNvPr id="218" name="Овал 217">
              <a:extLst>
                <a:ext uri="{FF2B5EF4-FFF2-40B4-BE49-F238E27FC236}">
                  <a16:creationId xmlns:a16="http://schemas.microsoft.com/office/drawing/2014/main" id="{E955FC34-2044-0B44-8200-E600EF28B014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19" name="Овал 218">
              <a:extLst>
                <a:ext uri="{FF2B5EF4-FFF2-40B4-BE49-F238E27FC236}">
                  <a16:creationId xmlns:a16="http://schemas.microsoft.com/office/drawing/2014/main" id="{45EA8497-FB17-FD48-9D19-CD1F0BB97A66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26" name="Группа 225">
            <a:extLst>
              <a:ext uri="{FF2B5EF4-FFF2-40B4-BE49-F238E27FC236}">
                <a16:creationId xmlns:a16="http://schemas.microsoft.com/office/drawing/2014/main" id="{C273CA31-E052-3A48-82F8-82759833AC55}"/>
              </a:ext>
            </a:extLst>
          </p:cNvPr>
          <p:cNvGrpSpPr>
            <a:grpSpLocks noChangeAspect="1"/>
          </p:cNvGrpSpPr>
          <p:nvPr/>
        </p:nvGrpSpPr>
        <p:grpSpPr>
          <a:xfrm>
            <a:off x="4666655" y="3787516"/>
            <a:ext cx="216000" cy="216000"/>
            <a:chOff x="3908628" y="1116692"/>
            <a:chExt cx="244305" cy="244305"/>
          </a:xfrm>
        </p:grpSpPr>
        <p:sp>
          <p:nvSpPr>
            <p:cNvPr id="227" name="Овал 226">
              <a:extLst>
                <a:ext uri="{FF2B5EF4-FFF2-40B4-BE49-F238E27FC236}">
                  <a16:creationId xmlns:a16="http://schemas.microsoft.com/office/drawing/2014/main" id="{F434DE46-3AAF-6745-9EB1-1663D95BE838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8" name="Овал 227">
              <a:extLst>
                <a:ext uri="{FF2B5EF4-FFF2-40B4-BE49-F238E27FC236}">
                  <a16:creationId xmlns:a16="http://schemas.microsoft.com/office/drawing/2014/main" id="{E2B67B7C-B9B2-6C4B-BDF6-6E330F034DA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29" name="Группа 228">
            <a:extLst>
              <a:ext uri="{FF2B5EF4-FFF2-40B4-BE49-F238E27FC236}">
                <a16:creationId xmlns:a16="http://schemas.microsoft.com/office/drawing/2014/main" id="{A1A6C671-F198-DA41-848C-EDFFB7A58D7F}"/>
              </a:ext>
            </a:extLst>
          </p:cNvPr>
          <p:cNvGrpSpPr>
            <a:grpSpLocks noChangeAspect="1"/>
          </p:cNvGrpSpPr>
          <p:nvPr/>
        </p:nvGrpSpPr>
        <p:grpSpPr>
          <a:xfrm>
            <a:off x="4180089" y="4196844"/>
            <a:ext cx="216000" cy="216000"/>
            <a:chOff x="3908628" y="1116692"/>
            <a:chExt cx="244305" cy="244305"/>
          </a:xfrm>
        </p:grpSpPr>
        <p:sp>
          <p:nvSpPr>
            <p:cNvPr id="230" name="Овал 229">
              <a:extLst>
                <a:ext uri="{FF2B5EF4-FFF2-40B4-BE49-F238E27FC236}">
                  <a16:creationId xmlns:a16="http://schemas.microsoft.com/office/drawing/2014/main" id="{30164D00-781B-0A44-9612-47BB0C3478AC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1" name="Овал 230">
              <a:extLst>
                <a:ext uri="{FF2B5EF4-FFF2-40B4-BE49-F238E27FC236}">
                  <a16:creationId xmlns:a16="http://schemas.microsoft.com/office/drawing/2014/main" id="{4EBD9ED3-6484-1145-9DCC-67E630979180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2" name="Группа 231">
            <a:extLst>
              <a:ext uri="{FF2B5EF4-FFF2-40B4-BE49-F238E27FC236}">
                <a16:creationId xmlns:a16="http://schemas.microsoft.com/office/drawing/2014/main" id="{A38FA032-C44F-114C-8724-6CB2BE7FF1DA}"/>
              </a:ext>
            </a:extLst>
          </p:cNvPr>
          <p:cNvGrpSpPr>
            <a:grpSpLocks noChangeAspect="1"/>
          </p:cNvGrpSpPr>
          <p:nvPr/>
        </p:nvGrpSpPr>
        <p:grpSpPr>
          <a:xfrm>
            <a:off x="3907744" y="3962951"/>
            <a:ext cx="216000" cy="216000"/>
            <a:chOff x="3908628" y="1116692"/>
            <a:chExt cx="244305" cy="244305"/>
          </a:xfrm>
        </p:grpSpPr>
        <p:sp>
          <p:nvSpPr>
            <p:cNvPr id="233" name="Овал 232">
              <a:extLst>
                <a:ext uri="{FF2B5EF4-FFF2-40B4-BE49-F238E27FC236}">
                  <a16:creationId xmlns:a16="http://schemas.microsoft.com/office/drawing/2014/main" id="{7A29A442-D4A5-034F-8542-27245B2F2CD4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4" name="Овал 233">
              <a:extLst>
                <a:ext uri="{FF2B5EF4-FFF2-40B4-BE49-F238E27FC236}">
                  <a16:creationId xmlns:a16="http://schemas.microsoft.com/office/drawing/2014/main" id="{11D5C7FC-25A2-6F49-8B32-43768A63374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5" name="Группа 234">
            <a:extLst>
              <a:ext uri="{FF2B5EF4-FFF2-40B4-BE49-F238E27FC236}">
                <a16:creationId xmlns:a16="http://schemas.microsoft.com/office/drawing/2014/main" id="{4B8FAD4F-0A91-DF43-AA46-CE40594AD4CB}"/>
              </a:ext>
            </a:extLst>
          </p:cNvPr>
          <p:cNvGrpSpPr>
            <a:grpSpLocks noChangeAspect="1"/>
          </p:cNvGrpSpPr>
          <p:nvPr/>
        </p:nvGrpSpPr>
        <p:grpSpPr>
          <a:xfrm>
            <a:off x="4738426" y="4405077"/>
            <a:ext cx="216000" cy="216000"/>
            <a:chOff x="3908628" y="1116692"/>
            <a:chExt cx="244305" cy="244305"/>
          </a:xfrm>
        </p:grpSpPr>
        <p:sp>
          <p:nvSpPr>
            <p:cNvPr id="236" name="Овал 235">
              <a:extLst>
                <a:ext uri="{FF2B5EF4-FFF2-40B4-BE49-F238E27FC236}">
                  <a16:creationId xmlns:a16="http://schemas.microsoft.com/office/drawing/2014/main" id="{D56B6CBC-543D-8647-876D-0F0A9922F2D8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37" name="Овал 236">
              <a:extLst>
                <a:ext uri="{FF2B5EF4-FFF2-40B4-BE49-F238E27FC236}">
                  <a16:creationId xmlns:a16="http://schemas.microsoft.com/office/drawing/2014/main" id="{EB1E82D2-06AE-8943-8F50-2245209545F2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38" name="Группа 237">
            <a:extLst>
              <a:ext uri="{FF2B5EF4-FFF2-40B4-BE49-F238E27FC236}">
                <a16:creationId xmlns:a16="http://schemas.microsoft.com/office/drawing/2014/main" id="{64C7D399-CB44-3740-9B04-9682AFC9A0CC}"/>
              </a:ext>
            </a:extLst>
          </p:cNvPr>
          <p:cNvGrpSpPr>
            <a:grpSpLocks noChangeAspect="1"/>
          </p:cNvGrpSpPr>
          <p:nvPr/>
        </p:nvGrpSpPr>
        <p:grpSpPr>
          <a:xfrm>
            <a:off x="4623472" y="4863496"/>
            <a:ext cx="216000" cy="216000"/>
            <a:chOff x="3908628" y="1116692"/>
            <a:chExt cx="244305" cy="244305"/>
          </a:xfrm>
        </p:grpSpPr>
        <p:sp>
          <p:nvSpPr>
            <p:cNvPr id="239" name="Овал 238">
              <a:extLst>
                <a:ext uri="{FF2B5EF4-FFF2-40B4-BE49-F238E27FC236}">
                  <a16:creationId xmlns:a16="http://schemas.microsoft.com/office/drawing/2014/main" id="{3146A7BC-116D-A644-B221-B7A5F02CE692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0" name="Овал 239">
              <a:extLst>
                <a:ext uri="{FF2B5EF4-FFF2-40B4-BE49-F238E27FC236}">
                  <a16:creationId xmlns:a16="http://schemas.microsoft.com/office/drawing/2014/main" id="{4C95CE21-C004-674F-A187-D3B8A4FDE05A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41" name="Группа 240">
            <a:extLst>
              <a:ext uri="{FF2B5EF4-FFF2-40B4-BE49-F238E27FC236}">
                <a16:creationId xmlns:a16="http://schemas.microsoft.com/office/drawing/2014/main" id="{97ACE8D8-FEC5-DE4F-9246-C0A0CD70A422}"/>
              </a:ext>
            </a:extLst>
          </p:cNvPr>
          <p:cNvGrpSpPr>
            <a:grpSpLocks noChangeAspect="1"/>
          </p:cNvGrpSpPr>
          <p:nvPr/>
        </p:nvGrpSpPr>
        <p:grpSpPr>
          <a:xfrm>
            <a:off x="2392112" y="4597437"/>
            <a:ext cx="216000" cy="216000"/>
            <a:chOff x="3908628" y="1116692"/>
            <a:chExt cx="244305" cy="244305"/>
          </a:xfrm>
        </p:grpSpPr>
        <p:sp>
          <p:nvSpPr>
            <p:cNvPr id="251" name="Овал 250">
              <a:extLst>
                <a:ext uri="{FF2B5EF4-FFF2-40B4-BE49-F238E27FC236}">
                  <a16:creationId xmlns:a16="http://schemas.microsoft.com/office/drawing/2014/main" id="{935264B4-151C-DF42-A70F-B05C38BC8CDC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2" name="Овал 251">
              <a:extLst>
                <a:ext uri="{FF2B5EF4-FFF2-40B4-BE49-F238E27FC236}">
                  <a16:creationId xmlns:a16="http://schemas.microsoft.com/office/drawing/2014/main" id="{B7357362-24D8-C34A-B541-8F6D1D6AC1A3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54" name="Группа 253">
            <a:extLst>
              <a:ext uri="{FF2B5EF4-FFF2-40B4-BE49-F238E27FC236}">
                <a16:creationId xmlns:a16="http://schemas.microsoft.com/office/drawing/2014/main" id="{BBE84CD3-6345-6844-94B0-AEFCF989BE0D}"/>
              </a:ext>
            </a:extLst>
          </p:cNvPr>
          <p:cNvGrpSpPr>
            <a:grpSpLocks noChangeAspect="1"/>
          </p:cNvGrpSpPr>
          <p:nvPr/>
        </p:nvGrpSpPr>
        <p:grpSpPr>
          <a:xfrm>
            <a:off x="4289284" y="3591574"/>
            <a:ext cx="216000" cy="216000"/>
            <a:chOff x="3908628" y="1116692"/>
            <a:chExt cx="244305" cy="244305"/>
          </a:xfrm>
        </p:grpSpPr>
        <p:sp>
          <p:nvSpPr>
            <p:cNvPr id="275" name="Овал 274">
              <a:extLst>
                <a:ext uri="{FF2B5EF4-FFF2-40B4-BE49-F238E27FC236}">
                  <a16:creationId xmlns:a16="http://schemas.microsoft.com/office/drawing/2014/main" id="{EDDEE0C2-E525-A24E-AAD9-944DFF65C1DA}"/>
                </a:ext>
              </a:extLst>
            </p:cNvPr>
            <p:cNvSpPr/>
            <p:nvPr/>
          </p:nvSpPr>
          <p:spPr>
            <a:xfrm>
              <a:off x="3908628" y="1116692"/>
              <a:ext cx="244305" cy="244305"/>
            </a:xfrm>
            <a:prstGeom prst="ellipse">
              <a:avLst/>
            </a:prstGeom>
            <a:solidFill>
              <a:srgbClr val="E65907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7" name="Овал 276">
              <a:extLst>
                <a:ext uri="{FF2B5EF4-FFF2-40B4-BE49-F238E27FC236}">
                  <a16:creationId xmlns:a16="http://schemas.microsoft.com/office/drawing/2014/main" id="{6715A65C-030F-F449-BC1F-1495D16160EA}"/>
                </a:ext>
              </a:extLst>
            </p:cNvPr>
            <p:cNvSpPr/>
            <p:nvPr/>
          </p:nvSpPr>
          <p:spPr>
            <a:xfrm>
              <a:off x="3991033" y="1199096"/>
              <a:ext cx="79497" cy="79497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278" name="TextBox 277">
            <a:extLst>
              <a:ext uri="{FF2B5EF4-FFF2-40B4-BE49-F238E27FC236}">
                <a16:creationId xmlns:a16="http://schemas.microsoft.com/office/drawing/2014/main" id="{E832DE72-7605-1945-8296-F50BC342E759}"/>
              </a:ext>
            </a:extLst>
          </p:cNvPr>
          <p:cNvSpPr txBox="1"/>
          <p:nvPr/>
        </p:nvSpPr>
        <p:spPr>
          <a:xfrm>
            <a:off x="3861910" y="3001610"/>
            <a:ext cx="51296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800" dirty="0" err="1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арандей</a:t>
            </a:r>
            <a:endParaRPr lang="ru-RU" sz="800" dirty="0">
              <a:solidFill>
                <a:schemeClr val="tx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9" name="Полилиния 278">
            <a:extLst>
              <a:ext uri="{FF2B5EF4-FFF2-40B4-BE49-F238E27FC236}">
                <a16:creationId xmlns:a16="http://schemas.microsoft.com/office/drawing/2014/main" id="{F0F1A123-C9D7-D545-8367-E08887CE7FFD}"/>
              </a:ext>
            </a:extLst>
          </p:cNvPr>
          <p:cNvSpPr/>
          <p:nvPr/>
        </p:nvSpPr>
        <p:spPr>
          <a:xfrm>
            <a:off x="4609570" y="2919534"/>
            <a:ext cx="2417604" cy="184716"/>
          </a:xfrm>
          <a:custGeom>
            <a:avLst/>
            <a:gdLst>
              <a:gd name="connsiteX0" fmla="*/ 0 w 3078866"/>
              <a:gd name="connsiteY0" fmla="*/ 289367 h 289367"/>
              <a:gd name="connsiteX1" fmla="*/ 2106593 w 3078866"/>
              <a:gd name="connsiteY1" fmla="*/ 289367 h 289367"/>
              <a:gd name="connsiteX2" fmla="*/ 2395960 w 3078866"/>
              <a:gd name="connsiteY2" fmla="*/ 0 h 289367"/>
              <a:gd name="connsiteX3" fmla="*/ 3078866 w 3078866"/>
              <a:gd name="connsiteY3" fmla="*/ 0 h 289367"/>
              <a:gd name="connsiteX0" fmla="*/ 0 w 3078866"/>
              <a:gd name="connsiteY0" fmla="*/ 289367 h 298769"/>
              <a:gd name="connsiteX1" fmla="*/ 2045611 w 3078866"/>
              <a:gd name="connsiteY1" fmla="*/ 298769 h 298769"/>
              <a:gd name="connsiteX2" fmla="*/ 2395960 w 3078866"/>
              <a:gd name="connsiteY2" fmla="*/ 0 h 298769"/>
              <a:gd name="connsiteX3" fmla="*/ 3078866 w 3078866"/>
              <a:gd name="connsiteY3" fmla="*/ 0 h 29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8866" h="298769">
                <a:moveTo>
                  <a:pt x="0" y="289367"/>
                </a:moveTo>
                <a:lnTo>
                  <a:pt x="2045611" y="298769"/>
                </a:lnTo>
                <a:lnTo>
                  <a:pt x="2395960" y="0"/>
                </a:lnTo>
                <a:lnTo>
                  <a:pt x="3078866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E65907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0" name="Полилиния 279">
            <a:extLst>
              <a:ext uri="{FF2B5EF4-FFF2-40B4-BE49-F238E27FC236}">
                <a16:creationId xmlns:a16="http://schemas.microsoft.com/office/drawing/2014/main" id="{F2176D82-7FA8-BB45-B604-9AEEC281B8B2}"/>
              </a:ext>
            </a:extLst>
          </p:cNvPr>
          <p:cNvSpPr/>
          <p:nvPr/>
        </p:nvSpPr>
        <p:spPr>
          <a:xfrm>
            <a:off x="4609570" y="3271231"/>
            <a:ext cx="2417604" cy="426804"/>
          </a:xfrm>
          <a:custGeom>
            <a:avLst/>
            <a:gdLst>
              <a:gd name="connsiteX0" fmla="*/ 0 w 1620456"/>
              <a:gd name="connsiteY0" fmla="*/ 763929 h 763929"/>
              <a:gd name="connsiteX1" fmla="*/ 312517 w 1620456"/>
              <a:gd name="connsiteY1" fmla="*/ 763929 h 763929"/>
              <a:gd name="connsiteX2" fmla="*/ 1076446 w 1620456"/>
              <a:gd name="connsiteY2" fmla="*/ 0 h 763929"/>
              <a:gd name="connsiteX3" fmla="*/ 1620456 w 1620456"/>
              <a:gd name="connsiteY3" fmla="*/ 0 h 763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20456" h="763929">
                <a:moveTo>
                  <a:pt x="0" y="763929"/>
                </a:moveTo>
                <a:lnTo>
                  <a:pt x="312517" y="763929"/>
                </a:lnTo>
                <a:lnTo>
                  <a:pt x="1076446" y="0"/>
                </a:lnTo>
                <a:lnTo>
                  <a:pt x="1620456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1" name="Полилиния 280">
            <a:extLst>
              <a:ext uri="{FF2B5EF4-FFF2-40B4-BE49-F238E27FC236}">
                <a16:creationId xmlns:a16="http://schemas.microsoft.com/office/drawing/2014/main" id="{65B5F9F4-50C4-3A49-B37A-300A401A2506}"/>
              </a:ext>
            </a:extLst>
          </p:cNvPr>
          <p:cNvSpPr/>
          <p:nvPr/>
        </p:nvSpPr>
        <p:spPr>
          <a:xfrm>
            <a:off x="4952053" y="3602706"/>
            <a:ext cx="2075121" cy="295025"/>
          </a:xfrm>
          <a:custGeom>
            <a:avLst/>
            <a:gdLst>
              <a:gd name="connsiteX0" fmla="*/ 0 w 1912883"/>
              <a:gd name="connsiteY0" fmla="*/ 567559 h 567559"/>
              <a:gd name="connsiteX1" fmla="*/ 746234 w 1912883"/>
              <a:gd name="connsiteY1" fmla="*/ 567559 h 567559"/>
              <a:gd name="connsiteX2" fmla="*/ 1313793 w 1912883"/>
              <a:gd name="connsiteY2" fmla="*/ 0 h 567559"/>
              <a:gd name="connsiteX3" fmla="*/ 1912883 w 1912883"/>
              <a:gd name="connsiteY3" fmla="*/ 0 h 567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12883" h="567559">
                <a:moveTo>
                  <a:pt x="0" y="567559"/>
                </a:moveTo>
                <a:lnTo>
                  <a:pt x="746234" y="567559"/>
                </a:lnTo>
                <a:lnTo>
                  <a:pt x="1313793" y="0"/>
                </a:lnTo>
                <a:lnTo>
                  <a:pt x="1912883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2" name="Полилиния 281">
            <a:extLst>
              <a:ext uri="{FF2B5EF4-FFF2-40B4-BE49-F238E27FC236}">
                <a16:creationId xmlns:a16="http://schemas.microsoft.com/office/drawing/2014/main" id="{35935441-DA12-4649-8F39-7822E3529B64}"/>
              </a:ext>
            </a:extLst>
          </p:cNvPr>
          <p:cNvSpPr/>
          <p:nvPr/>
        </p:nvSpPr>
        <p:spPr>
          <a:xfrm>
            <a:off x="4183379" y="3936896"/>
            <a:ext cx="2843795" cy="147881"/>
          </a:xfrm>
          <a:custGeom>
            <a:avLst/>
            <a:gdLst>
              <a:gd name="connsiteX0" fmla="*/ 0 w 2701159"/>
              <a:gd name="connsiteY0" fmla="*/ 346842 h 346842"/>
              <a:gd name="connsiteX1" fmla="*/ 1671145 w 2701159"/>
              <a:gd name="connsiteY1" fmla="*/ 346842 h 346842"/>
              <a:gd name="connsiteX2" fmla="*/ 2017987 w 2701159"/>
              <a:gd name="connsiteY2" fmla="*/ 0 h 346842"/>
              <a:gd name="connsiteX3" fmla="*/ 2701159 w 2701159"/>
              <a:gd name="connsiteY3" fmla="*/ 0 h 346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1159" h="346842">
                <a:moveTo>
                  <a:pt x="0" y="346842"/>
                </a:moveTo>
                <a:lnTo>
                  <a:pt x="1671145" y="346842"/>
                </a:lnTo>
                <a:lnTo>
                  <a:pt x="2017987" y="0"/>
                </a:lnTo>
                <a:lnTo>
                  <a:pt x="2701159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3" name="Полилиния 282">
            <a:extLst>
              <a:ext uri="{FF2B5EF4-FFF2-40B4-BE49-F238E27FC236}">
                <a16:creationId xmlns:a16="http://schemas.microsoft.com/office/drawing/2014/main" id="{B09BADB4-D0A2-134A-A75B-BC3E64C4AD61}"/>
              </a:ext>
            </a:extLst>
          </p:cNvPr>
          <p:cNvSpPr/>
          <p:nvPr/>
        </p:nvSpPr>
        <p:spPr>
          <a:xfrm>
            <a:off x="5003074" y="4281207"/>
            <a:ext cx="2024100" cy="249475"/>
          </a:xfrm>
          <a:custGeom>
            <a:avLst/>
            <a:gdLst>
              <a:gd name="connsiteX0" fmla="*/ 0 w 2217683"/>
              <a:gd name="connsiteY0" fmla="*/ 220718 h 220718"/>
              <a:gd name="connsiteX1" fmla="*/ 1313794 w 2217683"/>
              <a:gd name="connsiteY1" fmla="*/ 220718 h 220718"/>
              <a:gd name="connsiteX2" fmla="*/ 1534512 w 2217683"/>
              <a:gd name="connsiteY2" fmla="*/ 0 h 220718"/>
              <a:gd name="connsiteX3" fmla="*/ 2217683 w 2217683"/>
              <a:gd name="connsiteY3" fmla="*/ 0 h 220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17683" h="220718">
                <a:moveTo>
                  <a:pt x="0" y="220718"/>
                </a:moveTo>
                <a:lnTo>
                  <a:pt x="1313794" y="220718"/>
                </a:lnTo>
                <a:lnTo>
                  <a:pt x="1534512" y="0"/>
                </a:lnTo>
                <a:lnTo>
                  <a:pt x="2217683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4" name="Полилиния 283">
            <a:extLst>
              <a:ext uri="{FF2B5EF4-FFF2-40B4-BE49-F238E27FC236}">
                <a16:creationId xmlns:a16="http://schemas.microsoft.com/office/drawing/2014/main" id="{BB6E1163-73CD-1141-B6ED-394BF6663A74}"/>
              </a:ext>
            </a:extLst>
          </p:cNvPr>
          <p:cNvSpPr/>
          <p:nvPr/>
        </p:nvSpPr>
        <p:spPr>
          <a:xfrm>
            <a:off x="2660651" y="4612238"/>
            <a:ext cx="4366523" cy="93199"/>
          </a:xfrm>
          <a:custGeom>
            <a:avLst/>
            <a:gdLst>
              <a:gd name="connsiteX0" fmla="*/ 0 w 4193627"/>
              <a:gd name="connsiteY0" fmla="*/ 241738 h 241738"/>
              <a:gd name="connsiteX1" fmla="*/ 3499944 w 4193627"/>
              <a:gd name="connsiteY1" fmla="*/ 241738 h 241738"/>
              <a:gd name="connsiteX2" fmla="*/ 3741682 w 4193627"/>
              <a:gd name="connsiteY2" fmla="*/ 0 h 241738"/>
              <a:gd name="connsiteX3" fmla="*/ 4193627 w 4193627"/>
              <a:gd name="connsiteY3" fmla="*/ 0 h 241738"/>
              <a:gd name="connsiteX0" fmla="*/ 0 w 4193627"/>
              <a:gd name="connsiteY0" fmla="*/ 241738 h 241738"/>
              <a:gd name="connsiteX1" fmla="*/ 3573517 w 4193627"/>
              <a:gd name="connsiteY1" fmla="*/ 227984 h 241738"/>
              <a:gd name="connsiteX2" fmla="*/ 3741682 w 4193627"/>
              <a:gd name="connsiteY2" fmla="*/ 0 h 241738"/>
              <a:gd name="connsiteX3" fmla="*/ 4193627 w 4193627"/>
              <a:gd name="connsiteY3" fmla="*/ 0 h 241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93627" h="241738">
                <a:moveTo>
                  <a:pt x="0" y="241738"/>
                </a:moveTo>
                <a:lnTo>
                  <a:pt x="3573517" y="227984"/>
                </a:lnTo>
                <a:lnTo>
                  <a:pt x="3741682" y="0"/>
                </a:lnTo>
                <a:lnTo>
                  <a:pt x="4193627" y="0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5" name="Полилиния 284">
            <a:extLst>
              <a:ext uri="{FF2B5EF4-FFF2-40B4-BE49-F238E27FC236}">
                <a16:creationId xmlns:a16="http://schemas.microsoft.com/office/drawing/2014/main" id="{A607C75D-F4F1-7547-8578-EBD2D91EE754}"/>
              </a:ext>
            </a:extLst>
          </p:cNvPr>
          <p:cNvSpPr/>
          <p:nvPr/>
        </p:nvSpPr>
        <p:spPr>
          <a:xfrm flipV="1">
            <a:off x="4908526" y="4924293"/>
            <a:ext cx="2126529" cy="45719"/>
          </a:xfrm>
          <a:custGeom>
            <a:avLst/>
            <a:gdLst>
              <a:gd name="connsiteX0" fmla="*/ 136635 w 1944414"/>
              <a:gd name="connsiteY0" fmla="*/ 0 h 546538"/>
              <a:gd name="connsiteX1" fmla="*/ 0 w 1944414"/>
              <a:gd name="connsiteY1" fmla="*/ 483476 h 546538"/>
              <a:gd name="connsiteX2" fmla="*/ 1261242 w 1944414"/>
              <a:gd name="connsiteY2" fmla="*/ 483476 h 546538"/>
              <a:gd name="connsiteX3" fmla="*/ 1324304 w 1944414"/>
              <a:gd name="connsiteY3" fmla="*/ 546538 h 546538"/>
              <a:gd name="connsiteX4" fmla="*/ 1944414 w 1944414"/>
              <a:gd name="connsiteY4" fmla="*/ 546538 h 546538"/>
              <a:gd name="connsiteX0" fmla="*/ 0 w 1944414"/>
              <a:gd name="connsiteY0" fmla="*/ 0 h 63062"/>
              <a:gd name="connsiteX1" fmla="*/ 1261242 w 1944414"/>
              <a:gd name="connsiteY1" fmla="*/ 0 h 63062"/>
              <a:gd name="connsiteX2" fmla="*/ 1324304 w 1944414"/>
              <a:gd name="connsiteY2" fmla="*/ 63062 h 63062"/>
              <a:gd name="connsiteX3" fmla="*/ 1944414 w 1944414"/>
              <a:gd name="connsiteY3" fmla="*/ 63062 h 63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44414" h="63062">
                <a:moveTo>
                  <a:pt x="0" y="0"/>
                </a:moveTo>
                <a:lnTo>
                  <a:pt x="1261242" y="0"/>
                </a:lnTo>
                <a:lnTo>
                  <a:pt x="1324304" y="63062"/>
                </a:lnTo>
                <a:lnTo>
                  <a:pt x="1944414" y="63062"/>
                </a:lnTo>
              </a:path>
            </a:pathLst>
          </a:custGeom>
          <a:noFill/>
          <a:ln w="12700" cap="rnd">
            <a:solidFill>
              <a:srgbClr val="E65907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AC438C-0127-DBA0-0564-828D62621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534655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" name="russia">
            <a:extLst>
              <a:ext uri="{FF2B5EF4-FFF2-40B4-BE49-F238E27FC236}">
                <a16:creationId xmlns:a16="http://schemas.microsoft.com/office/drawing/2014/main" id="{C968EE0C-4274-E344-BEE1-30DBAA5A51D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58110" y="850595"/>
            <a:ext cx="8609083" cy="4654294"/>
            <a:chOff x="676" y="1203"/>
            <a:chExt cx="3803" cy="2056"/>
          </a:xfrm>
          <a:solidFill>
            <a:srgbClr val="CCCCCC"/>
          </a:solidFill>
        </p:grpSpPr>
        <p:sp>
          <p:nvSpPr>
            <p:cNvPr id="193" name="Freeform 5">
              <a:extLst>
                <a:ext uri="{FF2B5EF4-FFF2-40B4-BE49-F238E27FC236}">
                  <a16:creationId xmlns:a16="http://schemas.microsoft.com/office/drawing/2014/main" id="{6E0145F7-30A8-C94A-A94A-4FA5B74F2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4" name="Freeform 6">
              <a:extLst>
                <a:ext uri="{FF2B5EF4-FFF2-40B4-BE49-F238E27FC236}">
                  <a16:creationId xmlns:a16="http://schemas.microsoft.com/office/drawing/2014/main" id="{B8AC9297-BF8C-184F-B41F-1F2631201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5" name="Freeform 7">
              <a:extLst>
                <a:ext uri="{FF2B5EF4-FFF2-40B4-BE49-F238E27FC236}">
                  <a16:creationId xmlns:a16="http://schemas.microsoft.com/office/drawing/2014/main" id="{432DC8E2-0BB2-7941-BCDC-A229C950A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6" name="Freeform 8">
              <a:extLst>
                <a:ext uri="{FF2B5EF4-FFF2-40B4-BE49-F238E27FC236}">
                  <a16:creationId xmlns:a16="http://schemas.microsoft.com/office/drawing/2014/main" id="{02D7DC3E-AB05-BA4C-A25C-70B8BB032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7" name="Freeform 9">
              <a:extLst>
                <a:ext uri="{FF2B5EF4-FFF2-40B4-BE49-F238E27FC236}">
                  <a16:creationId xmlns:a16="http://schemas.microsoft.com/office/drawing/2014/main" id="{5569F55F-9C04-F545-9741-F3CC4CA57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8" name="Freeform 10">
              <a:extLst>
                <a:ext uri="{FF2B5EF4-FFF2-40B4-BE49-F238E27FC236}">
                  <a16:creationId xmlns:a16="http://schemas.microsoft.com/office/drawing/2014/main" id="{DD93AC9F-A0DB-394C-8AF6-B46849984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99" name="Freeform 11">
              <a:extLst>
                <a:ext uri="{FF2B5EF4-FFF2-40B4-BE49-F238E27FC236}">
                  <a16:creationId xmlns:a16="http://schemas.microsoft.com/office/drawing/2014/main" id="{8FD569C3-1C0E-8041-857E-88030C7A5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2" name="Freeform 12">
              <a:extLst>
                <a:ext uri="{FF2B5EF4-FFF2-40B4-BE49-F238E27FC236}">
                  <a16:creationId xmlns:a16="http://schemas.microsoft.com/office/drawing/2014/main" id="{4D008FE5-BC1B-C04E-AAB6-F76EBEBC3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3" name="Freeform 13">
              <a:extLst>
                <a:ext uri="{FF2B5EF4-FFF2-40B4-BE49-F238E27FC236}">
                  <a16:creationId xmlns:a16="http://schemas.microsoft.com/office/drawing/2014/main" id="{6DEBF934-AD76-0E44-802F-5A9BFF1F5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04" name="Freeform 14">
              <a:extLst>
                <a:ext uri="{FF2B5EF4-FFF2-40B4-BE49-F238E27FC236}">
                  <a16:creationId xmlns:a16="http://schemas.microsoft.com/office/drawing/2014/main" id="{2FA36D08-6C7A-2F47-8EAF-A9DEB2D15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0" name="Freeform 15">
              <a:extLst>
                <a:ext uri="{FF2B5EF4-FFF2-40B4-BE49-F238E27FC236}">
                  <a16:creationId xmlns:a16="http://schemas.microsoft.com/office/drawing/2014/main" id="{AF0D2F3B-2BF1-4D41-AD3D-888C14239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1" name="Freeform 16">
              <a:extLst>
                <a:ext uri="{FF2B5EF4-FFF2-40B4-BE49-F238E27FC236}">
                  <a16:creationId xmlns:a16="http://schemas.microsoft.com/office/drawing/2014/main" id="{CE650A01-AD70-7A41-9B00-FA1F1963C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2" name="Freeform 17">
              <a:extLst>
                <a:ext uri="{FF2B5EF4-FFF2-40B4-BE49-F238E27FC236}">
                  <a16:creationId xmlns:a16="http://schemas.microsoft.com/office/drawing/2014/main" id="{03D53FDC-C5D9-4D4B-8C16-F9AF60488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3" name="Freeform 18">
              <a:extLst>
                <a:ext uri="{FF2B5EF4-FFF2-40B4-BE49-F238E27FC236}">
                  <a16:creationId xmlns:a16="http://schemas.microsoft.com/office/drawing/2014/main" id="{8B137FAE-0CDF-E248-B56E-623D04E99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4" name="Freeform 19">
              <a:extLst>
                <a:ext uri="{FF2B5EF4-FFF2-40B4-BE49-F238E27FC236}">
                  <a16:creationId xmlns:a16="http://schemas.microsoft.com/office/drawing/2014/main" id="{6D8E346A-5952-BF42-B087-B2120BDEF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25" name="Freeform 20">
              <a:extLst>
                <a:ext uri="{FF2B5EF4-FFF2-40B4-BE49-F238E27FC236}">
                  <a16:creationId xmlns:a16="http://schemas.microsoft.com/office/drawing/2014/main" id="{281DD68B-63B3-0B43-9400-1D6179404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2" name="Freeform 21">
              <a:extLst>
                <a:ext uri="{FF2B5EF4-FFF2-40B4-BE49-F238E27FC236}">
                  <a16:creationId xmlns:a16="http://schemas.microsoft.com/office/drawing/2014/main" id="{5D9DCE60-8E30-254B-924D-EBB76A8CF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3" name="Freeform 22">
              <a:extLst>
                <a:ext uri="{FF2B5EF4-FFF2-40B4-BE49-F238E27FC236}">
                  <a16:creationId xmlns:a16="http://schemas.microsoft.com/office/drawing/2014/main" id="{45D49358-9F34-2D49-92C8-6C54EDE72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4" name="Freeform 23">
              <a:extLst>
                <a:ext uri="{FF2B5EF4-FFF2-40B4-BE49-F238E27FC236}">
                  <a16:creationId xmlns:a16="http://schemas.microsoft.com/office/drawing/2014/main" id="{8E85916C-84AB-334E-86A1-D22B81BAA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5" name="Freeform 24">
              <a:extLst>
                <a:ext uri="{FF2B5EF4-FFF2-40B4-BE49-F238E27FC236}">
                  <a16:creationId xmlns:a16="http://schemas.microsoft.com/office/drawing/2014/main" id="{E83B2CC4-EFDB-AF4A-AF04-D2B0E2FA7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6" name="Freeform 25">
              <a:extLst>
                <a:ext uri="{FF2B5EF4-FFF2-40B4-BE49-F238E27FC236}">
                  <a16:creationId xmlns:a16="http://schemas.microsoft.com/office/drawing/2014/main" id="{05C03049-3BBA-8A4F-8C8A-253B3F60E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7" name="Freeform 26">
              <a:extLst>
                <a:ext uri="{FF2B5EF4-FFF2-40B4-BE49-F238E27FC236}">
                  <a16:creationId xmlns:a16="http://schemas.microsoft.com/office/drawing/2014/main" id="{46EFB18D-FFC5-8E41-ADF9-E7019D6FA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8" name="Freeform 27">
              <a:extLst>
                <a:ext uri="{FF2B5EF4-FFF2-40B4-BE49-F238E27FC236}">
                  <a16:creationId xmlns:a16="http://schemas.microsoft.com/office/drawing/2014/main" id="{BBEF37DE-4D60-B645-945E-D5DB59BCB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49" name="Freeform 28">
              <a:extLst>
                <a:ext uri="{FF2B5EF4-FFF2-40B4-BE49-F238E27FC236}">
                  <a16:creationId xmlns:a16="http://schemas.microsoft.com/office/drawing/2014/main" id="{6F6D4B6E-4539-A247-BA66-D6507F88B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0" name="Freeform 29">
              <a:extLst>
                <a:ext uri="{FF2B5EF4-FFF2-40B4-BE49-F238E27FC236}">
                  <a16:creationId xmlns:a16="http://schemas.microsoft.com/office/drawing/2014/main" id="{3B37A107-DE7D-AA4B-97AC-1DF5A04A6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3" name="Freeform 30">
              <a:extLst>
                <a:ext uri="{FF2B5EF4-FFF2-40B4-BE49-F238E27FC236}">
                  <a16:creationId xmlns:a16="http://schemas.microsoft.com/office/drawing/2014/main" id="{01A85729-67D9-6B4A-9DDE-629C3926E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5" name="Freeform 31">
              <a:extLst>
                <a:ext uri="{FF2B5EF4-FFF2-40B4-BE49-F238E27FC236}">
                  <a16:creationId xmlns:a16="http://schemas.microsoft.com/office/drawing/2014/main" id="{510A6BAB-4A56-8345-877B-5E095AC6E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6" name="Freeform 32">
              <a:extLst>
                <a:ext uri="{FF2B5EF4-FFF2-40B4-BE49-F238E27FC236}">
                  <a16:creationId xmlns:a16="http://schemas.microsoft.com/office/drawing/2014/main" id="{EEC2EAE7-7A71-9C4F-A075-AF51ABE59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7" name="Freeform 33">
              <a:extLst>
                <a:ext uri="{FF2B5EF4-FFF2-40B4-BE49-F238E27FC236}">
                  <a16:creationId xmlns:a16="http://schemas.microsoft.com/office/drawing/2014/main" id="{925EEA6F-297D-6D41-9D51-E8A0B5D620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8" name="Freeform 34">
              <a:extLst>
                <a:ext uri="{FF2B5EF4-FFF2-40B4-BE49-F238E27FC236}">
                  <a16:creationId xmlns:a16="http://schemas.microsoft.com/office/drawing/2014/main" id="{2E18404D-D498-AB40-8901-0D8FCA4841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59" name="Freeform 35">
              <a:extLst>
                <a:ext uri="{FF2B5EF4-FFF2-40B4-BE49-F238E27FC236}">
                  <a16:creationId xmlns:a16="http://schemas.microsoft.com/office/drawing/2014/main" id="{BBE5F5F6-CA1C-B14A-B23F-3A59B362E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0" name="Freeform 36">
              <a:extLst>
                <a:ext uri="{FF2B5EF4-FFF2-40B4-BE49-F238E27FC236}">
                  <a16:creationId xmlns:a16="http://schemas.microsoft.com/office/drawing/2014/main" id="{0D4622A4-C5B0-5F41-8083-367C2E081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1" name="Freeform 37">
              <a:extLst>
                <a:ext uri="{FF2B5EF4-FFF2-40B4-BE49-F238E27FC236}">
                  <a16:creationId xmlns:a16="http://schemas.microsoft.com/office/drawing/2014/main" id="{AEEF92CD-614C-574E-8397-19B86E431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2" name="Freeform 38">
              <a:extLst>
                <a:ext uri="{FF2B5EF4-FFF2-40B4-BE49-F238E27FC236}">
                  <a16:creationId xmlns:a16="http://schemas.microsoft.com/office/drawing/2014/main" id="{BEAAF658-DF7E-8442-8ED4-7E37E4564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3" name="Freeform 39">
              <a:extLst>
                <a:ext uri="{FF2B5EF4-FFF2-40B4-BE49-F238E27FC236}">
                  <a16:creationId xmlns:a16="http://schemas.microsoft.com/office/drawing/2014/main" id="{72431882-985A-2049-90BC-04C45794C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4" name="Freeform 40">
              <a:extLst>
                <a:ext uri="{FF2B5EF4-FFF2-40B4-BE49-F238E27FC236}">
                  <a16:creationId xmlns:a16="http://schemas.microsoft.com/office/drawing/2014/main" id="{7DF8C6BC-5C74-3840-991A-1E50A99E2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5" name="Freeform 41">
              <a:extLst>
                <a:ext uri="{FF2B5EF4-FFF2-40B4-BE49-F238E27FC236}">
                  <a16:creationId xmlns:a16="http://schemas.microsoft.com/office/drawing/2014/main" id="{FE37C365-1336-2D40-992F-5261FC261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6" name="Freeform 42">
              <a:extLst>
                <a:ext uri="{FF2B5EF4-FFF2-40B4-BE49-F238E27FC236}">
                  <a16:creationId xmlns:a16="http://schemas.microsoft.com/office/drawing/2014/main" id="{B3397F49-BC0F-5F45-9B70-2C2F302247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7" name="Freeform 43">
              <a:extLst>
                <a:ext uri="{FF2B5EF4-FFF2-40B4-BE49-F238E27FC236}">
                  <a16:creationId xmlns:a16="http://schemas.microsoft.com/office/drawing/2014/main" id="{C8C5AEB5-744E-A04C-BD9E-5D1499E61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8" name="Freeform 44">
              <a:extLst>
                <a:ext uri="{FF2B5EF4-FFF2-40B4-BE49-F238E27FC236}">
                  <a16:creationId xmlns:a16="http://schemas.microsoft.com/office/drawing/2014/main" id="{7297E16D-26FA-4B40-B3EC-DB1FC7A86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69" name="Freeform 45">
              <a:extLst>
                <a:ext uri="{FF2B5EF4-FFF2-40B4-BE49-F238E27FC236}">
                  <a16:creationId xmlns:a16="http://schemas.microsoft.com/office/drawing/2014/main" id="{3B4368EB-23E2-5C44-A9B8-9B695633D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0" name="Freeform 46">
              <a:extLst>
                <a:ext uri="{FF2B5EF4-FFF2-40B4-BE49-F238E27FC236}">
                  <a16:creationId xmlns:a16="http://schemas.microsoft.com/office/drawing/2014/main" id="{C35E59C6-0E51-C440-BB89-6A0D3F372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Freeform 47">
              <a:extLst>
                <a:ext uri="{FF2B5EF4-FFF2-40B4-BE49-F238E27FC236}">
                  <a16:creationId xmlns:a16="http://schemas.microsoft.com/office/drawing/2014/main" id="{C4D06934-1F9C-2949-BA68-3EB40569A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Freeform 48">
              <a:extLst>
                <a:ext uri="{FF2B5EF4-FFF2-40B4-BE49-F238E27FC236}">
                  <a16:creationId xmlns:a16="http://schemas.microsoft.com/office/drawing/2014/main" id="{FB78605F-95E2-9F4F-93BF-3F1E1CDC8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3" name="Freeform 49">
              <a:extLst>
                <a:ext uri="{FF2B5EF4-FFF2-40B4-BE49-F238E27FC236}">
                  <a16:creationId xmlns:a16="http://schemas.microsoft.com/office/drawing/2014/main" id="{54D279D6-40C9-F242-A8BA-F7DBCD142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4" name="Freeform 50">
              <a:extLst>
                <a:ext uri="{FF2B5EF4-FFF2-40B4-BE49-F238E27FC236}">
                  <a16:creationId xmlns:a16="http://schemas.microsoft.com/office/drawing/2014/main" id="{02D1F215-30CB-3940-8384-4A796D0B7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6" name="Freeform 51">
              <a:extLst>
                <a:ext uri="{FF2B5EF4-FFF2-40B4-BE49-F238E27FC236}">
                  <a16:creationId xmlns:a16="http://schemas.microsoft.com/office/drawing/2014/main" id="{8C1BA864-D836-2A40-900A-4B4B4ABDE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2" name="Freeform 52">
              <a:extLst>
                <a:ext uri="{FF2B5EF4-FFF2-40B4-BE49-F238E27FC236}">
                  <a16:creationId xmlns:a16="http://schemas.microsoft.com/office/drawing/2014/main" id="{A1AA04CF-DB9E-CD47-95F4-C7672C26AA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3" name="Freeform 53">
              <a:extLst>
                <a:ext uri="{FF2B5EF4-FFF2-40B4-BE49-F238E27FC236}">
                  <a16:creationId xmlns:a16="http://schemas.microsoft.com/office/drawing/2014/main" id="{438DA12C-53EA-B647-9E0B-3A7085EAE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4" name="Freeform 54">
              <a:extLst>
                <a:ext uri="{FF2B5EF4-FFF2-40B4-BE49-F238E27FC236}">
                  <a16:creationId xmlns:a16="http://schemas.microsoft.com/office/drawing/2014/main" id="{79855546-FEDF-384C-A885-1C9D467A5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96" name="Freeform 56">
              <a:extLst>
                <a:ext uri="{FF2B5EF4-FFF2-40B4-BE49-F238E27FC236}">
                  <a16:creationId xmlns:a16="http://schemas.microsoft.com/office/drawing/2014/main" id="{949FE792-3E62-F748-87E7-DE80BA54B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0" name="Freeform 60">
              <a:extLst>
                <a:ext uri="{FF2B5EF4-FFF2-40B4-BE49-F238E27FC236}">
                  <a16:creationId xmlns:a16="http://schemas.microsoft.com/office/drawing/2014/main" id="{6FCC99E5-94BF-694C-AC07-625E957BE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1" name="Freeform 61">
              <a:extLst>
                <a:ext uri="{FF2B5EF4-FFF2-40B4-BE49-F238E27FC236}">
                  <a16:creationId xmlns:a16="http://schemas.microsoft.com/office/drawing/2014/main" id="{556E2F73-CA62-0742-88D2-20083BF4E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2" name="Freeform 62">
              <a:extLst>
                <a:ext uri="{FF2B5EF4-FFF2-40B4-BE49-F238E27FC236}">
                  <a16:creationId xmlns:a16="http://schemas.microsoft.com/office/drawing/2014/main" id="{505D85DC-5C12-9E48-9F9F-80E33D6D9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3" name="Freeform 63">
              <a:extLst>
                <a:ext uri="{FF2B5EF4-FFF2-40B4-BE49-F238E27FC236}">
                  <a16:creationId xmlns:a16="http://schemas.microsoft.com/office/drawing/2014/main" id="{260F1AFA-214B-C141-861D-C9270E493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4" name="Freeform 64">
              <a:extLst>
                <a:ext uri="{FF2B5EF4-FFF2-40B4-BE49-F238E27FC236}">
                  <a16:creationId xmlns:a16="http://schemas.microsoft.com/office/drawing/2014/main" id="{6E4B764C-15A9-0E4A-831A-96CB1B4D6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5" name="Freeform 65">
              <a:extLst>
                <a:ext uri="{FF2B5EF4-FFF2-40B4-BE49-F238E27FC236}">
                  <a16:creationId xmlns:a16="http://schemas.microsoft.com/office/drawing/2014/main" id="{1B5E04A8-2A49-7B4E-AE9D-1DFE1E564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6" name="Freeform 66">
              <a:extLst>
                <a:ext uri="{FF2B5EF4-FFF2-40B4-BE49-F238E27FC236}">
                  <a16:creationId xmlns:a16="http://schemas.microsoft.com/office/drawing/2014/main" id="{725065DE-5F8B-6B49-8ED6-167F2BCFF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7" name="Freeform 67">
              <a:extLst>
                <a:ext uri="{FF2B5EF4-FFF2-40B4-BE49-F238E27FC236}">
                  <a16:creationId xmlns:a16="http://schemas.microsoft.com/office/drawing/2014/main" id="{49A24CF7-3CB4-B14C-90BC-A65EE9FC8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8" name="Freeform 68">
              <a:extLst>
                <a:ext uri="{FF2B5EF4-FFF2-40B4-BE49-F238E27FC236}">
                  <a16:creationId xmlns:a16="http://schemas.microsoft.com/office/drawing/2014/main" id="{D7DF7146-E79E-3347-ACB8-2C3C9D49B3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09" name="Freeform 69">
              <a:extLst>
                <a:ext uri="{FF2B5EF4-FFF2-40B4-BE49-F238E27FC236}">
                  <a16:creationId xmlns:a16="http://schemas.microsoft.com/office/drawing/2014/main" id="{864A9D64-44A1-464A-B80C-B99E14AF9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0" name="Freeform 70">
              <a:extLst>
                <a:ext uri="{FF2B5EF4-FFF2-40B4-BE49-F238E27FC236}">
                  <a16:creationId xmlns:a16="http://schemas.microsoft.com/office/drawing/2014/main" id="{D27E7263-D7EA-0F4A-A6FE-8FF93DCA8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1" name="Freeform 71">
              <a:extLst>
                <a:ext uri="{FF2B5EF4-FFF2-40B4-BE49-F238E27FC236}">
                  <a16:creationId xmlns:a16="http://schemas.microsoft.com/office/drawing/2014/main" id="{BCDCAA18-55AB-7D40-BE3A-AA58FFDA9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2" name="Freeform 72">
              <a:extLst>
                <a:ext uri="{FF2B5EF4-FFF2-40B4-BE49-F238E27FC236}">
                  <a16:creationId xmlns:a16="http://schemas.microsoft.com/office/drawing/2014/main" id="{0EE49957-5C11-A249-9F92-88D7C649D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3" name="Freeform 73">
              <a:extLst>
                <a:ext uri="{FF2B5EF4-FFF2-40B4-BE49-F238E27FC236}">
                  <a16:creationId xmlns:a16="http://schemas.microsoft.com/office/drawing/2014/main" id="{1BB4D19D-25E3-7B41-80C3-CD5E4EC89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4" name="Freeform 74">
              <a:extLst>
                <a:ext uri="{FF2B5EF4-FFF2-40B4-BE49-F238E27FC236}">
                  <a16:creationId xmlns:a16="http://schemas.microsoft.com/office/drawing/2014/main" id="{38863F08-2235-264E-9C42-228182F42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5" name="Freeform 75">
              <a:extLst>
                <a:ext uri="{FF2B5EF4-FFF2-40B4-BE49-F238E27FC236}">
                  <a16:creationId xmlns:a16="http://schemas.microsoft.com/office/drawing/2014/main" id="{89D19308-C174-9C4F-983E-725C87E2F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6" name="Freeform 76">
              <a:extLst>
                <a:ext uri="{FF2B5EF4-FFF2-40B4-BE49-F238E27FC236}">
                  <a16:creationId xmlns:a16="http://schemas.microsoft.com/office/drawing/2014/main" id="{10B0036A-33B3-DA4D-BFAD-0C759D5AF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7" name="Freeform 77">
              <a:extLst>
                <a:ext uri="{FF2B5EF4-FFF2-40B4-BE49-F238E27FC236}">
                  <a16:creationId xmlns:a16="http://schemas.microsoft.com/office/drawing/2014/main" id="{5A6A88A6-ECC1-B34D-9BE8-C70DBD09BA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8" name="Freeform 78">
              <a:extLst>
                <a:ext uri="{FF2B5EF4-FFF2-40B4-BE49-F238E27FC236}">
                  <a16:creationId xmlns:a16="http://schemas.microsoft.com/office/drawing/2014/main" id="{A6B64C99-3D25-CC46-B491-EDCF985F3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19" name="Freeform 80">
              <a:extLst>
                <a:ext uri="{FF2B5EF4-FFF2-40B4-BE49-F238E27FC236}">
                  <a16:creationId xmlns:a16="http://schemas.microsoft.com/office/drawing/2014/main" id="{8C66829B-CC20-A642-B763-621C9ABC4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0" name="Freeform 81">
              <a:extLst>
                <a:ext uri="{FF2B5EF4-FFF2-40B4-BE49-F238E27FC236}">
                  <a16:creationId xmlns:a16="http://schemas.microsoft.com/office/drawing/2014/main" id="{DB64D1A8-C8FE-CF49-8451-B14C635D2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1" name="Freeform 82">
              <a:extLst>
                <a:ext uri="{FF2B5EF4-FFF2-40B4-BE49-F238E27FC236}">
                  <a16:creationId xmlns:a16="http://schemas.microsoft.com/office/drawing/2014/main" id="{BF1776A5-2A83-A34F-9DB4-25A8DFA03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2" name="Freeform 83">
              <a:extLst>
                <a:ext uri="{FF2B5EF4-FFF2-40B4-BE49-F238E27FC236}">
                  <a16:creationId xmlns:a16="http://schemas.microsoft.com/office/drawing/2014/main" id="{671C55CC-910C-594B-BF3A-01777C6F7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3" name="Freeform 84">
              <a:extLst>
                <a:ext uri="{FF2B5EF4-FFF2-40B4-BE49-F238E27FC236}">
                  <a16:creationId xmlns:a16="http://schemas.microsoft.com/office/drawing/2014/main" id="{A13951E8-19A3-0E48-8AD2-185404481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4" name="Freeform 85">
              <a:extLst>
                <a:ext uri="{FF2B5EF4-FFF2-40B4-BE49-F238E27FC236}">
                  <a16:creationId xmlns:a16="http://schemas.microsoft.com/office/drawing/2014/main" id="{6A205B95-F38B-D746-9A72-11A5ABF954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6" name="Freeform 87">
              <a:extLst>
                <a:ext uri="{FF2B5EF4-FFF2-40B4-BE49-F238E27FC236}">
                  <a16:creationId xmlns:a16="http://schemas.microsoft.com/office/drawing/2014/main" id="{B4292FB8-1682-3444-9C90-F72E21515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7" name="Freeform 88">
              <a:extLst>
                <a:ext uri="{FF2B5EF4-FFF2-40B4-BE49-F238E27FC236}">
                  <a16:creationId xmlns:a16="http://schemas.microsoft.com/office/drawing/2014/main" id="{CFA64B13-550B-3949-A6C1-A5B1F3FE11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8" name="Freeform 89">
              <a:extLst>
                <a:ext uri="{FF2B5EF4-FFF2-40B4-BE49-F238E27FC236}">
                  <a16:creationId xmlns:a16="http://schemas.microsoft.com/office/drawing/2014/main" id="{F5BD1F46-B0FD-AB4B-80E2-CFA4EDFCDF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9" name="Freeform 90">
              <a:extLst>
                <a:ext uri="{FF2B5EF4-FFF2-40B4-BE49-F238E27FC236}">
                  <a16:creationId xmlns:a16="http://schemas.microsoft.com/office/drawing/2014/main" id="{37376C3E-E11E-DD45-96A2-090C5CDED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0" name="Freeform 91">
              <a:extLst>
                <a:ext uri="{FF2B5EF4-FFF2-40B4-BE49-F238E27FC236}">
                  <a16:creationId xmlns:a16="http://schemas.microsoft.com/office/drawing/2014/main" id="{1E4378D9-4EAE-6340-A286-25466D1A5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1" name="Freeform 92">
              <a:extLst>
                <a:ext uri="{FF2B5EF4-FFF2-40B4-BE49-F238E27FC236}">
                  <a16:creationId xmlns:a16="http://schemas.microsoft.com/office/drawing/2014/main" id="{22C16445-AC5B-074A-AB4D-35C35B9BE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2" name="Freeform 93">
              <a:extLst>
                <a:ext uri="{FF2B5EF4-FFF2-40B4-BE49-F238E27FC236}">
                  <a16:creationId xmlns:a16="http://schemas.microsoft.com/office/drawing/2014/main" id="{710D328E-2AAB-E349-81BD-713AFBACC8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3" name="Freeform 94">
              <a:extLst>
                <a:ext uri="{FF2B5EF4-FFF2-40B4-BE49-F238E27FC236}">
                  <a16:creationId xmlns:a16="http://schemas.microsoft.com/office/drawing/2014/main" id="{4183FDED-156B-144F-BAB2-F0DF2EDFAC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4" name="Freeform 95">
              <a:extLst>
                <a:ext uri="{FF2B5EF4-FFF2-40B4-BE49-F238E27FC236}">
                  <a16:creationId xmlns:a16="http://schemas.microsoft.com/office/drawing/2014/main" id="{3C8AAD4E-CEBA-3C46-AA85-F3B7B8637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5" name="Freeform 96">
              <a:extLst>
                <a:ext uri="{FF2B5EF4-FFF2-40B4-BE49-F238E27FC236}">
                  <a16:creationId xmlns:a16="http://schemas.microsoft.com/office/drawing/2014/main" id="{1FE94391-BEA2-D844-BD9A-1D3E584C2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7" name="Freeform 99">
              <a:extLst>
                <a:ext uri="{FF2B5EF4-FFF2-40B4-BE49-F238E27FC236}">
                  <a16:creationId xmlns:a16="http://schemas.microsoft.com/office/drawing/2014/main" id="{5FD2D67C-8953-2343-BC53-3A57A4F0E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8" name="Freeform 100">
              <a:extLst>
                <a:ext uri="{FF2B5EF4-FFF2-40B4-BE49-F238E27FC236}">
                  <a16:creationId xmlns:a16="http://schemas.microsoft.com/office/drawing/2014/main" id="{F24F44A7-ED69-6847-9563-ACC80D557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39" name="Freeform 101">
              <a:extLst>
                <a:ext uri="{FF2B5EF4-FFF2-40B4-BE49-F238E27FC236}">
                  <a16:creationId xmlns:a16="http://schemas.microsoft.com/office/drawing/2014/main" id="{4224797F-BC48-814F-871B-9FC8644407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0" name="Freeform 102">
              <a:extLst>
                <a:ext uri="{FF2B5EF4-FFF2-40B4-BE49-F238E27FC236}">
                  <a16:creationId xmlns:a16="http://schemas.microsoft.com/office/drawing/2014/main" id="{A4B8715B-F162-EC49-B4E5-6637FAAC3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1" name="Freeform 103">
              <a:extLst>
                <a:ext uri="{FF2B5EF4-FFF2-40B4-BE49-F238E27FC236}">
                  <a16:creationId xmlns:a16="http://schemas.microsoft.com/office/drawing/2014/main" id="{A8372CEA-2A8F-D148-8BE9-2A5956177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2" name="Freeform 104">
              <a:extLst>
                <a:ext uri="{FF2B5EF4-FFF2-40B4-BE49-F238E27FC236}">
                  <a16:creationId xmlns:a16="http://schemas.microsoft.com/office/drawing/2014/main" id="{4EF38227-6580-6144-AE84-4A9F853E1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3" name="Freeform 105">
              <a:extLst>
                <a:ext uri="{FF2B5EF4-FFF2-40B4-BE49-F238E27FC236}">
                  <a16:creationId xmlns:a16="http://schemas.microsoft.com/office/drawing/2014/main" id="{24EB6B0B-A13C-E74C-9465-4697D3675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4" name="Freeform 106">
              <a:extLst>
                <a:ext uri="{FF2B5EF4-FFF2-40B4-BE49-F238E27FC236}">
                  <a16:creationId xmlns:a16="http://schemas.microsoft.com/office/drawing/2014/main" id="{F865763A-6196-A745-88C0-C96112FFF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45" name="Freeform 107">
              <a:extLst>
                <a:ext uri="{FF2B5EF4-FFF2-40B4-BE49-F238E27FC236}">
                  <a16:creationId xmlns:a16="http://schemas.microsoft.com/office/drawing/2014/main" id="{F96733DE-11C2-444D-B420-73DBA9573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7" name="Freeform 119">
              <a:extLst>
                <a:ext uri="{FF2B5EF4-FFF2-40B4-BE49-F238E27FC236}">
                  <a16:creationId xmlns:a16="http://schemas.microsoft.com/office/drawing/2014/main" id="{6D537820-EBF0-4B46-A516-66B747DB3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8" name="Freeform 120">
              <a:extLst>
                <a:ext uri="{FF2B5EF4-FFF2-40B4-BE49-F238E27FC236}">
                  <a16:creationId xmlns:a16="http://schemas.microsoft.com/office/drawing/2014/main" id="{C85F3627-2DD7-1442-A5C4-E81259E11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59" name="Freeform 121">
              <a:extLst>
                <a:ext uri="{FF2B5EF4-FFF2-40B4-BE49-F238E27FC236}">
                  <a16:creationId xmlns:a16="http://schemas.microsoft.com/office/drawing/2014/main" id="{D24611B3-5B03-5148-9B4A-089DC8F01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0" name="Freeform 122">
              <a:extLst>
                <a:ext uri="{FF2B5EF4-FFF2-40B4-BE49-F238E27FC236}">
                  <a16:creationId xmlns:a16="http://schemas.microsoft.com/office/drawing/2014/main" id="{A4CE3931-3B59-0A47-88F4-9D195A967D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1" name="Freeform 123">
              <a:extLst>
                <a:ext uri="{FF2B5EF4-FFF2-40B4-BE49-F238E27FC236}">
                  <a16:creationId xmlns:a16="http://schemas.microsoft.com/office/drawing/2014/main" id="{85673272-0A01-DA41-83C8-7BD5836BC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2" name="Freeform 124">
              <a:extLst>
                <a:ext uri="{FF2B5EF4-FFF2-40B4-BE49-F238E27FC236}">
                  <a16:creationId xmlns:a16="http://schemas.microsoft.com/office/drawing/2014/main" id="{99F02961-FA23-C646-85E2-A072D8E28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3" name="Freeform 125">
              <a:extLst>
                <a:ext uri="{FF2B5EF4-FFF2-40B4-BE49-F238E27FC236}">
                  <a16:creationId xmlns:a16="http://schemas.microsoft.com/office/drawing/2014/main" id="{657B7CA3-581C-7247-ADD3-9F44AB70D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4" name="Freeform 126">
              <a:extLst>
                <a:ext uri="{FF2B5EF4-FFF2-40B4-BE49-F238E27FC236}">
                  <a16:creationId xmlns:a16="http://schemas.microsoft.com/office/drawing/2014/main" id="{2DA1855B-E177-AC4D-B3D8-01496C4CB8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5" name="Freeform 127">
              <a:extLst>
                <a:ext uri="{FF2B5EF4-FFF2-40B4-BE49-F238E27FC236}">
                  <a16:creationId xmlns:a16="http://schemas.microsoft.com/office/drawing/2014/main" id="{71CD0627-C5E8-6C4F-9F75-D227E349F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6" name="Freeform 128">
              <a:extLst>
                <a:ext uri="{FF2B5EF4-FFF2-40B4-BE49-F238E27FC236}">
                  <a16:creationId xmlns:a16="http://schemas.microsoft.com/office/drawing/2014/main" id="{C84EAD01-EB24-154E-A1CB-A38922714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7" name="Freeform 129">
              <a:extLst>
                <a:ext uri="{FF2B5EF4-FFF2-40B4-BE49-F238E27FC236}">
                  <a16:creationId xmlns:a16="http://schemas.microsoft.com/office/drawing/2014/main" id="{0233AB0D-728F-8D42-B121-19A8BD53B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8" name="Freeform 130">
              <a:extLst>
                <a:ext uri="{FF2B5EF4-FFF2-40B4-BE49-F238E27FC236}">
                  <a16:creationId xmlns:a16="http://schemas.microsoft.com/office/drawing/2014/main" id="{CBCEA624-9D02-644F-A071-DCD5A9940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69" name="Freeform 131">
              <a:extLst>
                <a:ext uri="{FF2B5EF4-FFF2-40B4-BE49-F238E27FC236}">
                  <a16:creationId xmlns:a16="http://schemas.microsoft.com/office/drawing/2014/main" id="{4CA5BE3B-BC9B-8E41-A1BC-E6D42F6065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0" name="Freeform 132">
              <a:extLst>
                <a:ext uri="{FF2B5EF4-FFF2-40B4-BE49-F238E27FC236}">
                  <a16:creationId xmlns:a16="http://schemas.microsoft.com/office/drawing/2014/main" id="{CB85D4E4-C948-4941-8B52-0D9AED5CC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1" name="Freeform 133">
              <a:extLst>
                <a:ext uri="{FF2B5EF4-FFF2-40B4-BE49-F238E27FC236}">
                  <a16:creationId xmlns:a16="http://schemas.microsoft.com/office/drawing/2014/main" id="{51199641-0740-CD4E-9ACE-25A1E2A40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2" name="Freeform 134">
              <a:extLst>
                <a:ext uri="{FF2B5EF4-FFF2-40B4-BE49-F238E27FC236}">
                  <a16:creationId xmlns:a16="http://schemas.microsoft.com/office/drawing/2014/main" id="{FECE5460-24B3-A74A-A947-8254F15F7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3" name="Freeform 135">
              <a:extLst>
                <a:ext uri="{FF2B5EF4-FFF2-40B4-BE49-F238E27FC236}">
                  <a16:creationId xmlns:a16="http://schemas.microsoft.com/office/drawing/2014/main" id="{B976E74B-A854-1B4A-A69E-651222ED5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4" name="Freeform 136">
              <a:extLst>
                <a:ext uri="{FF2B5EF4-FFF2-40B4-BE49-F238E27FC236}">
                  <a16:creationId xmlns:a16="http://schemas.microsoft.com/office/drawing/2014/main" id="{E57A3D29-AFB3-174E-81F9-8AA245E25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5" name="Freeform 137">
              <a:extLst>
                <a:ext uri="{FF2B5EF4-FFF2-40B4-BE49-F238E27FC236}">
                  <a16:creationId xmlns:a16="http://schemas.microsoft.com/office/drawing/2014/main" id="{3C1C373D-A875-3646-A98B-F2BA993E2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6" name="Freeform 138">
              <a:extLst>
                <a:ext uri="{FF2B5EF4-FFF2-40B4-BE49-F238E27FC236}">
                  <a16:creationId xmlns:a16="http://schemas.microsoft.com/office/drawing/2014/main" id="{F0470B1C-D04A-D24D-8A47-D38384CDB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8" name="Freeform 140">
              <a:extLst>
                <a:ext uri="{FF2B5EF4-FFF2-40B4-BE49-F238E27FC236}">
                  <a16:creationId xmlns:a16="http://schemas.microsoft.com/office/drawing/2014/main" id="{B523D2E8-96F4-E944-A5F5-9859B242A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27" name="Прямоугольник 1026">
            <a:extLst>
              <a:ext uri="{FF2B5EF4-FFF2-40B4-BE49-F238E27FC236}">
                <a16:creationId xmlns:a16="http://schemas.microsoft.com/office/drawing/2014/main" id="{0342C6FA-A978-2A4A-B9AB-313AB97A1F3D}"/>
              </a:ext>
            </a:extLst>
          </p:cNvPr>
          <p:cNvSpPr/>
          <p:nvPr/>
        </p:nvSpPr>
        <p:spPr>
          <a:xfrm>
            <a:off x="9083675" y="1265238"/>
            <a:ext cx="3108325" cy="507523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54" name="Полилиния 653">
            <a:extLst>
              <a:ext uri="{FF2B5EF4-FFF2-40B4-BE49-F238E27FC236}">
                <a16:creationId xmlns:a16="http://schemas.microsoft.com/office/drawing/2014/main" id="{CDD6D28A-3616-5447-BE3B-1F470529DF96}"/>
              </a:ext>
            </a:extLst>
          </p:cNvPr>
          <p:cNvSpPr/>
          <p:nvPr/>
        </p:nvSpPr>
        <p:spPr>
          <a:xfrm>
            <a:off x="3016855" y="2587939"/>
            <a:ext cx="411794" cy="341117"/>
          </a:xfrm>
          <a:custGeom>
            <a:avLst/>
            <a:gdLst>
              <a:gd name="connsiteX0" fmla="*/ 44421 w 139623"/>
              <a:gd name="connsiteY0" fmla="*/ 158779 h 164885"/>
              <a:gd name="connsiteX1" fmla="*/ 47601 w 139623"/>
              <a:gd name="connsiteY1" fmla="*/ 158779 h 164885"/>
              <a:gd name="connsiteX2" fmla="*/ 50771 w 139623"/>
              <a:gd name="connsiteY2" fmla="*/ 158779 h 164885"/>
              <a:gd name="connsiteX3" fmla="*/ 53942 w 139623"/>
              <a:gd name="connsiteY3" fmla="*/ 158779 h 164885"/>
              <a:gd name="connsiteX4" fmla="*/ 60292 w 139623"/>
              <a:gd name="connsiteY4" fmla="*/ 152671 h 164885"/>
              <a:gd name="connsiteX5" fmla="*/ 63462 w 139623"/>
              <a:gd name="connsiteY5" fmla="*/ 149618 h 164885"/>
              <a:gd name="connsiteX6" fmla="*/ 72982 w 139623"/>
              <a:gd name="connsiteY6" fmla="*/ 140457 h 164885"/>
              <a:gd name="connsiteX7" fmla="*/ 76162 w 139623"/>
              <a:gd name="connsiteY7" fmla="*/ 137403 h 164885"/>
              <a:gd name="connsiteX8" fmla="*/ 82502 w 139623"/>
              <a:gd name="connsiteY8" fmla="*/ 134350 h 164885"/>
              <a:gd name="connsiteX9" fmla="*/ 85682 w 139623"/>
              <a:gd name="connsiteY9" fmla="*/ 134350 h 164885"/>
              <a:gd name="connsiteX10" fmla="*/ 88852 w 139623"/>
              <a:gd name="connsiteY10" fmla="*/ 134350 h 164885"/>
              <a:gd name="connsiteX11" fmla="*/ 95202 w 139623"/>
              <a:gd name="connsiteY11" fmla="*/ 134350 h 164885"/>
              <a:gd name="connsiteX12" fmla="*/ 98373 w 139623"/>
              <a:gd name="connsiteY12" fmla="*/ 137403 h 164885"/>
              <a:gd name="connsiteX13" fmla="*/ 104723 w 139623"/>
              <a:gd name="connsiteY13" fmla="*/ 140457 h 164885"/>
              <a:gd name="connsiteX14" fmla="*/ 107893 w 139623"/>
              <a:gd name="connsiteY14" fmla="*/ 143511 h 164885"/>
              <a:gd name="connsiteX15" fmla="*/ 107893 w 139623"/>
              <a:gd name="connsiteY15" fmla="*/ 146564 h 164885"/>
              <a:gd name="connsiteX16" fmla="*/ 111063 w 139623"/>
              <a:gd name="connsiteY16" fmla="*/ 152671 h 164885"/>
              <a:gd name="connsiteX17" fmla="*/ 111063 w 139623"/>
              <a:gd name="connsiteY17" fmla="*/ 158779 h 164885"/>
              <a:gd name="connsiteX18" fmla="*/ 111063 w 139623"/>
              <a:gd name="connsiteY18" fmla="*/ 161832 h 164885"/>
              <a:gd name="connsiteX19" fmla="*/ 114243 w 139623"/>
              <a:gd name="connsiteY19" fmla="*/ 164886 h 164885"/>
              <a:gd name="connsiteX20" fmla="*/ 117413 w 139623"/>
              <a:gd name="connsiteY20" fmla="*/ 164886 h 164885"/>
              <a:gd name="connsiteX21" fmla="*/ 120583 w 139623"/>
              <a:gd name="connsiteY21" fmla="*/ 164886 h 164885"/>
              <a:gd name="connsiteX22" fmla="*/ 126933 w 139623"/>
              <a:gd name="connsiteY22" fmla="*/ 164886 h 164885"/>
              <a:gd name="connsiteX23" fmla="*/ 126933 w 139623"/>
              <a:gd name="connsiteY23" fmla="*/ 161832 h 164885"/>
              <a:gd name="connsiteX24" fmla="*/ 130103 w 139623"/>
              <a:gd name="connsiteY24" fmla="*/ 158779 h 164885"/>
              <a:gd name="connsiteX25" fmla="*/ 133283 w 139623"/>
              <a:gd name="connsiteY25" fmla="*/ 155725 h 164885"/>
              <a:gd name="connsiteX26" fmla="*/ 136454 w 139623"/>
              <a:gd name="connsiteY26" fmla="*/ 152671 h 164885"/>
              <a:gd name="connsiteX27" fmla="*/ 136454 w 139623"/>
              <a:gd name="connsiteY27" fmla="*/ 146564 h 164885"/>
              <a:gd name="connsiteX28" fmla="*/ 139624 w 139623"/>
              <a:gd name="connsiteY28" fmla="*/ 137403 h 164885"/>
              <a:gd name="connsiteX29" fmla="*/ 139624 w 139623"/>
              <a:gd name="connsiteY29" fmla="*/ 131296 h 164885"/>
              <a:gd name="connsiteX30" fmla="*/ 139624 w 139623"/>
              <a:gd name="connsiteY30" fmla="*/ 125189 h 164885"/>
              <a:gd name="connsiteX31" fmla="*/ 139624 w 139623"/>
              <a:gd name="connsiteY31" fmla="*/ 119082 h 164885"/>
              <a:gd name="connsiteX32" fmla="*/ 136454 w 139623"/>
              <a:gd name="connsiteY32" fmla="*/ 116028 h 164885"/>
              <a:gd name="connsiteX33" fmla="*/ 133283 w 139623"/>
              <a:gd name="connsiteY33" fmla="*/ 109921 h 164885"/>
              <a:gd name="connsiteX34" fmla="*/ 130103 w 139623"/>
              <a:gd name="connsiteY34" fmla="*/ 106867 h 164885"/>
              <a:gd name="connsiteX35" fmla="*/ 126933 w 139623"/>
              <a:gd name="connsiteY35" fmla="*/ 103814 h 164885"/>
              <a:gd name="connsiteX36" fmla="*/ 126933 w 139623"/>
              <a:gd name="connsiteY36" fmla="*/ 100760 h 164885"/>
              <a:gd name="connsiteX37" fmla="*/ 123763 w 139623"/>
              <a:gd name="connsiteY37" fmla="*/ 97706 h 164885"/>
              <a:gd name="connsiteX38" fmla="*/ 123763 w 139623"/>
              <a:gd name="connsiteY38" fmla="*/ 91599 h 164885"/>
              <a:gd name="connsiteX39" fmla="*/ 123763 w 139623"/>
              <a:gd name="connsiteY39" fmla="*/ 88545 h 164885"/>
              <a:gd name="connsiteX40" fmla="*/ 120583 w 139623"/>
              <a:gd name="connsiteY40" fmla="*/ 85492 h 164885"/>
              <a:gd name="connsiteX41" fmla="*/ 117413 w 139623"/>
              <a:gd name="connsiteY41" fmla="*/ 82438 h 164885"/>
              <a:gd name="connsiteX42" fmla="*/ 114243 w 139623"/>
              <a:gd name="connsiteY42" fmla="*/ 82438 h 164885"/>
              <a:gd name="connsiteX43" fmla="*/ 107893 w 139623"/>
              <a:gd name="connsiteY43" fmla="*/ 79385 h 164885"/>
              <a:gd name="connsiteX44" fmla="*/ 101543 w 139623"/>
              <a:gd name="connsiteY44" fmla="*/ 79385 h 164885"/>
              <a:gd name="connsiteX45" fmla="*/ 98373 w 139623"/>
              <a:gd name="connsiteY45" fmla="*/ 73277 h 164885"/>
              <a:gd name="connsiteX46" fmla="*/ 95202 w 139623"/>
              <a:gd name="connsiteY46" fmla="*/ 70224 h 164885"/>
              <a:gd name="connsiteX47" fmla="*/ 92023 w 139623"/>
              <a:gd name="connsiteY47" fmla="*/ 64116 h 164885"/>
              <a:gd name="connsiteX48" fmla="*/ 88852 w 139623"/>
              <a:gd name="connsiteY48" fmla="*/ 58009 h 164885"/>
              <a:gd name="connsiteX49" fmla="*/ 82502 w 139623"/>
              <a:gd name="connsiteY49" fmla="*/ 48858 h 164885"/>
              <a:gd name="connsiteX50" fmla="*/ 79332 w 139623"/>
              <a:gd name="connsiteY50" fmla="*/ 42751 h 164885"/>
              <a:gd name="connsiteX51" fmla="*/ 79332 w 139623"/>
              <a:gd name="connsiteY51" fmla="*/ 39688 h 164885"/>
              <a:gd name="connsiteX52" fmla="*/ 76162 w 139623"/>
              <a:gd name="connsiteY52" fmla="*/ 33580 h 164885"/>
              <a:gd name="connsiteX53" fmla="*/ 76162 w 139623"/>
              <a:gd name="connsiteY53" fmla="*/ 27482 h 164885"/>
              <a:gd name="connsiteX54" fmla="*/ 76162 w 139623"/>
              <a:gd name="connsiteY54" fmla="*/ 21375 h 164885"/>
              <a:gd name="connsiteX55" fmla="*/ 76162 w 139623"/>
              <a:gd name="connsiteY55" fmla="*/ 18322 h 164885"/>
              <a:gd name="connsiteX56" fmla="*/ 72982 w 139623"/>
              <a:gd name="connsiteY56" fmla="*/ 15268 h 164885"/>
              <a:gd name="connsiteX57" fmla="*/ 69812 w 139623"/>
              <a:gd name="connsiteY57" fmla="*/ 12214 h 164885"/>
              <a:gd name="connsiteX58" fmla="*/ 69812 w 139623"/>
              <a:gd name="connsiteY58" fmla="*/ 9161 h 164885"/>
              <a:gd name="connsiteX59" fmla="*/ 66642 w 139623"/>
              <a:gd name="connsiteY59" fmla="*/ 9161 h 164885"/>
              <a:gd name="connsiteX60" fmla="*/ 63462 w 139623"/>
              <a:gd name="connsiteY60" fmla="*/ 3053 h 164885"/>
              <a:gd name="connsiteX61" fmla="*/ 60292 w 139623"/>
              <a:gd name="connsiteY61" fmla="*/ 3053 h 164885"/>
              <a:gd name="connsiteX62" fmla="*/ 57121 w 139623"/>
              <a:gd name="connsiteY62" fmla="*/ 3053 h 164885"/>
              <a:gd name="connsiteX63" fmla="*/ 50771 w 139623"/>
              <a:gd name="connsiteY63" fmla="*/ 0 h 164885"/>
              <a:gd name="connsiteX64" fmla="*/ 47601 w 139623"/>
              <a:gd name="connsiteY64" fmla="*/ 0 h 164885"/>
              <a:gd name="connsiteX65" fmla="*/ 44421 w 139623"/>
              <a:gd name="connsiteY65" fmla="*/ 0 h 164885"/>
              <a:gd name="connsiteX66" fmla="*/ 41251 w 139623"/>
              <a:gd name="connsiteY66" fmla="*/ 0 h 164885"/>
              <a:gd name="connsiteX67" fmla="*/ 38081 w 139623"/>
              <a:gd name="connsiteY67" fmla="*/ 0 h 164885"/>
              <a:gd name="connsiteX68" fmla="*/ 28561 w 139623"/>
              <a:gd name="connsiteY68" fmla="*/ 6107 h 164885"/>
              <a:gd name="connsiteX69" fmla="*/ 22211 w 139623"/>
              <a:gd name="connsiteY69" fmla="*/ 6107 h 164885"/>
              <a:gd name="connsiteX70" fmla="*/ 19040 w 139623"/>
              <a:gd name="connsiteY70" fmla="*/ 9161 h 164885"/>
              <a:gd name="connsiteX71" fmla="*/ 12690 w 139623"/>
              <a:gd name="connsiteY71" fmla="*/ 9161 h 164885"/>
              <a:gd name="connsiteX72" fmla="*/ 6340 w 139623"/>
              <a:gd name="connsiteY72" fmla="*/ 15268 h 164885"/>
              <a:gd name="connsiteX73" fmla="*/ 3170 w 139623"/>
              <a:gd name="connsiteY73" fmla="*/ 18322 h 164885"/>
              <a:gd name="connsiteX74" fmla="*/ 0 w 139623"/>
              <a:gd name="connsiteY74" fmla="*/ 24429 h 164885"/>
              <a:gd name="connsiteX75" fmla="*/ 3170 w 139623"/>
              <a:gd name="connsiteY75" fmla="*/ 24429 h 164885"/>
              <a:gd name="connsiteX76" fmla="*/ 3170 w 139623"/>
              <a:gd name="connsiteY76" fmla="*/ 27482 h 164885"/>
              <a:gd name="connsiteX77" fmla="*/ 3170 w 139623"/>
              <a:gd name="connsiteY77" fmla="*/ 30536 h 164885"/>
              <a:gd name="connsiteX78" fmla="*/ 6340 w 139623"/>
              <a:gd name="connsiteY78" fmla="*/ 36643 h 164885"/>
              <a:gd name="connsiteX79" fmla="*/ 6340 w 139623"/>
              <a:gd name="connsiteY79" fmla="*/ 42751 h 164885"/>
              <a:gd name="connsiteX80" fmla="*/ 6340 w 139623"/>
              <a:gd name="connsiteY80" fmla="*/ 45795 h 164885"/>
              <a:gd name="connsiteX81" fmla="*/ 6340 w 139623"/>
              <a:gd name="connsiteY81" fmla="*/ 48858 h 164885"/>
              <a:gd name="connsiteX82" fmla="*/ 9520 w 139623"/>
              <a:gd name="connsiteY82" fmla="*/ 54955 h 164885"/>
              <a:gd name="connsiteX83" fmla="*/ 12690 w 139623"/>
              <a:gd name="connsiteY83" fmla="*/ 58009 h 164885"/>
              <a:gd name="connsiteX84" fmla="*/ 15861 w 139623"/>
              <a:gd name="connsiteY84" fmla="*/ 61063 h 164885"/>
              <a:gd name="connsiteX85" fmla="*/ 15861 w 139623"/>
              <a:gd name="connsiteY85" fmla="*/ 64116 h 164885"/>
              <a:gd name="connsiteX86" fmla="*/ 15861 w 139623"/>
              <a:gd name="connsiteY86" fmla="*/ 67170 h 164885"/>
              <a:gd name="connsiteX87" fmla="*/ 12690 w 139623"/>
              <a:gd name="connsiteY87" fmla="*/ 73277 h 164885"/>
              <a:gd name="connsiteX88" fmla="*/ 12690 w 139623"/>
              <a:gd name="connsiteY88" fmla="*/ 76331 h 164885"/>
              <a:gd name="connsiteX89" fmla="*/ 12690 w 139623"/>
              <a:gd name="connsiteY89" fmla="*/ 79385 h 164885"/>
              <a:gd name="connsiteX90" fmla="*/ 15861 w 139623"/>
              <a:gd name="connsiteY90" fmla="*/ 82438 h 164885"/>
              <a:gd name="connsiteX91" fmla="*/ 22211 w 139623"/>
              <a:gd name="connsiteY91" fmla="*/ 91599 h 164885"/>
              <a:gd name="connsiteX92" fmla="*/ 25381 w 139623"/>
              <a:gd name="connsiteY92" fmla="*/ 97706 h 164885"/>
              <a:gd name="connsiteX93" fmla="*/ 31731 w 139623"/>
              <a:gd name="connsiteY93" fmla="*/ 103814 h 164885"/>
              <a:gd name="connsiteX94" fmla="*/ 31731 w 139623"/>
              <a:gd name="connsiteY94" fmla="*/ 106867 h 164885"/>
              <a:gd name="connsiteX95" fmla="*/ 31731 w 139623"/>
              <a:gd name="connsiteY95" fmla="*/ 109921 h 164885"/>
              <a:gd name="connsiteX96" fmla="*/ 28561 w 139623"/>
              <a:gd name="connsiteY96" fmla="*/ 109921 h 164885"/>
              <a:gd name="connsiteX97" fmla="*/ 25381 w 139623"/>
              <a:gd name="connsiteY97" fmla="*/ 112975 h 164885"/>
              <a:gd name="connsiteX98" fmla="*/ 22211 w 139623"/>
              <a:gd name="connsiteY98" fmla="*/ 116028 h 164885"/>
              <a:gd name="connsiteX99" fmla="*/ 15861 w 139623"/>
              <a:gd name="connsiteY99" fmla="*/ 119082 h 164885"/>
              <a:gd name="connsiteX100" fmla="*/ 12690 w 139623"/>
              <a:gd name="connsiteY100" fmla="*/ 122135 h 164885"/>
              <a:gd name="connsiteX101" fmla="*/ 9520 w 139623"/>
              <a:gd name="connsiteY101" fmla="*/ 128242 h 164885"/>
              <a:gd name="connsiteX102" fmla="*/ 19040 w 139623"/>
              <a:gd name="connsiteY102" fmla="*/ 128242 h 164885"/>
              <a:gd name="connsiteX103" fmla="*/ 25381 w 139623"/>
              <a:gd name="connsiteY103" fmla="*/ 128242 h 164885"/>
              <a:gd name="connsiteX104" fmla="*/ 31731 w 139623"/>
              <a:gd name="connsiteY104" fmla="*/ 131296 h 164885"/>
              <a:gd name="connsiteX105" fmla="*/ 34901 w 139623"/>
              <a:gd name="connsiteY105" fmla="*/ 134350 h 164885"/>
              <a:gd name="connsiteX106" fmla="*/ 38081 w 139623"/>
              <a:gd name="connsiteY106" fmla="*/ 137403 h 164885"/>
              <a:gd name="connsiteX107" fmla="*/ 38081 w 139623"/>
              <a:gd name="connsiteY107" fmla="*/ 140457 h 164885"/>
              <a:gd name="connsiteX108" fmla="*/ 41251 w 139623"/>
              <a:gd name="connsiteY108" fmla="*/ 143511 h 164885"/>
              <a:gd name="connsiteX109" fmla="*/ 41251 w 139623"/>
              <a:gd name="connsiteY109" fmla="*/ 152671 h 164885"/>
              <a:gd name="connsiteX110" fmla="*/ 44421 w 139623"/>
              <a:gd name="connsiteY110" fmla="*/ 158779 h 164885"/>
              <a:gd name="connsiteX111" fmla="*/ 44421 w 139623"/>
              <a:gd name="connsiteY111" fmla="*/ 158779 h 164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39623" h="164885">
                <a:moveTo>
                  <a:pt x="44421" y="158779"/>
                </a:moveTo>
                <a:lnTo>
                  <a:pt x="47601" y="158779"/>
                </a:lnTo>
                <a:lnTo>
                  <a:pt x="50771" y="158779"/>
                </a:lnTo>
                <a:lnTo>
                  <a:pt x="53942" y="158779"/>
                </a:lnTo>
                <a:lnTo>
                  <a:pt x="60292" y="152671"/>
                </a:lnTo>
                <a:lnTo>
                  <a:pt x="63462" y="149618"/>
                </a:lnTo>
                <a:lnTo>
                  <a:pt x="72982" y="140457"/>
                </a:lnTo>
                <a:lnTo>
                  <a:pt x="76162" y="137403"/>
                </a:lnTo>
                <a:lnTo>
                  <a:pt x="82502" y="134350"/>
                </a:lnTo>
                <a:lnTo>
                  <a:pt x="85682" y="134350"/>
                </a:lnTo>
                <a:lnTo>
                  <a:pt x="88852" y="134350"/>
                </a:lnTo>
                <a:lnTo>
                  <a:pt x="95202" y="134350"/>
                </a:lnTo>
                <a:lnTo>
                  <a:pt x="98373" y="137403"/>
                </a:lnTo>
                <a:lnTo>
                  <a:pt x="104723" y="140457"/>
                </a:lnTo>
                <a:lnTo>
                  <a:pt x="107893" y="143511"/>
                </a:lnTo>
                <a:lnTo>
                  <a:pt x="107893" y="146564"/>
                </a:lnTo>
                <a:lnTo>
                  <a:pt x="111063" y="152671"/>
                </a:lnTo>
                <a:lnTo>
                  <a:pt x="111063" y="158779"/>
                </a:lnTo>
                <a:lnTo>
                  <a:pt x="111063" y="161832"/>
                </a:lnTo>
                <a:lnTo>
                  <a:pt x="114243" y="164886"/>
                </a:lnTo>
                <a:lnTo>
                  <a:pt x="117413" y="164886"/>
                </a:lnTo>
                <a:lnTo>
                  <a:pt x="120583" y="164886"/>
                </a:lnTo>
                <a:lnTo>
                  <a:pt x="126933" y="164886"/>
                </a:lnTo>
                <a:lnTo>
                  <a:pt x="126933" y="161832"/>
                </a:lnTo>
                <a:lnTo>
                  <a:pt x="130103" y="158779"/>
                </a:lnTo>
                <a:lnTo>
                  <a:pt x="133283" y="155725"/>
                </a:lnTo>
                <a:lnTo>
                  <a:pt x="136454" y="152671"/>
                </a:lnTo>
                <a:lnTo>
                  <a:pt x="136454" y="146564"/>
                </a:lnTo>
                <a:lnTo>
                  <a:pt x="139624" y="137403"/>
                </a:lnTo>
                <a:lnTo>
                  <a:pt x="139624" y="131296"/>
                </a:lnTo>
                <a:lnTo>
                  <a:pt x="139624" y="125189"/>
                </a:lnTo>
                <a:lnTo>
                  <a:pt x="139624" y="119082"/>
                </a:lnTo>
                <a:lnTo>
                  <a:pt x="136454" y="116028"/>
                </a:lnTo>
                <a:lnTo>
                  <a:pt x="133283" y="109921"/>
                </a:lnTo>
                <a:lnTo>
                  <a:pt x="130103" y="106867"/>
                </a:lnTo>
                <a:lnTo>
                  <a:pt x="126933" y="103814"/>
                </a:lnTo>
                <a:lnTo>
                  <a:pt x="126933" y="100760"/>
                </a:lnTo>
                <a:lnTo>
                  <a:pt x="123763" y="97706"/>
                </a:lnTo>
                <a:lnTo>
                  <a:pt x="123763" y="91599"/>
                </a:lnTo>
                <a:lnTo>
                  <a:pt x="123763" y="88545"/>
                </a:lnTo>
                <a:lnTo>
                  <a:pt x="120583" y="85492"/>
                </a:lnTo>
                <a:lnTo>
                  <a:pt x="117413" y="82438"/>
                </a:lnTo>
                <a:lnTo>
                  <a:pt x="114243" y="82438"/>
                </a:lnTo>
                <a:lnTo>
                  <a:pt x="107893" y="79385"/>
                </a:lnTo>
                <a:lnTo>
                  <a:pt x="101543" y="79385"/>
                </a:lnTo>
                <a:lnTo>
                  <a:pt x="98373" y="73277"/>
                </a:lnTo>
                <a:lnTo>
                  <a:pt x="95202" y="70224"/>
                </a:lnTo>
                <a:lnTo>
                  <a:pt x="92023" y="64116"/>
                </a:lnTo>
                <a:lnTo>
                  <a:pt x="88852" y="58009"/>
                </a:lnTo>
                <a:lnTo>
                  <a:pt x="82502" y="48858"/>
                </a:lnTo>
                <a:lnTo>
                  <a:pt x="79332" y="42751"/>
                </a:lnTo>
                <a:lnTo>
                  <a:pt x="79332" y="39688"/>
                </a:lnTo>
                <a:lnTo>
                  <a:pt x="76162" y="33580"/>
                </a:lnTo>
                <a:lnTo>
                  <a:pt x="76162" y="27482"/>
                </a:lnTo>
                <a:lnTo>
                  <a:pt x="76162" y="21375"/>
                </a:lnTo>
                <a:lnTo>
                  <a:pt x="76162" y="18322"/>
                </a:lnTo>
                <a:lnTo>
                  <a:pt x="72982" y="15268"/>
                </a:lnTo>
                <a:lnTo>
                  <a:pt x="69812" y="12214"/>
                </a:lnTo>
                <a:lnTo>
                  <a:pt x="69812" y="9161"/>
                </a:lnTo>
                <a:lnTo>
                  <a:pt x="66642" y="9161"/>
                </a:lnTo>
                <a:lnTo>
                  <a:pt x="63462" y="3053"/>
                </a:lnTo>
                <a:lnTo>
                  <a:pt x="60292" y="3053"/>
                </a:lnTo>
                <a:lnTo>
                  <a:pt x="57121" y="3053"/>
                </a:lnTo>
                <a:lnTo>
                  <a:pt x="50771" y="0"/>
                </a:lnTo>
                <a:lnTo>
                  <a:pt x="47601" y="0"/>
                </a:lnTo>
                <a:lnTo>
                  <a:pt x="44421" y="0"/>
                </a:lnTo>
                <a:lnTo>
                  <a:pt x="41251" y="0"/>
                </a:lnTo>
                <a:lnTo>
                  <a:pt x="38081" y="0"/>
                </a:lnTo>
                <a:lnTo>
                  <a:pt x="28561" y="6107"/>
                </a:lnTo>
                <a:lnTo>
                  <a:pt x="22211" y="6107"/>
                </a:lnTo>
                <a:lnTo>
                  <a:pt x="19040" y="9161"/>
                </a:lnTo>
                <a:lnTo>
                  <a:pt x="12690" y="9161"/>
                </a:lnTo>
                <a:lnTo>
                  <a:pt x="6340" y="15268"/>
                </a:lnTo>
                <a:lnTo>
                  <a:pt x="3170" y="18322"/>
                </a:lnTo>
                <a:lnTo>
                  <a:pt x="0" y="24429"/>
                </a:lnTo>
                <a:lnTo>
                  <a:pt x="3170" y="24429"/>
                </a:lnTo>
                <a:lnTo>
                  <a:pt x="3170" y="27482"/>
                </a:lnTo>
                <a:lnTo>
                  <a:pt x="3170" y="30536"/>
                </a:lnTo>
                <a:lnTo>
                  <a:pt x="6340" y="36643"/>
                </a:lnTo>
                <a:lnTo>
                  <a:pt x="6340" y="42751"/>
                </a:lnTo>
                <a:lnTo>
                  <a:pt x="6340" y="45795"/>
                </a:lnTo>
                <a:lnTo>
                  <a:pt x="6340" y="48858"/>
                </a:lnTo>
                <a:lnTo>
                  <a:pt x="9520" y="54955"/>
                </a:lnTo>
                <a:lnTo>
                  <a:pt x="12690" y="58009"/>
                </a:lnTo>
                <a:lnTo>
                  <a:pt x="15861" y="61063"/>
                </a:lnTo>
                <a:lnTo>
                  <a:pt x="15861" y="64116"/>
                </a:lnTo>
                <a:lnTo>
                  <a:pt x="15861" y="67170"/>
                </a:lnTo>
                <a:lnTo>
                  <a:pt x="12690" y="73277"/>
                </a:lnTo>
                <a:lnTo>
                  <a:pt x="12690" y="76331"/>
                </a:lnTo>
                <a:lnTo>
                  <a:pt x="12690" y="79385"/>
                </a:lnTo>
                <a:lnTo>
                  <a:pt x="15861" y="82438"/>
                </a:lnTo>
                <a:lnTo>
                  <a:pt x="22211" y="91599"/>
                </a:lnTo>
                <a:lnTo>
                  <a:pt x="25381" y="97706"/>
                </a:lnTo>
                <a:lnTo>
                  <a:pt x="31731" y="103814"/>
                </a:lnTo>
                <a:lnTo>
                  <a:pt x="31731" y="106867"/>
                </a:lnTo>
                <a:lnTo>
                  <a:pt x="31731" y="109921"/>
                </a:lnTo>
                <a:lnTo>
                  <a:pt x="28561" y="109921"/>
                </a:lnTo>
                <a:lnTo>
                  <a:pt x="25381" y="112975"/>
                </a:lnTo>
                <a:lnTo>
                  <a:pt x="22211" y="116028"/>
                </a:lnTo>
                <a:lnTo>
                  <a:pt x="15861" y="119082"/>
                </a:lnTo>
                <a:lnTo>
                  <a:pt x="12690" y="122135"/>
                </a:lnTo>
                <a:lnTo>
                  <a:pt x="9520" y="128242"/>
                </a:lnTo>
                <a:lnTo>
                  <a:pt x="19040" y="128242"/>
                </a:lnTo>
                <a:lnTo>
                  <a:pt x="25381" y="128242"/>
                </a:lnTo>
                <a:lnTo>
                  <a:pt x="31731" y="131296"/>
                </a:lnTo>
                <a:lnTo>
                  <a:pt x="34901" y="134350"/>
                </a:lnTo>
                <a:lnTo>
                  <a:pt x="38081" y="137403"/>
                </a:lnTo>
                <a:lnTo>
                  <a:pt x="38081" y="140457"/>
                </a:lnTo>
                <a:lnTo>
                  <a:pt x="41251" y="143511"/>
                </a:lnTo>
                <a:lnTo>
                  <a:pt x="41251" y="152671"/>
                </a:lnTo>
                <a:lnTo>
                  <a:pt x="44421" y="158779"/>
                </a:lnTo>
                <a:lnTo>
                  <a:pt x="44421" y="158779"/>
                </a:lnTo>
                <a:close/>
              </a:path>
            </a:pathLst>
          </a:custGeom>
          <a:solidFill>
            <a:srgbClr val="F2F2F2"/>
          </a:solidFill>
          <a:ln w="9511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91459"/>
            <a:ext cx="8305078" cy="33855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200" b="1" cap="all" dirty="0"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ЗАГОЛОВОК</a:t>
            </a:r>
            <a:endParaRPr lang="ru-RU" sz="24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514" name="Группа 513">
            <a:extLst>
              <a:ext uri="{FF2B5EF4-FFF2-40B4-BE49-F238E27FC236}">
                <a16:creationId xmlns:a16="http://schemas.microsoft.com/office/drawing/2014/main" id="{D76E97C9-0328-7946-B977-9CFCA03F64C6}"/>
              </a:ext>
            </a:extLst>
          </p:cNvPr>
          <p:cNvGrpSpPr/>
          <p:nvPr/>
        </p:nvGrpSpPr>
        <p:grpSpPr>
          <a:xfrm>
            <a:off x="5035125" y="1862647"/>
            <a:ext cx="157240" cy="159480"/>
            <a:chOff x="3563888" y="1275606"/>
            <a:chExt cx="216024" cy="216024"/>
          </a:xfrm>
        </p:grpSpPr>
        <p:sp>
          <p:nvSpPr>
            <p:cNvPr id="515" name="Овал 514">
              <a:extLst>
                <a:ext uri="{FF2B5EF4-FFF2-40B4-BE49-F238E27FC236}">
                  <a16:creationId xmlns:a16="http://schemas.microsoft.com/office/drawing/2014/main" id="{A30914C7-5D3A-CB4D-870B-C0ED7A134942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0070BA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16" name="Овал 515">
              <a:extLst>
                <a:ext uri="{FF2B5EF4-FFF2-40B4-BE49-F238E27FC236}">
                  <a16:creationId xmlns:a16="http://schemas.microsoft.com/office/drawing/2014/main" id="{796A1006-195C-1A43-A6B4-988AC74D7A87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517" name="TextBox 516">
            <a:extLst>
              <a:ext uri="{FF2B5EF4-FFF2-40B4-BE49-F238E27FC236}">
                <a16:creationId xmlns:a16="http://schemas.microsoft.com/office/drawing/2014/main" id="{5C826F44-0D51-6A46-9AF8-1CBF453A275E}"/>
              </a:ext>
            </a:extLst>
          </p:cNvPr>
          <p:cNvSpPr txBox="1"/>
          <p:nvPr/>
        </p:nvSpPr>
        <p:spPr>
          <a:xfrm>
            <a:off x="5242964" y="1805749"/>
            <a:ext cx="120656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анкт-Петербург</a:t>
            </a:r>
          </a:p>
        </p:txBody>
      </p:sp>
      <p:sp>
        <p:nvSpPr>
          <p:cNvPr id="553" name="Полилиния 552">
            <a:extLst>
              <a:ext uri="{FF2B5EF4-FFF2-40B4-BE49-F238E27FC236}">
                <a16:creationId xmlns:a16="http://schemas.microsoft.com/office/drawing/2014/main" id="{54CE6FB4-66BA-CF44-BCD8-B4AB15A91D82}"/>
              </a:ext>
            </a:extLst>
          </p:cNvPr>
          <p:cNvSpPr/>
          <p:nvPr/>
        </p:nvSpPr>
        <p:spPr>
          <a:xfrm>
            <a:off x="1566333" y="1202267"/>
            <a:ext cx="3386092" cy="741980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004596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6DACD6C7-9A87-FB40-8E4B-E66CE9B72A96}"/>
              </a:ext>
            </a:extLst>
          </p:cNvPr>
          <p:cNvSpPr txBox="1"/>
          <p:nvPr/>
        </p:nvSpPr>
        <p:spPr>
          <a:xfrm>
            <a:off x="337046" y="1125538"/>
            <a:ext cx="185295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555" name="Группа 554">
            <a:extLst>
              <a:ext uri="{FF2B5EF4-FFF2-40B4-BE49-F238E27FC236}">
                <a16:creationId xmlns:a16="http://schemas.microsoft.com/office/drawing/2014/main" id="{74FDCACE-501A-A14F-A4D3-4F6B3BB57708}"/>
              </a:ext>
            </a:extLst>
          </p:cNvPr>
          <p:cNvGrpSpPr/>
          <p:nvPr/>
        </p:nvGrpSpPr>
        <p:grpSpPr>
          <a:xfrm>
            <a:off x="3146288" y="2709460"/>
            <a:ext cx="157240" cy="159480"/>
            <a:chOff x="3563888" y="1275606"/>
            <a:chExt cx="216024" cy="216024"/>
          </a:xfrm>
        </p:grpSpPr>
        <p:sp>
          <p:nvSpPr>
            <p:cNvPr id="556" name="Овал 555">
              <a:extLst>
                <a:ext uri="{FF2B5EF4-FFF2-40B4-BE49-F238E27FC236}">
                  <a16:creationId xmlns:a16="http://schemas.microsoft.com/office/drawing/2014/main" id="{246A257F-A60D-2843-9AB0-1330BDA75651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557" name="Овал 556">
              <a:extLst>
                <a:ext uri="{FF2B5EF4-FFF2-40B4-BE49-F238E27FC236}">
                  <a16:creationId xmlns:a16="http://schemas.microsoft.com/office/drawing/2014/main" id="{F9EF2A6E-2100-E345-8F3E-E2F851E960F0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558" name="TextBox 557">
            <a:extLst>
              <a:ext uri="{FF2B5EF4-FFF2-40B4-BE49-F238E27FC236}">
                <a16:creationId xmlns:a16="http://schemas.microsoft.com/office/drawing/2014/main" id="{FF1A60C8-13B0-3346-80AE-29A37063CBF5}"/>
              </a:ext>
            </a:extLst>
          </p:cNvPr>
          <p:cNvSpPr txBox="1"/>
          <p:nvPr/>
        </p:nvSpPr>
        <p:spPr>
          <a:xfrm>
            <a:off x="3354127" y="2652562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елград</a:t>
            </a: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C659AB64-BD43-854D-AE2A-25787EA8A6BB}"/>
              </a:ext>
            </a:extLst>
          </p:cNvPr>
          <p:cNvSpPr txBox="1"/>
          <p:nvPr/>
        </p:nvSpPr>
        <p:spPr>
          <a:xfrm>
            <a:off x="337045" y="2593086"/>
            <a:ext cx="19482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2B262E9A-266E-CD48-BE08-6EEA81398B08}"/>
              </a:ext>
            </a:extLst>
          </p:cNvPr>
          <p:cNvSpPr txBox="1"/>
          <p:nvPr/>
        </p:nvSpPr>
        <p:spPr>
          <a:xfrm>
            <a:off x="337045" y="3291193"/>
            <a:ext cx="132846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1" name="TextBox 560">
            <a:extLst>
              <a:ext uri="{FF2B5EF4-FFF2-40B4-BE49-F238E27FC236}">
                <a16:creationId xmlns:a16="http://schemas.microsoft.com/office/drawing/2014/main" id="{2B0AB1C2-2C92-124F-BB2C-FAE598AF644D}"/>
              </a:ext>
            </a:extLst>
          </p:cNvPr>
          <p:cNvSpPr txBox="1"/>
          <p:nvPr/>
        </p:nvSpPr>
        <p:spPr>
          <a:xfrm>
            <a:off x="337045" y="3989300"/>
            <a:ext cx="1728519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*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3" name="TextBox 562">
            <a:extLst>
              <a:ext uri="{FF2B5EF4-FFF2-40B4-BE49-F238E27FC236}">
                <a16:creationId xmlns:a16="http://schemas.microsoft.com/office/drawing/2014/main" id="{B4A88392-9DD4-8843-909E-FEAD0F9AF756}"/>
              </a:ext>
            </a:extLst>
          </p:cNvPr>
          <p:cNvSpPr txBox="1"/>
          <p:nvPr/>
        </p:nvSpPr>
        <p:spPr>
          <a:xfrm>
            <a:off x="2103167" y="5057674"/>
            <a:ext cx="172851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*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4" name="TextBox 563">
            <a:extLst>
              <a:ext uri="{FF2B5EF4-FFF2-40B4-BE49-F238E27FC236}">
                <a16:creationId xmlns:a16="http://schemas.microsoft.com/office/drawing/2014/main" id="{4A213251-3338-7240-BF31-2549C816EB0C}"/>
              </a:ext>
            </a:extLst>
          </p:cNvPr>
          <p:cNvSpPr txBox="1"/>
          <p:nvPr/>
        </p:nvSpPr>
        <p:spPr>
          <a:xfrm>
            <a:off x="245256" y="6391660"/>
            <a:ext cx="6110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ТЕКСТ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— Текс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6" name="TextBox 565">
            <a:extLst>
              <a:ext uri="{FF2B5EF4-FFF2-40B4-BE49-F238E27FC236}">
                <a16:creationId xmlns:a16="http://schemas.microsoft.com/office/drawing/2014/main" id="{DFA0B014-B7D9-1944-8DA1-AE6A65DD94FC}"/>
              </a:ext>
            </a:extLst>
          </p:cNvPr>
          <p:cNvSpPr txBox="1"/>
          <p:nvPr/>
        </p:nvSpPr>
        <p:spPr>
          <a:xfrm>
            <a:off x="9928954" y="1125538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7" name="TextBox 566">
            <a:extLst>
              <a:ext uri="{FF2B5EF4-FFF2-40B4-BE49-F238E27FC236}">
                <a16:creationId xmlns:a16="http://schemas.microsoft.com/office/drawing/2014/main" id="{6D4860D1-45C7-ED4C-9C3B-D0936459EDD6}"/>
              </a:ext>
            </a:extLst>
          </p:cNvPr>
          <p:cNvSpPr txBox="1"/>
          <p:nvPr/>
        </p:nvSpPr>
        <p:spPr>
          <a:xfrm>
            <a:off x="9908406" y="2071274"/>
            <a:ext cx="18035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0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8" name="TextBox 567">
            <a:extLst>
              <a:ext uri="{FF2B5EF4-FFF2-40B4-BE49-F238E27FC236}">
                <a16:creationId xmlns:a16="http://schemas.microsoft.com/office/drawing/2014/main" id="{366D5B3D-37D4-C548-BEF1-EEDF285E6551}"/>
              </a:ext>
            </a:extLst>
          </p:cNvPr>
          <p:cNvSpPr txBox="1"/>
          <p:nvPr/>
        </p:nvSpPr>
        <p:spPr>
          <a:xfrm>
            <a:off x="9928954" y="3001622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69" name="TextBox 568">
            <a:extLst>
              <a:ext uri="{FF2B5EF4-FFF2-40B4-BE49-F238E27FC236}">
                <a16:creationId xmlns:a16="http://schemas.microsoft.com/office/drawing/2014/main" id="{9822C14B-4735-C442-B4B4-4DB2AA2296C4}"/>
              </a:ext>
            </a:extLst>
          </p:cNvPr>
          <p:cNvSpPr txBox="1"/>
          <p:nvPr/>
        </p:nvSpPr>
        <p:spPr>
          <a:xfrm>
            <a:off x="9928954" y="5084763"/>
            <a:ext cx="194828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r>
              <a:rPr lang="ru-RU" sz="800" baseline="30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44" name="TextBox 643">
            <a:extLst>
              <a:ext uri="{FF2B5EF4-FFF2-40B4-BE49-F238E27FC236}">
                <a16:creationId xmlns:a16="http://schemas.microsoft.com/office/drawing/2014/main" id="{F1BD928F-D22A-9845-BF50-895397DBC5F5}"/>
              </a:ext>
            </a:extLst>
          </p:cNvPr>
          <p:cNvSpPr txBox="1"/>
          <p:nvPr/>
        </p:nvSpPr>
        <p:spPr>
          <a:xfrm>
            <a:off x="4560695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5" name="TextBox 644">
            <a:extLst>
              <a:ext uri="{FF2B5EF4-FFF2-40B4-BE49-F238E27FC236}">
                <a16:creationId xmlns:a16="http://schemas.microsoft.com/office/drawing/2014/main" id="{3F5D66BC-2C85-7F48-A271-1070782A4D65}"/>
              </a:ext>
            </a:extLst>
          </p:cNvPr>
          <p:cNvSpPr txBox="1"/>
          <p:nvPr/>
        </p:nvSpPr>
        <p:spPr>
          <a:xfrm>
            <a:off x="6471997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6" name="TextBox 645">
            <a:extLst>
              <a:ext uri="{FF2B5EF4-FFF2-40B4-BE49-F238E27FC236}">
                <a16:creationId xmlns:a16="http://schemas.microsoft.com/office/drawing/2014/main" id="{07BD99D7-4A1A-EE46-AC75-B5C64BF46BA0}"/>
              </a:ext>
            </a:extLst>
          </p:cNvPr>
          <p:cNvSpPr txBox="1"/>
          <p:nvPr/>
        </p:nvSpPr>
        <p:spPr>
          <a:xfrm>
            <a:off x="8445176" y="6019362"/>
            <a:ext cx="1163231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1600"/>
              </a:spcBef>
            </a:pPr>
            <a:r>
              <a:rPr lang="ru-RU" sz="80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текст</a:t>
            </a:r>
          </a:p>
        </p:txBody>
      </p:sp>
      <p:sp>
        <p:nvSpPr>
          <p:cNvPr id="647" name="Полилиния 646">
            <a:extLst>
              <a:ext uri="{FF2B5EF4-FFF2-40B4-BE49-F238E27FC236}">
                <a16:creationId xmlns:a16="http://schemas.microsoft.com/office/drawing/2014/main" id="{DD3A682C-FDD4-704C-A1C9-5251D61DD069}"/>
              </a:ext>
            </a:extLst>
          </p:cNvPr>
          <p:cNvSpPr/>
          <p:nvPr/>
        </p:nvSpPr>
        <p:spPr>
          <a:xfrm flipV="1">
            <a:off x="1988457" y="2374900"/>
            <a:ext cx="2505819" cy="394534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48" name="Группа 647">
            <a:extLst>
              <a:ext uri="{FF2B5EF4-FFF2-40B4-BE49-F238E27FC236}">
                <a16:creationId xmlns:a16="http://schemas.microsoft.com/office/drawing/2014/main" id="{CC0D0BF8-11DC-384B-962E-98ADB2233E32}"/>
              </a:ext>
            </a:extLst>
          </p:cNvPr>
          <p:cNvGrpSpPr/>
          <p:nvPr/>
        </p:nvGrpSpPr>
        <p:grpSpPr>
          <a:xfrm>
            <a:off x="4818049" y="2611005"/>
            <a:ext cx="157240" cy="159480"/>
            <a:chOff x="3563888" y="1275606"/>
            <a:chExt cx="216024" cy="216024"/>
          </a:xfrm>
        </p:grpSpPr>
        <p:sp>
          <p:nvSpPr>
            <p:cNvPr id="649" name="Овал 648">
              <a:extLst>
                <a:ext uri="{FF2B5EF4-FFF2-40B4-BE49-F238E27FC236}">
                  <a16:creationId xmlns:a16="http://schemas.microsoft.com/office/drawing/2014/main" id="{8CDD6C19-3743-034C-995F-FE8ACA198B8D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650" name="Овал 649">
              <a:extLst>
                <a:ext uri="{FF2B5EF4-FFF2-40B4-BE49-F238E27FC236}">
                  <a16:creationId xmlns:a16="http://schemas.microsoft.com/office/drawing/2014/main" id="{62848ACB-5EC4-FA4D-94A2-CF918CFD7115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651" name="TextBox 650">
            <a:extLst>
              <a:ext uri="{FF2B5EF4-FFF2-40B4-BE49-F238E27FC236}">
                <a16:creationId xmlns:a16="http://schemas.microsoft.com/office/drawing/2014/main" id="{DDFC88F7-A64A-3841-9305-BFBFD8090626}"/>
              </a:ext>
            </a:extLst>
          </p:cNvPr>
          <p:cNvSpPr txBox="1"/>
          <p:nvPr/>
        </p:nvSpPr>
        <p:spPr>
          <a:xfrm>
            <a:off x="5025888" y="2554107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осква</a:t>
            </a:r>
          </a:p>
        </p:txBody>
      </p:sp>
      <p:sp>
        <p:nvSpPr>
          <p:cNvPr id="652" name="Полилиния 651">
            <a:extLst>
              <a:ext uri="{FF2B5EF4-FFF2-40B4-BE49-F238E27FC236}">
                <a16:creationId xmlns:a16="http://schemas.microsoft.com/office/drawing/2014/main" id="{3327223C-F30E-FA45-9E75-F1DDC0C25EC0}"/>
              </a:ext>
            </a:extLst>
          </p:cNvPr>
          <p:cNvSpPr/>
          <p:nvPr/>
        </p:nvSpPr>
        <p:spPr>
          <a:xfrm flipV="1">
            <a:off x="1907737" y="2688533"/>
            <a:ext cx="2586540" cy="1360261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704" name="Группа 703">
            <a:extLst>
              <a:ext uri="{FF2B5EF4-FFF2-40B4-BE49-F238E27FC236}">
                <a16:creationId xmlns:a16="http://schemas.microsoft.com/office/drawing/2014/main" id="{52C3BAE6-CE53-1640-B831-E93C217261FC}"/>
              </a:ext>
            </a:extLst>
          </p:cNvPr>
          <p:cNvGrpSpPr/>
          <p:nvPr/>
        </p:nvGrpSpPr>
        <p:grpSpPr>
          <a:xfrm>
            <a:off x="4796780" y="2288836"/>
            <a:ext cx="157240" cy="159480"/>
            <a:chOff x="3563888" y="1275606"/>
            <a:chExt cx="216024" cy="216024"/>
          </a:xfrm>
        </p:grpSpPr>
        <p:sp>
          <p:nvSpPr>
            <p:cNvPr id="705" name="Овал 704">
              <a:extLst>
                <a:ext uri="{FF2B5EF4-FFF2-40B4-BE49-F238E27FC236}">
                  <a16:creationId xmlns:a16="http://schemas.microsoft.com/office/drawing/2014/main" id="{DF9A69CF-D3D6-B842-81FA-A60A92D15AC1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706" name="Овал 705">
              <a:extLst>
                <a:ext uri="{FF2B5EF4-FFF2-40B4-BE49-F238E27FC236}">
                  <a16:creationId xmlns:a16="http://schemas.microsoft.com/office/drawing/2014/main" id="{0D571624-C655-144A-BA0C-8FBEBB2179D6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07" name="TextBox 706">
            <a:extLst>
              <a:ext uri="{FF2B5EF4-FFF2-40B4-BE49-F238E27FC236}">
                <a16:creationId xmlns:a16="http://schemas.microsoft.com/office/drawing/2014/main" id="{F66B3472-05E7-5D4E-91DE-E7394B38808D}"/>
              </a:ext>
            </a:extLst>
          </p:cNvPr>
          <p:cNvSpPr txBox="1"/>
          <p:nvPr/>
        </p:nvSpPr>
        <p:spPr>
          <a:xfrm>
            <a:off x="5004619" y="2231938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верь</a:t>
            </a:r>
          </a:p>
        </p:txBody>
      </p:sp>
      <p:grpSp>
        <p:nvGrpSpPr>
          <p:cNvPr id="802" name="Группа 801">
            <a:extLst>
              <a:ext uri="{FF2B5EF4-FFF2-40B4-BE49-F238E27FC236}">
                <a16:creationId xmlns:a16="http://schemas.microsoft.com/office/drawing/2014/main" id="{A10C921F-E603-7B49-B844-E7C14F4F1EDE}"/>
              </a:ext>
            </a:extLst>
          </p:cNvPr>
          <p:cNvGrpSpPr/>
          <p:nvPr/>
        </p:nvGrpSpPr>
        <p:grpSpPr>
          <a:xfrm>
            <a:off x="6801295" y="3372034"/>
            <a:ext cx="157240" cy="159480"/>
            <a:chOff x="3563888" y="1275606"/>
            <a:chExt cx="216024" cy="216024"/>
          </a:xfrm>
        </p:grpSpPr>
        <p:sp>
          <p:nvSpPr>
            <p:cNvPr id="803" name="Овал 802">
              <a:extLst>
                <a:ext uri="{FF2B5EF4-FFF2-40B4-BE49-F238E27FC236}">
                  <a16:creationId xmlns:a16="http://schemas.microsoft.com/office/drawing/2014/main" id="{F1564AA4-A1A3-B540-9F53-3A79FB369CF5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04" name="Овал 803">
              <a:extLst>
                <a:ext uri="{FF2B5EF4-FFF2-40B4-BE49-F238E27FC236}">
                  <a16:creationId xmlns:a16="http://schemas.microsoft.com/office/drawing/2014/main" id="{46D18DF1-383E-5C4F-B60D-4562DAA91B33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05" name="TextBox 804">
            <a:extLst>
              <a:ext uri="{FF2B5EF4-FFF2-40B4-BE49-F238E27FC236}">
                <a16:creationId xmlns:a16="http://schemas.microsoft.com/office/drawing/2014/main" id="{657112F4-714B-984E-B4A5-D42E0F0D59B1}"/>
              </a:ext>
            </a:extLst>
          </p:cNvPr>
          <p:cNvSpPr txBox="1"/>
          <p:nvPr/>
        </p:nvSpPr>
        <p:spPr>
          <a:xfrm>
            <a:off x="5530294" y="3299683"/>
            <a:ext cx="1206568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Ханты-Мансийск</a:t>
            </a:r>
          </a:p>
        </p:txBody>
      </p:sp>
      <p:grpSp>
        <p:nvGrpSpPr>
          <p:cNvPr id="823" name="Группа 822">
            <a:extLst>
              <a:ext uri="{FF2B5EF4-FFF2-40B4-BE49-F238E27FC236}">
                <a16:creationId xmlns:a16="http://schemas.microsoft.com/office/drawing/2014/main" id="{CAC83C67-2178-F04A-BF3F-E540184CAC78}"/>
              </a:ext>
            </a:extLst>
          </p:cNvPr>
          <p:cNvGrpSpPr/>
          <p:nvPr/>
        </p:nvGrpSpPr>
        <p:grpSpPr>
          <a:xfrm>
            <a:off x="7373359" y="3625614"/>
            <a:ext cx="157240" cy="159480"/>
            <a:chOff x="3563888" y="1275606"/>
            <a:chExt cx="216024" cy="216024"/>
          </a:xfrm>
        </p:grpSpPr>
        <p:sp>
          <p:nvSpPr>
            <p:cNvPr id="824" name="Овал 823">
              <a:extLst>
                <a:ext uri="{FF2B5EF4-FFF2-40B4-BE49-F238E27FC236}">
                  <a16:creationId xmlns:a16="http://schemas.microsoft.com/office/drawing/2014/main" id="{5A398124-DC96-6947-A278-96DC666A0FA8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E65907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5" name="Овал 824">
              <a:extLst>
                <a:ext uri="{FF2B5EF4-FFF2-40B4-BE49-F238E27FC236}">
                  <a16:creationId xmlns:a16="http://schemas.microsoft.com/office/drawing/2014/main" id="{4CB0ECFE-A9E3-5048-A23B-50E4395C74B6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46B4E9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26" name="TextBox 825">
            <a:extLst>
              <a:ext uri="{FF2B5EF4-FFF2-40B4-BE49-F238E27FC236}">
                <a16:creationId xmlns:a16="http://schemas.microsoft.com/office/drawing/2014/main" id="{1A8DC58D-A2AA-7A4A-A41D-D51368A7DC8D}"/>
              </a:ext>
            </a:extLst>
          </p:cNvPr>
          <p:cNvSpPr txBox="1"/>
          <p:nvPr/>
        </p:nvSpPr>
        <p:spPr>
          <a:xfrm>
            <a:off x="7566856" y="3561451"/>
            <a:ext cx="801613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гион</a:t>
            </a:r>
          </a:p>
        </p:txBody>
      </p:sp>
      <p:grpSp>
        <p:nvGrpSpPr>
          <p:cNvPr id="827" name="Группа 826">
            <a:extLst>
              <a:ext uri="{FF2B5EF4-FFF2-40B4-BE49-F238E27FC236}">
                <a16:creationId xmlns:a16="http://schemas.microsoft.com/office/drawing/2014/main" id="{9913E86D-BEDC-C34B-9617-B7B44C85ABF5}"/>
              </a:ext>
            </a:extLst>
          </p:cNvPr>
          <p:cNvGrpSpPr/>
          <p:nvPr/>
        </p:nvGrpSpPr>
        <p:grpSpPr>
          <a:xfrm>
            <a:off x="6553256" y="3963657"/>
            <a:ext cx="157240" cy="159480"/>
            <a:chOff x="3563888" y="1275606"/>
            <a:chExt cx="216024" cy="216024"/>
          </a:xfrm>
        </p:grpSpPr>
        <p:sp>
          <p:nvSpPr>
            <p:cNvPr id="828" name="Овал 827">
              <a:extLst>
                <a:ext uri="{FF2B5EF4-FFF2-40B4-BE49-F238E27FC236}">
                  <a16:creationId xmlns:a16="http://schemas.microsoft.com/office/drawing/2014/main" id="{5632AB8D-7DAD-EB4C-BB96-00DB8463C16E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0070BA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29" name="Овал 828">
              <a:extLst>
                <a:ext uri="{FF2B5EF4-FFF2-40B4-BE49-F238E27FC236}">
                  <a16:creationId xmlns:a16="http://schemas.microsoft.com/office/drawing/2014/main" id="{12CAA74F-5AC5-2B4C-BD0C-C986250A6CD4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30" name="TextBox 829">
            <a:extLst>
              <a:ext uri="{FF2B5EF4-FFF2-40B4-BE49-F238E27FC236}">
                <a16:creationId xmlns:a16="http://schemas.microsoft.com/office/drawing/2014/main" id="{ECC3A2BA-FE5A-E444-AB8B-385512262368}"/>
              </a:ext>
            </a:extLst>
          </p:cNvPr>
          <p:cNvSpPr txBox="1"/>
          <p:nvPr/>
        </p:nvSpPr>
        <p:spPr>
          <a:xfrm>
            <a:off x="6761095" y="3906759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юмень</a:t>
            </a:r>
          </a:p>
        </p:txBody>
      </p:sp>
      <p:grpSp>
        <p:nvGrpSpPr>
          <p:cNvPr id="880" name="Группа 879">
            <a:extLst>
              <a:ext uri="{FF2B5EF4-FFF2-40B4-BE49-F238E27FC236}">
                <a16:creationId xmlns:a16="http://schemas.microsoft.com/office/drawing/2014/main" id="{8123741F-25B9-DE4D-818D-7BD070A86562}"/>
              </a:ext>
            </a:extLst>
          </p:cNvPr>
          <p:cNvGrpSpPr/>
          <p:nvPr/>
        </p:nvGrpSpPr>
        <p:grpSpPr>
          <a:xfrm>
            <a:off x="6932736" y="4206623"/>
            <a:ext cx="157240" cy="159480"/>
            <a:chOff x="3563888" y="1275606"/>
            <a:chExt cx="216024" cy="216024"/>
          </a:xfrm>
        </p:grpSpPr>
        <p:sp>
          <p:nvSpPr>
            <p:cNvPr id="881" name="Овал 880">
              <a:extLst>
                <a:ext uri="{FF2B5EF4-FFF2-40B4-BE49-F238E27FC236}">
                  <a16:creationId xmlns:a16="http://schemas.microsoft.com/office/drawing/2014/main" id="{3AAC2D83-2655-FC4C-961E-0EC0ED52D767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882" name="Овал 881">
              <a:extLst>
                <a:ext uri="{FF2B5EF4-FFF2-40B4-BE49-F238E27FC236}">
                  <a16:creationId xmlns:a16="http://schemas.microsoft.com/office/drawing/2014/main" id="{7842872F-FCB5-A445-8947-1D74ADCFB837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883" name="TextBox 882">
            <a:extLst>
              <a:ext uri="{FF2B5EF4-FFF2-40B4-BE49-F238E27FC236}">
                <a16:creationId xmlns:a16="http://schemas.microsoft.com/office/drawing/2014/main" id="{9BEA3274-1DAF-7146-8C8F-4EA53322A83F}"/>
              </a:ext>
            </a:extLst>
          </p:cNvPr>
          <p:cNvSpPr txBox="1"/>
          <p:nvPr/>
        </p:nvSpPr>
        <p:spPr>
          <a:xfrm>
            <a:off x="5679276" y="4143462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осибирск</a:t>
            </a:r>
          </a:p>
        </p:txBody>
      </p:sp>
      <p:grpSp>
        <p:nvGrpSpPr>
          <p:cNvPr id="1023" name="Группа 1022">
            <a:extLst>
              <a:ext uri="{FF2B5EF4-FFF2-40B4-BE49-F238E27FC236}">
                <a16:creationId xmlns:a16="http://schemas.microsoft.com/office/drawing/2014/main" id="{DFBDDA9A-08AC-6C4D-90F7-7EC0BAF9B94C}"/>
              </a:ext>
            </a:extLst>
          </p:cNvPr>
          <p:cNvGrpSpPr/>
          <p:nvPr/>
        </p:nvGrpSpPr>
        <p:grpSpPr>
          <a:xfrm>
            <a:off x="7693124" y="4270545"/>
            <a:ext cx="157240" cy="159480"/>
            <a:chOff x="3563888" y="1275606"/>
            <a:chExt cx="216024" cy="216024"/>
          </a:xfrm>
        </p:grpSpPr>
        <p:sp>
          <p:nvSpPr>
            <p:cNvPr id="1024" name="Овал 1023">
              <a:extLst>
                <a:ext uri="{FF2B5EF4-FFF2-40B4-BE49-F238E27FC236}">
                  <a16:creationId xmlns:a16="http://schemas.microsoft.com/office/drawing/2014/main" id="{5738B25C-38C4-124C-995D-3573290249B8}"/>
                </a:ext>
              </a:extLst>
            </p:cNvPr>
            <p:cNvSpPr/>
            <p:nvPr/>
          </p:nvSpPr>
          <p:spPr>
            <a:xfrm>
              <a:off x="3563888" y="1275606"/>
              <a:ext cx="216024" cy="216024"/>
            </a:xfrm>
            <a:prstGeom prst="ellipse">
              <a:avLst/>
            </a:prstGeom>
            <a:solidFill>
              <a:srgbClr val="7E7E7E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1025" name="Овал 1024">
              <a:extLst>
                <a:ext uri="{FF2B5EF4-FFF2-40B4-BE49-F238E27FC236}">
                  <a16:creationId xmlns:a16="http://schemas.microsoft.com/office/drawing/2014/main" id="{4DC400DA-33CB-2D45-97C8-648472D93E99}"/>
                </a:ext>
              </a:extLst>
            </p:cNvPr>
            <p:cNvSpPr/>
            <p:nvPr/>
          </p:nvSpPr>
          <p:spPr>
            <a:xfrm>
              <a:off x="3635896" y="1347614"/>
              <a:ext cx="72008" cy="72008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spcBef>
                  <a:spcPts val="800"/>
                </a:spcBef>
                <a:defRPr/>
              </a:pPr>
              <a:endParaRPr lang="ru-RU" sz="1600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026" name="TextBox 1025">
            <a:extLst>
              <a:ext uri="{FF2B5EF4-FFF2-40B4-BE49-F238E27FC236}">
                <a16:creationId xmlns:a16="http://schemas.microsoft.com/office/drawing/2014/main" id="{F758583E-C815-E247-8D64-9BA9331860E8}"/>
              </a:ext>
            </a:extLst>
          </p:cNvPr>
          <p:cNvSpPr txBox="1"/>
          <p:nvPr/>
        </p:nvSpPr>
        <p:spPr>
          <a:xfrm>
            <a:off x="7888437" y="4207384"/>
            <a:ext cx="1206568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defTabSz="1219170">
              <a:spcBef>
                <a:spcPts val="800"/>
              </a:spcBef>
              <a:defRPr/>
            </a:pPr>
            <a:r>
              <a:rPr lang="ru-RU" sz="1200" kern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омск</a:t>
            </a:r>
          </a:p>
        </p:txBody>
      </p:sp>
      <p:sp>
        <p:nvSpPr>
          <p:cNvPr id="1031" name="Полилиния 1030">
            <a:extLst>
              <a:ext uri="{FF2B5EF4-FFF2-40B4-BE49-F238E27FC236}">
                <a16:creationId xmlns:a16="http://schemas.microsoft.com/office/drawing/2014/main" id="{81635161-4105-6B43-A946-40E5603FB3E4}"/>
              </a:ext>
            </a:extLst>
          </p:cNvPr>
          <p:cNvSpPr/>
          <p:nvPr/>
        </p:nvSpPr>
        <p:spPr>
          <a:xfrm flipV="1">
            <a:off x="3039368" y="4049299"/>
            <a:ext cx="3406967" cy="1083204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004596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2" name="Полилиния 1031">
            <a:extLst>
              <a:ext uri="{FF2B5EF4-FFF2-40B4-BE49-F238E27FC236}">
                <a16:creationId xmlns:a16="http://schemas.microsoft.com/office/drawing/2014/main" id="{3AAA4D11-D6BC-4B45-AEEC-B6910775F18F}"/>
              </a:ext>
            </a:extLst>
          </p:cNvPr>
          <p:cNvSpPr/>
          <p:nvPr/>
        </p:nvSpPr>
        <p:spPr>
          <a:xfrm flipV="1">
            <a:off x="1412024" y="2805404"/>
            <a:ext cx="1627344" cy="680719"/>
          </a:xfrm>
          <a:custGeom>
            <a:avLst/>
            <a:gdLst>
              <a:gd name="connsiteX0" fmla="*/ 1408670 w 1408670"/>
              <a:gd name="connsiteY0" fmla="*/ 1136822 h 1136822"/>
              <a:gd name="connsiteX1" fmla="*/ 1272746 w 1408670"/>
              <a:gd name="connsiteY1" fmla="*/ 1136822 h 1136822"/>
              <a:gd name="connsiteX2" fmla="*/ 135924 w 1408670"/>
              <a:gd name="connsiteY2" fmla="*/ 0 h 1136822"/>
              <a:gd name="connsiteX3" fmla="*/ 0 w 1408670"/>
              <a:gd name="connsiteY3" fmla="*/ 0 h 1136822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88324 w 1561070"/>
              <a:gd name="connsiteY2" fmla="*/ 5862 h 1142684"/>
              <a:gd name="connsiteX3" fmla="*/ 0 w 1561070"/>
              <a:gd name="connsiteY3" fmla="*/ 0 h 1142684"/>
              <a:gd name="connsiteX0" fmla="*/ 1561070 w 1561070"/>
              <a:gd name="connsiteY0" fmla="*/ 1142684 h 1142684"/>
              <a:gd name="connsiteX1" fmla="*/ 1425146 w 1561070"/>
              <a:gd name="connsiteY1" fmla="*/ 1142684 h 1142684"/>
              <a:gd name="connsiteX2" fmla="*/ 270740 w 1561070"/>
              <a:gd name="connsiteY2" fmla="*/ 1 h 1142684"/>
              <a:gd name="connsiteX3" fmla="*/ 0 w 1561070"/>
              <a:gd name="connsiteY3" fmla="*/ 0 h 1142684"/>
              <a:gd name="connsiteX0" fmla="*/ 1446276 w 1446276"/>
              <a:gd name="connsiteY0" fmla="*/ 1142683 h 1142683"/>
              <a:gd name="connsiteX1" fmla="*/ 1310352 w 1446276"/>
              <a:gd name="connsiteY1" fmla="*/ 1142683 h 1142683"/>
              <a:gd name="connsiteX2" fmla="*/ 155946 w 1446276"/>
              <a:gd name="connsiteY2" fmla="*/ 0 h 1142683"/>
              <a:gd name="connsiteX3" fmla="*/ 0 w 1446276"/>
              <a:gd name="connsiteY3" fmla="*/ 10435 h 1142683"/>
              <a:gd name="connsiteX0" fmla="*/ 1446276 w 1446276"/>
              <a:gd name="connsiteY0" fmla="*/ 1142684 h 1142684"/>
              <a:gd name="connsiteX1" fmla="*/ 1310352 w 1446276"/>
              <a:gd name="connsiteY1" fmla="*/ 1142684 h 1142684"/>
              <a:gd name="connsiteX2" fmla="*/ 155946 w 1446276"/>
              <a:gd name="connsiteY2" fmla="*/ 1 h 1142684"/>
              <a:gd name="connsiteX3" fmla="*/ 0 w 1446276"/>
              <a:gd name="connsiteY3" fmla="*/ 0 h 1142684"/>
              <a:gd name="connsiteX0" fmla="*/ 1617363 w 1617363"/>
              <a:gd name="connsiteY0" fmla="*/ 1142684 h 1142684"/>
              <a:gd name="connsiteX1" fmla="*/ 1481439 w 1617363"/>
              <a:gd name="connsiteY1" fmla="*/ 1142684 h 1142684"/>
              <a:gd name="connsiteX2" fmla="*/ 327033 w 1617363"/>
              <a:gd name="connsiteY2" fmla="*/ 1 h 1142684"/>
              <a:gd name="connsiteX3" fmla="*/ 0 w 1617363"/>
              <a:gd name="connsiteY3" fmla="*/ 0 h 11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17363" h="1142684">
                <a:moveTo>
                  <a:pt x="1617363" y="1142684"/>
                </a:moveTo>
                <a:lnTo>
                  <a:pt x="1481439" y="1142684"/>
                </a:lnTo>
                <a:lnTo>
                  <a:pt x="327033" y="1"/>
                </a:lnTo>
                <a:lnTo>
                  <a:pt x="0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>
              <a:defRPr/>
            </a:pPr>
            <a:endParaRPr lang="ru-RU" sz="2400" kern="0">
              <a:solidFill>
                <a:srgbClr val="00459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4" name="Полилиния 1033">
            <a:extLst>
              <a:ext uri="{FF2B5EF4-FFF2-40B4-BE49-F238E27FC236}">
                <a16:creationId xmlns:a16="http://schemas.microsoft.com/office/drawing/2014/main" id="{ED295BB9-C905-F540-BB6C-CE3199F90E8A}"/>
              </a:ext>
            </a:extLst>
          </p:cNvPr>
          <p:cNvSpPr/>
          <p:nvPr/>
        </p:nvSpPr>
        <p:spPr>
          <a:xfrm>
            <a:off x="6885843" y="1202268"/>
            <a:ext cx="2856363" cy="2094282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5" name="Полилиния 1034">
            <a:extLst>
              <a:ext uri="{FF2B5EF4-FFF2-40B4-BE49-F238E27FC236}">
                <a16:creationId xmlns:a16="http://schemas.microsoft.com/office/drawing/2014/main" id="{C0421DF1-86FA-034F-AD85-69A34DC8ED30}"/>
              </a:ext>
            </a:extLst>
          </p:cNvPr>
          <p:cNvSpPr/>
          <p:nvPr/>
        </p:nvSpPr>
        <p:spPr>
          <a:xfrm>
            <a:off x="7458411" y="2202756"/>
            <a:ext cx="2355229" cy="1367259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E65907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6" name="Полилиния 1035">
            <a:extLst>
              <a:ext uri="{FF2B5EF4-FFF2-40B4-BE49-F238E27FC236}">
                <a16:creationId xmlns:a16="http://schemas.microsoft.com/office/drawing/2014/main" id="{B08C815F-162F-B24B-B06E-C80AED74CC30}"/>
              </a:ext>
            </a:extLst>
          </p:cNvPr>
          <p:cNvSpPr/>
          <p:nvPr/>
        </p:nvSpPr>
        <p:spPr>
          <a:xfrm>
            <a:off x="7159308" y="3055866"/>
            <a:ext cx="2654332" cy="1180721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7" name="Полилиния 1036">
            <a:extLst>
              <a:ext uri="{FF2B5EF4-FFF2-40B4-BE49-F238E27FC236}">
                <a16:creationId xmlns:a16="http://schemas.microsoft.com/office/drawing/2014/main" id="{E2F96D74-CE66-2243-902C-B5A744D182CB}"/>
              </a:ext>
            </a:extLst>
          </p:cNvPr>
          <p:cNvSpPr/>
          <p:nvPr/>
        </p:nvSpPr>
        <p:spPr>
          <a:xfrm flipV="1">
            <a:off x="7834426" y="4501486"/>
            <a:ext cx="1979214" cy="631016"/>
          </a:xfrm>
          <a:custGeom>
            <a:avLst/>
            <a:gdLst>
              <a:gd name="connsiteX0" fmla="*/ 0 w 2133600"/>
              <a:gd name="connsiteY0" fmla="*/ 2455653 h 2455653"/>
              <a:gd name="connsiteX1" fmla="*/ 1115683 w 2133600"/>
              <a:gd name="connsiteY1" fmla="*/ 1339970 h 2455653"/>
              <a:gd name="connsiteX2" fmla="*/ 1115683 w 2133600"/>
              <a:gd name="connsiteY2" fmla="*/ 851140 h 2455653"/>
              <a:gd name="connsiteX3" fmla="*/ 1966823 w 2133600"/>
              <a:gd name="connsiteY3" fmla="*/ 0 h 2455653"/>
              <a:gd name="connsiteX4" fmla="*/ 2133600 w 2133600"/>
              <a:gd name="connsiteY4" fmla="*/ 0 h 2455653"/>
              <a:gd name="connsiteX0" fmla="*/ 0 w 2159861"/>
              <a:gd name="connsiteY0" fmla="*/ 2455653 h 2455653"/>
              <a:gd name="connsiteX1" fmla="*/ 1115683 w 2159861"/>
              <a:gd name="connsiteY1" fmla="*/ 1339970 h 2455653"/>
              <a:gd name="connsiteX2" fmla="*/ 1115683 w 2159861"/>
              <a:gd name="connsiteY2" fmla="*/ 851140 h 2455653"/>
              <a:gd name="connsiteX3" fmla="*/ 1966823 w 2159861"/>
              <a:gd name="connsiteY3" fmla="*/ 0 h 2455653"/>
              <a:gd name="connsiteX4" fmla="*/ 2159861 w 2159861"/>
              <a:gd name="connsiteY4" fmla="*/ 0 h 2455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9861" h="2455653">
                <a:moveTo>
                  <a:pt x="0" y="2455653"/>
                </a:moveTo>
                <a:lnTo>
                  <a:pt x="1115683" y="1339970"/>
                </a:lnTo>
                <a:lnTo>
                  <a:pt x="1115683" y="851140"/>
                </a:lnTo>
                <a:lnTo>
                  <a:pt x="1966823" y="0"/>
                </a:lnTo>
                <a:lnTo>
                  <a:pt x="2159861" y="0"/>
                </a:lnTo>
              </a:path>
            </a:pathLst>
          </a:custGeom>
          <a:noFill/>
          <a:ln w="12700" cap="flat" cmpd="sng" algn="ctr">
            <a:solidFill>
              <a:srgbClr val="7E7E7E"/>
            </a:solidFill>
            <a:prstDash val="solid"/>
          </a:ln>
          <a:effectLst/>
        </p:spPr>
        <p:txBody>
          <a:bodyPr rtlCol="0" anchor="ctr"/>
          <a:lstStyle/>
          <a:p>
            <a:pPr algn="ctr" defTabSz="1219170"/>
            <a:endParaRPr lang="ru-RU" sz="2400" kern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8" name="Прямоугольник 1027">
            <a:extLst>
              <a:ext uri="{FF2B5EF4-FFF2-40B4-BE49-F238E27FC236}">
                <a16:creationId xmlns:a16="http://schemas.microsoft.com/office/drawing/2014/main" id="{0305BC0C-1EE9-D742-AFE8-E9F4ACCEE54C}"/>
              </a:ext>
            </a:extLst>
          </p:cNvPr>
          <p:cNvSpPr/>
          <p:nvPr/>
        </p:nvSpPr>
        <p:spPr>
          <a:xfrm>
            <a:off x="677771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9" name="TextBox 1028">
            <a:extLst>
              <a:ext uri="{FF2B5EF4-FFF2-40B4-BE49-F238E27FC236}">
                <a16:creationId xmlns:a16="http://schemas.microsoft.com/office/drawing/2014/main" id="{8BB9EE28-3683-3B42-A6EF-19D24B910256}"/>
              </a:ext>
            </a:extLst>
          </p:cNvPr>
          <p:cNvSpPr txBox="1"/>
          <p:nvPr/>
        </p:nvSpPr>
        <p:spPr>
          <a:xfrm>
            <a:off x="6906516" y="1326252"/>
            <a:ext cx="2158164" cy="54822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</a:t>
            </a:r>
            <a:r>
              <a:rPr lang="ru-RU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</a:t>
            </a:r>
            <a:br>
              <a:rPr lang="ru-RU" sz="4267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человек</a:t>
            </a:r>
          </a:p>
        </p:txBody>
      </p:sp>
      <p:sp>
        <p:nvSpPr>
          <p:cNvPr id="1030" name="Прямоугольник 1029">
            <a:extLst>
              <a:ext uri="{FF2B5EF4-FFF2-40B4-BE49-F238E27FC236}">
                <a16:creationId xmlns:a16="http://schemas.microsoft.com/office/drawing/2014/main" id="{A38D568B-4349-7B4F-BE56-E44F500BE828}"/>
              </a:ext>
            </a:extLst>
          </p:cNvPr>
          <p:cNvSpPr/>
          <p:nvPr/>
        </p:nvSpPr>
        <p:spPr>
          <a:xfrm>
            <a:off x="6910963" y="1917121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4DEBDEE-5553-91B5-97E9-10B6FBA1FC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53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>
            <a:extLst>
              <a:ext uri="{FF2B5EF4-FFF2-40B4-BE49-F238E27FC236}">
                <a16:creationId xmlns:a16="http://schemas.microsoft.com/office/drawing/2014/main" id="{6A2B439B-4C94-A647-B5D4-E8AFC9E89E91}"/>
              </a:ext>
            </a:extLst>
          </p:cNvPr>
          <p:cNvSpPr txBox="1"/>
          <p:nvPr/>
        </p:nvSpPr>
        <p:spPr>
          <a:xfrm>
            <a:off x="245256" y="6391660"/>
            <a:ext cx="611028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ТОГО ПРОЕКТ с учётом ГВ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8D7C9F-3EE2-9113-C6F4-CA466F3E7106}"/>
              </a:ext>
            </a:extLst>
          </p:cNvPr>
          <p:cNvSpPr txBox="1">
            <a:spLocks/>
          </p:cNvSpPr>
          <p:nvPr/>
        </p:nvSpPr>
        <p:spPr>
          <a:xfrm>
            <a:off x="336423" y="311805"/>
            <a:ext cx="2168652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АРТА И ФРЕЙМ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DF3A1B-D99E-5B11-33B0-673249B67E0B}"/>
              </a:ext>
            </a:extLst>
          </p:cNvPr>
          <p:cNvSpPr txBox="1"/>
          <p:nvPr/>
        </p:nvSpPr>
        <p:spPr>
          <a:xfrm>
            <a:off x="337044" y="707595"/>
            <a:ext cx="1055889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РАБОТА С КАРТАМИ (ВЫБОРКА ДВА)</a:t>
            </a:r>
          </a:p>
        </p:txBody>
      </p:sp>
      <p:grpSp>
        <p:nvGrpSpPr>
          <p:cNvPr id="285" name="Группа 3">
            <a:extLst>
              <a:ext uri="{FF2B5EF4-FFF2-40B4-BE49-F238E27FC236}">
                <a16:creationId xmlns:a16="http://schemas.microsoft.com/office/drawing/2014/main" id="{EE69FFD8-1299-AB4F-B1E4-E011EA5EDE61}"/>
              </a:ext>
            </a:extLst>
          </p:cNvPr>
          <p:cNvGrpSpPr/>
          <p:nvPr/>
        </p:nvGrpSpPr>
        <p:grpSpPr bwMode="auto">
          <a:xfrm>
            <a:off x="302219" y="1826185"/>
            <a:ext cx="7654854" cy="4052571"/>
            <a:chOff x="407193" y="412753"/>
            <a:chExt cx="11377608" cy="6032497"/>
          </a:xfrm>
          <a:solidFill>
            <a:srgbClr val="CCCCCC"/>
          </a:solidFill>
        </p:grpSpPr>
        <p:sp>
          <p:nvSpPr>
            <p:cNvPr id="286" name="Freeform 8895">
              <a:extLst>
                <a:ext uri="{FF2B5EF4-FFF2-40B4-BE49-F238E27FC236}">
                  <a16:creationId xmlns:a16="http://schemas.microsoft.com/office/drawing/2014/main" id="{D15E6C67-D680-DD49-9C12-6E821FDEA224}"/>
                </a:ext>
              </a:extLst>
            </p:cNvPr>
            <p:cNvSpPr/>
            <p:nvPr/>
          </p:nvSpPr>
          <p:spPr bwMode="auto">
            <a:xfrm>
              <a:off x="4142580" y="2185991"/>
              <a:ext cx="1597024" cy="1973262"/>
            </a:xfrm>
            <a:custGeom>
              <a:avLst/>
              <a:gdLst>
                <a:gd name="T0" fmla="*/ 702 w 1006"/>
                <a:gd name="T1" fmla="*/ 225 h 1243"/>
                <a:gd name="T2" fmla="*/ 755 w 1006"/>
                <a:gd name="T3" fmla="*/ 260 h 1243"/>
                <a:gd name="T4" fmla="*/ 819 w 1006"/>
                <a:gd name="T5" fmla="*/ 300 h 1243"/>
                <a:gd name="T6" fmla="*/ 806 w 1006"/>
                <a:gd name="T7" fmla="*/ 297 h 1243"/>
                <a:gd name="T8" fmla="*/ 803 w 1006"/>
                <a:gd name="T9" fmla="*/ 257 h 1243"/>
                <a:gd name="T10" fmla="*/ 771 w 1006"/>
                <a:gd name="T11" fmla="*/ 244 h 1243"/>
                <a:gd name="T12" fmla="*/ 785 w 1006"/>
                <a:gd name="T13" fmla="*/ 174 h 1243"/>
                <a:gd name="T14" fmla="*/ 833 w 1006"/>
                <a:gd name="T15" fmla="*/ 134 h 1243"/>
                <a:gd name="T16" fmla="*/ 881 w 1006"/>
                <a:gd name="T17" fmla="*/ 335 h 1243"/>
                <a:gd name="T18" fmla="*/ 835 w 1006"/>
                <a:gd name="T19" fmla="*/ 377 h 1243"/>
                <a:gd name="T20" fmla="*/ 811 w 1006"/>
                <a:gd name="T21" fmla="*/ 436 h 1243"/>
                <a:gd name="T22" fmla="*/ 870 w 1006"/>
                <a:gd name="T23" fmla="*/ 495 h 1243"/>
                <a:gd name="T24" fmla="*/ 924 w 1006"/>
                <a:gd name="T25" fmla="*/ 570 h 1243"/>
                <a:gd name="T26" fmla="*/ 886 w 1006"/>
                <a:gd name="T27" fmla="*/ 674 h 1243"/>
                <a:gd name="T28" fmla="*/ 916 w 1006"/>
                <a:gd name="T29" fmla="*/ 762 h 1243"/>
                <a:gd name="T30" fmla="*/ 937 w 1006"/>
                <a:gd name="T31" fmla="*/ 874 h 1243"/>
                <a:gd name="T32" fmla="*/ 948 w 1006"/>
                <a:gd name="T33" fmla="*/ 968 h 1243"/>
                <a:gd name="T34" fmla="*/ 1001 w 1006"/>
                <a:gd name="T35" fmla="*/ 1019 h 1243"/>
                <a:gd name="T36" fmla="*/ 964 w 1006"/>
                <a:gd name="T37" fmla="*/ 1115 h 1243"/>
                <a:gd name="T38" fmla="*/ 961 w 1006"/>
                <a:gd name="T39" fmla="*/ 1179 h 1243"/>
                <a:gd name="T40" fmla="*/ 867 w 1006"/>
                <a:gd name="T41" fmla="*/ 1208 h 1243"/>
                <a:gd name="T42" fmla="*/ 667 w 1006"/>
                <a:gd name="T43" fmla="*/ 1166 h 1243"/>
                <a:gd name="T44" fmla="*/ 467 w 1006"/>
                <a:gd name="T45" fmla="*/ 1069 h 1243"/>
                <a:gd name="T46" fmla="*/ 331 w 1006"/>
                <a:gd name="T47" fmla="*/ 933 h 1243"/>
                <a:gd name="T48" fmla="*/ 208 w 1006"/>
                <a:gd name="T49" fmla="*/ 896 h 1243"/>
                <a:gd name="T50" fmla="*/ 96 w 1006"/>
                <a:gd name="T51" fmla="*/ 816 h 1243"/>
                <a:gd name="T52" fmla="*/ 26 w 1006"/>
                <a:gd name="T53" fmla="*/ 693 h 1243"/>
                <a:gd name="T54" fmla="*/ 128 w 1006"/>
                <a:gd name="T55" fmla="*/ 591 h 1243"/>
                <a:gd name="T56" fmla="*/ 245 w 1006"/>
                <a:gd name="T57" fmla="*/ 535 h 1243"/>
                <a:gd name="T58" fmla="*/ 240 w 1006"/>
                <a:gd name="T59" fmla="*/ 460 h 1243"/>
                <a:gd name="T60" fmla="*/ 248 w 1006"/>
                <a:gd name="T61" fmla="*/ 375 h 1243"/>
                <a:gd name="T62" fmla="*/ 296 w 1006"/>
                <a:gd name="T63" fmla="*/ 367 h 1243"/>
                <a:gd name="T64" fmla="*/ 331 w 1006"/>
                <a:gd name="T65" fmla="*/ 417 h 1243"/>
                <a:gd name="T66" fmla="*/ 368 w 1006"/>
                <a:gd name="T67" fmla="*/ 481 h 1243"/>
                <a:gd name="T68" fmla="*/ 387 w 1006"/>
                <a:gd name="T69" fmla="*/ 407 h 1243"/>
                <a:gd name="T70" fmla="*/ 349 w 1006"/>
                <a:gd name="T71" fmla="*/ 335 h 1243"/>
                <a:gd name="T72" fmla="*/ 392 w 1006"/>
                <a:gd name="T73" fmla="*/ 249 h 1243"/>
                <a:gd name="T74" fmla="*/ 406 w 1006"/>
                <a:gd name="T75" fmla="*/ 161 h 1243"/>
                <a:gd name="T76" fmla="*/ 488 w 1006"/>
                <a:gd name="T77" fmla="*/ 94 h 1243"/>
                <a:gd name="T78" fmla="*/ 542 w 1006"/>
                <a:gd name="T79" fmla="*/ 9 h 1243"/>
                <a:gd name="T80" fmla="*/ 616 w 1006"/>
                <a:gd name="T81" fmla="*/ 27 h 1243"/>
                <a:gd name="T82" fmla="*/ 646 w 1006"/>
                <a:gd name="T83" fmla="*/ 73 h 1243"/>
                <a:gd name="T84" fmla="*/ 592 w 1006"/>
                <a:gd name="T85" fmla="*/ 174 h 1243"/>
                <a:gd name="T86" fmla="*/ 579 w 1006"/>
                <a:gd name="T87" fmla="*/ 310 h 1243"/>
                <a:gd name="T88" fmla="*/ 547 w 1006"/>
                <a:gd name="T89" fmla="*/ 476 h 1243"/>
                <a:gd name="T90" fmla="*/ 523 w 1006"/>
                <a:gd name="T91" fmla="*/ 591 h 1243"/>
                <a:gd name="T92" fmla="*/ 475 w 1006"/>
                <a:gd name="T93" fmla="*/ 634 h 1243"/>
                <a:gd name="T94" fmla="*/ 440 w 1006"/>
                <a:gd name="T95" fmla="*/ 663 h 1243"/>
                <a:gd name="T96" fmla="*/ 408 w 1006"/>
                <a:gd name="T97" fmla="*/ 666 h 1243"/>
                <a:gd name="T98" fmla="*/ 360 w 1006"/>
                <a:gd name="T99" fmla="*/ 647 h 1243"/>
                <a:gd name="T100" fmla="*/ 344 w 1006"/>
                <a:gd name="T101" fmla="*/ 645 h 1243"/>
                <a:gd name="T102" fmla="*/ 446 w 1006"/>
                <a:gd name="T103" fmla="*/ 730 h 1243"/>
                <a:gd name="T104" fmla="*/ 544 w 1006"/>
                <a:gd name="T105" fmla="*/ 663 h 1243"/>
                <a:gd name="T106" fmla="*/ 670 w 1006"/>
                <a:gd name="T107" fmla="*/ 490 h 1243"/>
                <a:gd name="T108" fmla="*/ 705 w 1006"/>
                <a:gd name="T109" fmla="*/ 578 h 1243"/>
                <a:gd name="T110" fmla="*/ 747 w 1006"/>
                <a:gd name="T111" fmla="*/ 655 h 1243"/>
                <a:gd name="T112" fmla="*/ 723 w 1006"/>
                <a:gd name="T113" fmla="*/ 639 h 1243"/>
                <a:gd name="T114" fmla="*/ 734 w 1006"/>
                <a:gd name="T115" fmla="*/ 580 h 1243"/>
                <a:gd name="T116" fmla="*/ 699 w 1006"/>
                <a:gd name="T117" fmla="*/ 476 h 1243"/>
                <a:gd name="T118" fmla="*/ 603 w 1006"/>
                <a:gd name="T119" fmla="*/ 417 h 1243"/>
                <a:gd name="T120" fmla="*/ 638 w 1006"/>
                <a:gd name="T121" fmla="*/ 241 h 1243"/>
                <a:gd name="T122" fmla="*/ 721 w 1006"/>
                <a:gd name="T123" fmla="*/ 107 h 1243"/>
                <a:gd name="T124" fmla="*/ 737 w 1006"/>
                <a:gd name="T125" fmla="*/ 121 h 1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06" h="1243" extrusionOk="0">
                  <a:moveTo>
                    <a:pt x="721" y="155"/>
                  </a:moveTo>
                  <a:lnTo>
                    <a:pt x="721" y="155"/>
                  </a:lnTo>
                  <a:lnTo>
                    <a:pt x="721" y="158"/>
                  </a:lnTo>
                  <a:lnTo>
                    <a:pt x="721" y="158"/>
                  </a:lnTo>
                  <a:lnTo>
                    <a:pt x="721" y="158"/>
                  </a:lnTo>
                  <a:lnTo>
                    <a:pt x="721" y="161"/>
                  </a:lnTo>
                  <a:lnTo>
                    <a:pt x="721" y="161"/>
                  </a:lnTo>
                  <a:lnTo>
                    <a:pt x="721" y="161"/>
                  </a:lnTo>
                  <a:lnTo>
                    <a:pt x="718" y="161"/>
                  </a:lnTo>
                  <a:lnTo>
                    <a:pt x="718" y="161"/>
                  </a:lnTo>
                  <a:lnTo>
                    <a:pt x="715" y="161"/>
                  </a:lnTo>
                  <a:lnTo>
                    <a:pt x="715" y="161"/>
                  </a:lnTo>
                  <a:lnTo>
                    <a:pt x="718" y="161"/>
                  </a:lnTo>
                  <a:lnTo>
                    <a:pt x="718" y="161"/>
                  </a:lnTo>
                  <a:lnTo>
                    <a:pt x="718" y="158"/>
                  </a:lnTo>
                  <a:lnTo>
                    <a:pt x="718" y="158"/>
                  </a:lnTo>
                  <a:lnTo>
                    <a:pt x="715" y="158"/>
                  </a:lnTo>
                  <a:lnTo>
                    <a:pt x="715" y="161"/>
                  </a:lnTo>
                  <a:lnTo>
                    <a:pt x="715" y="161"/>
                  </a:lnTo>
                  <a:lnTo>
                    <a:pt x="715" y="163"/>
                  </a:lnTo>
                  <a:lnTo>
                    <a:pt x="715" y="166"/>
                  </a:lnTo>
                  <a:lnTo>
                    <a:pt x="715" y="166"/>
                  </a:lnTo>
                  <a:lnTo>
                    <a:pt x="713" y="169"/>
                  </a:lnTo>
                  <a:lnTo>
                    <a:pt x="713" y="169"/>
                  </a:lnTo>
                  <a:lnTo>
                    <a:pt x="713" y="172"/>
                  </a:lnTo>
                  <a:lnTo>
                    <a:pt x="713" y="174"/>
                  </a:lnTo>
                  <a:lnTo>
                    <a:pt x="710" y="177"/>
                  </a:lnTo>
                  <a:lnTo>
                    <a:pt x="710" y="177"/>
                  </a:lnTo>
                  <a:lnTo>
                    <a:pt x="710" y="180"/>
                  </a:lnTo>
                  <a:lnTo>
                    <a:pt x="710" y="182"/>
                  </a:lnTo>
                  <a:lnTo>
                    <a:pt x="710" y="182"/>
                  </a:lnTo>
                  <a:lnTo>
                    <a:pt x="713" y="185"/>
                  </a:lnTo>
                  <a:lnTo>
                    <a:pt x="713" y="188"/>
                  </a:lnTo>
                  <a:lnTo>
                    <a:pt x="713" y="190"/>
                  </a:lnTo>
                  <a:lnTo>
                    <a:pt x="715" y="190"/>
                  </a:lnTo>
                  <a:lnTo>
                    <a:pt x="715" y="193"/>
                  </a:lnTo>
                  <a:lnTo>
                    <a:pt x="715" y="193"/>
                  </a:lnTo>
                  <a:lnTo>
                    <a:pt x="715" y="193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5" y="198"/>
                  </a:lnTo>
                  <a:lnTo>
                    <a:pt x="715" y="198"/>
                  </a:lnTo>
                  <a:lnTo>
                    <a:pt x="715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201"/>
                  </a:lnTo>
                  <a:lnTo>
                    <a:pt x="713" y="201"/>
                  </a:lnTo>
                  <a:lnTo>
                    <a:pt x="713" y="204"/>
                  </a:lnTo>
                  <a:lnTo>
                    <a:pt x="713" y="206"/>
                  </a:lnTo>
                  <a:lnTo>
                    <a:pt x="715" y="206"/>
                  </a:lnTo>
                  <a:lnTo>
                    <a:pt x="715" y="209"/>
                  </a:lnTo>
                  <a:lnTo>
                    <a:pt x="713" y="209"/>
                  </a:lnTo>
                  <a:lnTo>
                    <a:pt x="710" y="209"/>
                  </a:lnTo>
                  <a:lnTo>
                    <a:pt x="710" y="212"/>
                  </a:lnTo>
                  <a:lnTo>
                    <a:pt x="710" y="212"/>
                  </a:lnTo>
                  <a:lnTo>
                    <a:pt x="710" y="214"/>
                  </a:lnTo>
                  <a:lnTo>
                    <a:pt x="710" y="217"/>
                  </a:lnTo>
                  <a:lnTo>
                    <a:pt x="707" y="217"/>
                  </a:lnTo>
                  <a:lnTo>
                    <a:pt x="707" y="217"/>
                  </a:lnTo>
                  <a:lnTo>
                    <a:pt x="707" y="217"/>
                  </a:lnTo>
                  <a:lnTo>
                    <a:pt x="707" y="214"/>
                  </a:lnTo>
                  <a:lnTo>
                    <a:pt x="707" y="214"/>
                  </a:lnTo>
                  <a:lnTo>
                    <a:pt x="705" y="214"/>
                  </a:lnTo>
                  <a:lnTo>
                    <a:pt x="705" y="214"/>
                  </a:lnTo>
                  <a:lnTo>
                    <a:pt x="702" y="214"/>
                  </a:lnTo>
                  <a:lnTo>
                    <a:pt x="702" y="217"/>
                  </a:lnTo>
                  <a:lnTo>
                    <a:pt x="702" y="217"/>
                  </a:lnTo>
                  <a:lnTo>
                    <a:pt x="702" y="217"/>
                  </a:lnTo>
                  <a:lnTo>
                    <a:pt x="702" y="220"/>
                  </a:lnTo>
                  <a:lnTo>
                    <a:pt x="702" y="220"/>
                  </a:lnTo>
                  <a:lnTo>
                    <a:pt x="702" y="220"/>
                  </a:lnTo>
                  <a:lnTo>
                    <a:pt x="702" y="222"/>
                  </a:lnTo>
                  <a:lnTo>
                    <a:pt x="702" y="225"/>
                  </a:lnTo>
                  <a:lnTo>
                    <a:pt x="702" y="225"/>
                  </a:lnTo>
                  <a:lnTo>
                    <a:pt x="702" y="228"/>
                  </a:lnTo>
                  <a:lnTo>
                    <a:pt x="705" y="230"/>
                  </a:lnTo>
                  <a:lnTo>
                    <a:pt x="705" y="230"/>
                  </a:lnTo>
                  <a:lnTo>
                    <a:pt x="705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07" y="233"/>
                  </a:lnTo>
                  <a:lnTo>
                    <a:pt x="710" y="233"/>
                  </a:lnTo>
                  <a:lnTo>
                    <a:pt x="710" y="236"/>
                  </a:lnTo>
                  <a:lnTo>
                    <a:pt x="710" y="236"/>
                  </a:lnTo>
                  <a:lnTo>
                    <a:pt x="713" y="236"/>
                  </a:lnTo>
                  <a:lnTo>
                    <a:pt x="713" y="238"/>
                  </a:lnTo>
                  <a:lnTo>
                    <a:pt x="713" y="238"/>
                  </a:lnTo>
                  <a:lnTo>
                    <a:pt x="715" y="241"/>
                  </a:lnTo>
                  <a:lnTo>
                    <a:pt x="718" y="241"/>
                  </a:lnTo>
                  <a:lnTo>
                    <a:pt x="718" y="244"/>
                  </a:lnTo>
                  <a:lnTo>
                    <a:pt x="721" y="244"/>
                  </a:lnTo>
                  <a:lnTo>
                    <a:pt x="721" y="244"/>
                  </a:lnTo>
                  <a:lnTo>
                    <a:pt x="723" y="244"/>
                  </a:lnTo>
                  <a:lnTo>
                    <a:pt x="723" y="244"/>
                  </a:lnTo>
                  <a:lnTo>
                    <a:pt x="723" y="246"/>
                  </a:lnTo>
                  <a:lnTo>
                    <a:pt x="723" y="246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52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9"/>
                  </a:lnTo>
                  <a:lnTo>
                    <a:pt x="726" y="246"/>
                  </a:lnTo>
                  <a:lnTo>
                    <a:pt x="726" y="246"/>
                  </a:lnTo>
                  <a:lnTo>
                    <a:pt x="729" y="246"/>
                  </a:lnTo>
                  <a:lnTo>
                    <a:pt x="729" y="246"/>
                  </a:lnTo>
                  <a:lnTo>
                    <a:pt x="731" y="249"/>
                  </a:lnTo>
                  <a:lnTo>
                    <a:pt x="731" y="249"/>
                  </a:lnTo>
                  <a:lnTo>
                    <a:pt x="734" y="249"/>
                  </a:lnTo>
                  <a:lnTo>
                    <a:pt x="737" y="249"/>
                  </a:lnTo>
                  <a:lnTo>
                    <a:pt x="737" y="249"/>
                  </a:lnTo>
                  <a:lnTo>
                    <a:pt x="739" y="252"/>
                  </a:lnTo>
                  <a:lnTo>
                    <a:pt x="742" y="252"/>
                  </a:lnTo>
                  <a:lnTo>
                    <a:pt x="742" y="252"/>
                  </a:lnTo>
                  <a:lnTo>
                    <a:pt x="742" y="252"/>
                  </a:lnTo>
                  <a:lnTo>
                    <a:pt x="745" y="252"/>
                  </a:lnTo>
                  <a:lnTo>
                    <a:pt x="745" y="252"/>
                  </a:lnTo>
                  <a:lnTo>
                    <a:pt x="747" y="252"/>
                  </a:lnTo>
                  <a:lnTo>
                    <a:pt x="750" y="254"/>
                  </a:lnTo>
                  <a:lnTo>
                    <a:pt x="750" y="254"/>
                  </a:lnTo>
                  <a:lnTo>
                    <a:pt x="753" y="254"/>
                  </a:lnTo>
                  <a:lnTo>
                    <a:pt x="753" y="254"/>
                  </a:lnTo>
                  <a:lnTo>
                    <a:pt x="753" y="254"/>
                  </a:lnTo>
                  <a:lnTo>
                    <a:pt x="755" y="254"/>
                  </a:lnTo>
                  <a:lnTo>
                    <a:pt x="755" y="254"/>
                  </a:lnTo>
                  <a:lnTo>
                    <a:pt x="755" y="257"/>
                  </a:lnTo>
                  <a:lnTo>
                    <a:pt x="755" y="257"/>
                  </a:lnTo>
                  <a:lnTo>
                    <a:pt x="755" y="257"/>
                  </a:lnTo>
                  <a:lnTo>
                    <a:pt x="753" y="260"/>
                  </a:lnTo>
                  <a:lnTo>
                    <a:pt x="753" y="262"/>
                  </a:lnTo>
                  <a:lnTo>
                    <a:pt x="753" y="262"/>
                  </a:lnTo>
                  <a:lnTo>
                    <a:pt x="755" y="265"/>
                  </a:lnTo>
                  <a:lnTo>
                    <a:pt x="753" y="268"/>
                  </a:lnTo>
                  <a:lnTo>
                    <a:pt x="753" y="268"/>
                  </a:lnTo>
                  <a:lnTo>
                    <a:pt x="753" y="268"/>
                  </a:lnTo>
                  <a:lnTo>
                    <a:pt x="753" y="270"/>
                  </a:lnTo>
                  <a:lnTo>
                    <a:pt x="753" y="268"/>
                  </a:lnTo>
                  <a:lnTo>
                    <a:pt x="755" y="268"/>
                  </a:lnTo>
                  <a:lnTo>
                    <a:pt x="755" y="265"/>
                  </a:lnTo>
                  <a:lnTo>
                    <a:pt x="755" y="262"/>
                  </a:lnTo>
                  <a:lnTo>
                    <a:pt x="755" y="262"/>
                  </a:lnTo>
                  <a:lnTo>
                    <a:pt x="755" y="260"/>
                  </a:lnTo>
                  <a:lnTo>
                    <a:pt x="758" y="257"/>
                  </a:lnTo>
                  <a:lnTo>
                    <a:pt x="761" y="260"/>
                  </a:lnTo>
                  <a:lnTo>
                    <a:pt x="763" y="260"/>
                  </a:lnTo>
                  <a:lnTo>
                    <a:pt x="763" y="260"/>
                  </a:lnTo>
                  <a:lnTo>
                    <a:pt x="766" y="262"/>
                  </a:lnTo>
                  <a:lnTo>
                    <a:pt x="769" y="262"/>
                  </a:lnTo>
                  <a:lnTo>
                    <a:pt x="769" y="262"/>
                  </a:lnTo>
                  <a:lnTo>
                    <a:pt x="771" y="260"/>
                  </a:lnTo>
                  <a:lnTo>
                    <a:pt x="774" y="262"/>
                  </a:lnTo>
                  <a:lnTo>
                    <a:pt x="777" y="262"/>
                  </a:lnTo>
                  <a:lnTo>
                    <a:pt x="779" y="265"/>
                  </a:lnTo>
                  <a:lnTo>
                    <a:pt x="782" y="265"/>
                  </a:lnTo>
                  <a:lnTo>
                    <a:pt x="785" y="268"/>
                  </a:lnTo>
                  <a:lnTo>
                    <a:pt x="785" y="268"/>
                  </a:lnTo>
                  <a:lnTo>
                    <a:pt x="787" y="268"/>
                  </a:lnTo>
                  <a:lnTo>
                    <a:pt x="787" y="270"/>
                  </a:lnTo>
                  <a:lnTo>
                    <a:pt x="787" y="273"/>
                  </a:lnTo>
                  <a:lnTo>
                    <a:pt x="787" y="276"/>
                  </a:lnTo>
                  <a:lnTo>
                    <a:pt x="787" y="278"/>
                  </a:lnTo>
                  <a:lnTo>
                    <a:pt x="787" y="281"/>
                  </a:lnTo>
                  <a:lnTo>
                    <a:pt x="787" y="284"/>
                  </a:lnTo>
                  <a:lnTo>
                    <a:pt x="787" y="286"/>
                  </a:lnTo>
                  <a:lnTo>
                    <a:pt x="787" y="286"/>
                  </a:lnTo>
                  <a:lnTo>
                    <a:pt x="790" y="289"/>
                  </a:lnTo>
                  <a:lnTo>
                    <a:pt x="790" y="289"/>
                  </a:lnTo>
                  <a:lnTo>
                    <a:pt x="790" y="289"/>
                  </a:lnTo>
                  <a:lnTo>
                    <a:pt x="793" y="289"/>
                  </a:lnTo>
                  <a:lnTo>
                    <a:pt x="793" y="289"/>
                  </a:lnTo>
                  <a:lnTo>
                    <a:pt x="793" y="292"/>
                  </a:lnTo>
                  <a:lnTo>
                    <a:pt x="795" y="292"/>
                  </a:lnTo>
                  <a:lnTo>
                    <a:pt x="795" y="292"/>
                  </a:lnTo>
                  <a:lnTo>
                    <a:pt x="795" y="292"/>
                  </a:lnTo>
                  <a:lnTo>
                    <a:pt x="795" y="294"/>
                  </a:lnTo>
                  <a:lnTo>
                    <a:pt x="798" y="294"/>
                  </a:lnTo>
                  <a:lnTo>
                    <a:pt x="801" y="294"/>
                  </a:lnTo>
                  <a:lnTo>
                    <a:pt x="801" y="294"/>
                  </a:lnTo>
                  <a:lnTo>
                    <a:pt x="801" y="297"/>
                  </a:lnTo>
                  <a:lnTo>
                    <a:pt x="803" y="297"/>
                  </a:lnTo>
                  <a:lnTo>
                    <a:pt x="803" y="300"/>
                  </a:lnTo>
                  <a:lnTo>
                    <a:pt x="803" y="300"/>
                  </a:lnTo>
                  <a:lnTo>
                    <a:pt x="806" y="300"/>
                  </a:lnTo>
                  <a:lnTo>
                    <a:pt x="806" y="300"/>
                  </a:lnTo>
                  <a:lnTo>
                    <a:pt x="806" y="300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9" y="297"/>
                  </a:lnTo>
                  <a:lnTo>
                    <a:pt x="809" y="297"/>
                  </a:lnTo>
                  <a:lnTo>
                    <a:pt x="811" y="297"/>
                  </a:lnTo>
                  <a:lnTo>
                    <a:pt x="814" y="300"/>
                  </a:lnTo>
                  <a:lnTo>
                    <a:pt x="814" y="300"/>
                  </a:lnTo>
                  <a:lnTo>
                    <a:pt x="814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9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7" y="300"/>
                  </a:lnTo>
                  <a:lnTo>
                    <a:pt x="819" y="302"/>
                  </a:lnTo>
                  <a:lnTo>
                    <a:pt x="819" y="302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19" y="297"/>
                  </a:lnTo>
                  <a:lnTo>
                    <a:pt x="822" y="297"/>
                  </a:lnTo>
                  <a:lnTo>
                    <a:pt x="822" y="297"/>
                  </a:lnTo>
                  <a:lnTo>
                    <a:pt x="822" y="297"/>
                  </a:lnTo>
                  <a:lnTo>
                    <a:pt x="819" y="297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0"/>
                  </a:lnTo>
                  <a:lnTo>
                    <a:pt x="819" y="302"/>
                  </a:lnTo>
                  <a:lnTo>
                    <a:pt x="819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2"/>
                  </a:lnTo>
                  <a:lnTo>
                    <a:pt x="822" y="300"/>
                  </a:lnTo>
                  <a:lnTo>
                    <a:pt x="822" y="300"/>
                  </a:lnTo>
                  <a:lnTo>
                    <a:pt x="822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2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27" y="294"/>
                  </a:lnTo>
                  <a:lnTo>
                    <a:pt x="830" y="294"/>
                  </a:lnTo>
                  <a:lnTo>
                    <a:pt x="830" y="292"/>
                  </a:lnTo>
                  <a:lnTo>
                    <a:pt x="830" y="292"/>
                  </a:lnTo>
                  <a:lnTo>
                    <a:pt x="827" y="292"/>
                  </a:lnTo>
                  <a:lnTo>
                    <a:pt x="827" y="289"/>
                  </a:lnTo>
                  <a:lnTo>
                    <a:pt x="827" y="289"/>
                  </a:lnTo>
                  <a:lnTo>
                    <a:pt x="827" y="289"/>
                  </a:lnTo>
                  <a:lnTo>
                    <a:pt x="827" y="292"/>
                  </a:lnTo>
                  <a:lnTo>
                    <a:pt x="827" y="292"/>
                  </a:lnTo>
                  <a:lnTo>
                    <a:pt x="825" y="292"/>
                  </a:lnTo>
                  <a:lnTo>
                    <a:pt x="825" y="292"/>
                  </a:lnTo>
                  <a:lnTo>
                    <a:pt x="825" y="292"/>
                  </a:lnTo>
                  <a:lnTo>
                    <a:pt x="825" y="294"/>
                  </a:lnTo>
                  <a:lnTo>
                    <a:pt x="825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4"/>
                  </a:lnTo>
                  <a:lnTo>
                    <a:pt x="822" y="292"/>
                  </a:lnTo>
                  <a:lnTo>
                    <a:pt x="819" y="292"/>
                  </a:lnTo>
                  <a:lnTo>
                    <a:pt x="819" y="292"/>
                  </a:lnTo>
                  <a:lnTo>
                    <a:pt x="819" y="292"/>
                  </a:lnTo>
                  <a:lnTo>
                    <a:pt x="817" y="292"/>
                  </a:lnTo>
                  <a:lnTo>
                    <a:pt x="817" y="292"/>
                  </a:lnTo>
                  <a:lnTo>
                    <a:pt x="817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9" y="294"/>
                  </a:lnTo>
                  <a:lnTo>
                    <a:pt x="817" y="294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7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4" y="297"/>
                  </a:lnTo>
                  <a:lnTo>
                    <a:pt x="811" y="297"/>
                  </a:lnTo>
                  <a:lnTo>
                    <a:pt x="811" y="297"/>
                  </a:lnTo>
                  <a:lnTo>
                    <a:pt x="811" y="294"/>
                  </a:lnTo>
                  <a:lnTo>
                    <a:pt x="809" y="294"/>
                  </a:lnTo>
                  <a:lnTo>
                    <a:pt x="809" y="294"/>
                  </a:lnTo>
                  <a:lnTo>
                    <a:pt x="809" y="294"/>
                  </a:lnTo>
                  <a:lnTo>
                    <a:pt x="806" y="294"/>
                  </a:lnTo>
                  <a:lnTo>
                    <a:pt x="806" y="294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3" y="297"/>
                  </a:lnTo>
                  <a:lnTo>
                    <a:pt x="803" y="297"/>
                  </a:lnTo>
                  <a:lnTo>
                    <a:pt x="803" y="294"/>
                  </a:lnTo>
                  <a:lnTo>
                    <a:pt x="803" y="294"/>
                  </a:lnTo>
                  <a:lnTo>
                    <a:pt x="803" y="292"/>
                  </a:lnTo>
                  <a:lnTo>
                    <a:pt x="806" y="292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6" y="286"/>
                  </a:lnTo>
                  <a:lnTo>
                    <a:pt x="809" y="286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11" y="284"/>
                  </a:lnTo>
                  <a:lnTo>
                    <a:pt x="811" y="284"/>
                  </a:lnTo>
                  <a:lnTo>
                    <a:pt x="811" y="281"/>
                  </a:lnTo>
                  <a:lnTo>
                    <a:pt x="811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11" y="278"/>
                  </a:lnTo>
                  <a:lnTo>
                    <a:pt x="811" y="278"/>
                  </a:lnTo>
                  <a:lnTo>
                    <a:pt x="811" y="278"/>
                  </a:lnTo>
                  <a:lnTo>
                    <a:pt x="809" y="278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9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6" y="276"/>
                  </a:lnTo>
                  <a:lnTo>
                    <a:pt x="803" y="276"/>
                  </a:lnTo>
                  <a:lnTo>
                    <a:pt x="803" y="278"/>
                  </a:lnTo>
                  <a:lnTo>
                    <a:pt x="803" y="278"/>
                  </a:lnTo>
                  <a:lnTo>
                    <a:pt x="803" y="278"/>
                  </a:lnTo>
                  <a:lnTo>
                    <a:pt x="806" y="281"/>
                  </a:lnTo>
                  <a:lnTo>
                    <a:pt x="806" y="281"/>
                  </a:lnTo>
                  <a:lnTo>
                    <a:pt x="806" y="281"/>
                  </a:lnTo>
                  <a:lnTo>
                    <a:pt x="809" y="281"/>
                  </a:lnTo>
                  <a:lnTo>
                    <a:pt x="809" y="281"/>
                  </a:lnTo>
                  <a:lnTo>
                    <a:pt x="809" y="284"/>
                  </a:lnTo>
                  <a:lnTo>
                    <a:pt x="809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6" y="284"/>
                  </a:lnTo>
                  <a:lnTo>
                    <a:pt x="803" y="281"/>
                  </a:lnTo>
                  <a:lnTo>
                    <a:pt x="803" y="281"/>
                  </a:lnTo>
                  <a:lnTo>
                    <a:pt x="803" y="278"/>
                  </a:lnTo>
                  <a:lnTo>
                    <a:pt x="803" y="276"/>
                  </a:lnTo>
                  <a:lnTo>
                    <a:pt x="801" y="273"/>
                  </a:lnTo>
                  <a:lnTo>
                    <a:pt x="801" y="270"/>
                  </a:lnTo>
                  <a:lnTo>
                    <a:pt x="803" y="268"/>
                  </a:lnTo>
                  <a:lnTo>
                    <a:pt x="806" y="265"/>
                  </a:lnTo>
                  <a:lnTo>
                    <a:pt x="806" y="265"/>
                  </a:lnTo>
                  <a:lnTo>
                    <a:pt x="806" y="262"/>
                  </a:lnTo>
                  <a:lnTo>
                    <a:pt x="806" y="260"/>
                  </a:lnTo>
                  <a:lnTo>
                    <a:pt x="806" y="260"/>
                  </a:lnTo>
                  <a:lnTo>
                    <a:pt x="806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4"/>
                  </a:lnTo>
                  <a:lnTo>
                    <a:pt x="803" y="254"/>
                  </a:lnTo>
                  <a:lnTo>
                    <a:pt x="801" y="254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3" y="257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801" y="257"/>
                  </a:lnTo>
                  <a:lnTo>
                    <a:pt x="798" y="257"/>
                  </a:lnTo>
                  <a:lnTo>
                    <a:pt x="798" y="254"/>
                  </a:lnTo>
                  <a:lnTo>
                    <a:pt x="795" y="254"/>
                  </a:lnTo>
                  <a:lnTo>
                    <a:pt x="795" y="254"/>
                  </a:lnTo>
                  <a:lnTo>
                    <a:pt x="795" y="254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60"/>
                  </a:lnTo>
                  <a:lnTo>
                    <a:pt x="793" y="260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7"/>
                  </a:lnTo>
                  <a:lnTo>
                    <a:pt x="793" y="254"/>
                  </a:lnTo>
                  <a:lnTo>
                    <a:pt x="793" y="254"/>
                  </a:lnTo>
                  <a:lnTo>
                    <a:pt x="793" y="254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5" y="249"/>
                  </a:lnTo>
                  <a:lnTo>
                    <a:pt x="795" y="249"/>
                  </a:lnTo>
                  <a:lnTo>
                    <a:pt x="795" y="249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6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8" y="244"/>
                  </a:lnTo>
                  <a:lnTo>
                    <a:pt x="795" y="244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5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0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3" y="249"/>
                  </a:lnTo>
                  <a:lnTo>
                    <a:pt x="793" y="249"/>
                  </a:lnTo>
                  <a:lnTo>
                    <a:pt x="790" y="249"/>
                  </a:lnTo>
                  <a:lnTo>
                    <a:pt x="787" y="249"/>
                  </a:lnTo>
                  <a:lnTo>
                    <a:pt x="787" y="249"/>
                  </a:lnTo>
                  <a:lnTo>
                    <a:pt x="785" y="249"/>
                  </a:lnTo>
                  <a:lnTo>
                    <a:pt x="785" y="249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7" y="252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2" y="252"/>
                  </a:lnTo>
                  <a:lnTo>
                    <a:pt x="782" y="249"/>
                  </a:lnTo>
                  <a:lnTo>
                    <a:pt x="782" y="246"/>
                  </a:lnTo>
                  <a:lnTo>
                    <a:pt x="779" y="246"/>
                  </a:lnTo>
                  <a:lnTo>
                    <a:pt x="779" y="246"/>
                  </a:lnTo>
                  <a:lnTo>
                    <a:pt x="779" y="244"/>
                  </a:lnTo>
                  <a:lnTo>
                    <a:pt x="777" y="244"/>
                  </a:lnTo>
                  <a:lnTo>
                    <a:pt x="777" y="244"/>
                  </a:lnTo>
                  <a:lnTo>
                    <a:pt x="777" y="244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7" y="246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9" y="249"/>
                  </a:lnTo>
                  <a:lnTo>
                    <a:pt x="777" y="246"/>
                  </a:lnTo>
                  <a:lnTo>
                    <a:pt x="774" y="246"/>
                  </a:lnTo>
                  <a:lnTo>
                    <a:pt x="771" y="244"/>
                  </a:lnTo>
                  <a:lnTo>
                    <a:pt x="771" y="244"/>
                  </a:lnTo>
                  <a:lnTo>
                    <a:pt x="769" y="241"/>
                  </a:lnTo>
                  <a:lnTo>
                    <a:pt x="769" y="238"/>
                  </a:lnTo>
                  <a:lnTo>
                    <a:pt x="769" y="238"/>
                  </a:lnTo>
                  <a:lnTo>
                    <a:pt x="769" y="236"/>
                  </a:lnTo>
                  <a:lnTo>
                    <a:pt x="769" y="233"/>
                  </a:lnTo>
                  <a:lnTo>
                    <a:pt x="766" y="233"/>
                  </a:lnTo>
                  <a:lnTo>
                    <a:pt x="766" y="233"/>
                  </a:lnTo>
                  <a:lnTo>
                    <a:pt x="766" y="233"/>
                  </a:lnTo>
                  <a:lnTo>
                    <a:pt x="766" y="230"/>
                  </a:lnTo>
                  <a:lnTo>
                    <a:pt x="766" y="230"/>
                  </a:lnTo>
                  <a:lnTo>
                    <a:pt x="761" y="230"/>
                  </a:lnTo>
                  <a:lnTo>
                    <a:pt x="761" y="228"/>
                  </a:lnTo>
                  <a:lnTo>
                    <a:pt x="761" y="230"/>
                  </a:lnTo>
                  <a:lnTo>
                    <a:pt x="758" y="228"/>
                  </a:lnTo>
                  <a:lnTo>
                    <a:pt x="755" y="225"/>
                  </a:lnTo>
                  <a:lnTo>
                    <a:pt x="753" y="222"/>
                  </a:lnTo>
                  <a:lnTo>
                    <a:pt x="750" y="220"/>
                  </a:lnTo>
                  <a:lnTo>
                    <a:pt x="750" y="217"/>
                  </a:lnTo>
                  <a:lnTo>
                    <a:pt x="747" y="214"/>
                  </a:lnTo>
                  <a:lnTo>
                    <a:pt x="745" y="214"/>
                  </a:lnTo>
                  <a:lnTo>
                    <a:pt x="742" y="212"/>
                  </a:lnTo>
                  <a:lnTo>
                    <a:pt x="742" y="209"/>
                  </a:lnTo>
                  <a:lnTo>
                    <a:pt x="742" y="206"/>
                  </a:lnTo>
                  <a:lnTo>
                    <a:pt x="742" y="204"/>
                  </a:lnTo>
                  <a:lnTo>
                    <a:pt x="745" y="201"/>
                  </a:lnTo>
                  <a:lnTo>
                    <a:pt x="745" y="198"/>
                  </a:lnTo>
                  <a:lnTo>
                    <a:pt x="742" y="196"/>
                  </a:lnTo>
                  <a:lnTo>
                    <a:pt x="742" y="193"/>
                  </a:lnTo>
                  <a:lnTo>
                    <a:pt x="742" y="190"/>
                  </a:lnTo>
                  <a:lnTo>
                    <a:pt x="742" y="188"/>
                  </a:lnTo>
                  <a:lnTo>
                    <a:pt x="742" y="180"/>
                  </a:lnTo>
                  <a:lnTo>
                    <a:pt x="742" y="180"/>
                  </a:lnTo>
                  <a:lnTo>
                    <a:pt x="742" y="177"/>
                  </a:lnTo>
                  <a:lnTo>
                    <a:pt x="742" y="177"/>
                  </a:lnTo>
                  <a:lnTo>
                    <a:pt x="742" y="174"/>
                  </a:lnTo>
                  <a:lnTo>
                    <a:pt x="742" y="174"/>
                  </a:lnTo>
                  <a:lnTo>
                    <a:pt x="742" y="172"/>
                  </a:lnTo>
                  <a:lnTo>
                    <a:pt x="742" y="172"/>
                  </a:lnTo>
                  <a:lnTo>
                    <a:pt x="742" y="172"/>
                  </a:lnTo>
                  <a:lnTo>
                    <a:pt x="739" y="174"/>
                  </a:lnTo>
                  <a:lnTo>
                    <a:pt x="739" y="172"/>
                  </a:lnTo>
                  <a:lnTo>
                    <a:pt x="739" y="172"/>
                  </a:lnTo>
                  <a:lnTo>
                    <a:pt x="742" y="169"/>
                  </a:lnTo>
                  <a:lnTo>
                    <a:pt x="745" y="169"/>
                  </a:lnTo>
                  <a:lnTo>
                    <a:pt x="747" y="169"/>
                  </a:lnTo>
                  <a:lnTo>
                    <a:pt x="747" y="166"/>
                  </a:lnTo>
                  <a:lnTo>
                    <a:pt x="750" y="166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5" y="163"/>
                  </a:lnTo>
                  <a:lnTo>
                    <a:pt x="755" y="166"/>
                  </a:lnTo>
                  <a:lnTo>
                    <a:pt x="755" y="166"/>
                  </a:lnTo>
                  <a:lnTo>
                    <a:pt x="755" y="163"/>
                  </a:lnTo>
                  <a:lnTo>
                    <a:pt x="755" y="163"/>
                  </a:lnTo>
                  <a:lnTo>
                    <a:pt x="761" y="163"/>
                  </a:lnTo>
                  <a:lnTo>
                    <a:pt x="761" y="163"/>
                  </a:lnTo>
                  <a:lnTo>
                    <a:pt x="763" y="163"/>
                  </a:lnTo>
                  <a:lnTo>
                    <a:pt x="766" y="161"/>
                  </a:lnTo>
                  <a:lnTo>
                    <a:pt x="766" y="161"/>
                  </a:lnTo>
                  <a:lnTo>
                    <a:pt x="769" y="161"/>
                  </a:lnTo>
                  <a:lnTo>
                    <a:pt x="771" y="161"/>
                  </a:lnTo>
                  <a:lnTo>
                    <a:pt x="771" y="161"/>
                  </a:lnTo>
                  <a:lnTo>
                    <a:pt x="774" y="161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4" y="163"/>
                  </a:lnTo>
                  <a:lnTo>
                    <a:pt x="777" y="166"/>
                  </a:lnTo>
                  <a:lnTo>
                    <a:pt x="777" y="166"/>
                  </a:lnTo>
                  <a:lnTo>
                    <a:pt x="779" y="169"/>
                  </a:lnTo>
                  <a:lnTo>
                    <a:pt x="779" y="169"/>
                  </a:lnTo>
                  <a:lnTo>
                    <a:pt x="779" y="172"/>
                  </a:lnTo>
                  <a:lnTo>
                    <a:pt x="782" y="172"/>
                  </a:lnTo>
                  <a:lnTo>
                    <a:pt x="782" y="174"/>
                  </a:lnTo>
                  <a:lnTo>
                    <a:pt x="785" y="174"/>
                  </a:lnTo>
                  <a:lnTo>
                    <a:pt x="787" y="177"/>
                  </a:lnTo>
                  <a:lnTo>
                    <a:pt x="787" y="180"/>
                  </a:lnTo>
                  <a:lnTo>
                    <a:pt x="787" y="182"/>
                  </a:lnTo>
                  <a:lnTo>
                    <a:pt x="790" y="185"/>
                  </a:lnTo>
                  <a:lnTo>
                    <a:pt x="790" y="188"/>
                  </a:lnTo>
                  <a:lnTo>
                    <a:pt x="793" y="190"/>
                  </a:lnTo>
                  <a:lnTo>
                    <a:pt x="795" y="190"/>
                  </a:lnTo>
                  <a:lnTo>
                    <a:pt x="798" y="193"/>
                  </a:lnTo>
                  <a:lnTo>
                    <a:pt x="801" y="193"/>
                  </a:lnTo>
                  <a:lnTo>
                    <a:pt x="806" y="193"/>
                  </a:lnTo>
                  <a:lnTo>
                    <a:pt x="809" y="190"/>
                  </a:lnTo>
                  <a:lnTo>
                    <a:pt x="811" y="190"/>
                  </a:lnTo>
                  <a:lnTo>
                    <a:pt x="814" y="188"/>
                  </a:lnTo>
                  <a:lnTo>
                    <a:pt x="817" y="188"/>
                  </a:lnTo>
                  <a:lnTo>
                    <a:pt x="817" y="182"/>
                  </a:lnTo>
                  <a:lnTo>
                    <a:pt x="819" y="180"/>
                  </a:lnTo>
                  <a:lnTo>
                    <a:pt x="819" y="174"/>
                  </a:lnTo>
                  <a:lnTo>
                    <a:pt x="817" y="172"/>
                  </a:lnTo>
                  <a:lnTo>
                    <a:pt x="814" y="169"/>
                  </a:lnTo>
                  <a:lnTo>
                    <a:pt x="814" y="166"/>
                  </a:lnTo>
                  <a:lnTo>
                    <a:pt x="814" y="163"/>
                  </a:lnTo>
                  <a:lnTo>
                    <a:pt x="811" y="161"/>
                  </a:lnTo>
                  <a:lnTo>
                    <a:pt x="809" y="163"/>
                  </a:lnTo>
                  <a:lnTo>
                    <a:pt x="806" y="163"/>
                  </a:lnTo>
                  <a:lnTo>
                    <a:pt x="803" y="163"/>
                  </a:lnTo>
                  <a:lnTo>
                    <a:pt x="801" y="163"/>
                  </a:lnTo>
                  <a:lnTo>
                    <a:pt x="798" y="163"/>
                  </a:lnTo>
                  <a:lnTo>
                    <a:pt x="795" y="166"/>
                  </a:lnTo>
                  <a:lnTo>
                    <a:pt x="795" y="166"/>
                  </a:lnTo>
                  <a:lnTo>
                    <a:pt x="795" y="166"/>
                  </a:lnTo>
                  <a:lnTo>
                    <a:pt x="793" y="163"/>
                  </a:lnTo>
                  <a:lnTo>
                    <a:pt x="793" y="161"/>
                  </a:lnTo>
                  <a:lnTo>
                    <a:pt x="793" y="158"/>
                  </a:lnTo>
                  <a:lnTo>
                    <a:pt x="795" y="155"/>
                  </a:lnTo>
                  <a:lnTo>
                    <a:pt x="795" y="155"/>
                  </a:lnTo>
                  <a:lnTo>
                    <a:pt x="798" y="153"/>
                  </a:lnTo>
                  <a:lnTo>
                    <a:pt x="798" y="153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50"/>
                  </a:lnTo>
                  <a:lnTo>
                    <a:pt x="798" y="147"/>
                  </a:lnTo>
                  <a:lnTo>
                    <a:pt x="801" y="147"/>
                  </a:lnTo>
                  <a:lnTo>
                    <a:pt x="801" y="150"/>
                  </a:lnTo>
                  <a:lnTo>
                    <a:pt x="801" y="150"/>
                  </a:lnTo>
                  <a:lnTo>
                    <a:pt x="801" y="153"/>
                  </a:lnTo>
                  <a:lnTo>
                    <a:pt x="803" y="153"/>
                  </a:lnTo>
                  <a:lnTo>
                    <a:pt x="803" y="153"/>
                  </a:lnTo>
                  <a:lnTo>
                    <a:pt x="806" y="150"/>
                  </a:lnTo>
                  <a:lnTo>
                    <a:pt x="806" y="150"/>
                  </a:lnTo>
                  <a:lnTo>
                    <a:pt x="806" y="150"/>
                  </a:lnTo>
                  <a:lnTo>
                    <a:pt x="809" y="147"/>
                  </a:lnTo>
                  <a:lnTo>
                    <a:pt x="809" y="145"/>
                  </a:lnTo>
                  <a:lnTo>
                    <a:pt x="811" y="145"/>
                  </a:lnTo>
                  <a:lnTo>
                    <a:pt x="811" y="142"/>
                  </a:lnTo>
                  <a:lnTo>
                    <a:pt x="814" y="142"/>
                  </a:lnTo>
                  <a:lnTo>
                    <a:pt x="814" y="139"/>
                  </a:lnTo>
                  <a:lnTo>
                    <a:pt x="817" y="139"/>
                  </a:lnTo>
                  <a:lnTo>
                    <a:pt x="817" y="139"/>
                  </a:lnTo>
                  <a:lnTo>
                    <a:pt x="819" y="137"/>
                  </a:lnTo>
                  <a:lnTo>
                    <a:pt x="819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2" y="137"/>
                  </a:lnTo>
                  <a:lnTo>
                    <a:pt x="825" y="137"/>
                  </a:lnTo>
                  <a:lnTo>
                    <a:pt x="825" y="137"/>
                  </a:lnTo>
                  <a:lnTo>
                    <a:pt x="827" y="137"/>
                  </a:lnTo>
                  <a:lnTo>
                    <a:pt x="827" y="137"/>
                  </a:lnTo>
                  <a:lnTo>
                    <a:pt x="827" y="137"/>
                  </a:lnTo>
                  <a:lnTo>
                    <a:pt x="830" y="137"/>
                  </a:lnTo>
                  <a:lnTo>
                    <a:pt x="830" y="137"/>
                  </a:lnTo>
                  <a:lnTo>
                    <a:pt x="830" y="137"/>
                  </a:lnTo>
                  <a:lnTo>
                    <a:pt x="833" y="134"/>
                  </a:lnTo>
                  <a:lnTo>
                    <a:pt x="833" y="134"/>
                  </a:lnTo>
                  <a:lnTo>
                    <a:pt x="833" y="134"/>
                  </a:lnTo>
                  <a:lnTo>
                    <a:pt x="833" y="137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2"/>
                  </a:lnTo>
                  <a:lnTo>
                    <a:pt x="838" y="145"/>
                  </a:lnTo>
                  <a:lnTo>
                    <a:pt x="841" y="147"/>
                  </a:lnTo>
                  <a:lnTo>
                    <a:pt x="843" y="150"/>
                  </a:lnTo>
                  <a:lnTo>
                    <a:pt x="849" y="153"/>
                  </a:lnTo>
                  <a:lnTo>
                    <a:pt x="851" y="155"/>
                  </a:lnTo>
                  <a:lnTo>
                    <a:pt x="851" y="158"/>
                  </a:lnTo>
                  <a:lnTo>
                    <a:pt x="854" y="158"/>
                  </a:lnTo>
                  <a:lnTo>
                    <a:pt x="859" y="163"/>
                  </a:lnTo>
                  <a:lnTo>
                    <a:pt x="862" y="166"/>
                  </a:lnTo>
                  <a:lnTo>
                    <a:pt x="865" y="172"/>
                  </a:lnTo>
                  <a:lnTo>
                    <a:pt x="873" y="177"/>
                  </a:lnTo>
                  <a:lnTo>
                    <a:pt x="878" y="182"/>
                  </a:lnTo>
                  <a:lnTo>
                    <a:pt x="884" y="196"/>
                  </a:lnTo>
                  <a:lnTo>
                    <a:pt x="884" y="198"/>
                  </a:lnTo>
                  <a:lnTo>
                    <a:pt x="881" y="204"/>
                  </a:lnTo>
                  <a:lnTo>
                    <a:pt x="881" y="212"/>
                  </a:lnTo>
                  <a:lnTo>
                    <a:pt x="875" y="217"/>
                  </a:lnTo>
                  <a:lnTo>
                    <a:pt x="875" y="220"/>
                  </a:lnTo>
                  <a:lnTo>
                    <a:pt x="873" y="220"/>
                  </a:lnTo>
                  <a:lnTo>
                    <a:pt x="867" y="220"/>
                  </a:lnTo>
                  <a:lnTo>
                    <a:pt x="865" y="220"/>
                  </a:lnTo>
                  <a:lnTo>
                    <a:pt x="862" y="222"/>
                  </a:lnTo>
                  <a:lnTo>
                    <a:pt x="857" y="222"/>
                  </a:lnTo>
                  <a:lnTo>
                    <a:pt x="854" y="225"/>
                  </a:lnTo>
                  <a:lnTo>
                    <a:pt x="851" y="225"/>
                  </a:lnTo>
                  <a:lnTo>
                    <a:pt x="849" y="228"/>
                  </a:lnTo>
                  <a:lnTo>
                    <a:pt x="849" y="230"/>
                  </a:lnTo>
                  <a:lnTo>
                    <a:pt x="849" y="233"/>
                  </a:lnTo>
                  <a:lnTo>
                    <a:pt x="849" y="236"/>
                  </a:lnTo>
                  <a:lnTo>
                    <a:pt x="846" y="238"/>
                  </a:lnTo>
                  <a:lnTo>
                    <a:pt x="843" y="241"/>
                  </a:lnTo>
                  <a:lnTo>
                    <a:pt x="841" y="244"/>
                  </a:lnTo>
                  <a:lnTo>
                    <a:pt x="841" y="244"/>
                  </a:lnTo>
                  <a:lnTo>
                    <a:pt x="838" y="246"/>
                  </a:lnTo>
                  <a:lnTo>
                    <a:pt x="838" y="249"/>
                  </a:lnTo>
                  <a:lnTo>
                    <a:pt x="838" y="252"/>
                  </a:lnTo>
                  <a:lnTo>
                    <a:pt x="838" y="257"/>
                  </a:lnTo>
                  <a:lnTo>
                    <a:pt x="841" y="257"/>
                  </a:lnTo>
                  <a:lnTo>
                    <a:pt x="843" y="260"/>
                  </a:lnTo>
                  <a:lnTo>
                    <a:pt x="849" y="260"/>
                  </a:lnTo>
                  <a:lnTo>
                    <a:pt x="851" y="262"/>
                  </a:lnTo>
                  <a:lnTo>
                    <a:pt x="854" y="268"/>
                  </a:lnTo>
                  <a:lnTo>
                    <a:pt x="857" y="270"/>
                  </a:lnTo>
                  <a:lnTo>
                    <a:pt x="857" y="276"/>
                  </a:lnTo>
                  <a:lnTo>
                    <a:pt x="859" y="278"/>
                  </a:lnTo>
                  <a:lnTo>
                    <a:pt x="862" y="281"/>
                  </a:lnTo>
                  <a:lnTo>
                    <a:pt x="862" y="284"/>
                  </a:lnTo>
                  <a:lnTo>
                    <a:pt x="865" y="284"/>
                  </a:lnTo>
                  <a:lnTo>
                    <a:pt x="867" y="286"/>
                  </a:lnTo>
                  <a:lnTo>
                    <a:pt x="873" y="289"/>
                  </a:lnTo>
                  <a:lnTo>
                    <a:pt x="878" y="292"/>
                  </a:lnTo>
                  <a:lnTo>
                    <a:pt x="881" y="292"/>
                  </a:lnTo>
                  <a:lnTo>
                    <a:pt x="881" y="294"/>
                  </a:lnTo>
                  <a:lnTo>
                    <a:pt x="884" y="297"/>
                  </a:lnTo>
                  <a:lnTo>
                    <a:pt x="884" y="300"/>
                  </a:lnTo>
                  <a:lnTo>
                    <a:pt x="884" y="305"/>
                  </a:lnTo>
                  <a:lnTo>
                    <a:pt x="884" y="308"/>
                  </a:lnTo>
                  <a:lnTo>
                    <a:pt x="881" y="313"/>
                  </a:lnTo>
                  <a:lnTo>
                    <a:pt x="884" y="316"/>
                  </a:lnTo>
                  <a:lnTo>
                    <a:pt x="884" y="318"/>
                  </a:lnTo>
                  <a:lnTo>
                    <a:pt x="884" y="318"/>
                  </a:lnTo>
                  <a:lnTo>
                    <a:pt x="884" y="321"/>
                  </a:lnTo>
                  <a:lnTo>
                    <a:pt x="886" y="324"/>
                  </a:lnTo>
                  <a:lnTo>
                    <a:pt x="884" y="324"/>
                  </a:lnTo>
                  <a:lnTo>
                    <a:pt x="881" y="327"/>
                  </a:lnTo>
                  <a:lnTo>
                    <a:pt x="881" y="327"/>
                  </a:lnTo>
                  <a:lnTo>
                    <a:pt x="878" y="329"/>
                  </a:lnTo>
                  <a:lnTo>
                    <a:pt x="878" y="332"/>
                  </a:lnTo>
                  <a:lnTo>
                    <a:pt x="881" y="332"/>
                  </a:lnTo>
                  <a:lnTo>
                    <a:pt x="881" y="335"/>
                  </a:lnTo>
                  <a:lnTo>
                    <a:pt x="881" y="335"/>
                  </a:lnTo>
                  <a:lnTo>
                    <a:pt x="884" y="335"/>
                  </a:lnTo>
                  <a:lnTo>
                    <a:pt x="884" y="335"/>
                  </a:lnTo>
                  <a:lnTo>
                    <a:pt x="884" y="337"/>
                  </a:lnTo>
                  <a:lnTo>
                    <a:pt x="884" y="340"/>
                  </a:lnTo>
                  <a:lnTo>
                    <a:pt x="886" y="340"/>
                  </a:lnTo>
                  <a:lnTo>
                    <a:pt x="884" y="340"/>
                  </a:lnTo>
                  <a:lnTo>
                    <a:pt x="884" y="343"/>
                  </a:lnTo>
                  <a:lnTo>
                    <a:pt x="884" y="345"/>
                  </a:lnTo>
                  <a:lnTo>
                    <a:pt x="881" y="345"/>
                  </a:lnTo>
                  <a:lnTo>
                    <a:pt x="881" y="348"/>
                  </a:lnTo>
                  <a:lnTo>
                    <a:pt x="881" y="348"/>
                  </a:lnTo>
                  <a:lnTo>
                    <a:pt x="881" y="351"/>
                  </a:lnTo>
                  <a:lnTo>
                    <a:pt x="878" y="353"/>
                  </a:lnTo>
                  <a:lnTo>
                    <a:pt x="878" y="353"/>
                  </a:lnTo>
                  <a:lnTo>
                    <a:pt x="875" y="353"/>
                  </a:lnTo>
                  <a:lnTo>
                    <a:pt x="875" y="356"/>
                  </a:lnTo>
                  <a:lnTo>
                    <a:pt x="875" y="356"/>
                  </a:lnTo>
                  <a:lnTo>
                    <a:pt x="878" y="356"/>
                  </a:lnTo>
                  <a:lnTo>
                    <a:pt x="878" y="359"/>
                  </a:lnTo>
                  <a:lnTo>
                    <a:pt x="878" y="361"/>
                  </a:lnTo>
                  <a:lnTo>
                    <a:pt x="878" y="361"/>
                  </a:lnTo>
                  <a:lnTo>
                    <a:pt x="881" y="361"/>
                  </a:lnTo>
                  <a:lnTo>
                    <a:pt x="881" y="364"/>
                  </a:lnTo>
                  <a:lnTo>
                    <a:pt x="884" y="361"/>
                  </a:lnTo>
                  <a:lnTo>
                    <a:pt x="884" y="364"/>
                  </a:lnTo>
                  <a:lnTo>
                    <a:pt x="884" y="364"/>
                  </a:lnTo>
                  <a:lnTo>
                    <a:pt x="881" y="367"/>
                  </a:lnTo>
                  <a:lnTo>
                    <a:pt x="881" y="364"/>
                  </a:lnTo>
                  <a:lnTo>
                    <a:pt x="881" y="367"/>
                  </a:lnTo>
                  <a:lnTo>
                    <a:pt x="881" y="367"/>
                  </a:lnTo>
                  <a:lnTo>
                    <a:pt x="878" y="367"/>
                  </a:lnTo>
                  <a:lnTo>
                    <a:pt x="875" y="367"/>
                  </a:lnTo>
                  <a:lnTo>
                    <a:pt x="878" y="367"/>
                  </a:lnTo>
                  <a:lnTo>
                    <a:pt x="878" y="367"/>
                  </a:lnTo>
                  <a:lnTo>
                    <a:pt x="878" y="364"/>
                  </a:lnTo>
                  <a:lnTo>
                    <a:pt x="875" y="364"/>
                  </a:lnTo>
                  <a:lnTo>
                    <a:pt x="875" y="364"/>
                  </a:lnTo>
                  <a:lnTo>
                    <a:pt x="875" y="361"/>
                  </a:lnTo>
                  <a:lnTo>
                    <a:pt x="873" y="359"/>
                  </a:lnTo>
                  <a:lnTo>
                    <a:pt x="870" y="359"/>
                  </a:lnTo>
                  <a:lnTo>
                    <a:pt x="867" y="359"/>
                  </a:lnTo>
                  <a:lnTo>
                    <a:pt x="865" y="359"/>
                  </a:lnTo>
                  <a:lnTo>
                    <a:pt x="865" y="359"/>
                  </a:lnTo>
                  <a:lnTo>
                    <a:pt x="865" y="359"/>
                  </a:lnTo>
                  <a:lnTo>
                    <a:pt x="862" y="361"/>
                  </a:lnTo>
                  <a:lnTo>
                    <a:pt x="859" y="361"/>
                  </a:lnTo>
                  <a:lnTo>
                    <a:pt x="859" y="359"/>
                  </a:lnTo>
                  <a:lnTo>
                    <a:pt x="859" y="359"/>
                  </a:lnTo>
                  <a:lnTo>
                    <a:pt x="859" y="361"/>
                  </a:lnTo>
                  <a:lnTo>
                    <a:pt x="859" y="361"/>
                  </a:lnTo>
                  <a:lnTo>
                    <a:pt x="859" y="364"/>
                  </a:lnTo>
                  <a:lnTo>
                    <a:pt x="857" y="364"/>
                  </a:lnTo>
                  <a:lnTo>
                    <a:pt x="857" y="364"/>
                  </a:lnTo>
                  <a:lnTo>
                    <a:pt x="857" y="364"/>
                  </a:lnTo>
                  <a:lnTo>
                    <a:pt x="854" y="364"/>
                  </a:lnTo>
                  <a:lnTo>
                    <a:pt x="854" y="364"/>
                  </a:lnTo>
                  <a:lnTo>
                    <a:pt x="854" y="364"/>
                  </a:lnTo>
                  <a:lnTo>
                    <a:pt x="854" y="367"/>
                  </a:lnTo>
                  <a:lnTo>
                    <a:pt x="854" y="367"/>
                  </a:lnTo>
                  <a:lnTo>
                    <a:pt x="851" y="369"/>
                  </a:lnTo>
                  <a:lnTo>
                    <a:pt x="851" y="369"/>
                  </a:lnTo>
                  <a:lnTo>
                    <a:pt x="849" y="369"/>
                  </a:lnTo>
                  <a:lnTo>
                    <a:pt x="849" y="369"/>
                  </a:lnTo>
                  <a:lnTo>
                    <a:pt x="846" y="372"/>
                  </a:lnTo>
                  <a:lnTo>
                    <a:pt x="846" y="375"/>
                  </a:lnTo>
                  <a:lnTo>
                    <a:pt x="846" y="375"/>
                  </a:lnTo>
                  <a:lnTo>
                    <a:pt x="843" y="375"/>
                  </a:lnTo>
                  <a:lnTo>
                    <a:pt x="841" y="375"/>
                  </a:lnTo>
                  <a:lnTo>
                    <a:pt x="841" y="372"/>
                  </a:lnTo>
                  <a:lnTo>
                    <a:pt x="841" y="372"/>
                  </a:lnTo>
                  <a:lnTo>
                    <a:pt x="838" y="372"/>
                  </a:lnTo>
                  <a:lnTo>
                    <a:pt x="838" y="375"/>
                  </a:lnTo>
                  <a:lnTo>
                    <a:pt x="838" y="375"/>
                  </a:lnTo>
                  <a:lnTo>
                    <a:pt x="841" y="377"/>
                  </a:lnTo>
                  <a:lnTo>
                    <a:pt x="838" y="377"/>
                  </a:lnTo>
                  <a:lnTo>
                    <a:pt x="835" y="377"/>
                  </a:lnTo>
                  <a:lnTo>
                    <a:pt x="835" y="377"/>
                  </a:lnTo>
                  <a:lnTo>
                    <a:pt x="833" y="380"/>
                  </a:lnTo>
                  <a:lnTo>
                    <a:pt x="833" y="383"/>
                  </a:lnTo>
                  <a:lnTo>
                    <a:pt x="830" y="385"/>
                  </a:lnTo>
                  <a:lnTo>
                    <a:pt x="830" y="385"/>
                  </a:lnTo>
                  <a:lnTo>
                    <a:pt x="830" y="388"/>
                  </a:lnTo>
                  <a:lnTo>
                    <a:pt x="827" y="388"/>
                  </a:lnTo>
                  <a:lnTo>
                    <a:pt x="827" y="391"/>
                  </a:lnTo>
                  <a:lnTo>
                    <a:pt x="825" y="391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2" y="388"/>
                  </a:lnTo>
                  <a:lnTo>
                    <a:pt x="825" y="385"/>
                  </a:lnTo>
                  <a:lnTo>
                    <a:pt x="825" y="385"/>
                  </a:lnTo>
                  <a:lnTo>
                    <a:pt x="825" y="385"/>
                  </a:lnTo>
                  <a:lnTo>
                    <a:pt x="822" y="383"/>
                  </a:lnTo>
                  <a:lnTo>
                    <a:pt x="822" y="383"/>
                  </a:lnTo>
                  <a:lnTo>
                    <a:pt x="819" y="385"/>
                  </a:lnTo>
                  <a:lnTo>
                    <a:pt x="819" y="385"/>
                  </a:lnTo>
                  <a:lnTo>
                    <a:pt x="822" y="388"/>
                  </a:lnTo>
                  <a:lnTo>
                    <a:pt x="819" y="391"/>
                  </a:lnTo>
                  <a:lnTo>
                    <a:pt x="819" y="391"/>
                  </a:lnTo>
                  <a:lnTo>
                    <a:pt x="819" y="393"/>
                  </a:lnTo>
                  <a:lnTo>
                    <a:pt x="819" y="396"/>
                  </a:lnTo>
                  <a:lnTo>
                    <a:pt x="819" y="396"/>
                  </a:lnTo>
                  <a:lnTo>
                    <a:pt x="819" y="396"/>
                  </a:lnTo>
                  <a:lnTo>
                    <a:pt x="817" y="396"/>
                  </a:lnTo>
                  <a:lnTo>
                    <a:pt x="817" y="393"/>
                  </a:lnTo>
                  <a:lnTo>
                    <a:pt x="814" y="393"/>
                  </a:lnTo>
                  <a:lnTo>
                    <a:pt x="814" y="396"/>
                  </a:lnTo>
                  <a:lnTo>
                    <a:pt x="814" y="396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1" y="396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399"/>
                  </a:lnTo>
                  <a:lnTo>
                    <a:pt x="811" y="401"/>
                  </a:lnTo>
                  <a:lnTo>
                    <a:pt x="811" y="401"/>
                  </a:lnTo>
                  <a:lnTo>
                    <a:pt x="811" y="404"/>
                  </a:lnTo>
                  <a:lnTo>
                    <a:pt x="811" y="404"/>
                  </a:lnTo>
                  <a:lnTo>
                    <a:pt x="811" y="404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6" y="407"/>
                  </a:lnTo>
                  <a:lnTo>
                    <a:pt x="806" y="407"/>
                  </a:lnTo>
                  <a:lnTo>
                    <a:pt x="803" y="409"/>
                  </a:lnTo>
                  <a:lnTo>
                    <a:pt x="803" y="409"/>
                  </a:lnTo>
                  <a:lnTo>
                    <a:pt x="801" y="409"/>
                  </a:lnTo>
                  <a:lnTo>
                    <a:pt x="801" y="409"/>
                  </a:lnTo>
                  <a:lnTo>
                    <a:pt x="798" y="409"/>
                  </a:lnTo>
                  <a:lnTo>
                    <a:pt x="798" y="412"/>
                  </a:lnTo>
                  <a:lnTo>
                    <a:pt x="798" y="412"/>
                  </a:lnTo>
                  <a:lnTo>
                    <a:pt x="801" y="415"/>
                  </a:lnTo>
                  <a:lnTo>
                    <a:pt x="801" y="415"/>
                  </a:lnTo>
                  <a:lnTo>
                    <a:pt x="803" y="415"/>
                  </a:lnTo>
                  <a:lnTo>
                    <a:pt x="803" y="417"/>
                  </a:lnTo>
                  <a:lnTo>
                    <a:pt x="801" y="417"/>
                  </a:lnTo>
                  <a:lnTo>
                    <a:pt x="801" y="420"/>
                  </a:lnTo>
                  <a:lnTo>
                    <a:pt x="801" y="420"/>
                  </a:lnTo>
                  <a:lnTo>
                    <a:pt x="803" y="420"/>
                  </a:lnTo>
                  <a:lnTo>
                    <a:pt x="806" y="423"/>
                  </a:lnTo>
                  <a:lnTo>
                    <a:pt x="806" y="423"/>
                  </a:lnTo>
                  <a:lnTo>
                    <a:pt x="803" y="425"/>
                  </a:lnTo>
                  <a:lnTo>
                    <a:pt x="803" y="425"/>
                  </a:lnTo>
                  <a:lnTo>
                    <a:pt x="806" y="425"/>
                  </a:lnTo>
                  <a:lnTo>
                    <a:pt x="806" y="428"/>
                  </a:lnTo>
                  <a:lnTo>
                    <a:pt x="806" y="428"/>
                  </a:lnTo>
                  <a:lnTo>
                    <a:pt x="803" y="431"/>
                  </a:lnTo>
                  <a:lnTo>
                    <a:pt x="801" y="431"/>
                  </a:lnTo>
                  <a:lnTo>
                    <a:pt x="801" y="431"/>
                  </a:lnTo>
                  <a:lnTo>
                    <a:pt x="803" y="431"/>
                  </a:lnTo>
                  <a:lnTo>
                    <a:pt x="803" y="431"/>
                  </a:lnTo>
                  <a:lnTo>
                    <a:pt x="803" y="433"/>
                  </a:lnTo>
                  <a:lnTo>
                    <a:pt x="806" y="433"/>
                  </a:lnTo>
                  <a:lnTo>
                    <a:pt x="809" y="433"/>
                  </a:lnTo>
                  <a:lnTo>
                    <a:pt x="809" y="433"/>
                  </a:lnTo>
                  <a:lnTo>
                    <a:pt x="811" y="436"/>
                  </a:lnTo>
                  <a:lnTo>
                    <a:pt x="811" y="436"/>
                  </a:lnTo>
                  <a:lnTo>
                    <a:pt x="811" y="439"/>
                  </a:lnTo>
                  <a:lnTo>
                    <a:pt x="814" y="439"/>
                  </a:lnTo>
                  <a:lnTo>
                    <a:pt x="814" y="439"/>
                  </a:lnTo>
                  <a:lnTo>
                    <a:pt x="814" y="439"/>
                  </a:lnTo>
                  <a:lnTo>
                    <a:pt x="817" y="439"/>
                  </a:lnTo>
                  <a:lnTo>
                    <a:pt x="817" y="439"/>
                  </a:lnTo>
                  <a:lnTo>
                    <a:pt x="817" y="439"/>
                  </a:lnTo>
                  <a:lnTo>
                    <a:pt x="817" y="441"/>
                  </a:lnTo>
                  <a:lnTo>
                    <a:pt x="817" y="441"/>
                  </a:lnTo>
                  <a:lnTo>
                    <a:pt x="814" y="441"/>
                  </a:lnTo>
                  <a:lnTo>
                    <a:pt x="817" y="444"/>
                  </a:lnTo>
                  <a:lnTo>
                    <a:pt x="817" y="444"/>
                  </a:lnTo>
                  <a:lnTo>
                    <a:pt x="819" y="444"/>
                  </a:lnTo>
                  <a:lnTo>
                    <a:pt x="819" y="447"/>
                  </a:lnTo>
                  <a:lnTo>
                    <a:pt x="819" y="449"/>
                  </a:lnTo>
                  <a:lnTo>
                    <a:pt x="819" y="449"/>
                  </a:lnTo>
                  <a:lnTo>
                    <a:pt x="819" y="452"/>
                  </a:lnTo>
                  <a:lnTo>
                    <a:pt x="819" y="455"/>
                  </a:lnTo>
                  <a:lnTo>
                    <a:pt x="819" y="455"/>
                  </a:lnTo>
                  <a:lnTo>
                    <a:pt x="817" y="457"/>
                  </a:lnTo>
                  <a:lnTo>
                    <a:pt x="817" y="457"/>
                  </a:lnTo>
                  <a:lnTo>
                    <a:pt x="819" y="457"/>
                  </a:lnTo>
                  <a:lnTo>
                    <a:pt x="819" y="460"/>
                  </a:lnTo>
                  <a:lnTo>
                    <a:pt x="819" y="460"/>
                  </a:lnTo>
                  <a:lnTo>
                    <a:pt x="819" y="463"/>
                  </a:lnTo>
                  <a:lnTo>
                    <a:pt x="819" y="463"/>
                  </a:lnTo>
                  <a:lnTo>
                    <a:pt x="819" y="465"/>
                  </a:lnTo>
                  <a:lnTo>
                    <a:pt x="822" y="465"/>
                  </a:lnTo>
                  <a:lnTo>
                    <a:pt x="825" y="465"/>
                  </a:lnTo>
                  <a:lnTo>
                    <a:pt x="825" y="465"/>
                  </a:lnTo>
                  <a:lnTo>
                    <a:pt x="822" y="468"/>
                  </a:lnTo>
                  <a:lnTo>
                    <a:pt x="825" y="471"/>
                  </a:lnTo>
                  <a:lnTo>
                    <a:pt x="825" y="471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5" y="473"/>
                  </a:lnTo>
                  <a:lnTo>
                    <a:pt x="827" y="473"/>
                  </a:lnTo>
                  <a:lnTo>
                    <a:pt x="827" y="473"/>
                  </a:lnTo>
                  <a:lnTo>
                    <a:pt x="830" y="476"/>
                  </a:lnTo>
                  <a:lnTo>
                    <a:pt x="830" y="476"/>
                  </a:lnTo>
                  <a:lnTo>
                    <a:pt x="830" y="473"/>
                  </a:lnTo>
                  <a:lnTo>
                    <a:pt x="830" y="473"/>
                  </a:lnTo>
                  <a:lnTo>
                    <a:pt x="833" y="473"/>
                  </a:lnTo>
                  <a:lnTo>
                    <a:pt x="833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3"/>
                  </a:lnTo>
                  <a:lnTo>
                    <a:pt x="835" y="476"/>
                  </a:lnTo>
                  <a:lnTo>
                    <a:pt x="835" y="476"/>
                  </a:lnTo>
                  <a:lnTo>
                    <a:pt x="838" y="476"/>
                  </a:lnTo>
                  <a:lnTo>
                    <a:pt x="841" y="476"/>
                  </a:lnTo>
                  <a:lnTo>
                    <a:pt x="841" y="476"/>
                  </a:lnTo>
                  <a:lnTo>
                    <a:pt x="841" y="479"/>
                  </a:lnTo>
                  <a:lnTo>
                    <a:pt x="843" y="479"/>
                  </a:lnTo>
                  <a:lnTo>
                    <a:pt x="843" y="479"/>
                  </a:lnTo>
                  <a:lnTo>
                    <a:pt x="846" y="479"/>
                  </a:lnTo>
                  <a:lnTo>
                    <a:pt x="849" y="481"/>
                  </a:lnTo>
                  <a:lnTo>
                    <a:pt x="849" y="481"/>
                  </a:lnTo>
                  <a:lnTo>
                    <a:pt x="851" y="481"/>
                  </a:lnTo>
                  <a:lnTo>
                    <a:pt x="851" y="484"/>
                  </a:lnTo>
                  <a:lnTo>
                    <a:pt x="851" y="481"/>
                  </a:lnTo>
                  <a:lnTo>
                    <a:pt x="854" y="484"/>
                  </a:lnTo>
                  <a:lnTo>
                    <a:pt x="857" y="484"/>
                  </a:lnTo>
                  <a:lnTo>
                    <a:pt x="857" y="484"/>
                  </a:lnTo>
                  <a:lnTo>
                    <a:pt x="859" y="484"/>
                  </a:lnTo>
                  <a:lnTo>
                    <a:pt x="859" y="487"/>
                  </a:lnTo>
                  <a:lnTo>
                    <a:pt x="859" y="490"/>
                  </a:lnTo>
                  <a:lnTo>
                    <a:pt x="862" y="490"/>
                  </a:lnTo>
                  <a:lnTo>
                    <a:pt x="862" y="492"/>
                  </a:lnTo>
                  <a:lnTo>
                    <a:pt x="865" y="492"/>
                  </a:lnTo>
                  <a:lnTo>
                    <a:pt x="865" y="495"/>
                  </a:lnTo>
                  <a:lnTo>
                    <a:pt x="865" y="495"/>
                  </a:lnTo>
                  <a:lnTo>
                    <a:pt x="867" y="495"/>
                  </a:lnTo>
                  <a:lnTo>
                    <a:pt x="870" y="495"/>
                  </a:lnTo>
                  <a:lnTo>
                    <a:pt x="873" y="495"/>
                  </a:lnTo>
                  <a:lnTo>
                    <a:pt x="873" y="495"/>
                  </a:lnTo>
                  <a:lnTo>
                    <a:pt x="875" y="492"/>
                  </a:lnTo>
                  <a:lnTo>
                    <a:pt x="875" y="492"/>
                  </a:lnTo>
                  <a:lnTo>
                    <a:pt x="878" y="492"/>
                  </a:lnTo>
                  <a:lnTo>
                    <a:pt x="881" y="490"/>
                  </a:lnTo>
                  <a:lnTo>
                    <a:pt x="881" y="490"/>
                  </a:lnTo>
                  <a:lnTo>
                    <a:pt x="884" y="492"/>
                  </a:lnTo>
                  <a:lnTo>
                    <a:pt x="884" y="492"/>
                  </a:lnTo>
                  <a:lnTo>
                    <a:pt x="884" y="492"/>
                  </a:lnTo>
                  <a:lnTo>
                    <a:pt x="881" y="495"/>
                  </a:lnTo>
                  <a:lnTo>
                    <a:pt x="884" y="495"/>
                  </a:lnTo>
                  <a:lnTo>
                    <a:pt x="884" y="495"/>
                  </a:lnTo>
                  <a:lnTo>
                    <a:pt x="886" y="495"/>
                  </a:lnTo>
                  <a:lnTo>
                    <a:pt x="889" y="495"/>
                  </a:lnTo>
                  <a:lnTo>
                    <a:pt x="892" y="492"/>
                  </a:lnTo>
                  <a:lnTo>
                    <a:pt x="894" y="492"/>
                  </a:lnTo>
                  <a:lnTo>
                    <a:pt x="894" y="490"/>
                  </a:lnTo>
                  <a:lnTo>
                    <a:pt x="894" y="487"/>
                  </a:lnTo>
                  <a:lnTo>
                    <a:pt x="892" y="487"/>
                  </a:lnTo>
                  <a:lnTo>
                    <a:pt x="894" y="484"/>
                  </a:lnTo>
                  <a:lnTo>
                    <a:pt x="894" y="479"/>
                  </a:lnTo>
                  <a:lnTo>
                    <a:pt x="894" y="476"/>
                  </a:lnTo>
                  <a:lnTo>
                    <a:pt x="894" y="476"/>
                  </a:lnTo>
                  <a:lnTo>
                    <a:pt x="897" y="476"/>
                  </a:lnTo>
                  <a:lnTo>
                    <a:pt x="900" y="476"/>
                  </a:lnTo>
                  <a:lnTo>
                    <a:pt x="902" y="476"/>
                  </a:lnTo>
                  <a:lnTo>
                    <a:pt x="902" y="479"/>
                  </a:lnTo>
                  <a:lnTo>
                    <a:pt x="905" y="481"/>
                  </a:lnTo>
                  <a:lnTo>
                    <a:pt x="905" y="484"/>
                  </a:lnTo>
                  <a:lnTo>
                    <a:pt x="908" y="487"/>
                  </a:lnTo>
                  <a:lnTo>
                    <a:pt x="908" y="487"/>
                  </a:lnTo>
                  <a:lnTo>
                    <a:pt x="905" y="490"/>
                  </a:lnTo>
                  <a:lnTo>
                    <a:pt x="905" y="492"/>
                  </a:lnTo>
                  <a:lnTo>
                    <a:pt x="902" y="495"/>
                  </a:lnTo>
                  <a:lnTo>
                    <a:pt x="900" y="498"/>
                  </a:lnTo>
                  <a:lnTo>
                    <a:pt x="900" y="498"/>
                  </a:lnTo>
                  <a:lnTo>
                    <a:pt x="900" y="500"/>
                  </a:lnTo>
                  <a:lnTo>
                    <a:pt x="897" y="503"/>
                  </a:lnTo>
                  <a:lnTo>
                    <a:pt x="900" y="503"/>
                  </a:lnTo>
                  <a:lnTo>
                    <a:pt x="902" y="506"/>
                  </a:lnTo>
                  <a:lnTo>
                    <a:pt x="905" y="506"/>
                  </a:lnTo>
                  <a:lnTo>
                    <a:pt x="908" y="508"/>
                  </a:lnTo>
                  <a:lnTo>
                    <a:pt x="910" y="508"/>
                  </a:lnTo>
                  <a:lnTo>
                    <a:pt x="913" y="508"/>
                  </a:lnTo>
                  <a:lnTo>
                    <a:pt x="916" y="508"/>
                  </a:lnTo>
                  <a:lnTo>
                    <a:pt x="918" y="508"/>
                  </a:lnTo>
                  <a:lnTo>
                    <a:pt x="921" y="508"/>
                  </a:lnTo>
                  <a:lnTo>
                    <a:pt x="924" y="511"/>
                  </a:lnTo>
                  <a:lnTo>
                    <a:pt x="921" y="511"/>
                  </a:lnTo>
                  <a:lnTo>
                    <a:pt x="921" y="514"/>
                  </a:lnTo>
                  <a:lnTo>
                    <a:pt x="921" y="514"/>
                  </a:lnTo>
                  <a:lnTo>
                    <a:pt x="924" y="516"/>
                  </a:lnTo>
                  <a:lnTo>
                    <a:pt x="921" y="516"/>
                  </a:lnTo>
                  <a:lnTo>
                    <a:pt x="921" y="519"/>
                  </a:lnTo>
                  <a:lnTo>
                    <a:pt x="918" y="519"/>
                  </a:lnTo>
                  <a:lnTo>
                    <a:pt x="916" y="519"/>
                  </a:lnTo>
                  <a:lnTo>
                    <a:pt x="916" y="522"/>
                  </a:lnTo>
                  <a:lnTo>
                    <a:pt x="916" y="522"/>
                  </a:lnTo>
                  <a:lnTo>
                    <a:pt x="916" y="524"/>
                  </a:lnTo>
                  <a:lnTo>
                    <a:pt x="918" y="527"/>
                  </a:lnTo>
                  <a:lnTo>
                    <a:pt x="921" y="530"/>
                  </a:lnTo>
                  <a:lnTo>
                    <a:pt x="921" y="532"/>
                  </a:lnTo>
                  <a:lnTo>
                    <a:pt x="921" y="538"/>
                  </a:lnTo>
                  <a:lnTo>
                    <a:pt x="921" y="540"/>
                  </a:lnTo>
                  <a:lnTo>
                    <a:pt x="921" y="546"/>
                  </a:lnTo>
                  <a:lnTo>
                    <a:pt x="921" y="548"/>
                  </a:lnTo>
                  <a:lnTo>
                    <a:pt x="921" y="548"/>
                  </a:lnTo>
                  <a:lnTo>
                    <a:pt x="926" y="551"/>
                  </a:lnTo>
                  <a:lnTo>
                    <a:pt x="929" y="554"/>
                  </a:lnTo>
                  <a:lnTo>
                    <a:pt x="932" y="556"/>
                  </a:lnTo>
                  <a:lnTo>
                    <a:pt x="932" y="562"/>
                  </a:lnTo>
                  <a:lnTo>
                    <a:pt x="932" y="564"/>
                  </a:lnTo>
                  <a:lnTo>
                    <a:pt x="932" y="567"/>
                  </a:lnTo>
                  <a:lnTo>
                    <a:pt x="929" y="570"/>
                  </a:lnTo>
                  <a:lnTo>
                    <a:pt x="926" y="570"/>
                  </a:lnTo>
                  <a:lnTo>
                    <a:pt x="924" y="570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21" y="572"/>
                  </a:lnTo>
                  <a:lnTo>
                    <a:pt x="921" y="578"/>
                  </a:lnTo>
                  <a:lnTo>
                    <a:pt x="921" y="580"/>
                  </a:lnTo>
                  <a:lnTo>
                    <a:pt x="921" y="586"/>
                  </a:lnTo>
                  <a:lnTo>
                    <a:pt x="921" y="591"/>
                  </a:lnTo>
                  <a:lnTo>
                    <a:pt x="921" y="594"/>
                  </a:lnTo>
                  <a:lnTo>
                    <a:pt x="918" y="594"/>
                  </a:lnTo>
                  <a:lnTo>
                    <a:pt x="918" y="596"/>
                  </a:lnTo>
                  <a:lnTo>
                    <a:pt x="918" y="602"/>
                  </a:lnTo>
                  <a:lnTo>
                    <a:pt x="918" y="604"/>
                  </a:lnTo>
                  <a:lnTo>
                    <a:pt x="918" y="604"/>
                  </a:lnTo>
                  <a:lnTo>
                    <a:pt x="916" y="604"/>
                  </a:lnTo>
                  <a:lnTo>
                    <a:pt x="913" y="607"/>
                  </a:lnTo>
                  <a:lnTo>
                    <a:pt x="910" y="610"/>
                  </a:lnTo>
                  <a:lnTo>
                    <a:pt x="910" y="610"/>
                  </a:lnTo>
                  <a:lnTo>
                    <a:pt x="910" y="612"/>
                  </a:lnTo>
                  <a:lnTo>
                    <a:pt x="910" y="615"/>
                  </a:lnTo>
                  <a:lnTo>
                    <a:pt x="908" y="618"/>
                  </a:lnTo>
                  <a:lnTo>
                    <a:pt x="908" y="618"/>
                  </a:lnTo>
                  <a:lnTo>
                    <a:pt x="905" y="620"/>
                  </a:lnTo>
                  <a:lnTo>
                    <a:pt x="902" y="620"/>
                  </a:lnTo>
                  <a:lnTo>
                    <a:pt x="902" y="620"/>
                  </a:lnTo>
                  <a:lnTo>
                    <a:pt x="902" y="626"/>
                  </a:lnTo>
                  <a:lnTo>
                    <a:pt x="902" y="628"/>
                  </a:lnTo>
                  <a:lnTo>
                    <a:pt x="902" y="631"/>
                  </a:lnTo>
                  <a:lnTo>
                    <a:pt x="900" y="634"/>
                  </a:lnTo>
                  <a:lnTo>
                    <a:pt x="900" y="636"/>
                  </a:lnTo>
                  <a:lnTo>
                    <a:pt x="900" y="639"/>
                  </a:lnTo>
                  <a:lnTo>
                    <a:pt x="900" y="639"/>
                  </a:lnTo>
                  <a:lnTo>
                    <a:pt x="900" y="639"/>
                  </a:lnTo>
                  <a:lnTo>
                    <a:pt x="894" y="639"/>
                  </a:lnTo>
                  <a:lnTo>
                    <a:pt x="892" y="636"/>
                  </a:lnTo>
                  <a:lnTo>
                    <a:pt x="889" y="636"/>
                  </a:lnTo>
                  <a:lnTo>
                    <a:pt x="886" y="636"/>
                  </a:lnTo>
                  <a:lnTo>
                    <a:pt x="884" y="636"/>
                  </a:lnTo>
                  <a:lnTo>
                    <a:pt x="881" y="636"/>
                  </a:lnTo>
                  <a:lnTo>
                    <a:pt x="881" y="636"/>
                  </a:lnTo>
                  <a:lnTo>
                    <a:pt x="878" y="636"/>
                  </a:lnTo>
                  <a:lnTo>
                    <a:pt x="878" y="636"/>
                  </a:lnTo>
                  <a:lnTo>
                    <a:pt x="875" y="634"/>
                  </a:lnTo>
                  <a:lnTo>
                    <a:pt x="875" y="634"/>
                  </a:lnTo>
                  <a:lnTo>
                    <a:pt x="875" y="634"/>
                  </a:lnTo>
                  <a:lnTo>
                    <a:pt x="873" y="636"/>
                  </a:lnTo>
                  <a:lnTo>
                    <a:pt x="873" y="639"/>
                  </a:lnTo>
                  <a:lnTo>
                    <a:pt x="873" y="639"/>
                  </a:lnTo>
                  <a:lnTo>
                    <a:pt x="875" y="639"/>
                  </a:lnTo>
                  <a:lnTo>
                    <a:pt x="875" y="642"/>
                  </a:lnTo>
                  <a:lnTo>
                    <a:pt x="875" y="642"/>
                  </a:lnTo>
                  <a:lnTo>
                    <a:pt x="875" y="642"/>
                  </a:lnTo>
                  <a:lnTo>
                    <a:pt x="875" y="645"/>
                  </a:lnTo>
                  <a:lnTo>
                    <a:pt x="878" y="647"/>
                  </a:lnTo>
                  <a:lnTo>
                    <a:pt x="878" y="647"/>
                  </a:lnTo>
                  <a:lnTo>
                    <a:pt x="878" y="650"/>
                  </a:lnTo>
                  <a:lnTo>
                    <a:pt x="878" y="650"/>
                  </a:lnTo>
                  <a:lnTo>
                    <a:pt x="878" y="653"/>
                  </a:lnTo>
                  <a:lnTo>
                    <a:pt x="881" y="653"/>
                  </a:lnTo>
                  <a:lnTo>
                    <a:pt x="881" y="655"/>
                  </a:lnTo>
                  <a:lnTo>
                    <a:pt x="884" y="655"/>
                  </a:lnTo>
                  <a:lnTo>
                    <a:pt x="884" y="655"/>
                  </a:lnTo>
                  <a:lnTo>
                    <a:pt x="884" y="658"/>
                  </a:lnTo>
                  <a:lnTo>
                    <a:pt x="886" y="661"/>
                  </a:lnTo>
                  <a:lnTo>
                    <a:pt x="886" y="661"/>
                  </a:lnTo>
                  <a:lnTo>
                    <a:pt x="886" y="661"/>
                  </a:lnTo>
                  <a:lnTo>
                    <a:pt x="886" y="663"/>
                  </a:lnTo>
                  <a:lnTo>
                    <a:pt x="884" y="663"/>
                  </a:lnTo>
                  <a:lnTo>
                    <a:pt x="886" y="663"/>
                  </a:lnTo>
                  <a:lnTo>
                    <a:pt x="886" y="666"/>
                  </a:lnTo>
                  <a:lnTo>
                    <a:pt x="884" y="666"/>
                  </a:lnTo>
                  <a:lnTo>
                    <a:pt x="884" y="666"/>
                  </a:lnTo>
                  <a:lnTo>
                    <a:pt x="884" y="669"/>
                  </a:lnTo>
                  <a:lnTo>
                    <a:pt x="884" y="669"/>
                  </a:lnTo>
                  <a:lnTo>
                    <a:pt x="884" y="671"/>
                  </a:lnTo>
                  <a:lnTo>
                    <a:pt x="886" y="671"/>
                  </a:lnTo>
                  <a:lnTo>
                    <a:pt x="886" y="671"/>
                  </a:lnTo>
                  <a:lnTo>
                    <a:pt x="886" y="674"/>
                  </a:lnTo>
                  <a:lnTo>
                    <a:pt x="886" y="674"/>
                  </a:lnTo>
                  <a:lnTo>
                    <a:pt x="886" y="677"/>
                  </a:lnTo>
                  <a:lnTo>
                    <a:pt x="889" y="677"/>
                  </a:lnTo>
                  <a:lnTo>
                    <a:pt x="889" y="677"/>
                  </a:lnTo>
                  <a:lnTo>
                    <a:pt x="889" y="679"/>
                  </a:lnTo>
                  <a:lnTo>
                    <a:pt x="892" y="679"/>
                  </a:lnTo>
                  <a:lnTo>
                    <a:pt x="892" y="679"/>
                  </a:lnTo>
                  <a:lnTo>
                    <a:pt x="894" y="679"/>
                  </a:lnTo>
                  <a:lnTo>
                    <a:pt x="894" y="679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2"/>
                  </a:lnTo>
                  <a:lnTo>
                    <a:pt x="894" y="685"/>
                  </a:lnTo>
                  <a:lnTo>
                    <a:pt x="894" y="685"/>
                  </a:lnTo>
                  <a:lnTo>
                    <a:pt x="894" y="685"/>
                  </a:lnTo>
                  <a:lnTo>
                    <a:pt x="892" y="685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4" y="687"/>
                  </a:lnTo>
                  <a:lnTo>
                    <a:pt x="892" y="687"/>
                  </a:lnTo>
                  <a:lnTo>
                    <a:pt x="892" y="687"/>
                  </a:lnTo>
                  <a:lnTo>
                    <a:pt x="892" y="690"/>
                  </a:lnTo>
                  <a:lnTo>
                    <a:pt x="889" y="690"/>
                  </a:lnTo>
                  <a:lnTo>
                    <a:pt x="889" y="690"/>
                  </a:lnTo>
                  <a:lnTo>
                    <a:pt x="889" y="693"/>
                  </a:lnTo>
                  <a:lnTo>
                    <a:pt x="889" y="693"/>
                  </a:lnTo>
                  <a:lnTo>
                    <a:pt x="886" y="693"/>
                  </a:lnTo>
                  <a:lnTo>
                    <a:pt x="886" y="695"/>
                  </a:lnTo>
                  <a:lnTo>
                    <a:pt x="889" y="698"/>
                  </a:lnTo>
                  <a:lnTo>
                    <a:pt x="889" y="698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89" y="701"/>
                  </a:lnTo>
                  <a:lnTo>
                    <a:pt x="892" y="703"/>
                  </a:lnTo>
                  <a:lnTo>
                    <a:pt x="892" y="703"/>
                  </a:lnTo>
                  <a:lnTo>
                    <a:pt x="889" y="703"/>
                  </a:lnTo>
                  <a:lnTo>
                    <a:pt x="889" y="703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6"/>
                  </a:lnTo>
                  <a:lnTo>
                    <a:pt x="886" y="709"/>
                  </a:lnTo>
                  <a:lnTo>
                    <a:pt x="886" y="709"/>
                  </a:lnTo>
                  <a:lnTo>
                    <a:pt x="884" y="709"/>
                  </a:lnTo>
                  <a:lnTo>
                    <a:pt x="884" y="706"/>
                  </a:lnTo>
                  <a:lnTo>
                    <a:pt x="884" y="706"/>
                  </a:lnTo>
                  <a:lnTo>
                    <a:pt x="884" y="709"/>
                  </a:lnTo>
                  <a:lnTo>
                    <a:pt x="884" y="709"/>
                  </a:lnTo>
                  <a:lnTo>
                    <a:pt x="884" y="709"/>
                  </a:lnTo>
                  <a:lnTo>
                    <a:pt x="881" y="709"/>
                  </a:lnTo>
                  <a:lnTo>
                    <a:pt x="881" y="709"/>
                  </a:lnTo>
                  <a:lnTo>
                    <a:pt x="878" y="711"/>
                  </a:lnTo>
                  <a:lnTo>
                    <a:pt x="878" y="714"/>
                  </a:lnTo>
                  <a:lnTo>
                    <a:pt x="881" y="714"/>
                  </a:lnTo>
                  <a:lnTo>
                    <a:pt x="881" y="717"/>
                  </a:lnTo>
                  <a:lnTo>
                    <a:pt x="884" y="719"/>
                  </a:lnTo>
                  <a:lnTo>
                    <a:pt x="892" y="727"/>
                  </a:lnTo>
                  <a:lnTo>
                    <a:pt x="894" y="733"/>
                  </a:lnTo>
                  <a:lnTo>
                    <a:pt x="900" y="738"/>
                  </a:lnTo>
                  <a:lnTo>
                    <a:pt x="902" y="743"/>
                  </a:lnTo>
                  <a:lnTo>
                    <a:pt x="905" y="746"/>
                  </a:lnTo>
                  <a:lnTo>
                    <a:pt x="908" y="751"/>
                  </a:lnTo>
                  <a:lnTo>
                    <a:pt x="910" y="754"/>
                  </a:lnTo>
                  <a:lnTo>
                    <a:pt x="913" y="754"/>
                  </a:lnTo>
                  <a:lnTo>
                    <a:pt x="910" y="757"/>
                  </a:lnTo>
                  <a:lnTo>
                    <a:pt x="910" y="757"/>
                  </a:lnTo>
                  <a:lnTo>
                    <a:pt x="910" y="759"/>
                  </a:lnTo>
                  <a:lnTo>
                    <a:pt x="913" y="759"/>
                  </a:lnTo>
                  <a:lnTo>
                    <a:pt x="913" y="759"/>
                  </a:lnTo>
                  <a:lnTo>
                    <a:pt x="916" y="759"/>
                  </a:lnTo>
                  <a:lnTo>
                    <a:pt x="916" y="762"/>
                  </a:lnTo>
                  <a:lnTo>
                    <a:pt x="916" y="765"/>
                  </a:lnTo>
                  <a:lnTo>
                    <a:pt x="916" y="765"/>
                  </a:lnTo>
                  <a:lnTo>
                    <a:pt x="918" y="767"/>
                  </a:lnTo>
                  <a:lnTo>
                    <a:pt x="916" y="770"/>
                  </a:lnTo>
                  <a:lnTo>
                    <a:pt x="918" y="773"/>
                  </a:lnTo>
                  <a:lnTo>
                    <a:pt x="918" y="773"/>
                  </a:lnTo>
                  <a:lnTo>
                    <a:pt x="918" y="775"/>
                  </a:lnTo>
                  <a:lnTo>
                    <a:pt x="918" y="775"/>
                  </a:lnTo>
                  <a:lnTo>
                    <a:pt x="918" y="778"/>
                  </a:lnTo>
                  <a:lnTo>
                    <a:pt x="921" y="778"/>
                  </a:lnTo>
                  <a:lnTo>
                    <a:pt x="921" y="778"/>
                  </a:lnTo>
                  <a:lnTo>
                    <a:pt x="921" y="781"/>
                  </a:lnTo>
                  <a:lnTo>
                    <a:pt x="918" y="781"/>
                  </a:lnTo>
                  <a:lnTo>
                    <a:pt x="918" y="781"/>
                  </a:lnTo>
                  <a:lnTo>
                    <a:pt x="916" y="783"/>
                  </a:lnTo>
                  <a:lnTo>
                    <a:pt x="916" y="783"/>
                  </a:lnTo>
                  <a:lnTo>
                    <a:pt x="916" y="783"/>
                  </a:lnTo>
                  <a:lnTo>
                    <a:pt x="913" y="783"/>
                  </a:lnTo>
                  <a:lnTo>
                    <a:pt x="910" y="783"/>
                  </a:lnTo>
                  <a:lnTo>
                    <a:pt x="910" y="783"/>
                  </a:lnTo>
                  <a:lnTo>
                    <a:pt x="908" y="786"/>
                  </a:lnTo>
                  <a:lnTo>
                    <a:pt x="908" y="789"/>
                  </a:lnTo>
                  <a:lnTo>
                    <a:pt x="908" y="791"/>
                  </a:lnTo>
                  <a:lnTo>
                    <a:pt x="908" y="794"/>
                  </a:lnTo>
                  <a:lnTo>
                    <a:pt x="908" y="797"/>
                  </a:lnTo>
                  <a:lnTo>
                    <a:pt x="908" y="797"/>
                  </a:lnTo>
                  <a:lnTo>
                    <a:pt x="908" y="799"/>
                  </a:lnTo>
                  <a:lnTo>
                    <a:pt x="908" y="802"/>
                  </a:lnTo>
                  <a:lnTo>
                    <a:pt x="908" y="805"/>
                  </a:lnTo>
                  <a:lnTo>
                    <a:pt x="910" y="805"/>
                  </a:lnTo>
                  <a:lnTo>
                    <a:pt x="910" y="808"/>
                  </a:lnTo>
                  <a:lnTo>
                    <a:pt x="913" y="808"/>
                  </a:lnTo>
                  <a:lnTo>
                    <a:pt x="916" y="810"/>
                  </a:lnTo>
                  <a:lnTo>
                    <a:pt x="916" y="813"/>
                  </a:lnTo>
                  <a:lnTo>
                    <a:pt x="916" y="816"/>
                  </a:lnTo>
                  <a:lnTo>
                    <a:pt x="918" y="818"/>
                  </a:lnTo>
                  <a:lnTo>
                    <a:pt x="918" y="824"/>
                  </a:lnTo>
                  <a:lnTo>
                    <a:pt x="918" y="826"/>
                  </a:lnTo>
                  <a:lnTo>
                    <a:pt x="921" y="826"/>
                  </a:lnTo>
                  <a:lnTo>
                    <a:pt x="921" y="829"/>
                  </a:lnTo>
                  <a:lnTo>
                    <a:pt x="921" y="829"/>
                  </a:lnTo>
                  <a:lnTo>
                    <a:pt x="924" y="832"/>
                  </a:lnTo>
                  <a:lnTo>
                    <a:pt x="921" y="832"/>
                  </a:lnTo>
                  <a:lnTo>
                    <a:pt x="918" y="834"/>
                  </a:lnTo>
                  <a:lnTo>
                    <a:pt x="918" y="834"/>
                  </a:lnTo>
                  <a:lnTo>
                    <a:pt x="916" y="837"/>
                  </a:lnTo>
                  <a:lnTo>
                    <a:pt x="916" y="837"/>
                  </a:lnTo>
                  <a:lnTo>
                    <a:pt x="916" y="837"/>
                  </a:lnTo>
                  <a:lnTo>
                    <a:pt x="916" y="840"/>
                  </a:lnTo>
                  <a:lnTo>
                    <a:pt x="913" y="840"/>
                  </a:lnTo>
                  <a:lnTo>
                    <a:pt x="910" y="840"/>
                  </a:lnTo>
                  <a:lnTo>
                    <a:pt x="910" y="842"/>
                  </a:lnTo>
                  <a:lnTo>
                    <a:pt x="910" y="842"/>
                  </a:lnTo>
                  <a:lnTo>
                    <a:pt x="910" y="842"/>
                  </a:lnTo>
                  <a:lnTo>
                    <a:pt x="910" y="845"/>
                  </a:lnTo>
                  <a:lnTo>
                    <a:pt x="910" y="848"/>
                  </a:lnTo>
                  <a:lnTo>
                    <a:pt x="910" y="850"/>
                  </a:lnTo>
                  <a:lnTo>
                    <a:pt x="913" y="853"/>
                  </a:lnTo>
                  <a:lnTo>
                    <a:pt x="913" y="853"/>
                  </a:lnTo>
                  <a:lnTo>
                    <a:pt x="913" y="853"/>
                  </a:lnTo>
                  <a:lnTo>
                    <a:pt x="916" y="856"/>
                  </a:lnTo>
                  <a:lnTo>
                    <a:pt x="916" y="858"/>
                  </a:lnTo>
                  <a:lnTo>
                    <a:pt x="918" y="858"/>
                  </a:lnTo>
                  <a:lnTo>
                    <a:pt x="918" y="861"/>
                  </a:lnTo>
                  <a:lnTo>
                    <a:pt x="916" y="861"/>
                  </a:lnTo>
                  <a:lnTo>
                    <a:pt x="918" y="864"/>
                  </a:lnTo>
                  <a:lnTo>
                    <a:pt x="918" y="864"/>
                  </a:lnTo>
                  <a:lnTo>
                    <a:pt x="916" y="866"/>
                  </a:lnTo>
                  <a:lnTo>
                    <a:pt x="916" y="869"/>
                  </a:lnTo>
                  <a:lnTo>
                    <a:pt x="916" y="869"/>
                  </a:lnTo>
                  <a:lnTo>
                    <a:pt x="918" y="874"/>
                  </a:lnTo>
                  <a:lnTo>
                    <a:pt x="921" y="874"/>
                  </a:lnTo>
                  <a:lnTo>
                    <a:pt x="926" y="872"/>
                  </a:lnTo>
                  <a:lnTo>
                    <a:pt x="932" y="872"/>
                  </a:lnTo>
                  <a:lnTo>
                    <a:pt x="934" y="872"/>
                  </a:lnTo>
                  <a:lnTo>
                    <a:pt x="937" y="874"/>
                  </a:lnTo>
                  <a:lnTo>
                    <a:pt x="937" y="874"/>
                  </a:lnTo>
                  <a:lnTo>
                    <a:pt x="940" y="877"/>
                  </a:lnTo>
                  <a:lnTo>
                    <a:pt x="940" y="880"/>
                  </a:lnTo>
                  <a:lnTo>
                    <a:pt x="940" y="882"/>
                  </a:lnTo>
                  <a:lnTo>
                    <a:pt x="940" y="882"/>
                  </a:lnTo>
                  <a:lnTo>
                    <a:pt x="942" y="885"/>
                  </a:lnTo>
                  <a:lnTo>
                    <a:pt x="942" y="885"/>
                  </a:lnTo>
                  <a:lnTo>
                    <a:pt x="945" y="888"/>
                  </a:lnTo>
                  <a:lnTo>
                    <a:pt x="948" y="888"/>
                  </a:lnTo>
                  <a:lnTo>
                    <a:pt x="950" y="888"/>
                  </a:lnTo>
                  <a:lnTo>
                    <a:pt x="948" y="888"/>
                  </a:lnTo>
                  <a:lnTo>
                    <a:pt x="948" y="890"/>
                  </a:lnTo>
                  <a:lnTo>
                    <a:pt x="948" y="890"/>
                  </a:lnTo>
                  <a:lnTo>
                    <a:pt x="948" y="893"/>
                  </a:lnTo>
                  <a:lnTo>
                    <a:pt x="945" y="896"/>
                  </a:lnTo>
                  <a:lnTo>
                    <a:pt x="945" y="896"/>
                  </a:lnTo>
                  <a:lnTo>
                    <a:pt x="942" y="896"/>
                  </a:lnTo>
                  <a:lnTo>
                    <a:pt x="942" y="896"/>
                  </a:lnTo>
                  <a:lnTo>
                    <a:pt x="942" y="896"/>
                  </a:lnTo>
                  <a:lnTo>
                    <a:pt x="942" y="898"/>
                  </a:lnTo>
                  <a:lnTo>
                    <a:pt x="945" y="898"/>
                  </a:lnTo>
                  <a:lnTo>
                    <a:pt x="948" y="901"/>
                  </a:lnTo>
                  <a:lnTo>
                    <a:pt x="948" y="901"/>
                  </a:lnTo>
                  <a:lnTo>
                    <a:pt x="950" y="901"/>
                  </a:lnTo>
                  <a:lnTo>
                    <a:pt x="953" y="901"/>
                  </a:lnTo>
                  <a:lnTo>
                    <a:pt x="953" y="904"/>
                  </a:lnTo>
                  <a:lnTo>
                    <a:pt x="953" y="906"/>
                  </a:lnTo>
                  <a:lnTo>
                    <a:pt x="953" y="906"/>
                  </a:lnTo>
                  <a:lnTo>
                    <a:pt x="956" y="909"/>
                  </a:lnTo>
                  <a:lnTo>
                    <a:pt x="956" y="912"/>
                  </a:lnTo>
                  <a:lnTo>
                    <a:pt x="956" y="914"/>
                  </a:lnTo>
                  <a:lnTo>
                    <a:pt x="953" y="917"/>
                  </a:lnTo>
                  <a:lnTo>
                    <a:pt x="953" y="920"/>
                  </a:lnTo>
                  <a:lnTo>
                    <a:pt x="956" y="922"/>
                  </a:lnTo>
                  <a:lnTo>
                    <a:pt x="956" y="922"/>
                  </a:lnTo>
                  <a:lnTo>
                    <a:pt x="956" y="925"/>
                  </a:lnTo>
                  <a:lnTo>
                    <a:pt x="956" y="928"/>
                  </a:lnTo>
                  <a:lnTo>
                    <a:pt x="953" y="930"/>
                  </a:lnTo>
                  <a:lnTo>
                    <a:pt x="953" y="933"/>
                  </a:lnTo>
                  <a:lnTo>
                    <a:pt x="953" y="933"/>
                  </a:lnTo>
                  <a:lnTo>
                    <a:pt x="950" y="936"/>
                  </a:lnTo>
                  <a:lnTo>
                    <a:pt x="950" y="936"/>
                  </a:lnTo>
                  <a:lnTo>
                    <a:pt x="948" y="936"/>
                  </a:lnTo>
                  <a:lnTo>
                    <a:pt x="945" y="938"/>
                  </a:lnTo>
                  <a:lnTo>
                    <a:pt x="945" y="938"/>
                  </a:lnTo>
                  <a:lnTo>
                    <a:pt x="942" y="941"/>
                  </a:lnTo>
                  <a:lnTo>
                    <a:pt x="942" y="944"/>
                  </a:lnTo>
                  <a:lnTo>
                    <a:pt x="942" y="944"/>
                  </a:lnTo>
                  <a:lnTo>
                    <a:pt x="942" y="946"/>
                  </a:lnTo>
                  <a:lnTo>
                    <a:pt x="942" y="946"/>
                  </a:lnTo>
                  <a:lnTo>
                    <a:pt x="940" y="946"/>
                  </a:lnTo>
                  <a:lnTo>
                    <a:pt x="940" y="949"/>
                  </a:lnTo>
                  <a:lnTo>
                    <a:pt x="940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49"/>
                  </a:lnTo>
                  <a:lnTo>
                    <a:pt x="942" y="952"/>
                  </a:lnTo>
                  <a:lnTo>
                    <a:pt x="942" y="952"/>
                  </a:lnTo>
                  <a:lnTo>
                    <a:pt x="945" y="952"/>
                  </a:lnTo>
                  <a:lnTo>
                    <a:pt x="945" y="954"/>
                  </a:lnTo>
                  <a:lnTo>
                    <a:pt x="942" y="957"/>
                  </a:lnTo>
                  <a:lnTo>
                    <a:pt x="942" y="957"/>
                  </a:lnTo>
                  <a:lnTo>
                    <a:pt x="942" y="957"/>
                  </a:lnTo>
                  <a:lnTo>
                    <a:pt x="940" y="960"/>
                  </a:lnTo>
                  <a:lnTo>
                    <a:pt x="940" y="962"/>
                  </a:lnTo>
                  <a:lnTo>
                    <a:pt x="940" y="962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0" y="965"/>
                  </a:lnTo>
                  <a:lnTo>
                    <a:pt x="942" y="968"/>
                  </a:lnTo>
                  <a:lnTo>
                    <a:pt x="942" y="968"/>
                  </a:lnTo>
                  <a:lnTo>
                    <a:pt x="942" y="968"/>
                  </a:lnTo>
                  <a:lnTo>
                    <a:pt x="942" y="965"/>
                  </a:lnTo>
                  <a:lnTo>
                    <a:pt x="945" y="965"/>
                  </a:lnTo>
                  <a:lnTo>
                    <a:pt x="945" y="968"/>
                  </a:lnTo>
                  <a:lnTo>
                    <a:pt x="948" y="968"/>
                  </a:lnTo>
                  <a:lnTo>
                    <a:pt x="948" y="965"/>
                  </a:lnTo>
                  <a:lnTo>
                    <a:pt x="950" y="968"/>
                  </a:lnTo>
                  <a:lnTo>
                    <a:pt x="950" y="968"/>
                  </a:lnTo>
                  <a:lnTo>
                    <a:pt x="953" y="965"/>
                  </a:lnTo>
                  <a:lnTo>
                    <a:pt x="953" y="965"/>
                  </a:lnTo>
                  <a:lnTo>
                    <a:pt x="956" y="965"/>
                  </a:lnTo>
                  <a:lnTo>
                    <a:pt x="956" y="965"/>
                  </a:lnTo>
                  <a:lnTo>
                    <a:pt x="956" y="965"/>
                  </a:lnTo>
                  <a:lnTo>
                    <a:pt x="958" y="965"/>
                  </a:lnTo>
                  <a:lnTo>
                    <a:pt x="958" y="965"/>
                  </a:lnTo>
                  <a:lnTo>
                    <a:pt x="961" y="965"/>
                  </a:lnTo>
                  <a:lnTo>
                    <a:pt x="961" y="965"/>
                  </a:lnTo>
                  <a:lnTo>
                    <a:pt x="964" y="965"/>
                  </a:lnTo>
                  <a:lnTo>
                    <a:pt x="964" y="965"/>
                  </a:lnTo>
                  <a:lnTo>
                    <a:pt x="966" y="968"/>
                  </a:lnTo>
                  <a:lnTo>
                    <a:pt x="966" y="965"/>
                  </a:lnTo>
                  <a:lnTo>
                    <a:pt x="966" y="965"/>
                  </a:lnTo>
                  <a:lnTo>
                    <a:pt x="966" y="965"/>
                  </a:lnTo>
                  <a:lnTo>
                    <a:pt x="969" y="965"/>
                  </a:lnTo>
                  <a:lnTo>
                    <a:pt x="969" y="968"/>
                  </a:lnTo>
                  <a:lnTo>
                    <a:pt x="972" y="968"/>
                  </a:lnTo>
                  <a:lnTo>
                    <a:pt x="972" y="971"/>
                  </a:lnTo>
                  <a:lnTo>
                    <a:pt x="969" y="971"/>
                  </a:lnTo>
                  <a:lnTo>
                    <a:pt x="969" y="971"/>
                  </a:lnTo>
                  <a:lnTo>
                    <a:pt x="969" y="971"/>
                  </a:lnTo>
                  <a:lnTo>
                    <a:pt x="969" y="973"/>
                  </a:lnTo>
                  <a:lnTo>
                    <a:pt x="966" y="973"/>
                  </a:lnTo>
                  <a:lnTo>
                    <a:pt x="966" y="976"/>
                  </a:lnTo>
                  <a:lnTo>
                    <a:pt x="966" y="976"/>
                  </a:lnTo>
                  <a:lnTo>
                    <a:pt x="966" y="976"/>
                  </a:lnTo>
                  <a:lnTo>
                    <a:pt x="969" y="979"/>
                  </a:lnTo>
                  <a:lnTo>
                    <a:pt x="969" y="979"/>
                  </a:lnTo>
                  <a:lnTo>
                    <a:pt x="972" y="979"/>
                  </a:lnTo>
                  <a:lnTo>
                    <a:pt x="972" y="979"/>
                  </a:lnTo>
                  <a:lnTo>
                    <a:pt x="974" y="979"/>
                  </a:lnTo>
                  <a:lnTo>
                    <a:pt x="974" y="979"/>
                  </a:lnTo>
                  <a:lnTo>
                    <a:pt x="974" y="981"/>
                  </a:lnTo>
                  <a:lnTo>
                    <a:pt x="972" y="981"/>
                  </a:lnTo>
                  <a:lnTo>
                    <a:pt x="972" y="984"/>
                  </a:lnTo>
                  <a:lnTo>
                    <a:pt x="972" y="984"/>
                  </a:lnTo>
                  <a:lnTo>
                    <a:pt x="974" y="984"/>
                  </a:lnTo>
                  <a:lnTo>
                    <a:pt x="974" y="984"/>
                  </a:lnTo>
                  <a:lnTo>
                    <a:pt x="974" y="984"/>
                  </a:lnTo>
                  <a:lnTo>
                    <a:pt x="977" y="984"/>
                  </a:lnTo>
                  <a:lnTo>
                    <a:pt x="977" y="984"/>
                  </a:lnTo>
                  <a:lnTo>
                    <a:pt x="980" y="984"/>
                  </a:lnTo>
                  <a:lnTo>
                    <a:pt x="980" y="984"/>
                  </a:lnTo>
                  <a:lnTo>
                    <a:pt x="982" y="984"/>
                  </a:lnTo>
                  <a:lnTo>
                    <a:pt x="982" y="984"/>
                  </a:lnTo>
                  <a:lnTo>
                    <a:pt x="985" y="984"/>
                  </a:lnTo>
                  <a:lnTo>
                    <a:pt x="985" y="981"/>
                  </a:lnTo>
                  <a:lnTo>
                    <a:pt x="988" y="981"/>
                  </a:lnTo>
                  <a:lnTo>
                    <a:pt x="988" y="981"/>
                  </a:lnTo>
                  <a:lnTo>
                    <a:pt x="990" y="979"/>
                  </a:lnTo>
                  <a:lnTo>
                    <a:pt x="993" y="979"/>
                  </a:lnTo>
                  <a:lnTo>
                    <a:pt x="993" y="979"/>
                  </a:lnTo>
                  <a:lnTo>
                    <a:pt x="996" y="979"/>
                  </a:lnTo>
                  <a:lnTo>
                    <a:pt x="996" y="979"/>
                  </a:lnTo>
                  <a:lnTo>
                    <a:pt x="998" y="979"/>
                  </a:lnTo>
                  <a:lnTo>
                    <a:pt x="998" y="981"/>
                  </a:lnTo>
                  <a:lnTo>
                    <a:pt x="998" y="981"/>
                  </a:lnTo>
                  <a:lnTo>
                    <a:pt x="1001" y="984"/>
                  </a:lnTo>
                  <a:lnTo>
                    <a:pt x="1001" y="984"/>
                  </a:lnTo>
                  <a:lnTo>
                    <a:pt x="1004" y="987"/>
                  </a:lnTo>
                  <a:lnTo>
                    <a:pt x="1004" y="989"/>
                  </a:lnTo>
                  <a:lnTo>
                    <a:pt x="1004" y="992"/>
                  </a:lnTo>
                  <a:lnTo>
                    <a:pt x="1004" y="995"/>
                  </a:lnTo>
                  <a:lnTo>
                    <a:pt x="1004" y="997"/>
                  </a:lnTo>
                  <a:lnTo>
                    <a:pt x="1001" y="1000"/>
                  </a:lnTo>
                  <a:lnTo>
                    <a:pt x="1004" y="1003"/>
                  </a:lnTo>
                  <a:lnTo>
                    <a:pt x="1004" y="1005"/>
                  </a:lnTo>
                  <a:lnTo>
                    <a:pt x="1004" y="1008"/>
                  </a:lnTo>
                  <a:lnTo>
                    <a:pt x="1004" y="1008"/>
                  </a:lnTo>
                  <a:lnTo>
                    <a:pt x="1004" y="1013"/>
                  </a:lnTo>
                  <a:lnTo>
                    <a:pt x="1001" y="1016"/>
                  </a:lnTo>
                  <a:lnTo>
                    <a:pt x="1001" y="1016"/>
                  </a:lnTo>
                  <a:lnTo>
                    <a:pt x="1001" y="1019"/>
                  </a:lnTo>
                  <a:lnTo>
                    <a:pt x="1001" y="1021"/>
                  </a:lnTo>
                  <a:lnTo>
                    <a:pt x="1004" y="1024"/>
                  </a:lnTo>
                  <a:lnTo>
                    <a:pt x="1004" y="1027"/>
                  </a:lnTo>
                  <a:lnTo>
                    <a:pt x="1004" y="1029"/>
                  </a:lnTo>
                  <a:lnTo>
                    <a:pt x="1004" y="1032"/>
                  </a:lnTo>
                  <a:lnTo>
                    <a:pt x="1004" y="1035"/>
                  </a:lnTo>
                  <a:lnTo>
                    <a:pt x="1006" y="1037"/>
                  </a:lnTo>
                  <a:lnTo>
                    <a:pt x="1006" y="1040"/>
                  </a:lnTo>
                  <a:lnTo>
                    <a:pt x="1006" y="1043"/>
                  </a:lnTo>
                  <a:lnTo>
                    <a:pt x="1006" y="1045"/>
                  </a:lnTo>
                  <a:lnTo>
                    <a:pt x="1006" y="1045"/>
                  </a:lnTo>
                  <a:lnTo>
                    <a:pt x="1004" y="1048"/>
                  </a:lnTo>
                  <a:lnTo>
                    <a:pt x="1004" y="1048"/>
                  </a:lnTo>
                  <a:lnTo>
                    <a:pt x="1004" y="1051"/>
                  </a:lnTo>
                  <a:lnTo>
                    <a:pt x="1004" y="1051"/>
                  </a:lnTo>
                  <a:lnTo>
                    <a:pt x="1001" y="1053"/>
                  </a:lnTo>
                  <a:lnTo>
                    <a:pt x="1001" y="1056"/>
                  </a:lnTo>
                  <a:lnTo>
                    <a:pt x="1001" y="1056"/>
                  </a:lnTo>
                  <a:lnTo>
                    <a:pt x="1001" y="1059"/>
                  </a:lnTo>
                  <a:lnTo>
                    <a:pt x="1001" y="1061"/>
                  </a:lnTo>
                  <a:lnTo>
                    <a:pt x="1001" y="1064"/>
                  </a:lnTo>
                  <a:lnTo>
                    <a:pt x="998" y="1064"/>
                  </a:lnTo>
                  <a:lnTo>
                    <a:pt x="996" y="1064"/>
                  </a:lnTo>
                  <a:lnTo>
                    <a:pt x="993" y="1067"/>
                  </a:lnTo>
                  <a:lnTo>
                    <a:pt x="993" y="1069"/>
                  </a:lnTo>
                  <a:lnTo>
                    <a:pt x="990" y="1069"/>
                  </a:lnTo>
                  <a:lnTo>
                    <a:pt x="988" y="1069"/>
                  </a:lnTo>
                  <a:lnTo>
                    <a:pt x="985" y="1072"/>
                  </a:lnTo>
                  <a:lnTo>
                    <a:pt x="985" y="1072"/>
                  </a:lnTo>
                  <a:lnTo>
                    <a:pt x="982" y="1072"/>
                  </a:lnTo>
                  <a:lnTo>
                    <a:pt x="980" y="1075"/>
                  </a:lnTo>
                  <a:lnTo>
                    <a:pt x="980" y="1077"/>
                  </a:lnTo>
                  <a:lnTo>
                    <a:pt x="980" y="1077"/>
                  </a:lnTo>
                  <a:lnTo>
                    <a:pt x="980" y="1080"/>
                  </a:lnTo>
                  <a:lnTo>
                    <a:pt x="977" y="1080"/>
                  </a:lnTo>
                  <a:lnTo>
                    <a:pt x="977" y="1080"/>
                  </a:lnTo>
                  <a:lnTo>
                    <a:pt x="974" y="1080"/>
                  </a:lnTo>
                  <a:lnTo>
                    <a:pt x="974" y="1080"/>
                  </a:lnTo>
                  <a:lnTo>
                    <a:pt x="974" y="1083"/>
                  </a:lnTo>
                  <a:lnTo>
                    <a:pt x="974" y="1085"/>
                  </a:lnTo>
                  <a:lnTo>
                    <a:pt x="974" y="1085"/>
                  </a:lnTo>
                  <a:lnTo>
                    <a:pt x="972" y="1085"/>
                  </a:lnTo>
                  <a:lnTo>
                    <a:pt x="974" y="1085"/>
                  </a:lnTo>
                  <a:lnTo>
                    <a:pt x="974" y="1088"/>
                  </a:lnTo>
                  <a:lnTo>
                    <a:pt x="972" y="1088"/>
                  </a:lnTo>
                  <a:lnTo>
                    <a:pt x="974" y="1088"/>
                  </a:lnTo>
                  <a:lnTo>
                    <a:pt x="974" y="1091"/>
                  </a:lnTo>
                  <a:lnTo>
                    <a:pt x="972" y="1091"/>
                  </a:lnTo>
                  <a:lnTo>
                    <a:pt x="972" y="1091"/>
                  </a:lnTo>
                  <a:lnTo>
                    <a:pt x="972" y="1093"/>
                  </a:lnTo>
                  <a:lnTo>
                    <a:pt x="972" y="1096"/>
                  </a:lnTo>
                  <a:lnTo>
                    <a:pt x="969" y="1099"/>
                  </a:lnTo>
                  <a:lnTo>
                    <a:pt x="969" y="1099"/>
                  </a:lnTo>
                  <a:lnTo>
                    <a:pt x="969" y="1101"/>
                  </a:lnTo>
                  <a:lnTo>
                    <a:pt x="966" y="1101"/>
                  </a:lnTo>
                  <a:lnTo>
                    <a:pt x="966" y="1104"/>
                  </a:lnTo>
                  <a:lnTo>
                    <a:pt x="964" y="1104"/>
                  </a:lnTo>
                  <a:lnTo>
                    <a:pt x="964" y="1104"/>
                  </a:lnTo>
                  <a:lnTo>
                    <a:pt x="964" y="1107"/>
                  </a:lnTo>
                  <a:lnTo>
                    <a:pt x="961" y="1109"/>
                  </a:lnTo>
                  <a:lnTo>
                    <a:pt x="961" y="1107"/>
                  </a:lnTo>
                  <a:lnTo>
                    <a:pt x="958" y="1107"/>
                  </a:lnTo>
                  <a:lnTo>
                    <a:pt x="958" y="1104"/>
                  </a:lnTo>
                  <a:lnTo>
                    <a:pt x="956" y="1104"/>
                  </a:lnTo>
                  <a:lnTo>
                    <a:pt x="956" y="1107"/>
                  </a:lnTo>
                  <a:lnTo>
                    <a:pt x="956" y="1107"/>
                  </a:lnTo>
                  <a:lnTo>
                    <a:pt x="956" y="1107"/>
                  </a:lnTo>
                  <a:lnTo>
                    <a:pt x="956" y="1109"/>
                  </a:lnTo>
                  <a:lnTo>
                    <a:pt x="958" y="1112"/>
                  </a:lnTo>
                  <a:lnTo>
                    <a:pt x="958" y="1112"/>
                  </a:lnTo>
                  <a:lnTo>
                    <a:pt x="961" y="1112"/>
                  </a:lnTo>
                  <a:lnTo>
                    <a:pt x="961" y="1112"/>
                  </a:lnTo>
                  <a:lnTo>
                    <a:pt x="961" y="1112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4" y="1115"/>
                  </a:lnTo>
                  <a:lnTo>
                    <a:pt x="966" y="1112"/>
                  </a:lnTo>
                  <a:lnTo>
                    <a:pt x="966" y="1112"/>
                  </a:lnTo>
                  <a:lnTo>
                    <a:pt x="966" y="1115"/>
                  </a:lnTo>
                  <a:lnTo>
                    <a:pt x="969" y="1115"/>
                  </a:lnTo>
                  <a:lnTo>
                    <a:pt x="969" y="1117"/>
                  </a:lnTo>
                  <a:lnTo>
                    <a:pt x="969" y="1117"/>
                  </a:lnTo>
                  <a:lnTo>
                    <a:pt x="972" y="1120"/>
                  </a:lnTo>
                  <a:lnTo>
                    <a:pt x="969" y="1120"/>
                  </a:lnTo>
                  <a:lnTo>
                    <a:pt x="972" y="1120"/>
                  </a:lnTo>
                  <a:lnTo>
                    <a:pt x="972" y="1123"/>
                  </a:lnTo>
                  <a:lnTo>
                    <a:pt x="972" y="1126"/>
                  </a:lnTo>
                  <a:lnTo>
                    <a:pt x="969" y="1126"/>
                  </a:lnTo>
                  <a:lnTo>
                    <a:pt x="969" y="1126"/>
                  </a:lnTo>
                  <a:lnTo>
                    <a:pt x="969" y="1126"/>
                  </a:lnTo>
                  <a:lnTo>
                    <a:pt x="969" y="1128"/>
                  </a:lnTo>
                  <a:lnTo>
                    <a:pt x="969" y="1131"/>
                  </a:lnTo>
                  <a:lnTo>
                    <a:pt x="972" y="1131"/>
                  </a:lnTo>
                  <a:lnTo>
                    <a:pt x="972" y="1131"/>
                  </a:lnTo>
                  <a:lnTo>
                    <a:pt x="972" y="1134"/>
                  </a:lnTo>
                  <a:lnTo>
                    <a:pt x="972" y="1134"/>
                  </a:lnTo>
                  <a:lnTo>
                    <a:pt x="972" y="1131"/>
                  </a:lnTo>
                  <a:lnTo>
                    <a:pt x="972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4" y="1131"/>
                  </a:lnTo>
                  <a:lnTo>
                    <a:pt x="977" y="1131"/>
                  </a:lnTo>
                  <a:lnTo>
                    <a:pt x="977" y="1131"/>
                  </a:lnTo>
                  <a:lnTo>
                    <a:pt x="980" y="1131"/>
                  </a:lnTo>
                  <a:lnTo>
                    <a:pt x="980" y="1131"/>
                  </a:lnTo>
                  <a:lnTo>
                    <a:pt x="982" y="1131"/>
                  </a:lnTo>
                  <a:lnTo>
                    <a:pt x="982" y="1134"/>
                  </a:lnTo>
                  <a:lnTo>
                    <a:pt x="982" y="1134"/>
                  </a:lnTo>
                  <a:lnTo>
                    <a:pt x="982" y="1134"/>
                  </a:lnTo>
                  <a:lnTo>
                    <a:pt x="980" y="1136"/>
                  </a:lnTo>
                  <a:lnTo>
                    <a:pt x="980" y="1136"/>
                  </a:lnTo>
                  <a:lnTo>
                    <a:pt x="980" y="1136"/>
                  </a:lnTo>
                  <a:lnTo>
                    <a:pt x="977" y="1139"/>
                  </a:lnTo>
                  <a:lnTo>
                    <a:pt x="977" y="1139"/>
                  </a:lnTo>
                  <a:lnTo>
                    <a:pt x="977" y="1139"/>
                  </a:lnTo>
                  <a:lnTo>
                    <a:pt x="977" y="1142"/>
                  </a:lnTo>
                  <a:lnTo>
                    <a:pt x="974" y="1142"/>
                  </a:lnTo>
                  <a:lnTo>
                    <a:pt x="974" y="1144"/>
                  </a:lnTo>
                  <a:lnTo>
                    <a:pt x="974" y="1144"/>
                  </a:lnTo>
                  <a:lnTo>
                    <a:pt x="974" y="1144"/>
                  </a:lnTo>
                  <a:lnTo>
                    <a:pt x="974" y="1147"/>
                  </a:lnTo>
                  <a:lnTo>
                    <a:pt x="974" y="1147"/>
                  </a:lnTo>
                  <a:lnTo>
                    <a:pt x="972" y="1147"/>
                  </a:lnTo>
                  <a:lnTo>
                    <a:pt x="972" y="1150"/>
                  </a:lnTo>
                  <a:lnTo>
                    <a:pt x="972" y="1150"/>
                  </a:lnTo>
                  <a:lnTo>
                    <a:pt x="972" y="1152"/>
                  </a:lnTo>
                  <a:lnTo>
                    <a:pt x="972" y="1152"/>
                  </a:lnTo>
                  <a:lnTo>
                    <a:pt x="972" y="1155"/>
                  </a:lnTo>
                  <a:lnTo>
                    <a:pt x="972" y="1155"/>
                  </a:lnTo>
                  <a:lnTo>
                    <a:pt x="972" y="1158"/>
                  </a:lnTo>
                  <a:lnTo>
                    <a:pt x="972" y="1158"/>
                  </a:lnTo>
                  <a:lnTo>
                    <a:pt x="974" y="1158"/>
                  </a:lnTo>
                  <a:lnTo>
                    <a:pt x="974" y="1160"/>
                  </a:lnTo>
                  <a:lnTo>
                    <a:pt x="974" y="1160"/>
                  </a:lnTo>
                  <a:lnTo>
                    <a:pt x="974" y="1163"/>
                  </a:lnTo>
                  <a:lnTo>
                    <a:pt x="974" y="1163"/>
                  </a:lnTo>
                  <a:lnTo>
                    <a:pt x="974" y="1166"/>
                  </a:lnTo>
                  <a:lnTo>
                    <a:pt x="974" y="1166"/>
                  </a:lnTo>
                  <a:lnTo>
                    <a:pt x="974" y="1166"/>
                  </a:lnTo>
                  <a:lnTo>
                    <a:pt x="972" y="1166"/>
                  </a:lnTo>
                  <a:lnTo>
                    <a:pt x="972" y="1168"/>
                  </a:lnTo>
                  <a:lnTo>
                    <a:pt x="969" y="1168"/>
                  </a:lnTo>
                  <a:lnTo>
                    <a:pt x="969" y="1171"/>
                  </a:lnTo>
                  <a:lnTo>
                    <a:pt x="969" y="1174"/>
                  </a:lnTo>
                  <a:lnTo>
                    <a:pt x="969" y="1176"/>
                  </a:lnTo>
                  <a:lnTo>
                    <a:pt x="969" y="1176"/>
                  </a:lnTo>
                  <a:lnTo>
                    <a:pt x="969" y="1179"/>
                  </a:lnTo>
                  <a:lnTo>
                    <a:pt x="966" y="1179"/>
                  </a:lnTo>
                  <a:lnTo>
                    <a:pt x="966" y="1179"/>
                  </a:lnTo>
                  <a:lnTo>
                    <a:pt x="964" y="1179"/>
                  </a:lnTo>
                  <a:lnTo>
                    <a:pt x="964" y="1179"/>
                  </a:lnTo>
                  <a:lnTo>
                    <a:pt x="961" y="1179"/>
                  </a:lnTo>
                  <a:lnTo>
                    <a:pt x="961" y="1179"/>
                  </a:lnTo>
                  <a:lnTo>
                    <a:pt x="958" y="1179"/>
                  </a:lnTo>
                  <a:lnTo>
                    <a:pt x="958" y="1182"/>
                  </a:lnTo>
                  <a:lnTo>
                    <a:pt x="958" y="1184"/>
                  </a:lnTo>
                  <a:lnTo>
                    <a:pt x="958" y="1184"/>
                  </a:lnTo>
                  <a:lnTo>
                    <a:pt x="956" y="1184"/>
                  </a:lnTo>
                  <a:lnTo>
                    <a:pt x="956" y="1184"/>
                  </a:lnTo>
                  <a:lnTo>
                    <a:pt x="953" y="1187"/>
                  </a:lnTo>
                  <a:lnTo>
                    <a:pt x="953" y="1187"/>
                  </a:lnTo>
                  <a:lnTo>
                    <a:pt x="953" y="1190"/>
                  </a:lnTo>
                  <a:lnTo>
                    <a:pt x="950" y="1192"/>
                  </a:lnTo>
                  <a:lnTo>
                    <a:pt x="950" y="1195"/>
                  </a:lnTo>
                  <a:lnTo>
                    <a:pt x="948" y="1198"/>
                  </a:lnTo>
                  <a:lnTo>
                    <a:pt x="948" y="1198"/>
                  </a:lnTo>
                  <a:lnTo>
                    <a:pt x="948" y="1200"/>
                  </a:lnTo>
                  <a:lnTo>
                    <a:pt x="945" y="1200"/>
                  </a:lnTo>
                  <a:lnTo>
                    <a:pt x="945" y="1200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5" y="1203"/>
                  </a:lnTo>
                  <a:lnTo>
                    <a:pt x="942" y="1203"/>
                  </a:lnTo>
                  <a:lnTo>
                    <a:pt x="942" y="1206"/>
                  </a:lnTo>
                  <a:lnTo>
                    <a:pt x="940" y="1206"/>
                  </a:lnTo>
                  <a:lnTo>
                    <a:pt x="940" y="1206"/>
                  </a:lnTo>
                  <a:lnTo>
                    <a:pt x="940" y="1208"/>
                  </a:lnTo>
                  <a:lnTo>
                    <a:pt x="937" y="1208"/>
                  </a:lnTo>
                  <a:lnTo>
                    <a:pt x="937" y="1211"/>
                  </a:lnTo>
                  <a:lnTo>
                    <a:pt x="937" y="1211"/>
                  </a:lnTo>
                  <a:lnTo>
                    <a:pt x="937" y="1211"/>
                  </a:lnTo>
                  <a:lnTo>
                    <a:pt x="937" y="1214"/>
                  </a:lnTo>
                  <a:lnTo>
                    <a:pt x="937" y="1214"/>
                  </a:lnTo>
                  <a:lnTo>
                    <a:pt x="937" y="1214"/>
                  </a:lnTo>
                  <a:lnTo>
                    <a:pt x="937" y="1216"/>
                  </a:lnTo>
                  <a:lnTo>
                    <a:pt x="937" y="1216"/>
                  </a:lnTo>
                  <a:lnTo>
                    <a:pt x="937" y="1219"/>
                  </a:lnTo>
                  <a:lnTo>
                    <a:pt x="934" y="1219"/>
                  </a:lnTo>
                  <a:lnTo>
                    <a:pt x="932" y="1222"/>
                  </a:lnTo>
                  <a:lnTo>
                    <a:pt x="932" y="1222"/>
                  </a:lnTo>
                  <a:lnTo>
                    <a:pt x="929" y="1224"/>
                  </a:lnTo>
                  <a:lnTo>
                    <a:pt x="926" y="1224"/>
                  </a:lnTo>
                  <a:lnTo>
                    <a:pt x="926" y="1224"/>
                  </a:lnTo>
                  <a:lnTo>
                    <a:pt x="924" y="1227"/>
                  </a:lnTo>
                  <a:lnTo>
                    <a:pt x="924" y="1230"/>
                  </a:lnTo>
                  <a:lnTo>
                    <a:pt x="921" y="1230"/>
                  </a:lnTo>
                  <a:lnTo>
                    <a:pt x="918" y="1232"/>
                  </a:lnTo>
                  <a:lnTo>
                    <a:pt x="918" y="1235"/>
                  </a:lnTo>
                  <a:lnTo>
                    <a:pt x="918" y="1238"/>
                  </a:lnTo>
                  <a:lnTo>
                    <a:pt x="916" y="1238"/>
                  </a:lnTo>
                  <a:lnTo>
                    <a:pt x="913" y="1240"/>
                  </a:lnTo>
                  <a:lnTo>
                    <a:pt x="913" y="1243"/>
                  </a:lnTo>
                  <a:lnTo>
                    <a:pt x="910" y="1238"/>
                  </a:lnTo>
                  <a:lnTo>
                    <a:pt x="910" y="1238"/>
                  </a:lnTo>
                  <a:lnTo>
                    <a:pt x="908" y="1238"/>
                  </a:lnTo>
                  <a:lnTo>
                    <a:pt x="908" y="1235"/>
                  </a:lnTo>
                  <a:lnTo>
                    <a:pt x="905" y="1235"/>
                  </a:lnTo>
                  <a:lnTo>
                    <a:pt x="905" y="1232"/>
                  </a:lnTo>
                  <a:lnTo>
                    <a:pt x="905" y="1232"/>
                  </a:lnTo>
                  <a:lnTo>
                    <a:pt x="905" y="1230"/>
                  </a:lnTo>
                  <a:lnTo>
                    <a:pt x="905" y="1227"/>
                  </a:lnTo>
                  <a:lnTo>
                    <a:pt x="905" y="1227"/>
                  </a:lnTo>
                  <a:lnTo>
                    <a:pt x="905" y="1224"/>
                  </a:lnTo>
                  <a:lnTo>
                    <a:pt x="905" y="1224"/>
                  </a:lnTo>
                  <a:lnTo>
                    <a:pt x="902" y="1222"/>
                  </a:lnTo>
                  <a:lnTo>
                    <a:pt x="900" y="1224"/>
                  </a:lnTo>
                  <a:lnTo>
                    <a:pt x="897" y="1224"/>
                  </a:lnTo>
                  <a:lnTo>
                    <a:pt x="894" y="1216"/>
                  </a:lnTo>
                  <a:lnTo>
                    <a:pt x="892" y="1216"/>
                  </a:lnTo>
                  <a:lnTo>
                    <a:pt x="892" y="1214"/>
                  </a:lnTo>
                  <a:lnTo>
                    <a:pt x="892" y="1211"/>
                  </a:lnTo>
                  <a:lnTo>
                    <a:pt x="886" y="1200"/>
                  </a:lnTo>
                  <a:lnTo>
                    <a:pt x="886" y="1203"/>
                  </a:lnTo>
                  <a:lnTo>
                    <a:pt x="884" y="1203"/>
                  </a:lnTo>
                  <a:lnTo>
                    <a:pt x="878" y="1208"/>
                  </a:lnTo>
                  <a:lnTo>
                    <a:pt x="875" y="1208"/>
                  </a:lnTo>
                  <a:lnTo>
                    <a:pt x="875" y="1206"/>
                  </a:lnTo>
                  <a:lnTo>
                    <a:pt x="867" y="1208"/>
                  </a:lnTo>
                  <a:lnTo>
                    <a:pt x="862" y="1211"/>
                  </a:lnTo>
                  <a:lnTo>
                    <a:pt x="851" y="1203"/>
                  </a:lnTo>
                  <a:lnTo>
                    <a:pt x="849" y="1203"/>
                  </a:lnTo>
                  <a:lnTo>
                    <a:pt x="851" y="1198"/>
                  </a:lnTo>
                  <a:lnTo>
                    <a:pt x="851" y="1198"/>
                  </a:lnTo>
                  <a:lnTo>
                    <a:pt x="841" y="1187"/>
                  </a:lnTo>
                  <a:lnTo>
                    <a:pt x="841" y="1179"/>
                  </a:lnTo>
                  <a:lnTo>
                    <a:pt x="830" y="1174"/>
                  </a:lnTo>
                  <a:lnTo>
                    <a:pt x="827" y="1174"/>
                  </a:lnTo>
                  <a:lnTo>
                    <a:pt x="827" y="1174"/>
                  </a:lnTo>
                  <a:lnTo>
                    <a:pt x="825" y="1174"/>
                  </a:lnTo>
                  <a:lnTo>
                    <a:pt x="822" y="1174"/>
                  </a:lnTo>
                  <a:lnTo>
                    <a:pt x="819" y="1174"/>
                  </a:lnTo>
                  <a:lnTo>
                    <a:pt x="819" y="1174"/>
                  </a:lnTo>
                  <a:lnTo>
                    <a:pt x="817" y="1171"/>
                  </a:lnTo>
                  <a:lnTo>
                    <a:pt x="817" y="1171"/>
                  </a:lnTo>
                  <a:lnTo>
                    <a:pt x="814" y="1168"/>
                  </a:lnTo>
                  <a:lnTo>
                    <a:pt x="803" y="1174"/>
                  </a:lnTo>
                  <a:lnTo>
                    <a:pt x="801" y="1174"/>
                  </a:lnTo>
                  <a:lnTo>
                    <a:pt x="801" y="1176"/>
                  </a:lnTo>
                  <a:lnTo>
                    <a:pt x="798" y="1176"/>
                  </a:lnTo>
                  <a:lnTo>
                    <a:pt x="790" y="1174"/>
                  </a:lnTo>
                  <a:lnTo>
                    <a:pt x="790" y="1171"/>
                  </a:lnTo>
                  <a:lnTo>
                    <a:pt x="790" y="1171"/>
                  </a:lnTo>
                  <a:lnTo>
                    <a:pt x="790" y="1168"/>
                  </a:lnTo>
                  <a:lnTo>
                    <a:pt x="790" y="1168"/>
                  </a:lnTo>
                  <a:lnTo>
                    <a:pt x="779" y="1163"/>
                  </a:lnTo>
                  <a:lnTo>
                    <a:pt x="777" y="1160"/>
                  </a:lnTo>
                  <a:lnTo>
                    <a:pt x="777" y="1160"/>
                  </a:lnTo>
                  <a:lnTo>
                    <a:pt x="774" y="1158"/>
                  </a:lnTo>
                  <a:lnTo>
                    <a:pt x="774" y="1158"/>
                  </a:lnTo>
                  <a:lnTo>
                    <a:pt x="774" y="1155"/>
                  </a:lnTo>
                  <a:lnTo>
                    <a:pt x="777" y="1155"/>
                  </a:lnTo>
                  <a:lnTo>
                    <a:pt x="777" y="1152"/>
                  </a:lnTo>
                  <a:lnTo>
                    <a:pt x="777" y="1152"/>
                  </a:lnTo>
                  <a:lnTo>
                    <a:pt x="777" y="1150"/>
                  </a:lnTo>
                  <a:lnTo>
                    <a:pt x="774" y="1150"/>
                  </a:lnTo>
                  <a:lnTo>
                    <a:pt x="774" y="1150"/>
                  </a:lnTo>
                  <a:lnTo>
                    <a:pt x="771" y="1147"/>
                  </a:lnTo>
                  <a:lnTo>
                    <a:pt x="769" y="1144"/>
                  </a:lnTo>
                  <a:lnTo>
                    <a:pt x="769" y="1142"/>
                  </a:lnTo>
                  <a:lnTo>
                    <a:pt x="766" y="1136"/>
                  </a:lnTo>
                  <a:lnTo>
                    <a:pt x="766" y="1134"/>
                  </a:lnTo>
                  <a:lnTo>
                    <a:pt x="766" y="1131"/>
                  </a:lnTo>
                  <a:lnTo>
                    <a:pt x="766" y="1126"/>
                  </a:lnTo>
                  <a:lnTo>
                    <a:pt x="763" y="1126"/>
                  </a:lnTo>
                  <a:lnTo>
                    <a:pt x="761" y="1126"/>
                  </a:lnTo>
                  <a:lnTo>
                    <a:pt x="761" y="1126"/>
                  </a:lnTo>
                  <a:lnTo>
                    <a:pt x="755" y="1128"/>
                  </a:lnTo>
                  <a:lnTo>
                    <a:pt x="753" y="1128"/>
                  </a:lnTo>
                  <a:lnTo>
                    <a:pt x="747" y="1131"/>
                  </a:lnTo>
                  <a:lnTo>
                    <a:pt x="745" y="1134"/>
                  </a:lnTo>
                  <a:lnTo>
                    <a:pt x="745" y="1136"/>
                  </a:lnTo>
                  <a:lnTo>
                    <a:pt x="745" y="1139"/>
                  </a:lnTo>
                  <a:lnTo>
                    <a:pt x="742" y="1139"/>
                  </a:lnTo>
                  <a:lnTo>
                    <a:pt x="739" y="1139"/>
                  </a:lnTo>
                  <a:lnTo>
                    <a:pt x="739" y="1142"/>
                  </a:lnTo>
                  <a:lnTo>
                    <a:pt x="737" y="1144"/>
                  </a:lnTo>
                  <a:lnTo>
                    <a:pt x="734" y="1144"/>
                  </a:lnTo>
                  <a:lnTo>
                    <a:pt x="731" y="1147"/>
                  </a:lnTo>
                  <a:lnTo>
                    <a:pt x="729" y="1147"/>
                  </a:lnTo>
                  <a:lnTo>
                    <a:pt x="726" y="1150"/>
                  </a:lnTo>
                  <a:lnTo>
                    <a:pt x="721" y="1152"/>
                  </a:lnTo>
                  <a:lnTo>
                    <a:pt x="718" y="1152"/>
                  </a:lnTo>
                  <a:lnTo>
                    <a:pt x="715" y="1152"/>
                  </a:lnTo>
                  <a:lnTo>
                    <a:pt x="713" y="1155"/>
                  </a:lnTo>
                  <a:lnTo>
                    <a:pt x="710" y="1158"/>
                  </a:lnTo>
                  <a:lnTo>
                    <a:pt x="710" y="1160"/>
                  </a:lnTo>
                  <a:lnTo>
                    <a:pt x="705" y="1174"/>
                  </a:lnTo>
                  <a:lnTo>
                    <a:pt x="694" y="1171"/>
                  </a:lnTo>
                  <a:lnTo>
                    <a:pt x="691" y="1171"/>
                  </a:lnTo>
                  <a:lnTo>
                    <a:pt x="689" y="1168"/>
                  </a:lnTo>
                  <a:lnTo>
                    <a:pt x="689" y="1168"/>
                  </a:lnTo>
                  <a:lnTo>
                    <a:pt x="686" y="1168"/>
                  </a:lnTo>
                  <a:lnTo>
                    <a:pt x="686" y="1168"/>
                  </a:lnTo>
                  <a:lnTo>
                    <a:pt x="683" y="1168"/>
                  </a:lnTo>
                  <a:lnTo>
                    <a:pt x="667" y="1166"/>
                  </a:lnTo>
                  <a:lnTo>
                    <a:pt x="665" y="1166"/>
                  </a:lnTo>
                  <a:lnTo>
                    <a:pt x="665" y="1166"/>
                  </a:lnTo>
                  <a:lnTo>
                    <a:pt x="662" y="1166"/>
                  </a:lnTo>
                  <a:lnTo>
                    <a:pt x="659" y="1163"/>
                  </a:lnTo>
                  <a:lnTo>
                    <a:pt x="657" y="1163"/>
                  </a:lnTo>
                  <a:lnTo>
                    <a:pt x="651" y="1163"/>
                  </a:lnTo>
                  <a:lnTo>
                    <a:pt x="651" y="1163"/>
                  </a:lnTo>
                  <a:lnTo>
                    <a:pt x="646" y="1166"/>
                  </a:lnTo>
                  <a:lnTo>
                    <a:pt x="643" y="1166"/>
                  </a:lnTo>
                  <a:lnTo>
                    <a:pt x="640" y="1166"/>
                  </a:lnTo>
                  <a:lnTo>
                    <a:pt x="638" y="1166"/>
                  </a:lnTo>
                  <a:lnTo>
                    <a:pt x="638" y="1166"/>
                  </a:lnTo>
                  <a:lnTo>
                    <a:pt x="632" y="1166"/>
                  </a:lnTo>
                  <a:lnTo>
                    <a:pt x="632" y="1166"/>
                  </a:lnTo>
                  <a:lnTo>
                    <a:pt x="627" y="1166"/>
                  </a:lnTo>
                  <a:lnTo>
                    <a:pt x="624" y="1168"/>
                  </a:lnTo>
                  <a:lnTo>
                    <a:pt x="622" y="1168"/>
                  </a:lnTo>
                  <a:lnTo>
                    <a:pt x="622" y="1171"/>
                  </a:lnTo>
                  <a:lnTo>
                    <a:pt x="619" y="1171"/>
                  </a:lnTo>
                  <a:lnTo>
                    <a:pt x="619" y="1166"/>
                  </a:lnTo>
                  <a:lnTo>
                    <a:pt x="616" y="1163"/>
                  </a:lnTo>
                  <a:lnTo>
                    <a:pt x="614" y="1160"/>
                  </a:lnTo>
                  <a:lnTo>
                    <a:pt x="611" y="1158"/>
                  </a:lnTo>
                  <a:lnTo>
                    <a:pt x="608" y="1155"/>
                  </a:lnTo>
                  <a:lnTo>
                    <a:pt x="608" y="1155"/>
                  </a:lnTo>
                  <a:lnTo>
                    <a:pt x="606" y="1152"/>
                  </a:lnTo>
                  <a:lnTo>
                    <a:pt x="603" y="1150"/>
                  </a:lnTo>
                  <a:lnTo>
                    <a:pt x="600" y="1147"/>
                  </a:lnTo>
                  <a:lnTo>
                    <a:pt x="595" y="1144"/>
                  </a:lnTo>
                  <a:lnTo>
                    <a:pt x="592" y="1142"/>
                  </a:lnTo>
                  <a:lnTo>
                    <a:pt x="590" y="1139"/>
                  </a:lnTo>
                  <a:lnTo>
                    <a:pt x="587" y="1136"/>
                  </a:lnTo>
                  <a:lnTo>
                    <a:pt x="584" y="1131"/>
                  </a:lnTo>
                  <a:lnTo>
                    <a:pt x="584" y="1128"/>
                  </a:lnTo>
                  <a:lnTo>
                    <a:pt x="584" y="1123"/>
                  </a:lnTo>
                  <a:lnTo>
                    <a:pt x="584" y="1120"/>
                  </a:lnTo>
                  <a:lnTo>
                    <a:pt x="584" y="1117"/>
                  </a:lnTo>
                  <a:lnTo>
                    <a:pt x="584" y="1109"/>
                  </a:lnTo>
                  <a:lnTo>
                    <a:pt x="582" y="1109"/>
                  </a:lnTo>
                  <a:lnTo>
                    <a:pt x="576" y="1107"/>
                  </a:lnTo>
                  <a:lnTo>
                    <a:pt x="574" y="1107"/>
                  </a:lnTo>
                  <a:lnTo>
                    <a:pt x="571" y="1104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50" y="1107"/>
                  </a:lnTo>
                  <a:lnTo>
                    <a:pt x="550" y="1099"/>
                  </a:lnTo>
                  <a:lnTo>
                    <a:pt x="550" y="1099"/>
                  </a:lnTo>
                  <a:lnTo>
                    <a:pt x="547" y="1096"/>
                  </a:lnTo>
                  <a:lnTo>
                    <a:pt x="544" y="1096"/>
                  </a:lnTo>
                  <a:lnTo>
                    <a:pt x="542" y="1093"/>
                  </a:lnTo>
                  <a:lnTo>
                    <a:pt x="539" y="1091"/>
                  </a:lnTo>
                  <a:lnTo>
                    <a:pt x="536" y="1091"/>
                  </a:lnTo>
                  <a:lnTo>
                    <a:pt x="536" y="1088"/>
                  </a:lnTo>
                  <a:lnTo>
                    <a:pt x="531" y="1085"/>
                  </a:lnTo>
                  <a:lnTo>
                    <a:pt x="528" y="1083"/>
                  </a:lnTo>
                  <a:lnTo>
                    <a:pt x="528" y="1085"/>
                  </a:lnTo>
                  <a:lnTo>
                    <a:pt x="528" y="1085"/>
                  </a:lnTo>
                  <a:lnTo>
                    <a:pt x="526" y="1085"/>
                  </a:lnTo>
                  <a:lnTo>
                    <a:pt x="523" y="1085"/>
                  </a:lnTo>
                  <a:lnTo>
                    <a:pt x="523" y="1085"/>
                  </a:lnTo>
                  <a:lnTo>
                    <a:pt x="520" y="1085"/>
                  </a:lnTo>
                  <a:lnTo>
                    <a:pt x="518" y="1085"/>
                  </a:lnTo>
                  <a:lnTo>
                    <a:pt x="515" y="1085"/>
                  </a:lnTo>
                  <a:lnTo>
                    <a:pt x="510" y="1083"/>
                  </a:lnTo>
                  <a:lnTo>
                    <a:pt x="507" y="1083"/>
                  </a:lnTo>
                  <a:lnTo>
                    <a:pt x="507" y="1083"/>
                  </a:lnTo>
                  <a:lnTo>
                    <a:pt x="507" y="1083"/>
                  </a:lnTo>
                  <a:lnTo>
                    <a:pt x="504" y="1083"/>
                  </a:lnTo>
                  <a:lnTo>
                    <a:pt x="502" y="1083"/>
                  </a:lnTo>
                  <a:lnTo>
                    <a:pt x="502" y="1083"/>
                  </a:lnTo>
                  <a:lnTo>
                    <a:pt x="499" y="1083"/>
                  </a:lnTo>
                  <a:lnTo>
                    <a:pt x="496" y="1083"/>
                  </a:lnTo>
                  <a:lnTo>
                    <a:pt x="491" y="1085"/>
                  </a:lnTo>
                  <a:lnTo>
                    <a:pt x="472" y="1080"/>
                  </a:lnTo>
                  <a:lnTo>
                    <a:pt x="470" y="1075"/>
                  </a:lnTo>
                  <a:lnTo>
                    <a:pt x="470" y="1072"/>
                  </a:lnTo>
                  <a:lnTo>
                    <a:pt x="467" y="1069"/>
                  </a:lnTo>
                  <a:lnTo>
                    <a:pt x="464" y="1064"/>
                  </a:lnTo>
                  <a:lnTo>
                    <a:pt x="459" y="1064"/>
                  </a:lnTo>
                  <a:lnTo>
                    <a:pt x="456" y="1061"/>
                  </a:lnTo>
                  <a:lnTo>
                    <a:pt x="448" y="1059"/>
                  </a:lnTo>
                  <a:lnTo>
                    <a:pt x="440" y="1056"/>
                  </a:lnTo>
                  <a:lnTo>
                    <a:pt x="435" y="1056"/>
                  </a:lnTo>
                  <a:lnTo>
                    <a:pt x="435" y="1056"/>
                  </a:lnTo>
                  <a:lnTo>
                    <a:pt x="432" y="1056"/>
                  </a:lnTo>
                  <a:lnTo>
                    <a:pt x="430" y="1053"/>
                  </a:lnTo>
                  <a:lnTo>
                    <a:pt x="424" y="1045"/>
                  </a:lnTo>
                  <a:lnTo>
                    <a:pt x="424" y="1043"/>
                  </a:lnTo>
                  <a:lnTo>
                    <a:pt x="424" y="1040"/>
                  </a:lnTo>
                  <a:lnTo>
                    <a:pt x="422" y="1037"/>
                  </a:lnTo>
                  <a:lnTo>
                    <a:pt x="419" y="1032"/>
                  </a:lnTo>
                  <a:lnTo>
                    <a:pt x="419" y="1029"/>
                  </a:lnTo>
                  <a:lnTo>
                    <a:pt x="419" y="1027"/>
                  </a:lnTo>
                  <a:lnTo>
                    <a:pt x="416" y="1024"/>
                  </a:lnTo>
                  <a:lnTo>
                    <a:pt x="408" y="1027"/>
                  </a:lnTo>
                  <a:lnTo>
                    <a:pt x="408" y="1027"/>
                  </a:lnTo>
                  <a:lnTo>
                    <a:pt x="408" y="1029"/>
                  </a:lnTo>
                  <a:lnTo>
                    <a:pt x="406" y="1032"/>
                  </a:lnTo>
                  <a:lnTo>
                    <a:pt x="395" y="1035"/>
                  </a:lnTo>
                  <a:lnTo>
                    <a:pt x="392" y="1032"/>
                  </a:lnTo>
                  <a:lnTo>
                    <a:pt x="389" y="1032"/>
                  </a:lnTo>
                  <a:lnTo>
                    <a:pt x="387" y="1032"/>
                  </a:lnTo>
                  <a:lnTo>
                    <a:pt x="381" y="1029"/>
                  </a:lnTo>
                  <a:lnTo>
                    <a:pt x="379" y="1029"/>
                  </a:lnTo>
                  <a:lnTo>
                    <a:pt x="376" y="1027"/>
                  </a:lnTo>
                  <a:lnTo>
                    <a:pt x="373" y="1027"/>
                  </a:lnTo>
                  <a:lnTo>
                    <a:pt x="371" y="1029"/>
                  </a:lnTo>
                  <a:lnTo>
                    <a:pt x="368" y="1029"/>
                  </a:lnTo>
                  <a:lnTo>
                    <a:pt x="365" y="1029"/>
                  </a:lnTo>
                  <a:lnTo>
                    <a:pt x="363" y="1029"/>
                  </a:lnTo>
                  <a:lnTo>
                    <a:pt x="360" y="1029"/>
                  </a:lnTo>
                  <a:lnTo>
                    <a:pt x="357" y="1029"/>
                  </a:lnTo>
                  <a:lnTo>
                    <a:pt x="352" y="1032"/>
                  </a:lnTo>
                  <a:lnTo>
                    <a:pt x="347" y="1032"/>
                  </a:lnTo>
                  <a:lnTo>
                    <a:pt x="347" y="1032"/>
                  </a:lnTo>
                  <a:lnTo>
                    <a:pt x="347" y="1029"/>
                  </a:lnTo>
                  <a:lnTo>
                    <a:pt x="347" y="1024"/>
                  </a:lnTo>
                  <a:lnTo>
                    <a:pt x="349" y="1016"/>
                  </a:lnTo>
                  <a:lnTo>
                    <a:pt x="349" y="1011"/>
                  </a:lnTo>
                  <a:lnTo>
                    <a:pt x="352" y="1005"/>
                  </a:lnTo>
                  <a:lnTo>
                    <a:pt x="352" y="1003"/>
                  </a:lnTo>
                  <a:lnTo>
                    <a:pt x="352" y="1000"/>
                  </a:lnTo>
                  <a:lnTo>
                    <a:pt x="355" y="997"/>
                  </a:lnTo>
                  <a:lnTo>
                    <a:pt x="355" y="995"/>
                  </a:lnTo>
                  <a:lnTo>
                    <a:pt x="355" y="989"/>
                  </a:lnTo>
                  <a:lnTo>
                    <a:pt x="352" y="989"/>
                  </a:lnTo>
                  <a:lnTo>
                    <a:pt x="355" y="987"/>
                  </a:lnTo>
                  <a:lnTo>
                    <a:pt x="352" y="981"/>
                  </a:lnTo>
                  <a:lnTo>
                    <a:pt x="349" y="979"/>
                  </a:lnTo>
                  <a:lnTo>
                    <a:pt x="349" y="979"/>
                  </a:lnTo>
                  <a:lnTo>
                    <a:pt x="344" y="979"/>
                  </a:lnTo>
                  <a:lnTo>
                    <a:pt x="341" y="979"/>
                  </a:lnTo>
                  <a:lnTo>
                    <a:pt x="339" y="976"/>
                  </a:lnTo>
                  <a:lnTo>
                    <a:pt x="333" y="976"/>
                  </a:lnTo>
                  <a:lnTo>
                    <a:pt x="331" y="973"/>
                  </a:lnTo>
                  <a:lnTo>
                    <a:pt x="328" y="973"/>
                  </a:lnTo>
                  <a:lnTo>
                    <a:pt x="328" y="971"/>
                  </a:lnTo>
                  <a:lnTo>
                    <a:pt x="328" y="971"/>
                  </a:lnTo>
                  <a:lnTo>
                    <a:pt x="331" y="968"/>
                  </a:lnTo>
                  <a:lnTo>
                    <a:pt x="331" y="965"/>
                  </a:lnTo>
                  <a:lnTo>
                    <a:pt x="331" y="960"/>
                  </a:lnTo>
                  <a:lnTo>
                    <a:pt x="331" y="960"/>
                  </a:lnTo>
                  <a:lnTo>
                    <a:pt x="328" y="957"/>
                  </a:lnTo>
                  <a:lnTo>
                    <a:pt x="328" y="954"/>
                  </a:lnTo>
                  <a:lnTo>
                    <a:pt x="328" y="952"/>
                  </a:lnTo>
                  <a:lnTo>
                    <a:pt x="325" y="949"/>
                  </a:lnTo>
                  <a:lnTo>
                    <a:pt x="325" y="949"/>
                  </a:lnTo>
                  <a:lnTo>
                    <a:pt x="323" y="946"/>
                  </a:lnTo>
                  <a:lnTo>
                    <a:pt x="323" y="944"/>
                  </a:lnTo>
                  <a:lnTo>
                    <a:pt x="323" y="941"/>
                  </a:lnTo>
                  <a:lnTo>
                    <a:pt x="323" y="936"/>
                  </a:lnTo>
                  <a:lnTo>
                    <a:pt x="325" y="936"/>
                  </a:lnTo>
                  <a:lnTo>
                    <a:pt x="328" y="936"/>
                  </a:lnTo>
                  <a:lnTo>
                    <a:pt x="331" y="933"/>
                  </a:lnTo>
                  <a:lnTo>
                    <a:pt x="333" y="933"/>
                  </a:lnTo>
                  <a:lnTo>
                    <a:pt x="333" y="930"/>
                  </a:lnTo>
                  <a:lnTo>
                    <a:pt x="336" y="928"/>
                  </a:lnTo>
                  <a:lnTo>
                    <a:pt x="339" y="922"/>
                  </a:lnTo>
                  <a:lnTo>
                    <a:pt x="339" y="920"/>
                  </a:lnTo>
                  <a:lnTo>
                    <a:pt x="336" y="917"/>
                  </a:lnTo>
                  <a:lnTo>
                    <a:pt x="333" y="917"/>
                  </a:lnTo>
                  <a:lnTo>
                    <a:pt x="331" y="914"/>
                  </a:lnTo>
                  <a:lnTo>
                    <a:pt x="325" y="914"/>
                  </a:lnTo>
                  <a:lnTo>
                    <a:pt x="325" y="912"/>
                  </a:lnTo>
                  <a:lnTo>
                    <a:pt x="325" y="909"/>
                  </a:lnTo>
                  <a:lnTo>
                    <a:pt x="323" y="906"/>
                  </a:lnTo>
                  <a:lnTo>
                    <a:pt x="323" y="904"/>
                  </a:lnTo>
                  <a:lnTo>
                    <a:pt x="323" y="901"/>
                  </a:lnTo>
                  <a:lnTo>
                    <a:pt x="320" y="901"/>
                  </a:lnTo>
                  <a:lnTo>
                    <a:pt x="317" y="898"/>
                  </a:lnTo>
                  <a:lnTo>
                    <a:pt x="317" y="898"/>
                  </a:lnTo>
                  <a:lnTo>
                    <a:pt x="315" y="898"/>
                  </a:lnTo>
                  <a:lnTo>
                    <a:pt x="315" y="901"/>
                  </a:lnTo>
                  <a:lnTo>
                    <a:pt x="315" y="901"/>
                  </a:lnTo>
                  <a:lnTo>
                    <a:pt x="312" y="901"/>
                  </a:lnTo>
                  <a:lnTo>
                    <a:pt x="312" y="901"/>
                  </a:lnTo>
                  <a:lnTo>
                    <a:pt x="309" y="901"/>
                  </a:lnTo>
                  <a:lnTo>
                    <a:pt x="307" y="898"/>
                  </a:lnTo>
                  <a:lnTo>
                    <a:pt x="304" y="898"/>
                  </a:lnTo>
                  <a:lnTo>
                    <a:pt x="301" y="896"/>
                  </a:lnTo>
                  <a:lnTo>
                    <a:pt x="301" y="893"/>
                  </a:lnTo>
                  <a:lnTo>
                    <a:pt x="299" y="888"/>
                  </a:lnTo>
                  <a:lnTo>
                    <a:pt x="293" y="888"/>
                  </a:lnTo>
                  <a:lnTo>
                    <a:pt x="285" y="888"/>
                  </a:lnTo>
                  <a:lnTo>
                    <a:pt x="285" y="885"/>
                  </a:lnTo>
                  <a:lnTo>
                    <a:pt x="285" y="882"/>
                  </a:lnTo>
                  <a:lnTo>
                    <a:pt x="283" y="880"/>
                  </a:lnTo>
                  <a:lnTo>
                    <a:pt x="280" y="874"/>
                  </a:lnTo>
                  <a:lnTo>
                    <a:pt x="280" y="874"/>
                  </a:lnTo>
                  <a:lnTo>
                    <a:pt x="277" y="874"/>
                  </a:lnTo>
                  <a:lnTo>
                    <a:pt x="275" y="874"/>
                  </a:lnTo>
                  <a:lnTo>
                    <a:pt x="275" y="874"/>
                  </a:lnTo>
                  <a:lnTo>
                    <a:pt x="272" y="874"/>
                  </a:lnTo>
                  <a:lnTo>
                    <a:pt x="267" y="874"/>
                  </a:lnTo>
                  <a:lnTo>
                    <a:pt x="264" y="874"/>
                  </a:lnTo>
                  <a:lnTo>
                    <a:pt x="264" y="874"/>
                  </a:lnTo>
                  <a:lnTo>
                    <a:pt x="264" y="874"/>
                  </a:lnTo>
                  <a:lnTo>
                    <a:pt x="264" y="880"/>
                  </a:lnTo>
                  <a:lnTo>
                    <a:pt x="264" y="882"/>
                  </a:lnTo>
                  <a:lnTo>
                    <a:pt x="267" y="882"/>
                  </a:lnTo>
                  <a:lnTo>
                    <a:pt x="267" y="888"/>
                  </a:lnTo>
                  <a:lnTo>
                    <a:pt x="264" y="888"/>
                  </a:lnTo>
                  <a:lnTo>
                    <a:pt x="261" y="890"/>
                  </a:lnTo>
                  <a:lnTo>
                    <a:pt x="259" y="893"/>
                  </a:lnTo>
                  <a:lnTo>
                    <a:pt x="259" y="893"/>
                  </a:lnTo>
                  <a:lnTo>
                    <a:pt x="259" y="896"/>
                  </a:lnTo>
                  <a:lnTo>
                    <a:pt x="253" y="896"/>
                  </a:lnTo>
                  <a:lnTo>
                    <a:pt x="253" y="893"/>
                  </a:lnTo>
                  <a:lnTo>
                    <a:pt x="253" y="890"/>
                  </a:lnTo>
                  <a:lnTo>
                    <a:pt x="251" y="890"/>
                  </a:lnTo>
                  <a:lnTo>
                    <a:pt x="248" y="885"/>
                  </a:lnTo>
                  <a:lnTo>
                    <a:pt x="245" y="885"/>
                  </a:lnTo>
                  <a:lnTo>
                    <a:pt x="243" y="882"/>
                  </a:lnTo>
                  <a:lnTo>
                    <a:pt x="240" y="882"/>
                  </a:lnTo>
                  <a:lnTo>
                    <a:pt x="240" y="882"/>
                  </a:lnTo>
                  <a:lnTo>
                    <a:pt x="237" y="885"/>
                  </a:lnTo>
                  <a:lnTo>
                    <a:pt x="235" y="885"/>
                  </a:lnTo>
                  <a:lnTo>
                    <a:pt x="232" y="888"/>
                  </a:lnTo>
                  <a:lnTo>
                    <a:pt x="229" y="888"/>
                  </a:lnTo>
                  <a:lnTo>
                    <a:pt x="227" y="890"/>
                  </a:lnTo>
                  <a:lnTo>
                    <a:pt x="227" y="890"/>
                  </a:lnTo>
                  <a:lnTo>
                    <a:pt x="224" y="890"/>
                  </a:lnTo>
                  <a:lnTo>
                    <a:pt x="224" y="893"/>
                  </a:lnTo>
                  <a:lnTo>
                    <a:pt x="221" y="893"/>
                  </a:lnTo>
                  <a:lnTo>
                    <a:pt x="219" y="893"/>
                  </a:lnTo>
                  <a:lnTo>
                    <a:pt x="219" y="893"/>
                  </a:lnTo>
                  <a:lnTo>
                    <a:pt x="216" y="893"/>
                  </a:lnTo>
                  <a:lnTo>
                    <a:pt x="213" y="893"/>
                  </a:lnTo>
                  <a:lnTo>
                    <a:pt x="211" y="893"/>
                  </a:lnTo>
                  <a:lnTo>
                    <a:pt x="211" y="896"/>
                  </a:lnTo>
                  <a:lnTo>
                    <a:pt x="208" y="896"/>
                  </a:lnTo>
                  <a:lnTo>
                    <a:pt x="208" y="898"/>
                  </a:lnTo>
                  <a:lnTo>
                    <a:pt x="205" y="898"/>
                  </a:lnTo>
                  <a:lnTo>
                    <a:pt x="205" y="898"/>
                  </a:lnTo>
                  <a:lnTo>
                    <a:pt x="203" y="896"/>
                  </a:lnTo>
                  <a:lnTo>
                    <a:pt x="203" y="893"/>
                  </a:lnTo>
                  <a:lnTo>
                    <a:pt x="200" y="893"/>
                  </a:lnTo>
                  <a:lnTo>
                    <a:pt x="197" y="893"/>
                  </a:lnTo>
                  <a:lnTo>
                    <a:pt x="197" y="893"/>
                  </a:lnTo>
                  <a:lnTo>
                    <a:pt x="195" y="890"/>
                  </a:lnTo>
                  <a:lnTo>
                    <a:pt x="195" y="890"/>
                  </a:lnTo>
                  <a:lnTo>
                    <a:pt x="195" y="890"/>
                  </a:lnTo>
                  <a:lnTo>
                    <a:pt x="192" y="890"/>
                  </a:lnTo>
                  <a:lnTo>
                    <a:pt x="192" y="890"/>
                  </a:lnTo>
                  <a:lnTo>
                    <a:pt x="189" y="890"/>
                  </a:lnTo>
                  <a:lnTo>
                    <a:pt x="189" y="890"/>
                  </a:lnTo>
                  <a:lnTo>
                    <a:pt x="189" y="888"/>
                  </a:lnTo>
                  <a:lnTo>
                    <a:pt x="187" y="888"/>
                  </a:lnTo>
                  <a:lnTo>
                    <a:pt x="187" y="888"/>
                  </a:lnTo>
                  <a:lnTo>
                    <a:pt x="184" y="888"/>
                  </a:lnTo>
                  <a:lnTo>
                    <a:pt x="184" y="888"/>
                  </a:lnTo>
                  <a:lnTo>
                    <a:pt x="184" y="885"/>
                  </a:lnTo>
                  <a:lnTo>
                    <a:pt x="184" y="882"/>
                  </a:lnTo>
                  <a:lnTo>
                    <a:pt x="181" y="882"/>
                  </a:lnTo>
                  <a:lnTo>
                    <a:pt x="184" y="877"/>
                  </a:lnTo>
                  <a:lnTo>
                    <a:pt x="181" y="877"/>
                  </a:lnTo>
                  <a:lnTo>
                    <a:pt x="181" y="877"/>
                  </a:lnTo>
                  <a:lnTo>
                    <a:pt x="179" y="874"/>
                  </a:lnTo>
                  <a:lnTo>
                    <a:pt x="176" y="874"/>
                  </a:lnTo>
                  <a:lnTo>
                    <a:pt x="176" y="872"/>
                  </a:lnTo>
                  <a:lnTo>
                    <a:pt x="173" y="874"/>
                  </a:lnTo>
                  <a:lnTo>
                    <a:pt x="173" y="872"/>
                  </a:lnTo>
                  <a:lnTo>
                    <a:pt x="173" y="872"/>
                  </a:lnTo>
                  <a:lnTo>
                    <a:pt x="173" y="869"/>
                  </a:lnTo>
                  <a:lnTo>
                    <a:pt x="173" y="869"/>
                  </a:lnTo>
                  <a:lnTo>
                    <a:pt x="171" y="866"/>
                  </a:lnTo>
                  <a:lnTo>
                    <a:pt x="171" y="866"/>
                  </a:lnTo>
                  <a:lnTo>
                    <a:pt x="171" y="864"/>
                  </a:lnTo>
                  <a:lnTo>
                    <a:pt x="171" y="861"/>
                  </a:lnTo>
                  <a:lnTo>
                    <a:pt x="171" y="861"/>
                  </a:lnTo>
                  <a:lnTo>
                    <a:pt x="173" y="858"/>
                  </a:lnTo>
                  <a:lnTo>
                    <a:pt x="173" y="858"/>
                  </a:lnTo>
                  <a:lnTo>
                    <a:pt x="173" y="856"/>
                  </a:lnTo>
                  <a:lnTo>
                    <a:pt x="173" y="856"/>
                  </a:lnTo>
                  <a:lnTo>
                    <a:pt x="176" y="856"/>
                  </a:lnTo>
                  <a:lnTo>
                    <a:pt x="176" y="853"/>
                  </a:lnTo>
                  <a:lnTo>
                    <a:pt x="179" y="853"/>
                  </a:lnTo>
                  <a:lnTo>
                    <a:pt x="179" y="850"/>
                  </a:lnTo>
                  <a:lnTo>
                    <a:pt x="181" y="850"/>
                  </a:lnTo>
                  <a:lnTo>
                    <a:pt x="181" y="848"/>
                  </a:lnTo>
                  <a:lnTo>
                    <a:pt x="184" y="845"/>
                  </a:lnTo>
                  <a:lnTo>
                    <a:pt x="184" y="842"/>
                  </a:lnTo>
                  <a:lnTo>
                    <a:pt x="181" y="840"/>
                  </a:lnTo>
                  <a:lnTo>
                    <a:pt x="181" y="837"/>
                  </a:lnTo>
                  <a:lnTo>
                    <a:pt x="181" y="837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76" y="832"/>
                  </a:lnTo>
                  <a:lnTo>
                    <a:pt x="160" y="832"/>
                  </a:lnTo>
                  <a:lnTo>
                    <a:pt x="160" y="829"/>
                  </a:lnTo>
                  <a:lnTo>
                    <a:pt x="160" y="829"/>
                  </a:lnTo>
                  <a:lnTo>
                    <a:pt x="157" y="826"/>
                  </a:lnTo>
                  <a:lnTo>
                    <a:pt x="157" y="826"/>
                  </a:lnTo>
                  <a:lnTo>
                    <a:pt x="154" y="824"/>
                  </a:lnTo>
                  <a:lnTo>
                    <a:pt x="152" y="821"/>
                  </a:lnTo>
                  <a:lnTo>
                    <a:pt x="149" y="821"/>
                  </a:lnTo>
                  <a:lnTo>
                    <a:pt x="146" y="821"/>
                  </a:lnTo>
                  <a:lnTo>
                    <a:pt x="144" y="821"/>
                  </a:lnTo>
                  <a:lnTo>
                    <a:pt x="138" y="821"/>
                  </a:lnTo>
                  <a:lnTo>
                    <a:pt x="133" y="818"/>
                  </a:lnTo>
                  <a:lnTo>
                    <a:pt x="130" y="816"/>
                  </a:lnTo>
                  <a:lnTo>
                    <a:pt x="117" y="813"/>
                  </a:lnTo>
                  <a:lnTo>
                    <a:pt x="109" y="821"/>
                  </a:lnTo>
                  <a:lnTo>
                    <a:pt x="106" y="818"/>
                  </a:lnTo>
                  <a:lnTo>
                    <a:pt x="104" y="818"/>
                  </a:lnTo>
                  <a:lnTo>
                    <a:pt x="101" y="816"/>
                  </a:lnTo>
                  <a:lnTo>
                    <a:pt x="98" y="816"/>
                  </a:lnTo>
                  <a:lnTo>
                    <a:pt x="96" y="816"/>
                  </a:lnTo>
                  <a:lnTo>
                    <a:pt x="93" y="816"/>
                  </a:lnTo>
                  <a:lnTo>
                    <a:pt x="90" y="816"/>
                  </a:lnTo>
                  <a:lnTo>
                    <a:pt x="88" y="816"/>
                  </a:lnTo>
                  <a:lnTo>
                    <a:pt x="85" y="816"/>
                  </a:lnTo>
                  <a:lnTo>
                    <a:pt x="82" y="813"/>
                  </a:lnTo>
                  <a:lnTo>
                    <a:pt x="80" y="816"/>
                  </a:lnTo>
                  <a:lnTo>
                    <a:pt x="80" y="816"/>
                  </a:lnTo>
                  <a:lnTo>
                    <a:pt x="77" y="818"/>
                  </a:lnTo>
                  <a:lnTo>
                    <a:pt x="74" y="818"/>
                  </a:lnTo>
                  <a:lnTo>
                    <a:pt x="74" y="818"/>
                  </a:lnTo>
                  <a:lnTo>
                    <a:pt x="72" y="816"/>
                  </a:lnTo>
                  <a:lnTo>
                    <a:pt x="69" y="816"/>
                  </a:lnTo>
                  <a:lnTo>
                    <a:pt x="64" y="816"/>
                  </a:lnTo>
                  <a:lnTo>
                    <a:pt x="61" y="816"/>
                  </a:lnTo>
                  <a:lnTo>
                    <a:pt x="56" y="813"/>
                  </a:lnTo>
                  <a:lnTo>
                    <a:pt x="56" y="813"/>
                  </a:lnTo>
                  <a:lnTo>
                    <a:pt x="53" y="813"/>
                  </a:lnTo>
                  <a:lnTo>
                    <a:pt x="50" y="813"/>
                  </a:lnTo>
                  <a:lnTo>
                    <a:pt x="50" y="816"/>
                  </a:lnTo>
                  <a:lnTo>
                    <a:pt x="48" y="818"/>
                  </a:lnTo>
                  <a:lnTo>
                    <a:pt x="34" y="816"/>
                  </a:lnTo>
                  <a:lnTo>
                    <a:pt x="34" y="813"/>
                  </a:lnTo>
                  <a:lnTo>
                    <a:pt x="32" y="810"/>
                  </a:lnTo>
                  <a:lnTo>
                    <a:pt x="29" y="805"/>
                  </a:lnTo>
                  <a:lnTo>
                    <a:pt x="34" y="802"/>
                  </a:lnTo>
                  <a:lnTo>
                    <a:pt x="37" y="791"/>
                  </a:lnTo>
                  <a:lnTo>
                    <a:pt x="32" y="791"/>
                  </a:lnTo>
                  <a:lnTo>
                    <a:pt x="29" y="783"/>
                  </a:lnTo>
                  <a:lnTo>
                    <a:pt x="29" y="783"/>
                  </a:lnTo>
                  <a:lnTo>
                    <a:pt x="26" y="783"/>
                  </a:lnTo>
                  <a:lnTo>
                    <a:pt x="24" y="783"/>
                  </a:lnTo>
                  <a:lnTo>
                    <a:pt x="21" y="783"/>
                  </a:lnTo>
                  <a:lnTo>
                    <a:pt x="18" y="781"/>
                  </a:lnTo>
                  <a:lnTo>
                    <a:pt x="18" y="781"/>
                  </a:lnTo>
                  <a:lnTo>
                    <a:pt x="13" y="783"/>
                  </a:lnTo>
                  <a:lnTo>
                    <a:pt x="10" y="778"/>
                  </a:lnTo>
                  <a:lnTo>
                    <a:pt x="5" y="778"/>
                  </a:lnTo>
                  <a:lnTo>
                    <a:pt x="5" y="775"/>
                  </a:lnTo>
                  <a:lnTo>
                    <a:pt x="5" y="775"/>
                  </a:lnTo>
                  <a:lnTo>
                    <a:pt x="2" y="773"/>
                  </a:lnTo>
                  <a:lnTo>
                    <a:pt x="0" y="770"/>
                  </a:lnTo>
                  <a:lnTo>
                    <a:pt x="2" y="767"/>
                  </a:lnTo>
                  <a:lnTo>
                    <a:pt x="2" y="767"/>
                  </a:lnTo>
                  <a:lnTo>
                    <a:pt x="5" y="765"/>
                  </a:lnTo>
                  <a:lnTo>
                    <a:pt x="5" y="762"/>
                  </a:lnTo>
                  <a:lnTo>
                    <a:pt x="8" y="762"/>
                  </a:lnTo>
                  <a:lnTo>
                    <a:pt x="8" y="762"/>
                  </a:lnTo>
                  <a:lnTo>
                    <a:pt x="10" y="762"/>
                  </a:lnTo>
                  <a:lnTo>
                    <a:pt x="16" y="759"/>
                  </a:lnTo>
                  <a:lnTo>
                    <a:pt x="16" y="757"/>
                  </a:lnTo>
                  <a:lnTo>
                    <a:pt x="18" y="754"/>
                  </a:lnTo>
                  <a:lnTo>
                    <a:pt x="18" y="754"/>
                  </a:lnTo>
                  <a:lnTo>
                    <a:pt x="21" y="751"/>
                  </a:lnTo>
                  <a:lnTo>
                    <a:pt x="21" y="751"/>
                  </a:lnTo>
                  <a:lnTo>
                    <a:pt x="21" y="751"/>
                  </a:lnTo>
                  <a:lnTo>
                    <a:pt x="21" y="749"/>
                  </a:lnTo>
                  <a:lnTo>
                    <a:pt x="24" y="746"/>
                  </a:lnTo>
                  <a:lnTo>
                    <a:pt x="21" y="743"/>
                  </a:lnTo>
                  <a:lnTo>
                    <a:pt x="21" y="743"/>
                  </a:lnTo>
                  <a:lnTo>
                    <a:pt x="18" y="741"/>
                  </a:lnTo>
                  <a:lnTo>
                    <a:pt x="21" y="738"/>
                  </a:lnTo>
                  <a:lnTo>
                    <a:pt x="21" y="735"/>
                  </a:lnTo>
                  <a:lnTo>
                    <a:pt x="24" y="735"/>
                  </a:lnTo>
                  <a:lnTo>
                    <a:pt x="26" y="733"/>
                  </a:lnTo>
                  <a:lnTo>
                    <a:pt x="29" y="730"/>
                  </a:lnTo>
                  <a:lnTo>
                    <a:pt x="29" y="727"/>
                  </a:lnTo>
                  <a:lnTo>
                    <a:pt x="32" y="722"/>
                  </a:lnTo>
                  <a:lnTo>
                    <a:pt x="34" y="719"/>
                  </a:lnTo>
                  <a:lnTo>
                    <a:pt x="34" y="717"/>
                  </a:lnTo>
                  <a:lnTo>
                    <a:pt x="37" y="711"/>
                  </a:lnTo>
                  <a:lnTo>
                    <a:pt x="37" y="709"/>
                  </a:lnTo>
                  <a:lnTo>
                    <a:pt x="40" y="706"/>
                  </a:lnTo>
                  <a:lnTo>
                    <a:pt x="42" y="703"/>
                  </a:lnTo>
                  <a:lnTo>
                    <a:pt x="40" y="701"/>
                  </a:lnTo>
                  <a:lnTo>
                    <a:pt x="37" y="701"/>
                  </a:lnTo>
                  <a:lnTo>
                    <a:pt x="34" y="698"/>
                  </a:lnTo>
                  <a:lnTo>
                    <a:pt x="26" y="693"/>
                  </a:lnTo>
                  <a:lnTo>
                    <a:pt x="26" y="690"/>
                  </a:lnTo>
                  <a:lnTo>
                    <a:pt x="26" y="685"/>
                  </a:lnTo>
                  <a:lnTo>
                    <a:pt x="26" y="679"/>
                  </a:lnTo>
                  <a:lnTo>
                    <a:pt x="29" y="677"/>
                  </a:lnTo>
                  <a:lnTo>
                    <a:pt x="32" y="674"/>
                  </a:lnTo>
                  <a:lnTo>
                    <a:pt x="32" y="674"/>
                  </a:lnTo>
                  <a:lnTo>
                    <a:pt x="29" y="671"/>
                  </a:lnTo>
                  <a:lnTo>
                    <a:pt x="29" y="669"/>
                  </a:lnTo>
                  <a:lnTo>
                    <a:pt x="29" y="663"/>
                  </a:lnTo>
                  <a:lnTo>
                    <a:pt x="29" y="661"/>
                  </a:lnTo>
                  <a:lnTo>
                    <a:pt x="29" y="661"/>
                  </a:lnTo>
                  <a:lnTo>
                    <a:pt x="26" y="655"/>
                  </a:lnTo>
                  <a:lnTo>
                    <a:pt x="21" y="650"/>
                  </a:lnTo>
                  <a:lnTo>
                    <a:pt x="24" y="650"/>
                  </a:lnTo>
                  <a:lnTo>
                    <a:pt x="26" y="647"/>
                  </a:lnTo>
                  <a:lnTo>
                    <a:pt x="26" y="647"/>
                  </a:lnTo>
                  <a:lnTo>
                    <a:pt x="29" y="647"/>
                  </a:lnTo>
                  <a:lnTo>
                    <a:pt x="34" y="647"/>
                  </a:lnTo>
                  <a:lnTo>
                    <a:pt x="40" y="645"/>
                  </a:lnTo>
                  <a:lnTo>
                    <a:pt x="42" y="645"/>
                  </a:lnTo>
                  <a:lnTo>
                    <a:pt x="45" y="645"/>
                  </a:lnTo>
                  <a:lnTo>
                    <a:pt x="48" y="645"/>
                  </a:lnTo>
                  <a:lnTo>
                    <a:pt x="50" y="645"/>
                  </a:lnTo>
                  <a:lnTo>
                    <a:pt x="53" y="642"/>
                  </a:lnTo>
                  <a:lnTo>
                    <a:pt x="56" y="645"/>
                  </a:lnTo>
                  <a:lnTo>
                    <a:pt x="58" y="645"/>
                  </a:lnTo>
                  <a:lnTo>
                    <a:pt x="58" y="647"/>
                  </a:lnTo>
                  <a:lnTo>
                    <a:pt x="61" y="645"/>
                  </a:lnTo>
                  <a:lnTo>
                    <a:pt x="61" y="639"/>
                  </a:lnTo>
                  <a:lnTo>
                    <a:pt x="66" y="636"/>
                  </a:lnTo>
                  <a:lnTo>
                    <a:pt x="66" y="636"/>
                  </a:lnTo>
                  <a:lnTo>
                    <a:pt x="64" y="634"/>
                  </a:lnTo>
                  <a:lnTo>
                    <a:pt x="64" y="634"/>
                  </a:lnTo>
                  <a:lnTo>
                    <a:pt x="64" y="631"/>
                  </a:lnTo>
                  <a:lnTo>
                    <a:pt x="66" y="631"/>
                  </a:lnTo>
                  <a:lnTo>
                    <a:pt x="69" y="631"/>
                  </a:lnTo>
                  <a:lnTo>
                    <a:pt x="69" y="628"/>
                  </a:lnTo>
                  <a:lnTo>
                    <a:pt x="69" y="626"/>
                  </a:lnTo>
                  <a:lnTo>
                    <a:pt x="72" y="626"/>
                  </a:lnTo>
                  <a:lnTo>
                    <a:pt x="74" y="626"/>
                  </a:lnTo>
                  <a:lnTo>
                    <a:pt x="74" y="626"/>
                  </a:lnTo>
                  <a:lnTo>
                    <a:pt x="77" y="623"/>
                  </a:lnTo>
                  <a:lnTo>
                    <a:pt x="77" y="620"/>
                  </a:lnTo>
                  <a:lnTo>
                    <a:pt x="80" y="618"/>
                  </a:lnTo>
                  <a:lnTo>
                    <a:pt x="82" y="615"/>
                  </a:lnTo>
                  <a:lnTo>
                    <a:pt x="85" y="615"/>
                  </a:lnTo>
                  <a:lnTo>
                    <a:pt x="88" y="615"/>
                  </a:lnTo>
                  <a:lnTo>
                    <a:pt x="88" y="612"/>
                  </a:lnTo>
                  <a:lnTo>
                    <a:pt x="90" y="618"/>
                  </a:lnTo>
                  <a:lnTo>
                    <a:pt x="93" y="618"/>
                  </a:lnTo>
                  <a:lnTo>
                    <a:pt x="93" y="618"/>
                  </a:lnTo>
                  <a:lnTo>
                    <a:pt x="96" y="615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6" y="607"/>
                  </a:lnTo>
                  <a:lnTo>
                    <a:pt x="96" y="607"/>
                  </a:lnTo>
                  <a:lnTo>
                    <a:pt x="98" y="604"/>
                  </a:lnTo>
                  <a:lnTo>
                    <a:pt x="98" y="604"/>
                  </a:lnTo>
                  <a:lnTo>
                    <a:pt x="98" y="602"/>
                  </a:lnTo>
                  <a:lnTo>
                    <a:pt x="101" y="602"/>
                  </a:lnTo>
                  <a:lnTo>
                    <a:pt x="101" y="602"/>
                  </a:lnTo>
                  <a:lnTo>
                    <a:pt x="104" y="599"/>
                  </a:lnTo>
                  <a:lnTo>
                    <a:pt x="106" y="599"/>
                  </a:lnTo>
                  <a:lnTo>
                    <a:pt x="106" y="596"/>
                  </a:lnTo>
                  <a:lnTo>
                    <a:pt x="106" y="596"/>
                  </a:lnTo>
                  <a:lnTo>
                    <a:pt x="109" y="596"/>
                  </a:lnTo>
                  <a:lnTo>
                    <a:pt x="109" y="596"/>
                  </a:lnTo>
                  <a:lnTo>
                    <a:pt x="112" y="599"/>
                  </a:lnTo>
                  <a:lnTo>
                    <a:pt x="114" y="596"/>
                  </a:lnTo>
                  <a:lnTo>
                    <a:pt x="117" y="596"/>
                  </a:lnTo>
                  <a:lnTo>
                    <a:pt x="117" y="594"/>
                  </a:lnTo>
                  <a:lnTo>
                    <a:pt x="120" y="594"/>
                  </a:lnTo>
                  <a:lnTo>
                    <a:pt x="122" y="596"/>
                  </a:lnTo>
                  <a:lnTo>
                    <a:pt x="125" y="594"/>
                  </a:lnTo>
                  <a:lnTo>
                    <a:pt x="128" y="594"/>
                  </a:lnTo>
                  <a:lnTo>
                    <a:pt x="128" y="591"/>
                  </a:lnTo>
                  <a:lnTo>
                    <a:pt x="128" y="591"/>
                  </a:lnTo>
                  <a:lnTo>
                    <a:pt x="130" y="591"/>
                  </a:lnTo>
                  <a:lnTo>
                    <a:pt x="133" y="588"/>
                  </a:lnTo>
                  <a:lnTo>
                    <a:pt x="136" y="586"/>
                  </a:lnTo>
                  <a:lnTo>
                    <a:pt x="141" y="591"/>
                  </a:lnTo>
                  <a:lnTo>
                    <a:pt x="149" y="591"/>
                  </a:lnTo>
                  <a:lnTo>
                    <a:pt x="152" y="588"/>
                  </a:lnTo>
                  <a:lnTo>
                    <a:pt x="152" y="586"/>
                  </a:lnTo>
                  <a:lnTo>
                    <a:pt x="157" y="586"/>
                  </a:lnTo>
                  <a:lnTo>
                    <a:pt x="157" y="588"/>
                  </a:lnTo>
                  <a:lnTo>
                    <a:pt x="160" y="588"/>
                  </a:lnTo>
                  <a:lnTo>
                    <a:pt x="160" y="583"/>
                  </a:lnTo>
                  <a:lnTo>
                    <a:pt x="162" y="583"/>
                  </a:lnTo>
                  <a:lnTo>
                    <a:pt x="162" y="583"/>
                  </a:lnTo>
                  <a:lnTo>
                    <a:pt x="162" y="580"/>
                  </a:lnTo>
                  <a:lnTo>
                    <a:pt x="162" y="580"/>
                  </a:lnTo>
                  <a:lnTo>
                    <a:pt x="168" y="580"/>
                  </a:lnTo>
                  <a:lnTo>
                    <a:pt x="168" y="583"/>
                  </a:lnTo>
                  <a:lnTo>
                    <a:pt x="171" y="583"/>
                  </a:lnTo>
                  <a:lnTo>
                    <a:pt x="171" y="580"/>
                  </a:lnTo>
                  <a:lnTo>
                    <a:pt x="171" y="580"/>
                  </a:lnTo>
                  <a:lnTo>
                    <a:pt x="173" y="580"/>
                  </a:lnTo>
                  <a:lnTo>
                    <a:pt x="176" y="580"/>
                  </a:lnTo>
                  <a:lnTo>
                    <a:pt x="179" y="580"/>
                  </a:lnTo>
                  <a:lnTo>
                    <a:pt x="181" y="578"/>
                  </a:lnTo>
                  <a:lnTo>
                    <a:pt x="184" y="580"/>
                  </a:lnTo>
                  <a:lnTo>
                    <a:pt x="187" y="580"/>
                  </a:lnTo>
                  <a:lnTo>
                    <a:pt x="189" y="578"/>
                  </a:lnTo>
                  <a:lnTo>
                    <a:pt x="192" y="575"/>
                  </a:lnTo>
                  <a:lnTo>
                    <a:pt x="192" y="572"/>
                  </a:lnTo>
                  <a:lnTo>
                    <a:pt x="192" y="570"/>
                  </a:lnTo>
                  <a:lnTo>
                    <a:pt x="192" y="567"/>
                  </a:lnTo>
                  <a:lnTo>
                    <a:pt x="192" y="564"/>
                  </a:lnTo>
                  <a:lnTo>
                    <a:pt x="192" y="564"/>
                  </a:lnTo>
                  <a:lnTo>
                    <a:pt x="192" y="562"/>
                  </a:lnTo>
                  <a:lnTo>
                    <a:pt x="195" y="562"/>
                  </a:lnTo>
                  <a:lnTo>
                    <a:pt x="197" y="562"/>
                  </a:lnTo>
                  <a:lnTo>
                    <a:pt x="197" y="562"/>
                  </a:lnTo>
                  <a:lnTo>
                    <a:pt x="200" y="562"/>
                  </a:lnTo>
                  <a:lnTo>
                    <a:pt x="200" y="562"/>
                  </a:lnTo>
                  <a:lnTo>
                    <a:pt x="200" y="559"/>
                  </a:lnTo>
                  <a:lnTo>
                    <a:pt x="200" y="559"/>
                  </a:lnTo>
                  <a:lnTo>
                    <a:pt x="200" y="556"/>
                  </a:lnTo>
                  <a:lnTo>
                    <a:pt x="200" y="556"/>
                  </a:lnTo>
                  <a:lnTo>
                    <a:pt x="200" y="554"/>
                  </a:lnTo>
                  <a:lnTo>
                    <a:pt x="203" y="554"/>
                  </a:lnTo>
                  <a:lnTo>
                    <a:pt x="205" y="554"/>
                  </a:lnTo>
                  <a:lnTo>
                    <a:pt x="208" y="551"/>
                  </a:lnTo>
                  <a:lnTo>
                    <a:pt x="208" y="551"/>
                  </a:lnTo>
                  <a:lnTo>
                    <a:pt x="211" y="548"/>
                  </a:lnTo>
                  <a:lnTo>
                    <a:pt x="211" y="551"/>
                  </a:lnTo>
                  <a:lnTo>
                    <a:pt x="213" y="551"/>
                  </a:lnTo>
                  <a:lnTo>
                    <a:pt x="216" y="551"/>
                  </a:lnTo>
                  <a:lnTo>
                    <a:pt x="216" y="548"/>
                  </a:lnTo>
                  <a:lnTo>
                    <a:pt x="219" y="548"/>
                  </a:lnTo>
                  <a:lnTo>
                    <a:pt x="221" y="548"/>
                  </a:lnTo>
                  <a:lnTo>
                    <a:pt x="221" y="546"/>
                  </a:lnTo>
                  <a:lnTo>
                    <a:pt x="221" y="546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4" y="546"/>
                  </a:lnTo>
                  <a:lnTo>
                    <a:pt x="227" y="543"/>
                  </a:lnTo>
                  <a:lnTo>
                    <a:pt x="229" y="543"/>
                  </a:lnTo>
                  <a:lnTo>
                    <a:pt x="229" y="543"/>
                  </a:lnTo>
                  <a:lnTo>
                    <a:pt x="229" y="540"/>
                  </a:lnTo>
                  <a:lnTo>
                    <a:pt x="229" y="540"/>
                  </a:lnTo>
                  <a:lnTo>
                    <a:pt x="229" y="538"/>
                  </a:lnTo>
                  <a:lnTo>
                    <a:pt x="229" y="538"/>
                  </a:lnTo>
                  <a:lnTo>
                    <a:pt x="232" y="538"/>
                  </a:lnTo>
                  <a:lnTo>
                    <a:pt x="235" y="540"/>
                  </a:lnTo>
                  <a:lnTo>
                    <a:pt x="237" y="540"/>
                  </a:lnTo>
                  <a:lnTo>
                    <a:pt x="237" y="540"/>
                  </a:lnTo>
                  <a:lnTo>
                    <a:pt x="240" y="540"/>
                  </a:lnTo>
                  <a:lnTo>
                    <a:pt x="240" y="540"/>
                  </a:lnTo>
                  <a:lnTo>
                    <a:pt x="243" y="538"/>
                  </a:lnTo>
                  <a:lnTo>
                    <a:pt x="245" y="538"/>
                  </a:lnTo>
                  <a:lnTo>
                    <a:pt x="245" y="535"/>
                  </a:lnTo>
                  <a:lnTo>
                    <a:pt x="245" y="535"/>
                  </a:lnTo>
                  <a:lnTo>
                    <a:pt x="248" y="535"/>
                  </a:lnTo>
                  <a:lnTo>
                    <a:pt x="248" y="532"/>
                  </a:lnTo>
                  <a:lnTo>
                    <a:pt x="248" y="530"/>
                  </a:lnTo>
                  <a:lnTo>
                    <a:pt x="248" y="527"/>
                  </a:lnTo>
                  <a:lnTo>
                    <a:pt x="251" y="527"/>
                  </a:lnTo>
                  <a:lnTo>
                    <a:pt x="251" y="524"/>
                  </a:lnTo>
                  <a:lnTo>
                    <a:pt x="251" y="524"/>
                  </a:lnTo>
                  <a:lnTo>
                    <a:pt x="240" y="524"/>
                  </a:lnTo>
                  <a:lnTo>
                    <a:pt x="240" y="522"/>
                  </a:lnTo>
                  <a:lnTo>
                    <a:pt x="240" y="522"/>
                  </a:lnTo>
                  <a:lnTo>
                    <a:pt x="240" y="519"/>
                  </a:lnTo>
                  <a:lnTo>
                    <a:pt x="243" y="519"/>
                  </a:lnTo>
                  <a:lnTo>
                    <a:pt x="245" y="516"/>
                  </a:lnTo>
                  <a:lnTo>
                    <a:pt x="243" y="514"/>
                  </a:lnTo>
                  <a:lnTo>
                    <a:pt x="245" y="514"/>
                  </a:lnTo>
                  <a:lnTo>
                    <a:pt x="245" y="514"/>
                  </a:lnTo>
                  <a:lnTo>
                    <a:pt x="248" y="514"/>
                  </a:lnTo>
                  <a:lnTo>
                    <a:pt x="248" y="514"/>
                  </a:lnTo>
                  <a:lnTo>
                    <a:pt x="248" y="514"/>
                  </a:lnTo>
                  <a:lnTo>
                    <a:pt x="251" y="514"/>
                  </a:lnTo>
                  <a:lnTo>
                    <a:pt x="253" y="514"/>
                  </a:lnTo>
                  <a:lnTo>
                    <a:pt x="253" y="516"/>
                  </a:lnTo>
                  <a:lnTo>
                    <a:pt x="256" y="516"/>
                  </a:lnTo>
                  <a:lnTo>
                    <a:pt x="256" y="516"/>
                  </a:lnTo>
                  <a:lnTo>
                    <a:pt x="259" y="516"/>
                  </a:lnTo>
                  <a:lnTo>
                    <a:pt x="259" y="514"/>
                  </a:lnTo>
                  <a:lnTo>
                    <a:pt x="261" y="514"/>
                  </a:lnTo>
                  <a:lnTo>
                    <a:pt x="261" y="511"/>
                  </a:lnTo>
                  <a:lnTo>
                    <a:pt x="261" y="508"/>
                  </a:lnTo>
                  <a:lnTo>
                    <a:pt x="261" y="506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3"/>
                  </a:lnTo>
                  <a:lnTo>
                    <a:pt x="259" y="500"/>
                  </a:lnTo>
                  <a:lnTo>
                    <a:pt x="256" y="500"/>
                  </a:lnTo>
                  <a:lnTo>
                    <a:pt x="256" y="498"/>
                  </a:lnTo>
                  <a:lnTo>
                    <a:pt x="259" y="500"/>
                  </a:lnTo>
                  <a:lnTo>
                    <a:pt x="259" y="498"/>
                  </a:lnTo>
                  <a:lnTo>
                    <a:pt x="259" y="495"/>
                  </a:lnTo>
                  <a:lnTo>
                    <a:pt x="261" y="492"/>
                  </a:lnTo>
                  <a:lnTo>
                    <a:pt x="261" y="492"/>
                  </a:lnTo>
                  <a:lnTo>
                    <a:pt x="261" y="492"/>
                  </a:lnTo>
                  <a:lnTo>
                    <a:pt x="264" y="492"/>
                  </a:lnTo>
                  <a:lnTo>
                    <a:pt x="261" y="490"/>
                  </a:lnTo>
                  <a:lnTo>
                    <a:pt x="264" y="490"/>
                  </a:lnTo>
                  <a:lnTo>
                    <a:pt x="264" y="487"/>
                  </a:lnTo>
                  <a:lnTo>
                    <a:pt x="264" y="487"/>
                  </a:lnTo>
                  <a:lnTo>
                    <a:pt x="261" y="487"/>
                  </a:lnTo>
                  <a:lnTo>
                    <a:pt x="261" y="487"/>
                  </a:lnTo>
                  <a:lnTo>
                    <a:pt x="259" y="484"/>
                  </a:lnTo>
                  <a:lnTo>
                    <a:pt x="259" y="484"/>
                  </a:lnTo>
                  <a:lnTo>
                    <a:pt x="259" y="481"/>
                  </a:lnTo>
                  <a:lnTo>
                    <a:pt x="256" y="481"/>
                  </a:lnTo>
                  <a:lnTo>
                    <a:pt x="256" y="481"/>
                  </a:lnTo>
                  <a:lnTo>
                    <a:pt x="253" y="484"/>
                  </a:lnTo>
                  <a:lnTo>
                    <a:pt x="251" y="484"/>
                  </a:lnTo>
                  <a:lnTo>
                    <a:pt x="251" y="484"/>
                  </a:lnTo>
                  <a:lnTo>
                    <a:pt x="248" y="484"/>
                  </a:lnTo>
                  <a:lnTo>
                    <a:pt x="245" y="481"/>
                  </a:lnTo>
                  <a:lnTo>
                    <a:pt x="243" y="481"/>
                  </a:lnTo>
                  <a:lnTo>
                    <a:pt x="240" y="479"/>
                  </a:lnTo>
                  <a:lnTo>
                    <a:pt x="237" y="481"/>
                  </a:lnTo>
                  <a:lnTo>
                    <a:pt x="237" y="479"/>
                  </a:lnTo>
                  <a:lnTo>
                    <a:pt x="235" y="479"/>
                  </a:lnTo>
                  <a:lnTo>
                    <a:pt x="237" y="479"/>
                  </a:lnTo>
                  <a:lnTo>
                    <a:pt x="235" y="476"/>
                  </a:lnTo>
                  <a:lnTo>
                    <a:pt x="235" y="473"/>
                  </a:lnTo>
                  <a:lnTo>
                    <a:pt x="235" y="473"/>
                  </a:lnTo>
                  <a:lnTo>
                    <a:pt x="235" y="471"/>
                  </a:lnTo>
                  <a:lnTo>
                    <a:pt x="235" y="468"/>
                  </a:lnTo>
                  <a:lnTo>
                    <a:pt x="237" y="468"/>
                  </a:lnTo>
                  <a:lnTo>
                    <a:pt x="237" y="465"/>
                  </a:lnTo>
                  <a:lnTo>
                    <a:pt x="237" y="463"/>
                  </a:lnTo>
                  <a:lnTo>
                    <a:pt x="240" y="463"/>
                  </a:lnTo>
                  <a:lnTo>
                    <a:pt x="240" y="460"/>
                  </a:lnTo>
                  <a:lnTo>
                    <a:pt x="240" y="460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40" y="455"/>
                  </a:lnTo>
                  <a:lnTo>
                    <a:pt x="240" y="452"/>
                  </a:lnTo>
                  <a:lnTo>
                    <a:pt x="243" y="449"/>
                  </a:lnTo>
                  <a:lnTo>
                    <a:pt x="243" y="449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5" y="444"/>
                  </a:lnTo>
                  <a:lnTo>
                    <a:pt x="245" y="441"/>
                  </a:lnTo>
                  <a:lnTo>
                    <a:pt x="245" y="441"/>
                  </a:lnTo>
                  <a:lnTo>
                    <a:pt x="245" y="444"/>
                  </a:lnTo>
                  <a:lnTo>
                    <a:pt x="248" y="441"/>
                  </a:lnTo>
                  <a:lnTo>
                    <a:pt x="248" y="439"/>
                  </a:lnTo>
                  <a:lnTo>
                    <a:pt x="251" y="439"/>
                  </a:lnTo>
                  <a:lnTo>
                    <a:pt x="251" y="436"/>
                  </a:lnTo>
                  <a:lnTo>
                    <a:pt x="251" y="436"/>
                  </a:lnTo>
                  <a:lnTo>
                    <a:pt x="253" y="433"/>
                  </a:lnTo>
                  <a:lnTo>
                    <a:pt x="253" y="431"/>
                  </a:lnTo>
                  <a:lnTo>
                    <a:pt x="256" y="431"/>
                  </a:lnTo>
                  <a:lnTo>
                    <a:pt x="256" y="431"/>
                  </a:lnTo>
                  <a:lnTo>
                    <a:pt x="256" y="428"/>
                  </a:lnTo>
                  <a:lnTo>
                    <a:pt x="259" y="428"/>
                  </a:lnTo>
                  <a:lnTo>
                    <a:pt x="259" y="425"/>
                  </a:lnTo>
                  <a:lnTo>
                    <a:pt x="261" y="425"/>
                  </a:lnTo>
                  <a:lnTo>
                    <a:pt x="264" y="423"/>
                  </a:lnTo>
                  <a:lnTo>
                    <a:pt x="264" y="423"/>
                  </a:lnTo>
                  <a:lnTo>
                    <a:pt x="264" y="423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69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67" y="412"/>
                  </a:lnTo>
                  <a:lnTo>
                    <a:pt x="267" y="412"/>
                  </a:lnTo>
                  <a:lnTo>
                    <a:pt x="264" y="409"/>
                  </a:lnTo>
                  <a:lnTo>
                    <a:pt x="264" y="407"/>
                  </a:lnTo>
                  <a:lnTo>
                    <a:pt x="264" y="407"/>
                  </a:lnTo>
                  <a:lnTo>
                    <a:pt x="264" y="404"/>
                  </a:lnTo>
                  <a:lnTo>
                    <a:pt x="264" y="404"/>
                  </a:lnTo>
                  <a:lnTo>
                    <a:pt x="264" y="401"/>
                  </a:lnTo>
                  <a:lnTo>
                    <a:pt x="264" y="401"/>
                  </a:lnTo>
                  <a:lnTo>
                    <a:pt x="264" y="401"/>
                  </a:lnTo>
                  <a:lnTo>
                    <a:pt x="267" y="401"/>
                  </a:lnTo>
                  <a:lnTo>
                    <a:pt x="267" y="401"/>
                  </a:lnTo>
                  <a:lnTo>
                    <a:pt x="267" y="399"/>
                  </a:lnTo>
                  <a:lnTo>
                    <a:pt x="267" y="399"/>
                  </a:lnTo>
                  <a:lnTo>
                    <a:pt x="267" y="396"/>
                  </a:lnTo>
                  <a:lnTo>
                    <a:pt x="267" y="396"/>
                  </a:lnTo>
                  <a:lnTo>
                    <a:pt x="267" y="396"/>
                  </a:lnTo>
                  <a:lnTo>
                    <a:pt x="264" y="399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4" y="393"/>
                  </a:lnTo>
                  <a:lnTo>
                    <a:pt x="267" y="393"/>
                  </a:lnTo>
                  <a:lnTo>
                    <a:pt x="267" y="391"/>
                  </a:lnTo>
                  <a:lnTo>
                    <a:pt x="264" y="391"/>
                  </a:lnTo>
                  <a:lnTo>
                    <a:pt x="264" y="388"/>
                  </a:lnTo>
                  <a:lnTo>
                    <a:pt x="264" y="388"/>
                  </a:lnTo>
                  <a:lnTo>
                    <a:pt x="264" y="388"/>
                  </a:lnTo>
                  <a:lnTo>
                    <a:pt x="261" y="388"/>
                  </a:lnTo>
                  <a:lnTo>
                    <a:pt x="261" y="385"/>
                  </a:lnTo>
                  <a:lnTo>
                    <a:pt x="261" y="385"/>
                  </a:lnTo>
                  <a:lnTo>
                    <a:pt x="259" y="385"/>
                  </a:lnTo>
                  <a:lnTo>
                    <a:pt x="256" y="385"/>
                  </a:lnTo>
                  <a:lnTo>
                    <a:pt x="256" y="385"/>
                  </a:lnTo>
                  <a:lnTo>
                    <a:pt x="256" y="383"/>
                  </a:lnTo>
                  <a:lnTo>
                    <a:pt x="253" y="383"/>
                  </a:lnTo>
                  <a:lnTo>
                    <a:pt x="253" y="380"/>
                  </a:lnTo>
                  <a:lnTo>
                    <a:pt x="253" y="380"/>
                  </a:lnTo>
                  <a:lnTo>
                    <a:pt x="253" y="377"/>
                  </a:lnTo>
                  <a:lnTo>
                    <a:pt x="251" y="375"/>
                  </a:lnTo>
                  <a:lnTo>
                    <a:pt x="251" y="375"/>
                  </a:lnTo>
                  <a:lnTo>
                    <a:pt x="248" y="375"/>
                  </a:lnTo>
                  <a:lnTo>
                    <a:pt x="248" y="372"/>
                  </a:lnTo>
                  <a:lnTo>
                    <a:pt x="248" y="372"/>
                  </a:lnTo>
                  <a:lnTo>
                    <a:pt x="245" y="372"/>
                  </a:lnTo>
                  <a:lnTo>
                    <a:pt x="245" y="372"/>
                  </a:lnTo>
                  <a:lnTo>
                    <a:pt x="245" y="375"/>
                  </a:lnTo>
                  <a:lnTo>
                    <a:pt x="245" y="375"/>
                  </a:lnTo>
                  <a:lnTo>
                    <a:pt x="245" y="375"/>
                  </a:lnTo>
                  <a:lnTo>
                    <a:pt x="243" y="375"/>
                  </a:lnTo>
                  <a:lnTo>
                    <a:pt x="243" y="375"/>
                  </a:lnTo>
                  <a:lnTo>
                    <a:pt x="240" y="372"/>
                  </a:lnTo>
                  <a:lnTo>
                    <a:pt x="240" y="372"/>
                  </a:lnTo>
                  <a:lnTo>
                    <a:pt x="237" y="372"/>
                  </a:lnTo>
                  <a:lnTo>
                    <a:pt x="240" y="369"/>
                  </a:lnTo>
                  <a:lnTo>
                    <a:pt x="240" y="369"/>
                  </a:lnTo>
                  <a:lnTo>
                    <a:pt x="240" y="367"/>
                  </a:lnTo>
                  <a:lnTo>
                    <a:pt x="240" y="367"/>
                  </a:lnTo>
                  <a:lnTo>
                    <a:pt x="243" y="367"/>
                  </a:lnTo>
                  <a:lnTo>
                    <a:pt x="243" y="364"/>
                  </a:lnTo>
                  <a:lnTo>
                    <a:pt x="243" y="364"/>
                  </a:lnTo>
                  <a:lnTo>
                    <a:pt x="243" y="364"/>
                  </a:lnTo>
                  <a:lnTo>
                    <a:pt x="243" y="361"/>
                  </a:lnTo>
                  <a:lnTo>
                    <a:pt x="243" y="361"/>
                  </a:lnTo>
                  <a:lnTo>
                    <a:pt x="240" y="359"/>
                  </a:lnTo>
                  <a:lnTo>
                    <a:pt x="240" y="359"/>
                  </a:lnTo>
                  <a:lnTo>
                    <a:pt x="243" y="356"/>
                  </a:lnTo>
                  <a:lnTo>
                    <a:pt x="243" y="356"/>
                  </a:lnTo>
                  <a:lnTo>
                    <a:pt x="245" y="356"/>
                  </a:lnTo>
                  <a:lnTo>
                    <a:pt x="245" y="356"/>
                  </a:lnTo>
                  <a:lnTo>
                    <a:pt x="248" y="356"/>
                  </a:lnTo>
                  <a:lnTo>
                    <a:pt x="248" y="353"/>
                  </a:lnTo>
                  <a:lnTo>
                    <a:pt x="248" y="353"/>
                  </a:lnTo>
                  <a:lnTo>
                    <a:pt x="251" y="353"/>
                  </a:lnTo>
                  <a:lnTo>
                    <a:pt x="251" y="351"/>
                  </a:lnTo>
                  <a:lnTo>
                    <a:pt x="253" y="351"/>
                  </a:lnTo>
                  <a:lnTo>
                    <a:pt x="253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6" y="351"/>
                  </a:lnTo>
                  <a:lnTo>
                    <a:pt x="259" y="348"/>
                  </a:lnTo>
                  <a:lnTo>
                    <a:pt x="261" y="348"/>
                  </a:lnTo>
                  <a:lnTo>
                    <a:pt x="261" y="345"/>
                  </a:lnTo>
                  <a:lnTo>
                    <a:pt x="264" y="345"/>
                  </a:lnTo>
                  <a:lnTo>
                    <a:pt x="264" y="345"/>
                  </a:lnTo>
                  <a:lnTo>
                    <a:pt x="264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69" y="345"/>
                  </a:lnTo>
                  <a:lnTo>
                    <a:pt x="269" y="345"/>
                  </a:lnTo>
                  <a:lnTo>
                    <a:pt x="269" y="343"/>
                  </a:lnTo>
                  <a:lnTo>
                    <a:pt x="269" y="343"/>
                  </a:lnTo>
                  <a:lnTo>
                    <a:pt x="269" y="343"/>
                  </a:lnTo>
                  <a:lnTo>
                    <a:pt x="269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5" y="340"/>
                  </a:lnTo>
                  <a:lnTo>
                    <a:pt x="275" y="343"/>
                  </a:lnTo>
                  <a:lnTo>
                    <a:pt x="275" y="345"/>
                  </a:lnTo>
                  <a:lnTo>
                    <a:pt x="277" y="348"/>
                  </a:lnTo>
                  <a:lnTo>
                    <a:pt x="280" y="351"/>
                  </a:lnTo>
                  <a:lnTo>
                    <a:pt x="277" y="348"/>
                  </a:lnTo>
                  <a:lnTo>
                    <a:pt x="280" y="351"/>
                  </a:lnTo>
                  <a:lnTo>
                    <a:pt x="280" y="351"/>
                  </a:lnTo>
                  <a:lnTo>
                    <a:pt x="280" y="353"/>
                  </a:lnTo>
                  <a:lnTo>
                    <a:pt x="283" y="353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8" y="356"/>
                  </a:lnTo>
                  <a:lnTo>
                    <a:pt x="288" y="359"/>
                  </a:lnTo>
                  <a:lnTo>
                    <a:pt x="291" y="359"/>
                  </a:lnTo>
                  <a:lnTo>
                    <a:pt x="291" y="361"/>
                  </a:lnTo>
                  <a:lnTo>
                    <a:pt x="293" y="361"/>
                  </a:lnTo>
                  <a:lnTo>
                    <a:pt x="293" y="361"/>
                  </a:lnTo>
                  <a:lnTo>
                    <a:pt x="293" y="364"/>
                  </a:lnTo>
                  <a:lnTo>
                    <a:pt x="296" y="364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9" y="367"/>
                  </a:lnTo>
                  <a:lnTo>
                    <a:pt x="299" y="367"/>
                  </a:lnTo>
                  <a:lnTo>
                    <a:pt x="299" y="367"/>
                  </a:lnTo>
                  <a:lnTo>
                    <a:pt x="299" y="369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6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3" y="367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91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1" y="364"/>
                  </a:lnTo>
                  <a:lnTo>
                    <a:pt x="291" y="364"/>
                  </a:lnTo>
                  <a:lnTo>
                    <a:pt x="291" y="364"/>
                  </a:lnTo>
                  <a:lnTo>
                    <a:pt x="291" y="361"/>
                  </a:lnTo>
                  <a:lnTo>
                    <a:pt x="288" y="361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91" y="367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91" y="367"/>
                  </a:lnTo>
                  <a:lnTo>
                    <a:pt x="291" y="369"/>
                  </a:lnTo>
                  <a:lnTo>
                    <a:pt x="291" y="369"/>
                  </a:lnTo>
                  <a:lnTo>
                    <a:pt x="293" y="369"/>
                  </a:lnTo>
                  <a:lnTo>
                    <a:pt x="293" y="372"/>
                  </a:lnTo>
                  <a:lnTo>
                    <a:pt x="296" y="372"/>
                  </a:lnTo>
                  <a:lnTo>
                    <a:pt x="296" y="375"/>
                  </a:lnTo>
                  <a:lnTo>
                    <a:pt x="299" y="375"/>
                  </a:lnTo>
                  <a:lnTo>
                    <a:pt x="299" y="377"/>
                  </a:lnTo>
                  <a:lnTo>
                    <a:pt x="301" y="377"/>
                  </a:lnTo>
                  <a:lnTo>
                    <a:pt x="301" y="377"/>
                  </a:lnTo>
                  <a:lnTo>
                    <a:pt x="304" y="380"/>
                  </a:lnTo>
                  <a:lnTo>
                    <a:pt x="304" y="380"/>
                  </a:lnTo>
                  <a:lnTo>
                    <a:pt x="304" y="380"/>
                  </a:lnTo>
                  <a:lnTo>
                    <a:pt x="304" y="383"/>
                  </a:lnTo>
                  <a:lnTo>
                    <a:pt x="304" y="383"/>
                  </a:lnTo>
                  <a:lnTo>
                    <a:pt x="304" y="383"/>
                  </a:lnTo>
                  <a:lnTo>
                    <a:pt x="307" y="383"/>
                  </a:lnTo>
                  <a:lnTo>
                    <a:pt x="307" y="383"/>
                  </a:lnTo>
                  <a:lnTo>
                    <a:pt x="307" y="383"/>
                  </a:lnTo>
                  <a:lnTo>
                    <a:pt x="307" y="388"/>
                  </a:lnTo>
                  <a:lnTo>
                    <a:pt x="309" y="391"/>
                  </a:lnTo>
                  <a:lnTo>
                    <a:pt x="312" y="393"/>
                  </a:lnTo>
                  <a:lnTo>
                    <a:pt x="315" y="393"/>
                  </a:lnTo>
                  <a:lnTo>
                    <a:pt x="315" y="396"/>
                  </a:lnTo>
                  <a:lnTo>
                    <a:pt x="317" y="396"/>
                  </a:lnTo>
                  <a:lnTo>
                    <a:pt x="320" y="399"/>
                  </a:lnTo>
                  <a:lnTo>
                    <a:pt x="320" y="401"/>
                  </a:lnTo>
                  <a:lnTo>
                    <a:pt x="325" y="404"/>
                  </a:lnTo>
                  <a:lnTo>
                    <a:pt x="328" y="404"/>
                  </a:lnTo>
                  <a:lnTo>
                    <a:pt x="328" y="407"/>
                  </a:lnTo>
                  <a:lnTo>
                    <a:pt x="331" y="407"/>
                  </a:lnTo>
                  <a:lnTo>
                    <a:pt x="333" y="409"/>
                  </a:lnTo>
                  <a:lnTo>
                    <a:pt x="333" y="409"/>
                  </a:lnTo>
                  <a:lnTo>
                    <a:pt x="333" y="412"/>
                  </a:lnTo>
                  <a:lnTo>
                    <a:pt x="331" y="412"/>
                  </a:lnTo>
                  <a:lnTo>
                    <a:pt x="331" y="412"/>
                  </a:lnTo>
                  <a:lnTo>
                    <a:pt x="328" y="412"/>
                  </a:lnTo>
                  <a:lnTo>
                    <a:pt x="328" y="415"/>
                  </a:lnTo>
                  <a:lnTo>
                    <a:pt x="328" y="415"/>
                  </a:lnTo>
                  <a:lnTo>
                    <a:pt x="328" y="415"/>
                  </a:lnTo>
                  <a:lnTo>
                    <a:pt x="331" y="417"/>
                  </a:lnTo>
                  <a:lnTo>
                    <a:pt x="331" y="417"/>
                  </a:lnTo>
                  <a:lnTo>
                    <a:pt x="331" y="420"/>
                  </a:lnTo>
                  <a:lnTo>
                    <a:pt x="331" y="420"/>
                  </a:lnTo>
                  <a:lnTo>
                    <a:pt x="331" y="423"/>
                  </a:lnTo>
                  <a:lnTo>
                    <a:pt x="331" y="425"/>
                  </a:lnTo>
                  <a:lnTo>
                    <a:pt x="333" y="425"/>
                  </a:lnTo>
                  <a:lnTo>
                    <a:pt x="333" y="428"/>
                  </a:lnTo>
                  <a:lnTo>
                    <a:pt x="336" y="428"/>
                  </a:lnTo>
                  <a:lnTo>
                    <a:pt x="336" y="428"/>
                  </a:lnTo>
                  <a:lnTo>
                    <a:pt x="336" y="428"/>
                  </a:lnTo>
                  <a:lnTo>
                    <a:pt x="336" y="431"/>
                  </a:lnTo>
                  <a:lnTo>
                    <a:pt x="336" y="431"/>
                  </a:lnTo>
                  <a:lnTo>
                    <a:pt x="339" y="433"/>
                  </a:lnTo>
                  <a:lnTo>
                    <a:pt x="339" y="436"/>
                  </a:lnTo>
                  <a:lnTo>
                    <a:pt x="341" y="439"/>
                  </a:lnTo>
                  <a:lnTo>
                    <a:pt x="344" y="441"/>
                  </a:lnTo>
                  <a:lnTo>
                    <a:pt x="344" y="444"/>
                  </a:lnTo>
                  <a:lnTo>
                    <a:pt x="344" y="447"/>
                  </a:lnTo>
                  <a:lnTo>
                    <a:pt x="344" y="449"/>
                  </a:lnTo>
                  <a:lnTo>
                    <a:pt x="347" y="449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47" y="455"/>
                  </a:lnTo>
                  <a:lnTo>
                    <a:pt x="347" y="455"/>
                  </a:lnTo>
                  <a:lnTo>
                    <a:pt x="347" y="455"/>
                  </a:lnTo>
                  <a:lnTo>
                    <a:pt x="347" y="452"/>
                  </a:lnTo>
                  <a:lnTo>
                    <a:pt x="344" y="452"/>
                  </a:lnTo>
                  <a:lnTo>
                    <a:pt x="344" y="452"/>
                  </a:lnTo>
                  <a:lnTo>
                    <a:pt x="344" y="452"/>
                  </a:lnTo>
                  <a:lnTo>
                    <a:pt x="344" y="455"/>
                  </a:lnTo>
                  <a:lnTo>
                    <a:pt x="347" y="455"/>
                  </a:lnTo>
                  <a:lnTo>
                    <a:pt x="347" y="457"/>
                  </a:lnTo>
                  <a:lnTo>
                    <a:pt x="349" y="457"/>
                  </a:lnTo>
                  <a:lnTo>
                    <a:pt x="352" y="457"/>
                  </a:lnTo>
                  <a:lnTo>
                    <a:pt x="355" y="460"/>
                  </a:lnTo>
                  <a:lnTo>
                    <a:pt x="355" y="463"/>
                  </a:lnTo>
                  <a:lnTo>
                    <a:pt x="357" y="465"/>
                  </a:lnTo>
                  <a:lnTo>
                    <a:pt x="357" y="468"/>
                  </a:lnTo>
                  <a:lnTo>
                    <a:pt x="357" y="468"/>
                  </a:lnTo>
                  <a:lnTo>
                    <a:pt x="357" y="471"/>
                  </a:lnTo>
                  <a:lnTo>
                    <a:pt x="360" y="471"/>
                  </a:lnTo>
                  <a:lnTo>
                    <a:pt x="357" y="473"/>
                  </a:lnTo>
                  <a:lnTo>
                    <a:pt x="360" y="476"/>
                  </a:lnTo>
                  <a:lnTo>
                    <a:pt x="357" y="476"/>
                  </a:lnTo>
                  <a:lnTo>
                    <a:pt x="357" y="476"/>
                  </a:lnTo>
                  <a:lnTo>
                    <a:pt x="355" y="479"/>
                  </a:lnTo>
                  <a:lnTo>
                    <a:pt x="355" y="479"/>
                  </a:lnTo>
                  <a:lnTo>
                    <a:pt x="355" y="481"/>
                  </a:lnTo>
                  <a:lnTo>
                    <a:pt x="355" y="481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55" y="484"/>
                  </a:lnTo>
                  <a:lnTo>
                    <a:pt x="355" y="487"/>
                  </a:lnTo>
                  <a:lnTo>
                    <a:pt x="355" y="487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7" y="490"/>
                  </a:lnTo>
                  <a:lnTo>
                    <a:pt x="357" y="490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3" y="490"/>
                  </a:lnTo>
                  <a:lnTo>
                    <a:pt x="363" y="490"/>
                  </a:lnTo>
                  <a:lnTo>
                    <a:pt x="363" y="490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7"/>
                  </a:lnTo>
                  <a:lnTo>
                    <a:pt x="365" y="484"/>
                  </a:lnTo>
                  <a:lnTo>
                    <a:pt x="368" y="484"/>
                  </a:lnTo>
                  <a:lnTo>
                    <a:pt x="368" y="484"/>
                  </a:lnTo>
                  <a:lnTo>
                    <a:pt x="368" y="481"/>
                  </a:lnTo>
                  <a:lnTo>
                    <a:pt x="368" y="481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73" y="481"/>
                  </a:lnTo>
                  <a:lnTo>
                    <a:pt x="373" y="481"/>
                  </a:lnTo>
                  <a:lnTo>
                    <a:pt x="373" y="479"/>
                  </a:lnTo>
                  <a:lnTo>
                    <a:pt x="371" y="479"/>
                  </a:lnTo>
                  <a:lnTo>
                    <a:pt x="371" y="476"/>
                  </a:lnTo>
                  <a:lnTo>
                    <a:pt x="373" y="473"/>
                  </a:lnTo>
                  <a:lnTo>
                    <a:pt x="373" y="473"/>
                  </a:lnTo>
                  <a:lnTo>
                    <a:pt x="376" y="471"/>
                  </a:lnTo>
                  <a:lnTo>
                    <a:pt x="376" y="471"/>
                  </a:lnTo>
                  <a:lnTo>
                    <a:pt x="379" y="468"/>
                  </a:lnTo>
                  <a:lnTo>
                    <a:pt x="379" y="465"/>
                  </a:lnTo>
                  <a:lnTo>
                    <a:pt x="381" y="465"/>
                  </a:lnTo>
                  <a:lnTo>
                    <a:pt x="384" y="463"/>
                  </a:lnTo>
                  <a:lnTo>
                    <a:pt x="387" y="460"/>
                  </a:lnTo>
                  <a:lnTo>
                    <a:pt x="389" y="455"/>
                  </a:lnTo>
                  <a:lnTo>
                    <a:pt x="392" y="452"/>
                  </a:lnTo>
                  <a:lnTo>
                    <a:pt x="395" y="447"/>
                  </a:lnTo>
                  <a:lnTo>
                    <a:pt x="397" y="444"/>
                  </a:lnTo>
                  <a:lnTo>
                    <a:pt x="397" y="441"/>
                  </a:lnTo>
                  <a:lnTo>
                    <a:pt x="400" y="441"/>
                  </a:lnTo>
                  <a:lnTo>
                    <a:pt x="400" y="439"/>
                  </a:lnTo>
                  <a:lnTo>
                    <a:pt x="400" y="436"/>
                  </a:lnTo>
                  <a:lnTo>
                    <a:pt x="403" y="436"/>
                  </a:lnTo>
                  <a:lnTo>
                    <a:pt x="406" y="436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8" y="433"/>
                  </a:lnTo>
                  <a:lnTo>
                    <a:pt x="408" y="433"/>
                  </a:lnTo>
                  <a:lnTo>
                    <a:pt x="408" y="431"/>
                  </a:lnTo>
                  <a:lnTo>
                    <a:pt x="408" y="431"/>
                  </a:lnTo>
                  <a:lnTo>
                    <a:pt x="408" y="428"/>
                  </a:lnTo>
                  <a:lnTo>
                    <a:pt x="408" y="428"/>
                  </a:lnTo>
                  <a:lnTo>
                    <a:pt x="406" y="428"/>
                  </a:lnTo>
                  <a:lnTo>
                    <a:pt x="406" y="428"/>
                  </a:lnTo>
                  <a:lnTo>
                    <a:pt x="406" y="428"/>
                  </a:lnTo>
                  <a:lnTo>
                    <a:pt x="403" y="425"/>
                  </a:lnTo>
                  <a:lnTo>
                    <a:pt x="403" y="425"/>
                  </a:lnTo>
                  <a:lnTo>
                    <a:pt x="403" y="423"/>
                  </a:lnTo>
                  <a:lnTo>
                    <a:pt x="406" y="423"/>
                  </a:lnTo>
                  <a:lnTo>
                    <a:pt x="406" y="425"/>
                  </a:lnTo>
                  <a:lnTo>
                    <a:pt x="406" y="425"/>
                  </a:lnTo>
                  <a:lnTo>
                    <a:pt x="408" y="425"/>
                  </a:lnTo>
                  <a:lnTo>
                    <a:pt x="408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4" y="423"/>
                  </a:lnTo>
                  <a:lnTo>
                    <a:pt x="411" y="423"/>
                  </a:lnTo>
                  <a:lnTo>
                    <a:pt x="411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3"/>
                  </a:lnTo>
                  <a:lnTo>
                    <a:pt x="408" y="420"/>
                  </a:lnTo>
                  <a:lnTo>
                    <a:pt x="408" y="420"/>
                  </a:lnTo>
                  <a:lnTo>
                    <a:pt x="406" y="420"/>
                  </a:lnTo>
                  <a:lnTo>
                    <a:pt x="400" y="420"/>
                  </a:lnTo>
                  <a:lnTo>
                    <a:pt x="400" y="420"/>
                  </a:lnTo>
                  <a:lnTo>
                    <a:pt x="397" y="420"/>
                  </a:lnTo>
                  <a:lnTo>
                    <a:pt x="392" y="420"/>
                  </a:lnTo>
                  <a:lnTo>
                    <a:pt x="389" y="415"/>
                  </a:lnTo>
                  <a:lnTo>
                    <a:pt x="387" y="412"/>
                  </a:lnTo>
                  <a:lnTo>
                    <a:pt x="387" y="407"/>
                  </a:lnTo>
                  <a:lnTo>
                    <a:pt x="387" y="404"/>
                  </a:lnTo>
                  <a:lnTo>
                    <a:pt x="387" y="399"/>
                  </a:lnTo>
                  <a:lnTo>
                    <a:pt x="387" y="396"/>
                  </a:lnTo>
                  <a:lnTo>
                    <a:pt x="384" y="391"/>
                  </a:lnTo>
                  <a:lnTo>
                    <a:pt x="384" y="385"/>
                  </a:lnTo>
                  <a:lnTo>
                    <a:pt x="381" y="383"/>
                  </a:lnTo>
                  <a:lnTo>
                    <a:pt x="381" y="380"/>
                  </a:lnTo>
                  <a:lnTo>
                    <a:pt x="381" y="377"/>
                  </a:lnTo>
                  <a:lnTo>
                    <a:pt x="381" y="375"/>
                  </a:lnTo>
                  <a:lnTo>
                    <a:pt x="381" y="369"/>
                  </a:lnTo>
                  <a:lnTo>
                    <a:pt x="384" y="367"/>
                  </a:lnTo>
                  <a:lnTo>
                    <a:pt x="384" y="367"/>
                  </a:lnTo>
                  <a:lnTo>
                    <a:pt x="387" y="367"/>
                  </a:lnTo>
                  <a:lnTo>
                    <a:pt x="387" y="364"/>
                  </a:lnTo>
                  <a:lnTo>
                    <a:pt x="387" y="364"/>
                  </a:lnTo>
                  <a:lnTo>
                    <a:pt x="389" y="361"/>
                  </a:lnTo>
                  <a:lnTo>
                    <a:pt x="389" y="359"/>
                  </a:lnTo>
                  <a:lnTo>
                    <a:pt x="389" y="356"/>
                  </a:lnTo>
                  <a:lnTo>
                    <a:pt x="389" y="356"/>
                  </a:lnTo>
                  <a:lnTo>
                    <a:pt x="392" y="353"/>
                  </a:lnTo>
                  <a:lnTo>
                    <a:pt x="392" y="351"/>
                  </a:lnTo>
                  <a:lnTo>
                    <a:pt x="392" y="351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392" y="348"/>
                  </a:lnTo>
                  <a:lnTo>
                    <a:pt x="389" y="348"/>
                  </a:lnTo>
                  <a:lnTo>
                    <a:pt x="389" y="351"/>
                  </a:lnTo>
                  <a:lnTo>
                    <a:pt x="389" y="351"/>
                  </a:lnTo>
                  <a:lnTo>
                    <a:pt x="387" y="351"/>
                  </a:lnTo>
                  <a:lnTo>
                    <a:pt x="387" y="353"/>
                  </a:lnTo>
                  <a:lnTo>
                    <a:pt x="387" y="353"/>
                  </a:lnTo>
                  <a:lnTo>
                    <a:pt x="389" y="353"/>
                  </a:lnTo>
                  <a:lnTo>
                    <a:pt x="389" y="353"/>
                  </a:lnTo>
                  <a:lnTo>
                    <a:pt x="389" y="353"/>
                  </a:lnTo>
                  <a:lnTo>
                    <a:pt x="387" y="353"/>
                  </a:lnTo>
                  <a:lnTo>
                    <a:pt x="384" y="353"/>
                  </a:lnTo>
                  <a:lnTo>
                    <a:pt x="384" y="351"/>
                  </a:lnTo>
                  <a:lnTo>
                    <a:pt x="381" y="351"/>
                  </a:lnTo>
                  <a:lnTo>
                    <a:pt x="381" y="348"/>
                  </a:lnTo>
                  <a:lnTo>
                    <a:pt x="379" y="345"/>
                  </a:lnTo>
                  <a:lnTo>
                    <a:pt x="379" y="345"/>
                  </a:lnTo>
                  <a:lnTo>
                    <a:pt x="379" y="343"/>
                  </a:lnTo>
                  <a:lnTo>
                    <a:pt x="376" y="343"/>
                  </a:lnTo>
                  <a:lnTo>
                    <a:pt x="376" y="340"/>
                  </a:lnTo>
                  <a:lnTo>
                    <a:pt x="376" y="337"/>
                  </a:lnTo>
                  <a:lnTo>
                    <a:pt x="373" y="335"/>
                  </a:lnTo>
                  <a:lnTo>
                    <a:pt x="371" y="332"/>
                  </a:lnTo>
                  <a:lnTo>
                    <a:pt x="371" y="332"/>
                  </a:lnTo>
                  <a:lnTo>
                    <a:pt x="368" y="332"/>
                  </a:lnTo>
                  <a:lnTo>
                    <a:pt x="365" y="329"/>
                  </a:lnTo>
                  <a:lnTo>
                    <a:pt x="363" y="327"/>
                  </a:lnTo>
                  <a:lnTo>
                    <a:pt x="363" y="324"/>
                  </a:lnTo>
                  <a:lnTo>
                    <a:pt x="360" y="324"/>
                  </a:lnTo>
                  <a:lnTo>
                    <a:pt x="360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5" y="321"/>
                  </a:lnTo>
                  <a:lnTo>
                    <a:pt x="355" y="321"/>
                  </a:lnTo>
                  <a:lnTo>
                    <a:pt x="357" y="324"/>
                  </a:lnTo>
                  <a:lnTo>
                    <a:pt x="357" y="324"/>
                  </a:lnTo>
                  <a:lnTo>
                    <a:pt x="355" y="324"/>
                  </a:lnTo>
                  <a:lnTo>
                    <a:pt x="355" y="327"/>
                  </a:lnTo>
                  <a:lnTo>
                    <a:pt x="352" y="327"/>
                  </a:lnTo>
                  <a:lnTo>
                    <a:pt x="352" y="327"/>
                  </a:lnTo>
                  <a:lnTo>
                    <a:pt x="352" y="327"/>
                  </a:lnTo>
                  <a:lnTo>
                    <a:pt x="352" y="324"/>
                  </a:lnTo>
                  <a:lnTo>
                    <a:pt x="349" y="327"/>
                  </a:lnTo>
                  <a:lnTo>
                    <a:pt x="349" y="327"/>
                  </a:lnTo>
                  <a:lnTo>
                    <a:pt x="349" y="329"/>
                  </a:lnTo>
                  <a:lnTo>
                    <a:pt x="349" y="332"/>
                  </a:lnTo>
                  <a:lnTo>
                    <a:pt x="349" y="335"/>
                  </a:lnTo>
                  <a:lnTo>
                    <a:pt x="349" y="335"/>
                  </a:lnTo>
                  <a:lnTo>
                    <a:pt x="349" y="337"/>
                  </a:lnTo>
                  <a:lnTo>
                    <a:pt x="349" y="337"/>
                  </a:lnTo>
                  <a:lnTo>
                    <a:pt x="349" y="337"/>
                  </a:lnTo>
                  <a:lnTo>
                    <a:pt x="349" y="335"/>
                  </a:lnTo>
                  <a:lnTo>
                    <a:pt x="347" y="335"/>
                  </a:lnTo>
                  <a:lnTo>
                    <a:pt x="347" y="335"/>
                  </a:lnTo>
                  <a:lnTo>
                    <a:pt x="347" y="332"/>
                  </a:lnTo>
                  <a:lnTo>
                    <a:pt x="347" y="329"/>
                  </a:lnTo>
                  <a:lnTo>
                    <a:pt x="347" y="327"/>
                  </a:lnTo>
                  <a:lnTo>
                    <a:pt x="349" y="324"/>
                  </a:lnTo>
                  <a:lnTo>
                    <a:pt x="349" y="318"/>
                  </a:lnTo>
                  <a:lnTo>
                    <a:pt x="349" y="316"/>
                  </a:lnTo>
                  <a:lnTo>
                    <a:pt x="352" y="316"/>
                  </a:lnTo>
                  <a:lnTo>
                    <a:pt x="352" y="313"/>
                  </a:lnTo>
                  <a:lnTo>
                    <a:pt x="352" y="313"/>
                  </a:lnTo>
                  <a:lnTo>
                    <a:pt x="352" y="310"/>
                  </a:lnTo>
                  <a:lnTo>
                    <a:pt x="355" y="305"/>
                  </a:lnTo>
                  <a:lnTo>
                    <a:pt x="355" y="302"/>
                  </a:lnTo>
                  <a:lnTo>
                    <a:pt x="357" y="297"/>
                  </a:lnTo>
                  <a:lnTo>
                    <a:pt x="360" y="294"/>
                  </a:lnTo>
                  <a:lnTo>
                    <a:pt x="360" y="292"/>
                  </a:lnTo>
                  <a:lnTo>
                    <a:pt x="363" y="289"/>
                  </a:lnTo>
                  <a:lnTo>
                    <a:pt x="363" y="286"/>
                  </a:lnTo>
                  <a:lnTo>
                    <a:pt x="365" y="286"/>
                  </a:lnTo>
                  <a:lnTo>
                    <a:pt x="365" y="284"/>
                  </a:lnTo>
                  <a:lnTo>
                    <a:pt x="365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71" y="284"/>
                  </a:lnTo>
                  <a:lnTo>
                    <a:pt x="371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4"/>
                  </a:lnTo>
                  <a:lnTo>
                    <a:pt x="368" y="286"/>
                  </a:lnTo>
                  <a:lnTo>
                    <a:pt x="368" y="286"/>
                  </a:lnTo>
                  <a:lnTo>
                    <a:pt x="368" y="286"/>
                  </a:lnTo>
                  <a:lnTo>
                    <a:pt x="365" y="286"/>
                  </a:lnTo>
                  <a:lnTo>
                    <a:pt x="365" y="289"/>
                  </a:lnTo>
                  <a:lnTo>
                    <a:pt x="365" y="292"/>
                  </a:lnTo>
                  <a:lnTo>
                    <a:pt x="368" y="294"/>
                  </a:lnTo>
                  <a:lnTo>
                    <a:pt x="368" y="294"/>
                  </a:lnTo>
                  <a:lnTo>
                    <a:pt x="368" y="292"/>
                  </a:lnTo>
                  <a:lnTo>
                    <a:pt x="371" y="292"/>
                  </a:lnTo>
                  <a:lnTo>
                    <a:pt x="373" y="292"/>
                  </a:lnTo>
                  <a:lnTo>
                    <a:pt x="373" y="292"/>
                  </a:lnTo>
                  <a:lnTo>
                    <a:pt x="373" y="292"/>
                  </a:lnTo>
                  <a:lnTo>
                    <a:pt x="376" y="292"/>
                  </a:lnTo>
                  <a:lnTo>
                    <a:pt x="379" y="289"/>
                  </a:lnTo>
                  <a:lnTo>
                    <a:pt x="379" y="289"/>
                  </a:lnTo>
                  <a:lnTo>
                    <a:pt x="381" y="286"/>
                  </a:lnTo>
                  <a:lnTo>
                    <a:pt x="381" y="284"/>
                  </a:lnTo>
                  <a:lnTo>
                    <a:pt x="384" y="284"/>
                  </a:lnTo>
                  <a:lnTo>
                    <a:pt x="384" y="281"/>
                  </a:lnTo>
                  <a:lnTo>
                    <a:pt x="381" y="281"/>
                  </a:lnTo>
                  <a:lnTo>
                    <a:pt x="381" y="284"/>
                  </a:lnTo>
                  <a:lnTo>
                    <a:pt x="381" y="281"/>
                  </a:lnTo>
                  <a:lnTo>
                    <a:pt x="381" y="278"/>
                  </a:lnTo>
                  <a:lnTo>
                    <a:pt x="384" y="278"/>
                  </a:lnTo>
                  <a:lnTo>
                    <a:pt x="384" y="276"/>
                  </a:lnTo>
                  <a:lnTo>
                    <a:pt x="384" y="273"/>
                  </a:lnTo>
                  <a:lnTo>
                    <a:pt x="384" y="273"/>
                  </a:lnTo>
                  <a:lnTo>
                    <a:pt x="384" y="273"/>
                  </a:lnTo>
                  <a:lnTo>
                    <a:pt x="381" y="273"/>
                  </a:lnTo>
                  <a:lnTo>
                    <a:pt x="381" y="276"/>
                  </a:lnTo>
                  <a:lnTo>
                    <a:pt x="381" y="278"/>
                  </a:lnTo>
                  <a:lnTo>
                    <a:pt x="381" y="276"/>
                  </a:lnTo>
                  <a:lnTo>
                    <a:pt x="379" y="273"/>
                  </a:lnTo>
                  <a:lnTo>
                    <a:pt x="379" y="270"/>
                  </a:lnTo>
                  <a:lnTo>
                    <a:pt x="379" y="268"/>
                  </a:lnTo>
                  <a:lnTo>
                    <a:pt x="381" y="262"/>
                  </a:lnTo>
                  <a:lnTo>
                    <a:pt x="384" y="260"/>
                  </a:lnTo>
                  <a:lnTo>
                    <a:pt x="384" y="257"/>
                  </a:lnTo>
                  <a:lnTo>
                    <a:pt x="387" y="254"/>
                  </a:lnTo>
                  <a:lnTo>
                    <a:pt x="387" y="252"/>
                  </a:lnTo>
                  <a:lnTo>
                    <a:pt x="389" y="249"/>
                  </a:lnTo>
                  <a:lnTo>
                    <a:pt x="389" y="249"/>
                  </a:lnTo>
                  <a:lnTo>
                    <a:pt x="389" y="249"/>
                  </a:lnTo>
                  <a:lnTo>
                    <a:pt x="392" y="252"/>
                  </a:lnTo>
                  <a:lnTo>
                    <a:pt x="392" y="249"/>
                  </a:lnTo>
                  <a:lnTo>
                    <a:pt x="392" y="249"/>
                  </a:lnTo>
                  <a:lnTo>
                    <a:pt x="392" y="246"/>
                  </a:lnTo>
                  <a:lnTo>
                    <a:pt x="392" y="246"/>
                  </a:lnTo>
                  <a:lnTo>
                    <a:pt x="392" y="246"/>
                  </a:lnTo>
                  <a:lnTo>
                    <a:pt x="392" y="244"/>
                  </a:lnTo>
                  <a:lnTo>
                    <a:pt x="395" y="244"/>
                  </a:lnTo>
                  <a:lnTo>
                    <a:pt x="395" y="244"/>
                  </a:lnTo>
                  <a:lnTo>
                    <a:pt x="395" y="241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6"/>
                  </a:lnTo>
                  <a:lnTo>
                    <a:pt x="395" y="233"/>
                  </a:lnTo>
                  <a:lnTo>
                    <a:pt x="397" y="230"/>
                  </a:lnTo>
                  <a:lnTo>
                    <a:pt x="397" y="230"/>
                  </a:lnTo>
                  <a:lnTo>
                    <a:pt x="397" y="228"/>
                  </a:lnTo>
                  <a:lnTo>
                    <a:pt x="400" y="225"/>
                  </a:lnTo>
                  <a:lnTo>
                    <a:pt x="400" y="222"/>
                  </a:lnTo>
                  <a:lnTo>
                    <a:pt x="403" y="222"/>
                  </a:lnTo>
                  <a:lnTo>
                    <a:pt x="403" y="220"/>
                  </a:lnTo>
                  <a:lnTo>
                    <a:pt x="406" y="217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6" y="209"/>
                  </a:lnTo>
                  <a:lnTo>
                    <a:pt x="406" y="209"/>
                  </a:lnTo>
                  <a:lnTo>
                    <a:pt x="406" y="206"/>
                  </a:lnTo>
                  <a:lnTo>
                    <a:pt x="403" y="204"/>
                  </a:lnTo>
                  <a:lnTo>
                    <a:pt x="403" y="204"/>
                  </a:lnTo>
                  <a:lnTo>
                    <a:pt x="400" y="204"/>
                  </a:lnTo>
                  <a:lnTo>
                    <a:pt x="397" y="204"/>
                  </a:lnTo>
                  <a:lnTo>
                    <a:pt x="397" y="204"/>
                  </a:lnTo>
                  <a:lnTo>
                    <a:pt x="395" y="204"/>
                  </a:lnTo>
                  <a:lnTo>
                    <a:pt x="395" y="206"/>
                  </a:lnTo>
                  <a:lnTo>
                    <a:pt x="392" y="206"/>
                  </a:lnTo>
                  <a:lnTo>
                    <a:pt x="389" y="206"/>
                  </a:lnTo>
                  <a:lnTo>
                    <a:pt x="389" y="206"/>
                  </a:lnTo>
                  <a:lnTo>
                    <a:pt x="387" y="206"/>
                  </a:lnTo>
                  <a:lnTo>
                    <a:pt x="387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1" y="206"/>
                  </a:lnTo>
                  <a:lnTo>
                    <a:pt x="381" y="206"/>
                  </a:lnTo>
                  <a:lnTo>
                    <a:pt x="381" y="206"/>
                  </a:lnTo>
                  <a:lnTo>
                    <a:pt x="384" y="204"/>
                  </a:lnTo>
                  <a:lnTo>
                    <a:pt x="384" y="204"/>
                  </a:lnTo>
                  <a:lnTo>
                    <a:pt x="384" y="201"/>
                  </a:lnTo>
                  <a:lnTo>
                    <a:pt x="384" y="198"/>
                  </a:lnTo>
                  <a:lnTo>
                    <a:pt x="384" y="198"/>
                  </a:lnTo>
                  <a:lnTo>
                    <a:pt x="384" y="196"/>
                  </a:lnTo>
                  <a:lnTo>
                    <a:pt x="384" y="196"/>
                  </a:lnTo>
                  <a:lnTo>
                    <a:pt x="384" y="193"/>
                  </a:lnTo>
                  <a:lnTo>
                    <a:pt x="387" y="190"/>
                  </a:lnTo>
                  <a:lnTo>
                    <a:pt x="389" y="190"/>
                  </a:lnTo>
                  <a:lnTo>
                    <a:pt x="389" y="188"/>
                  </a:lnTo>
                  <a:lnTo>
                    <a:pt x="392" y="188"/>
                  </a:lnTo>
                  <a:lnTo>
                    <a:pt x="395" y="185"/>
                  </a:lnTo>
                  <a:lnTo>
                    <a:pt x="395" y="185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80"/>
                  </a:lnTo>
                  <a:lnTo>
                    <a:pt x="397" y="180"/>
                  </a:lnTo>
                  <a:lnTo>
                    <a:pt x="397" y="177"/>
                  </a:lnTo>
                  <a:lnTo>
                    <a:pt x="400" y="177"/>
                  </a:lnTo>
                  <a:lnTo>
                    <a:pt x="400" y="177"/>
                  </a:lnTo>
                  <a:lnTo>
                    <a:pt x="400" y="177"/>
                  </a:lnTo>
                  <a:lnTo>
                    <a:pt x="400" y="174"/>
                  </a:lnTo>
                  <a:lnTo>
                    <a:pt x="400" y="174"/>
                  </a:lnTo>
                  <a:lnTo>
                    <a:pt x="400" y="172"/>
                  </a:lnTo>
                  <a:lnTo>
                    <a:pt x="400" y="172"/>
                  </a:lnTo>
                  <a:lnTo>
                    <a:pt x="397" y="169"/>
                  </a:lnTo>
                  <a:lnTo>
                    <a:pt x="397" y="169"/>
                  </a:lnTo>
                  <a:lnTo>
                    <a:pt x="400" y="166"/>
                  </a:lnTo>
                  <a:lnTo>
                    <a:pt x="403" y="163"/>
                  </a:lnTo>
                  <a:lnTo>
                    <a:pt x="403" y="161"/>
                  </a:lnTo>
                  <a:lnTo>
                    <a:pt x="406" y="161"/>
                  </a:lnTo>
                  <a:lnTo>
                    <a:pt x="406" y="158"/>
                  </a:lnTo>
                  <a:lnTo>
                    <a:pt x="408" y="155"/>
                  </a:lnTo>
                  <a:lnTo>
                    <a:pt x="411" y="155"/>
                  </a:lnTo>
                  <a:lnTo>
                    <a:pt x="414" y="155"/>
                  </a:lnTo>
                  <a:lnTo>
                    <a:pt x="416" y="155"/>
                  </a:lnTo>
                  <a:lnTo>
                    <a:pt x="419" y="155"/>
                  </a:lnTo>
                  <a:lnTo>
                    <a:pt x="422" y="153"/>
                  </a:lnTo>
                  <a:lnTo>
                    <a:pt x="422" y="153"/>
                  </a:lnTo>
                  <a:lnTo>
                    <a:pt x="427" y="150"/>
                  </a:lnTo>
                  <a:lnTo>
                    <a:pt x="430" y="150"/>
                  </a:lnTo>
                  <a:lnTo>
                    <a:pt x="432" y="150"/>
                  </a:lnTo>
                  <a:lnTo>
                    <a:pt x="432" y="147"/>
                  </a:lnTo>
                  <a:lnTo>
                    <a:pt x="432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5" y="147"/>
                  </a:lnTo>
                  <a:lnTo>
                    <a:pt x="438" y="147"/>
                  </a:lnTo>
                  <a:lnTo>
                    <a:pt x="438" y="147"/>
                  </a:lnTo>
                  <a:lnTo>
                    <a:pt x="438" y="147"/>
                  </a:lnTo>
                  <a:lnTo>
                    <a:pt x="438" y="145"/>
                  </a:lnTo>
                  <a:lnTo>
                    <a:pt x="440" y="145"/>
                  </a:lnTo>
                  <a:lnTo>
                    <a:pt x="443" y="145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1" y="139"/>
                  </a:lnTo>
                  <a:lnTo>
                    <a:pt x="451" y="139"/>
                  </a:lnTo>
                  <a:lnTo>
                    <a:pt x="454" y="142"/>
                  </a:lnTo>
                  <a:lnTo>
                    <a:pt x="454" y="142"/>
                  </a:lnTo>
                  <a:lnTo>
                    <a:pt x="454" y="139"/>
                  </a:lnTo>
                  <a:lnTo>
                    <a:pt x="454" y="139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9" y="134"/>
                  </a:lnTo>
                  <a:lnTo>
                    <a:pt x="462" y="131"/>
                  </a:lnTo>
                  <a:lnTo>
                    <a:pt x="462" y="131"/>
                  </a:lnTo>
                  <a:lnTo>
                    <a:pt x="464" y="129"/>
                  </a:lnTo>
                  <a:lnTo>
                    <a:pt x="464" y="129"/>
                  </a:lnTo>
                  <a:lnTo>
                    <a:pt x="464" y="129"/>
                  </a:lnTo>
                  <a:lnTo>
                    <a:pt x="467" y="129"/>
                  </a:lnTo>
                  <a:lnTo>
                    <a:pt x="467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6"/>
                  </a:lnTo>
                  <a:lnTo>
                    <a:pt x="470" y="129"/>
                  </a:lnTo>
                  <a:lnTo>
                    <a:pt x="472" y="129"/>
                  </a:lnTo>
                  <a:lnTo>
                    <a:pt x="472" y="129"/>
                  </a:lnTo>
                  <a:lnTo>
                    <a:pt x="472" y="129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2" y="126"/>
                  </a:lnTo>
                  <a:lnTo>
                    <a:pt x="470" y="123"/>
                  </a:lnTo>
                  <a:lnTo>
                    <a:pt x="472" y="123"/>
                  </a:lnTo>
                  <a:lnTo>
                    <a:pt x="475" y="121"/>
                  </a:lnTo>
                  <a:lnTo>
                    <a:pt x="475" y="118"/>
                  </a:lnTo>
                  <a:lnTo>
                    <a:pt x="478" y="115"/>
                  </a:lnTo>
                  <a:lnTo>
                    <a:pt x="478" y="115"/>
                  </a:lnTo>
                  <a:lnTo>
                    <a:pt x="480" y="115"/>
                  </a:lnTo>
                  <a:lnTo>
                    <a:pt x="480" y="115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0" y="113"/>
                  </a:lnTo>
                  <a:lnTo>
                    <a:pt x="483" y="110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5"/>
                  </a:lnTo>
                  <a:lnTo>
                    <a:pt x="486" y="102"/>
                  </a:lnTo>
                  <a:lnTo>
                    <a:pt x="486" y="102"/>
                  </a:lnTo>
                  <a:lnTo>
                    <a:pt x="488" y="99"/>
                  </a:lnTo>
                  <a:lnTo>
                    <a:pt x="488" y="97"/>
                  </a:lnTo>
                  <a:lnTo>
                    <a:pt x="488" y="94"/>
                  </a:lnTo>
                  <a:lnTo>
                    <a:pt x="488" y="94"/>
                  </a:lnTo>
                  <a:lnTo>
                    <a:pt x="491" y="94"/>
                  </a:lnTo>
                  <a:lnTo>
                    <a:pt x="491" y="94"/>
                  </a:lnTo>
                  <a:lnTo>
                    <a:pt x="491" y="94"/>
                  </a:lnTo>
                  <a:lnTo>
                    <a:pt x="494" y="91"/>
                  </a:lnTo>
                  <a:lnTo>
                    <a:pt x="494" y="89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6" y="86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9" y="83"/>
                  </a:lnTo>
                  <a:lnTo>
                    <a:pt x="496" y="83"/>
                  </a:lnTo>
                  <a:lnTo>
                    <a:pt x="499" y="83"/>
                  </a:lnTo>
                  <a:lnTo>
                    <a:pt x="502" y="81"/>
                  </a:lnTo>
                  <a:lnTo>
                    <a:pt x="502" y="78"/>
                  </a:lnTo>
                  <a:lnTo>
                    <a:pt x="502" y="75"/>
                  </a:lnTo>
                  <a:lnTo>
                    <a:pt x="504" y="73"/>
                  </a:lnTo>
                  <a:lnTo>
                    <a:pt x="504" y="70"/>
                  </a:lnTo>
                  <a:lnTo>
                    <a:pt x="504" y="70"/>
                  </a:lnTo>
                  <a:lnTo>
                    <a:pt x="504" y="67"/>
                  </a:lnTo>
                  <a:lnTo>
                    <a:pt x="504" y="65"/>
                  </a:lnTo>
                  <a:lnTo>
                    <a:pt x="504" y="65"/>
                  </a:lnTo>
                  <a:lnTo>
                    <a:pt x="507" y="65"/>
                  </a:lnTo>
                  <a:lnTo>
                    <a:pt x="507" y="65"/>
                  </a:lnTo>
                  <a:lnTo>
                    <a:pt x="510" y="65"/>
                  </a:lnTo>
                  <a:lnTo>
                    <a:pt x="510" y="65"/>
                  </a:lnTo>
                  <a:lnTo>
                    <a:pt x="507" y="65"/>
                  </a:lnTo>
                  <a:lnTo>
                    <a:pt x="507" y="65"/>
                  </a:lnTo>
                  <a:lnTo>
                    <a:pt x="507" y="62"/>
                  </a:lnTo>
                  <a:lnTo>
                    <a:pt x="510" y="59"/>
                  </a:lnTo>
                  <a:lnTo>
                    <a:pt x="510" y="57"/>
                  </a:lnTo>
                  <a:lnTo>
                    <a:pt x="510" y="54"/>
                  </a:lnTo>
                  <a:lnTo>
                    <a:pt x="512" y="54"/>
                  </a:lnTo>
                  <a:lnTo>
                    <a:pt x="512" y="51"/>
                  </a:lnTo>
                  <a:lnTo>
                    <a:pt x="512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8" y="49"/>
                  </a:lnTo>
                  <a:lnTo>
                    <a:pt x="518" y="49"/>
                  </a:lnTo>
                  <a:lnTo>
                    <a:pt x="518" y="46"/>
                  </a:lnTo>
                  <a:lnTo>
                    <a:pt x="518" y="46"/>
                  </a:lnTo>
                  <a:lnTo>
                    <a:pt x="518" y="43"/>
                  </a:lnTo>
                  <a:lnTo>
                    <a:pt x="518" y="43"/>
                  </a:lnTo>
                  <a:lnTo>
                    <a:pt x="520" y="41"/>
                  </a:lnTo>
                  <a:lnTo>
                    <a:pt x="520" y="38"/>
                  </a:lnTo>
                  <a:lnTo>
                    <a:pt x="520" y="38"/>
                  </a:lnTo>
                  <a:lnTo>
                    <a:pt x="523" y="35"/>
                  </a:lnTo>
                  <a:lnTo>
                    <a:pt x="523" y="33"/>
                  </a:lnTo>
                  <a:lnTo>
                    <a:pt x="523" y="33"/>
                  </a:lnTo>
                  <a:lnTo>
                    <a:pt x="523" y="33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3"/>
                  </a:lnTo>
                  <a:lnTo>
                    <a:pt x="526" y="33"/>
                  </a:lnTo>
                  <a:lnTo>
                    <a:pt x="528" y="33"/>
                  </a:lnTo>
                  <a:lnTo>
                    <a:pt x="528" y="33"/>
                  </a:lnTo>
                  <a:lnTo>
                    <a:pt x="528" y="30"/>
                  </a:lnTo>
                  <a:lnTo>
                    <a:pt x="528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30"/>
                  </a:lnTo>
                  <a:lnTo>
                    <a:pt x="526" y="27"/>
                  </a:lnTo>
                  <a:lnTo>
                    <a:pt x="526" y="27"/>
                  </a:lnTo>
                  <a:lnTo>
                    <a:pt x="528" y="25"/>
                  </a:lnTo>
                  <a:lnTo>
                    <a:pt x="531" y="25"/>
                  </a:lnTo>
                  <a:lnTo>
                    <a:pt x="534" y="22"/>
                  </a:lnTo>
                  <a:lnTo>
                    <a:pt x="534" y="22"/>
                  </a:lnTo>
                  <a:lnTo>
                    <a:pt x="536" y="19"/>
                  </a:lnTo>
                  <a:lnTo>
                    <a:pt x="536" y="19"/>
                  </a:lnTo>
                  <a:lnTo>
                    <a:pt x="539" y="17"/>
                  </a:lnTo>
                  <a:lnTo>
                    <a:pt x="539" y="14"/>
                  </a:lnTo>
                  <a:lnTo>
                    <a:pt x="539" y="11"/>
                  </a:lnTo>
                  <a:lnTo>
                    <a:pt x="542" y="9"/>
                  </a:lnTo>
                  <a:lnTo>
                    <a:pt x="542" y="9"/>
                  </a:lnTo>
                  <a:lnTo>
                    <a:pt x="544" y="6"/>
                  </a:lnTo>
                  <a:lnTo>
                    <a:pt x="544" y="6"/>
                  </a:lnTo>
                  <a:lnTo>
                    <a:pt x="544" y="3"/>
                  </a:lnTo>
                  <a:lnTo>
                    <a:pt x="547" y="3"/>
                  </a:lnTo>
                  <a:lnTo>
                    <a:pt x="547" y="0"/>
                  </a:lnTo>
                  <a:lnTo>
                    <a:pt x="547" y="3"/>
                  </a:lnTo>
                  <a:lnTo>
                    <a:pt x="547" y="3"/>
                  </a:lnTo>
                  <a:lnTo>
                    <a:pt x="547" y="3"/>
                  </a:lnTo>
                  <a:lnTo>
                    <a:pt x="550" y="3"/>
                  </a:lnTo>
                  <a:lnTo>
                    <a:pt x="552" y="3"/>
                  </a:lnTo>
                  <a:lnTo>
                    <a:pt x="555" y="3"/>
                  </a:lnTo>
                  <a:lnTo>
                    <a:pt x="555" y="3"/>
                  </a:lnTo>
                  <a:lnTo>
                    <a:pt x="558" y="3"/>
                  </a:lnTo>
                  <a:lnTo>
                    <a:pt x="558" y="3"/>
                  </a:lnTo>
                  <a:lnTo>
                    <a:pt x="560" y="6"/>
                  </a:lnTo>
                  <a:lnTo>
                    <a:pt x="560" y="6"/>
                  </a:lnTo>
                  <a:lnTo>
                    <a:pt x="560" y="6"/>
                  </a:lnTo>
                  <a:lnTo>
                    <a:pt x="560" y="9"/>
                  </a:lnTo>
                  <a:lnTo>
                    <a:pt x="560" y="9"/>
                  </a:lnTo>
                  <a:lnTo>
                    <a:pt x="558" y="9"/>
                  </a:lnTo>
                  <a:lnTo>
                    <a:pt x="558" y="9"/>
                  </a:lnTo>
                  <a:lnTo>
                    <a:pt x="555" y="9"/>
                  </a:lnTo>
                  <a:lnTo>
                    <a:pt x="555" y="9"/>
                  </a:lnTo>
                  <a:lnTo>
                    <a:pt x="552" y="9"/>
                  </a:lnTo>
                  <a:lnTo>
                    <a:pt x="552" y="9"/>
                  </a:lnTo>
                  <a:lnTo>
                    <a:pt x="552" y="11"/>
                  </a:lnTo>
                  <a:lnTo>
                    <a:pt x="550" y="11"/>
                  </a:lnTo>
                  <a:lnTo>
                    <a:pt x="552" y="14"/>
                  </a:lnTo>
                  <a:lnTo>
                    <a:pt x="552" y="14"/>
                  </a:lnTo>
                  <a:lnTo>
                    <a:pt x="555" y="14"/>
                  </a:lnTo>
                  <a:lnTo>
                    <a:pt x="555" y="14"/>
                  </a:lnTo>
                  <a:lnTo>
                    <a:pt x="555" y="14"/>
                  </a:lnTo>
                  <a:lnTo>
                    <a:pt x="558" y="17"/>
                  </a:lnTo>
                  <a:lnTo>
                    <a:pt x="558" y="14"/>
                  </a:lnTo>
                  <a:lnTo>
                    <a:pt x="558" y="14"/>
                  </a:lnTo>
                  <a:lnTo>
                    <a:pt x="560" y="14"/>
                  </a:lnTo>
                  <a:lnTo>
                    <a:pt x="560" y="14"/>
                  </a:lnTo>
                  <a:lnTo>
                    <a:pt x="563" y="14"/>
                  </a:lnTo>
                  <a:lnTo>
                    <a:pt x="563" y="14"/>
                  </a:lnTo>
                  <a:lnTo>
                    <a:pt x="566" y="14"/>
                  </a:lnTo>
                  <a:lnTo>
                    <a:pt x="568" y="17"/>
                  </a:lnTo>
                  <a:lnTo>
                    <a:pt x="571" y="17"/>
                  </a:lnTo>
                  <a:lnTo>
                    <a:pt x="571" y="17"/>
                  </a:lnTo>
                  <a:lnTo>
                    <a:pt x="574" y="17"/>
                  </a:lnTo>
                  <a:lnTo>
                    <a:pt x="576" y="17"/>
                  </a:lnTo>
                  <a:lnTo>
                    <a:pt x="579" y="17"/>
                  </a:lnTo>
                  <a:lnTo>
                    <a:pt x="579" y="19"/>
                  </a:lnTo>
                  <a:lnTo>
                    <a:pt x="582" y="19"/>
                  </a:lnTo>
                  <a:lnTo>
                    <a:pt x="582" y="19"/>
                  </a:lnTo>
                  <a:lnTo>
                    <a:pt x="582" y="19"/>
                  </a:lnTo>
                  <a:lnTo>
                    <a:pt x="584" y="19"/>
                  </a:lnTo>
                  <a:lnTo>
                    <a:pt x="584" y="19"/>
                  </a:lnTo>
                  <a:lnTo>
                    <a:pt x="584" y="22"/>
                  </a:lnTo>
                  <a:lnTo>
                    <a:pt x="587" y="22"/>
                  </a:lnTo>
                  <a:lnTo>
                    <a:pt x="592" y="22"/>
                  </a:lnTo>
                  <a:lnTo>
                    <a:pt x="592" y="22"/>
                  </a:lnTo>
                  <a:lnTo>
                    <a:pt x="595" y="22"/>
                  </a:lnTo>
                  <a:lnTo>
                    <a:pt x="595" y="22"/>
                  </a:lnTo>
                  <a:lnTo>
                    <a:pt x="595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600" y="22"/>
                  </a:lnTo>
                  <a:lnTo>
                    <a:pt x="600" y="22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3" y="25"/>
                  </a:lnTo>
                  <a:lnTo>
                    <a:pt x="606" y="25"/>
                  </a:lnTo>
                  <a:lnTo>
                    <a:pt x="606" y="27"/>
                  </a:lnTo>
                  <a:lnTo>
                    <a:pt x="608" y="27"/>
                  </a:lnTo>
                  <a:lnTo>
                    <a:pt x="611" y="27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16" y="27"/>
                  </a:lnTo>
                  <a:lnTo>
                    <a:pt x="616" y="27"/>
                  </a:lnTo>
                  <a:lnTo>
                    <a:pt x="619" y="30"/>
                  </a:lnTo>
                  <a:lnTo>
                    <a:pt x="619" y="30"/>
                  </a:lnTo>
                  <a:lnTo>
                    <a:pt x="619" y="33"/>
                  </a:lnTo>
                  <a:lnTo>
                    <a:pt x="622" y="33"/>
                  </a:lnTo>
                  <a:lnTo>
                    <a:pt x="624" y="35"/>
                  </a:lnTo>
                  <a:lnTo>
                    <a:pt x="624" y="35"/>
                  </a:lnTo>
                  <a:lnTo>
                    <a:pt x="627" y="38"/>
                  </a:lnTo>
                  <a:lnTo>
                    <a:pt x="627" y="38"/>
                  </a:lnTo>
                  <a:lnTo>
                    <a:pt x="630" y="38"/>
                  </a:lnTo>
                  <a:lnTo>
                    <a:pt x="630" y="38"/>
                  </a:lnTo>
                  <a:lnTo>
                    <a:pt x="630" y="41"/>
                  </a:lnTo>
                  <a:lnTo>
                    <a:pt x="627" y="41"/>
                  </a:lnTo>
                  <a:lnTo>
                    <a:pt x="627" y="41"/>
                  </a:lnTo>
                  <a:lnTo>
                    <a:pt x="627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2" y="41"/>
                  </a:lnTo>
                  <a:lnTo>
                    <a:pt x="622" y="41"/>
                  </a:lnTo>
                  <a:lnTo>
                    <a:pt x="622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1"/>
                  </a:lnTo>
                  <a:lnTo>
                    <a:pt x="624" y="43"/>
                  </a:lnTo>
                  <a:lnTo>
                    <a:pt x="624" y="43"/>
                  </a:lnTo>
                  <a:lnTo>
                    <a:pt x="627" y="43"/>
                  </a:lnTo>
                  <a:lnTo>
                    <a:pt x="627" y="43"/>
                  </a:lnTo>
                  <a:lnTo>
                    <a:pt x="627" y="43"/>
                  </a:lnTo>
                  <a:lnTo>
                    <a:pt x="630" y="43"/>
                  </a:lnTo>
                  <a:lnTo>
                    <a:pt x="630" y="43"/>
                  </a:lnTo>
                  <a:lnTo>
                    <a:pt x="630" y="43"/>
                  </a:lnTo>
                  <a:lnTo>
                    <a:pt x="630" y="41"/>
                  </a:lnTo>
                  <a:lnTo>
                    <a:pt x="630" y="41"/>
                  </a:lnTo>
                  <a:lnTo>
                    <a:pt x="630" y="41"/>
                  </a:lnTo>
                  <a:lnTo>
                    <a:pt x="630" y="38"/>
                  </a:lnTo>
                  <a:lnTo>
                    <a:pt x="632" y="41"/>
                  </a:lnTo>
                  <a:lnTo>
                    <a:pt x="632" y="41"/>
                  </a:lnTo>
                  <a:lnTo>
                    <a:pt x="635" y="43"/>
                  </a:lnTo>
                  <a:lnTo>
                    <a:pt x="635" y="43"/>
                  </a:lnTo>
                  <a:lnTo>
                    <a:pt x="635" y="43"/>
                  </a:lnTo>
                  <a:lnTo>
                    <a:pt x="638" y="46"/>
                  </a:lnTo>
                  <a:lnTo>
                    <a:pt x="640" y="49"/>
                  </a:lnTo>
                  <a:lnTo>
                    <a:pt x="640" y="49"/>
                  </a:lnTo>
                  <a:lnTo>
                    <a:pt x="643" y="49"/>
                  </a:lnTo>
                  <a:lnTo>
                    <a:pt x="643" y="51"/>
                  </a:lnTo>
                  <a:lnTo>
                    <a:pt x="646" y="51"/>
                  </a:lnTo>
                  <a:lnTo>
                    <a:pt x="646" y="54"/>
                  </a:lnTo>
                  <a:lnTo>
                    <a:pt x="649" y="57"/>
                  </a:lnTo>
                  <a:lnTo>
                    <a:pt x="649" y="57"/>
                  </a:lnTo>
                  <a:lnTo>
                    <a:pt x="651" y="57"/>
                  </a:lnTo>
                  <a:lnTo>
                    <a:pt x="651" y="59"/>
                  </a:lnTo>
                  <a:lnTo>
                    <a:pt x="654" y="59"/>
                  </a:lnTo>
                  <a:lnTo>
                    <a:pt x="654" y="59"/>
                  </a:lnTo>
                  <a:lnTo>
                    <a:pt x="651" y="59"/>
                  </a:lnTo>
                  <a:lnTo>
                    <a:pt x="651" y="59"/>
                  </a:lnTo>
                  <a:lnTo>
                    <a:pt x="651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59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2"/>
                  </a:lnTo>
                  <a:lnTo>
                    <a:pt x="649" y="65"/>
                  </a:lnTo>
                  <a:lnTo>
                    <a:pt x="649" y="65"/>
                  </a:lnTo>
                  <a:lnTo>
                    <a:pt x="649" y="65"/>
                  </a:lnTo>
                  <a:lnTo>
                    <a:pt x="651" y="65"/>
                  </a:lnTo>
                  <a:lnTo>
                    <a:pt x="651" y="67"/>
                  </a:lnTo>
                  <a:lnTo>
                    <a:pt x="649" y="67"/>
                  </a:lnTo>
                  <a:lnTo>
                    <a:pt x="649" y="67"/>
                  </a:lnTo>
                  <a:lnTo>
                    <a:pt x="646" y="67"/>
                  </a:lnTo>
                  <a:lnTo>
                    <a:pt x="646" y="70"/>
                  </a:lnTo>
                  <a:lnTo>
                    <a:pt x="646" y="70"/>
                  </a:lnTo>
                  <a:lnTo>
                    <a:pt x="646" y="73"/>
                  </a:lnTo>
                  <a:lnTo>
                    <a:pt x="646" y="73"/>
                  </a:lnTo>
                  <a:lnTo>
                    <a:pt x="646" y="75"/>
                  </a:lnTo>
                  <a:lnTo>
                    <a:pt x="646" y="75"/>
                  </a:lnTo>
                  <a:lnTo>
                    <a:pt x="646" y="78"/>
                  </a:lnTo>
                  <a:lnTo>
                    <a:pt x="646" y="78"/>
                  </a:lnTo>
                  <a:lnTo>
                    <a:pt x="646" y="81"/>
                  </a:lnTo>
                  <a:lnTo>
                    <a:pt x="646" y="81"/>
                  </a:lnTo>
                  <a:lnTo>
                    <a:pt x="646" y="81"/>
                  </a:lnTo>
                  <a:lnTo>
                    <a:pt x="649" y="81"/>
                  </a:lnTo>
                  <a:lnTo>
                    <a:pt x="649" y="81"/>
                  </a:lnTo>
                  <a:lnTo>
                    <a:pt x="649" y="81"/>
                  </a:lnTo>
                  <a:lnTo>
                    <a:pt x="649" y="83"/>
                  </a:lnTo>
                  <a:lnTo>
                    <a:pt x="649" y="83"/>
                  </a:lnTo>
                  <a:lnTo>
                    <a:pt x="649" y="83"/>
                  </a:lnTo>
                  <a:lnTo>
                    <a:pt x="646" y="83"/>
                  </a:lnTo>
                  <a:lnTo>
                    <a:pt x="646" y="83"/>
                  </a:lnTo>
                  <a:lnTo>
                    <a:pt x="646" y="83"/>
                  </a:lnTo>
                  <a:lnTo>
                    <a:pt x="646" y="86"/>
                  </a:lnTo>
                  <a:lnTo>
                    <a:pt x="646" y="86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3" y="91"/>
                  </a:lnTo>
                  <a:lnTo>
                    <a:pt x="643" y="94"/>
                  </a:lnTo>
                  <a:lnTo>
                    <a:pt x="643" y="97"/>
                  </a:lnTo>
                  <a:lnTo>
                    <a:pt x="643" y="99"/>
                  </a:lnTo>
                  <a:lnTo>
                    <a:pt x="643" y="99"/>
                  </a:lnTo>
                  <a:lnTo>
                    <a:pt x="643" y="102"/>
                  </a:lnTo>
                  <a:lnTo>
                    <a:pt x="643" y="105"/>
                  </a:lnTo>
                  <a:lnTo>
                    <a:pt x="643" y="107"/>
                  </a:lnTo>
                  <a:lnTo>
                    <a:pt x="640" y="107"/>
                  </a:lnTo>
                  <a:lnTo>
                    <a:pt x="638" y="110"/>
                  </a:lnTo>
                  <a:lnTo>
                    <a:pt x="635" y="113"/>
                  </a:lnTo>
                  <a:lnTo>
                    <a:pt x="635" y="115"/>
                  </a:lnTo>
                  <a:lnTo>
                    <a:pt x="635" y="118"/>
                  </a:lnTo>
                  <a:lnTo>
                    <a:pt x="632" y="121"/>
                  </a:lnTo>
                  <a:lnTo>
                    <a:pt x="632" y="121"/>
                  </a:lnTo>
                  <a:lnTo>
                    <a:pt x="630" y="123"/>
                  </a:lnTo>
                  <a:lnTo>
                    <a:pt x="627" y="126"/>
                  </a:lnTo>
                  <a:lnTo>
                    <a:pt x="627" y="126"/>
                  </a:lnTo>
                  <a:lnTo>
                    <a:pt x="627" y="129"/>
                  </a:lnTo>
                  <a:lnTo>
                    <a:pt x="624" y="129"/>
                  </a:lnTo>
                  <a:lnTo>
                    <a:pt x="624" y="131"/>
                  </a:lnTo>
                  <a:lnTo>
                    <a:pt x="624" y="134"/>
                  </a:lnTo>
                  <a:lnTo>
                    <a:pt x="624" y="134"/>
                  </a:lnTo>
                  <a:lnTo>
                    <a:pt x="624" y="134"/>
                  </a:lnTo>
                  <a:lnTo>
                    <a:pt x="622" y="137"/>
                  </a:lnTo>
                  <a:lnTo>
                    <a:pt x="622" y="139"/>
                  </a:lnTo>
                  <a:lnTo>
                    <a:pt x="622" y="142"/>
                  </a:lnTo>
                  <a:lnTo>
                    <a:pt x="619" y="145"/>
                  </a:lnTo>
                  <a:lnTo>
                    <a:pt x="619" y="145"/>
                  </a:lnTo>
                  <a:lnTo>
                    <a:pt x="616" y="145"/>
                  </a:lnTo>
                  <a:lnTo>
                    <a:pt x="616" y="147"/>
                  </a:lnTo>
                  <a:lnTo>
                    <a:pt x="616" y="147"/>
                  </a:lnTo>
                  <a:lnTo>
                    <a:pt x="614" y="147"/>
                  </a:lnTo>
                  <a:lnTo>
                    <a:pt x="614" y="147"/>
                  </a:lnTo>
                  <a:lnTo>
                    <a:pt x="614" y="147"/>
                  </a:lnTo>
                  <a:lnTo>
                    <a:pt x="611" y="147"/>
                  </a:lnTo>
                  <a:lnTo>
                    <a:pt x="611" y="150"/>
                  </a:lnTo>
                  <a:lnTo>
                    <a:pt x="611" y="153"/>
                  </a:lnTo>
                  <a:lnTo>
                    <a:pt x="608" y="158"/>
                  </a:lnTo>
                  <a:lnTo>
                    <a:pt x="608" y="161"/>
                  </a:lnTo>
                  <a:lnTo>
                    <a:pt x="608" y="163"/>
                  </a:lnTo>
                  <a:lnTo>
                    <a:pt x="606" y="163"/>
                  </a:lnTo>
                  <a:lnTo>
                    <a:pt x="606" y="163"/>
                  </a:lnTo>
                  <a:lnTo>
                    <a:pt x="603" y="166"/>
                  </a:lnTo>
                  <a:lnTo>
                    <a:pt x="603" y="166"/>
                  </a:lnTo>
                  <a:lnTo>
                    <a:pt x="600" y="169"/>
                  </a:lnTo>
                  <a:lnTo>
                    <a:pt x="600" y="169"/>
                  </a:lnTo>
                  <a:lnTo>
                    <a:pt x="600" y="172"/>
                  </a:lnTo>
                  <a:lnTo>
                    <a:pt x="600" y="174"/>
                  </a:lnTo>
                  <a:lnTo>
                    <a:pt x="598" y="174"/>
                  </a:lnTo>
                  <a:lnTo>
                    <a:pt x="595" y="174"/>
                  </a:lnTo>
                  <a:lnTo>
                    <a:pt x="595" y="174"/>
                  </a:lnTo>
                  <a:lnTo>
                    <a:pt x="592" y="174"/>
                  </a:lnTo>
                  <a:lnTo>
                    <a:pt x="592" y="177"/>
                  </a:lnTo>
                  <a:lnTo>
                    <a:pt x="592" y="177"/>
                  </a:lnTo>
                  <a:lnTo>
                    <a:pt x="592" y="174"/>
                  </a:lnTo>
                  <a:lnTo>
                    <a:pt x="592" y="174"/>
                  </a:lnTo>
                  <a:lnTo>
                    <a:pt x="592" y="174"/>
                  </a:lnTo>
                  <a:lnTo>
                    <a:pt x="592" y="172"/>
                  </a:lnTo>
                  <a:lnTo>
                    <a:pt x="590" y="172"/>
                  </a:lnTo>
                  <a:lnTo>
                    <a:pt x="590" y="172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90" y="174"/>
                  </a:lnTo>
                  <a:lnTo>
                    <a:pt x="587" y="177"/>
                  </a:lnTo>
                  <a:lnTo>
                    <a:pt x="587" y="177"/>
                  </a:lnTo>
                  <a:lnTo>
                    <a:pt x="584" y="177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2"/>
                  </a:lnTo>
                  <a:lnTo>
                    <a:pt x="584" y="182"/>
                  </a:lnTo>
                  <a:lnTo>
                    <a:pt x="584" y="185"/>
                  </a:lnTo>
                  <a:lnTo>
                    <a:pt x="582" y="185"/>
                  </a:lnTo>
                  <a:lnTo>
                    <a:pt x="582" y="188"/>
                  </a:lnTo>
                  <a:lnTo>
                    <a:pt x="582" y="190"/>
                  </a:lnTo>
                  <a:lnTo>
                    <a:pt x="584" y="196"/>
                  </a:lnTo>
                  <a:lnTo>
                    <a:pt x="584" y="198"/>
                  </a:lnTo>
                  <a:lnTo>
                    <a:pt x="587" y="201"/>
                  </a:lnTo>
                  <a:lnTo>
                    <a:pt x="587" y="204"/>
                  </a:lnTo>
                  <a:lnTo>
                    <a:pt x="587" y="206"/>
                  </a:lnTo>
                  <a:lnTo>
                    <a:pt x="590" y="209"/>
                  </a:lnTo>
                  <a:lnTo>
                    <a:pt x="590" y="212"/>
                  </a:lnTo>
                  <a:lnTo>
                    <a:pt x="592" y="217"/>
                  </a:lnTo>
                  <a:lnTo>
                    <a:pt x="592" y="217"/>
                  </a:lnTo>
                  <a:lnTo>
                    <a:pt x="595" y="220"/>
                  </a:lnTo>
                  <a:lnTo>
                    <a:pt x="595" y="220"/>
                  </a:lnTo>
                  <a:lnTo>
                    <a:pt x="595" y="222"/>
                  </a:lnTo>
                  <a:lnTo>
                    <a:pt x="598" y="222"/>
                  </a:lnTo>
                  <a:lnTo>
                    <a:pt x="598" y="222"/>
                  </a:lnTo>
                  <a:lnTo>
                    <a:pt x="598" y="222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600" y="228"/>
                  </a:lnTo>
                  <a:lnTo>
                    <a:pt x="603" y="230"/>
                  </a:lnTo>
                  <a:lnTo>
                    <a:pt x="603" y="233"/>
                  </a:lnTo>
                  <a:lnTo>
                    <a:pt x="603" y="233"/>
                  </a:lnTo>
                  <a:lnTo>
                    <a:pt x="600" y="236"/>
                  </a:lnTo>
                  <a:lnTo>
                    <a:pt x="600" y="236"/>
                  </a:lnTo>
                  <a:lnTo>
                    <a:pt x="598" y="238"/>
                  </a:lnTo>
                  <a:lnTo>
                    <a:pt x="598" y="241"/>
                  </a:lnTo>
                  <a:lnTo>
                    <a:pt x="598" y="244"/>
                  </a:lnTo>
                  <a:lnTo>
                    <a:pt x="598" y="249"/>
                  </a:lnTo>
                  <a:lnTo>
                    <a:pt x="600" y="252"/>
                  </a:lnTo>
                  <a:lnTo>
                    <a:pt x="600" y="254"/>
                  </a:lnTo>
                  <a:lnTo>
                    <a:pt x="600" y="254"/>
                  </a:lnTo>
                  <a:lnTo>
                    <a:pt x="600" y="257"/>
                  </a:lnTo>
                  <a:lnTo>
                    <a:pt x="600" y="260"/>
                  </a:lnTo>
                  <a:lnTo>
                    <a:pt x="600" y="262"/>
                  </a:lnTo>
                  <a:lnTo>
                    <a:pt x="598" y="265"/>
                  </a:lnTo>
                  <a:lnTo>
                    <a:pt x="598" y="268"/>
                  </a:lnTo>
                  <a:lnTo>
                    <a:pt x="598" y="270"/>
                  </a:lnTo>
                  <a:lnTo>
                    <a:pt x="595" y="270"/>
                  </a:lnTo>
                  <a:lnTo>
                    <a:pt x="595" y="276"/>
                  </a:lnTo>
                  <a:lnTo>
                    <a:pt x="595" y="278"/>
                  </a:lnTo>
                  <a:lnTo>
                    <a:pt x="592" y="278"/>
                  </a:lnTo>
                  <a:lnTo>
                    <a:pt x="592" y="281"/>
                  </a:lnTo>
                  <a:lnTo>
                    <a:pt x="590" y="284"/>
                  </a:lnTo>
                  <a:lnTo>
                    <a:pt x="590" y="286"/>
                  </a:lnTo>
                  <a:lnTo>
                    <a:pt x="590" y="289"/>
                  </a:lnTo>
                  <a:lnTo>
                    <a:pt x="590" y="292"/>
                  </a:lnTo>
                  <a:lnTo>
                    <a:pt x="590" y="294"/>
                  </a:lnTo>
                  <a:lnTo>
                    <a:pt x="590" y="297"/>
                  </a:lnTo>
                  <a:lnTo>
                    <a:pt x="590" y="302"/>
                  </a:lnTo>
                  <a:lnTo>
                    <a:pt x="587" y="302"/>
                  </a:lnTo>
                  <a:lnTo>
                    <a:pt x="587" y="305"/>
                  </a:lnTo>
                  <a:lnTo>
                    <a:pt x="587" y="305"/>
                  </a:lnTo>
                  <a:lnTo>
                    <a:pt x="587" y="308"/>
                  </a:lnTo>
                  <a:lnTo>
                    <a:pt x="584" y="305"/>
                  </a:lnTo>
                  <a:lnTo>
                    <a:pt x="584" y="308"/>
                  </a:lnTo>
                  <a:lnTo>
                    <a:pt x="582" y="308"/>
                  </a:lnTo>
                  <a:lnTo>
                    <a:pt x="579" y="310"/>
                  </a:lnTo>
                  <a:lnTo>
                    <a:pt x="576" y="310"/>
                  </a:lnTo>
                  <a:lnTo>
                    <a:pt x="576" y="313"/>
                  </a:lnTo>
                  <a:lnTo>
                    <a:pt x="574" y="313"/>
                  </a:lnTo>
                  <a:lnTo>
                    <a:pt x="571" y="316"/>
                  </a:lnTo>
                  <a:lnTo>
                    <a:pt x="571" y="318"/>
                  </a:lnTo>
                  <a:lnTo>
                    <a:pt x="571" y="321"/>
                  </a:lnTo>
                  <a:lnTo>
                    <a:pt x="571" y="321"/>
                  </a:lnTo>
                  <a:lnTo>
                    <a:pt x="574" y="324"/>
                  </a:lnTo>
                  <a:lnTo>
                    <a:pt x="574" y="324"/>
                  </a:lnTo>
                  <a:lnTo>
                    <a:pt x="574" y="327"/>
                  </a:lnTo>
                  <a:lnTo>
                    <a:pt x="574" y="327"/>
                  </a:lnTo>
                  <a:lnTo>
                    <a:pt x="574" y="329"/>
                  </a:lnTo>
                  <a:lnTo>
                    <a:pt x="574" y="332"/>
                  </a:lnTo>
                  <a:lnTo>
                    <a:pt x="574" y="335"/>
                  </a:lnTo>
                  <a:lnTo>
                    <a:pt x="574" y="337"/>
                  </a:lnTo>
                  <a:lnTo>
                    <a:pt x="571" y="337"/>
                  </a:lnTo>
                  <a:lnTo>
                    <a:pt x="571" y="340"/>
                  </a:lnTo>
                  <a:lnTo>
                    <a:pt x="568" y="343"/>
                  </a:lnTo>
                  <a:lnTo>
                    <a:pt x="568" y="343"/>
                  </a:lnTo>
                  <a:lnTo>
                    <a:pt x="568" y="345"/>
                  </a:lnTo>
                  <a:lnTo>
                    <a:pt x="568" y="351"/>
                  </a:lnTo>
                  <a:lnTo>
                    <a:pt x="568" y="351"/>
                  </a:lnTo>
                  <a:lnTo>
                    <a:pt x="568" y="353"/>
                  </a:lnTo>
                  <a:lnTo>
                    <a:pt x="568" y="361"/>
                  </a:lnTo>
                  <a:lnTo>
                    <a:pt x="568" y="364"/>
                  </a:lnTo>
                  <a:lnTo>
                    <a:pt x="568" y="367"/>
                  </a:lnTo>
                  <a:lnTo>
                    <a:pt x="568" y="372"/>
                  </a:lnTo>
                  <a:lnTo>
                    <a:pt x="566" y="375"/>
                  </a:lnTo>
                  <a:lnTo>
                    <a:pt x="566" y="377"/>
                  </a:lnTo>
                  <a:lnTo>
                    <a:pt x="563" y="377"/>
                  </a:lnTo>
                  <a:lnTo>
                    <a:pt x="563" y="380"/>
                  </a:lnTo>
                  <a:lnTo>
                    <a:pt x="560" y="380"/>
                  </a:lnTo>
                  <a:lnTo>
                    <a:pt x="560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3"/>
                  </a:lnTo>
                  <a:lnTo>
                    <a:pt x="558" y="385"/>
                  </a:lnTo>
                  <a:lnTo>
                    <a:pt x="558" y="391"/>
                  </a:lnTo>
                  <a:lnTo>
                    <a:pt x="558" y="396"/>
                  </a:lnTo>
                  <a:lnTo>
                    <a:pt x="558" y="399"/>
                  </a:lnTo>
                  <a:lnTo>
                    <a:pt x="558" y="399"/>
                  </a:lnTo>
                  <a:lnTo>
                    <a:pt x="558" y="401"/>
                  </a:lnTo>
                  <a:lnTo>
                    <a:pt x="558" y="401"/>
                  </a:lnTo>
                  <a:lnTo>
                    <a:pt x="558" y="404"/>
                  </a:lnTo>
                  <a:lnTo>
                    <a:pt x="558" y="407"/>
                  </a:lnTo>
                  <a:lnTo>
                    <a:pt x="558" y="407"/>
                  </a:lnTo>
                  <a:lnTo>
                    <a:pt x="555" y="409"/>
                  </a:lnTo>
                  <a:lnTo>
                    <a:pt x="555" y="409"/>
                  </a:lnTo>
                  <a:lnTo>
                    <a:pt x="555" y="409"/>
                  </a:lnTo>
                  <a:lnTo>
                    <a:pt x="552" y="409"/>
                  </a:lnTo>
                  <a:lnTo>
                    <a:pt x="552" y="409"/>
                  </a:lnTo>
                  <a:lnTo>
                    <a:pt x="552" y="409"/>
                  </a:lnTo>
                  <a:lnTo>
                    <a:pt x="550" y="409"/>
                  </a:lnTo>
                  <a:lnTo>
                    <a:pt x="550" y="409"/>
                  </a:lnTo>
                  <a:lnTo>
                    <a:pt x="550" y="409"/>
                  </a:lnTo>
                  <a:lnTo>
                    <a:pt x="552" y="412"/>
                  </a:lnTo>
                  <a:lnTo>
                    <a:pt x="552" y="412"/>
                  </a:lnTo>
                  <a:lnTo>
                    <a:pt x="552" y="417"/>
                  </a:lnTo>
                  <a:lnTo>
                    <a:pt x="552" y="420"/>
                  </a:lnTo>
                  <a:lnTo>
                    <a:pt x="552" y="423"/>
                  </a:lnTo>
                  <a:lnTo>
                    <a:pt x="550" y="425"/>
                  </a:lnTo>
                  <a:lnTo>
                    <a:pt x="547" y="428"/>
                  </a:lnTo>
                  <a:lnTo>
                    <a:pt x="544" y="431"/>
                  </a:lnTo>
                  <a:lnTo>
                    <a:pt x="542" y="436"/>
                  </a:lnTo>
                  <a:lnTo>
                    <a:pt x="542" y="439"/>
                  </a:lnTo>
                  <a:lnTo>
                    <a:pt x="542" y="441"/>
                  </a:lnTo>
                  <a:lnTo>
                    <a:pt x="542" y="444"/>
                  </a:lnTo>
                  <a:lnTo>
                    <a:pt x="542" y="449"/>
                  </a:lnTo>
                  <a:lnTo>
                    <a:pt x="542" y="455"/>
                  </a:lnTo>
                  <a:lnTo>
                    <a:pt x="542" y="457"/>
                  </a:lnTo>
                  <a:lnTo>
                    <a:pt x="542" y="460"/>
                  </a:lnTo>
                  <a:lnTo>
                    <a:pt x="542" y="465"/>
                  </a:lnTo>
                  <a:lnTo>
                    <a:pt x="542" y="468"/>
                  </a:lnTo>
                  <a:lnTo>
                    <a:pt x="544" y="471"/>
                  </a:lnTo>
                  <a:lnTo>
                    <a:pt x="547" y="476"/>
                  </a:lnTo>
                  <a:lnTo>
                    <a:pt x="547" y="476"/>
                  </a:lnTo>
                  <a:lnTo>
                    <a:pt x="550" y="481"/>
                  </a:lnTo>
                  <a:lnTo>
                    <a:pt x="552" y="481"/>
                  </a:lnTo>
                  <a:lnTo>
                    <a:pt x="552" y="484"/>
                  </a:lnTo>
                  <a:lnTo>
                    <a:pt x="555" y="487"/>
                  </a:lnTo>
                  <a:lnTo>
                    <a:pt x="558" y="490"/>
                  </a:lnTo>
                  <a:lnTo>
                    <a:pt x="560" y="492"/>
                  </a:lnTo>
                  <a:lnTo>
                    <a:pt x="560" y="495"/>
                  </a:lnTo>
                  <a:lnTo>
                    <a:pt x="563" y="500"/>
                  </a:lnTo>
                  <a:lnTo>
                    <a:pt x="566" y="503"/>
                  </a:lnTo>
                  <a:lnTo>
                    <a:pt x="566" y="506"/>
                  </a:lnTo>
                  <a:lnTo>
                    <a:pt x="568" y="508"/>
                  </a:lnTo>
                  <a:lnTo>
                    <a:pt x="568" y="511"/>
                  </a:lnTo>
                  <a:lnTo>
                    <a:pt x="568" y="516"/>
                  </a:lnTo>
                  <a:lnTo>
                    <a:pt x="568" y="516"/>
                  </a:lnTo>
                  <a:lnTo>
                    <a:pt x="568" y="519"/>
                  </a:lnTo>
                  <a:lnTo>
                    <a:pt x="568" y="519"/>
                  </a:lnTo>
                  <a:lnTo>
                    <a:pt x="566" y="522"/>
                  </a:lnTo>
                  <a:lnTo>
                    <a:pt x="566" y="522"/>
                  </a:lnTo>
                  <a:lnTo>
                    <a:pt x="566" y="524"/>
                  </a:lnTo>
                  <a:lnTo>
                    <a:pt x="566" y="522"/>
                  </a:lnTo>
                  <a:lnTo>
                    <a:pt x="566" y="522"/>
                  </a:lnTo>
                  <a:lnTo>
                    <a:pt x="566" y="519"/>
                  </a:lnTo>
                  <a:lnTo>
                    <a:pt x="566" y="519"/>
                  </a:lnTo>
                  <a:lnTo>
                    <a:pt x="566" y="519"/>
                  </a:lnTo>
                  <a:lnTo>
                    <a:pt x="566" y="516"/>
                  </a:lnTo>
                  <a:lnTo>
                    <a:pt x="563" y="519"/>
                  </a:lnTo>
                  <a:lnTo>
                    <a:pt x="560" y="519"/>
                  </a:lnTo>
                  <a:lnTo>
                    <a:pt x="558" y="522"/>
                  </a:lnTo>
                  <a:lnTo>
                    <a:pt x="558" y="527"/>
                  </a:lnTo>
                  <a:lnTo>
                    <a:pt x="555" y="530"/>
                  </a:lnTo>
                  <a:lnTo>
                    <a:pt x="550" y="530"/>
                  </a:lnTo>
                  <a:lnTo>
                    <a:pt x="547" y="532"/>
                  </a:lnTo>
                  <a:lnTo>
                    <a:pt x="544" y="535"/>
                  </a:lnTo>
                  <a:lnTo>
                    <a:pt x="544" y="538"/>
                  </a:lnTo>
                  <a:lnTo>
                    <a:pt x="542" y="538"/>
                  </a:lnTo>
                  <a:lnTo>
                    <a:pt x="539" y="538"/>
                  </a:lnTo>
                  <a:lnTo>
                    <a:pt x="542" y="540"/>
                  </a:lnTo>
                  <a:lnTo>
                    <a:pt x="542" y="543"/>
                  </a:lnTo>
                  <a:lnTo>
                    <a:pt x="542" y="546"/>
                  </a:lnTo>
                  <a:lnTo>
                    <a:pt x="539" y="548"/>
                  </a:lnTo>
                  <a:lnTo>
                    <a:pt x="536" y="551"/>
                  </a:lnTo>
                  <a:lnTo>
                    <a:pt x="536" y="554"/>
                  </a:lnTo>
                  <a:lnTo>
                    <a:pt x="536" y="556"/>
                  </a:lnTo>
                  <a:lnTo>
                    <a:pt x="536" y="559"/>
                  </a:lnTo>
                  <a:lnTo>
                    <a:pt x="536" y="564"/>
                  </a:lnTo>
                  <a:lnTo>
                    <a:pt x="536" y="564"/>
                  </a:lnTo>
                  <a:lnTo>
                    <a:pt x="536" y="567"/>
                  </a:lnTo>
                  <a:lnTo>
                    <a:pt x="536" y="572"/>
                  </a:lnTo>
                  <a:lnTo>
                    <a:pt x="536" y="572"/>
                  </a:lnTo>
                  <a:lnTo>
                    <a:pt x="536" y="575"/>
                  </a:lnTo>
                  <a:lnTo>
                    <a:pt x="536" y="578"/>
                  </a:lnTo>
                  <a:lnTo>
                    <a:pt x="534" y="580"/>
                  </a:lnTo>
                  <a:lnTo>
                    <a:pt x="534" y="580"/>
                  </a:lnTo>
                  <a:lnTo>
                    <a:pt x="531" y="580"/>
                  </a:lnTo>
                  <a:lnTo>
                    <a:pt x="531" y="580"/>
                  </a:lnTo>
                  <a:lnTo>
                    <a:pt x="531" y="580"/>
                  </a:lnTo>
                  <a:lnTo>
                    <a:pt x="528" y="583"/>
                  </a:lnTo>
                  <a:lnTo>
                    <a:pt x="528" y="586"/>
                  </a:lnTo>
                  <a:lnTo>
                    <a:pt x="531" y="588"/>
                  </a:lnTo>
                  <a:lnTo>
                    <a:pt x="531" y="591"/>
                  </a:lnTo>
                  <a:lnTo>
                    <a:pt x="528" y="591"/>
                  </a:lnTo>
                  <a:lnTo>
                    <a:pt x="528" y="594"/>
                  </a:lnTo>
                  <a:lnTo>
                    <a:pt x="528" y="594"/>
                  </a:lnTo>
                  <a:lnTo>
                    <a:pt x="528" y="594"/>
                  </a:lnTo>
                  <a:lnTo>
                    <a:pt x="528" y="591"/>
                  </a:lnTo>
                  <a:lnTo>
                    <a:pt x="528" y="591"/>
                  </a:lnTo>
                  <a:lnTo>
                    <a:pt x="528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88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6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1"/>
                  </a:lnTo>
                  <a:lnTo>
                    <a:pt x="523" y="594"/>
                  </a:lnTo>
                  <a:lnTo>
                    <a:pt x="520" y="591"/>
                  </a:lnTo>
                  <a:lnTo>
                    <a:pt x="518" y="591"/>
                  </a:lnTo>
                  <a:lnTo>
                    <a:pt x="518" y="594"/>
                  </a:lnTo>
                  <a:lnTo>
                    <a:pt x="518" y="596"/>
                  </a:lnTo>
                  <a:lnTo>
                    <a:pt x="518" y="596"/>
                  </a:lnTo>
                  <a:lnTo>
                    <a:pt x="515" y="596"/>
                  </a:lnTo>
                  <a:lnTo>
                    <a:pt x="510" y="599"/>
                  </a:lnTo>
                  <a:lnTo>
                    <a:pt x="510" y="599"/>
                  </a:lnTo>
                  <a:lnTo>
                    <a:pt x="507" y="596"/>
                  </a:lnTo>
                  <a:lnTo>
                    <a:pt x="507" y="596"/>
                  </a:lnTo>
                  <a:lnTo>
                    <a:pt x="504" y="596"/>
                  </a:lnTo>
                  <a:lnTo>
                    <a:pt x="504" y="596"/>
                  </a:lnTo>
                  <a:lnTo>
                    <a:pt x="504" y="599"/>
                  </a:lnTo>
                  <a:lnTo>
                    <a:pt x="502" y="599"/>
                  </a:lnTo>
                  <a:lnTo>
                    <a:pt x="502" y="599"/>
                  </a:lnTo>
                  <a:lnTo>
                    <a:pt x="502" y="602"/>
                  </a:lnTo>
                  <a:lnTo>
                    <a:pt x="502" y="604"/>
                  </a:lnTo>
                  <a:lnTo>
                    <a:pt x="502" y="604"/>
                  </a:lnTo>
                  <a:lnTo>
                    <a:pt x="502" y="607"/>
                  </a:lnTo>
                  <a:lnTo>
                    <a:pt x="499" y="607"/>
                  </a:lnTo>
                  <a:lnTo>
                    <a:pt x="496" y="610"/>
                  </a:lnTo>
                  <a:lnTo>
                    <a:pt x="496" y="610"/>
                  </a:lnTo>
                  <a:lnTo>
                    <a:pt x="494" y="610"/>
                  </a:lnTo>
                  <a:lnTo>
                    <a:pt x="494" y="612"/>
                  </a:lnTo>
                  <a:lnTo>
                    <a:pt x="494" y="615"/>
                  </a:lnTo>
                  <a:lnTo>
                    <a:pt x="494" y="615"/>
                  </a:lnTo>
                  <a:lnTo>
                    <a:pt x="494" y="618"/>
                  </a:lnTo>
                  <a:lnTo>
                    <a:pt x="494" y="620"/>
                  </a:lnTo>
                  <a:lnTo>
                    <a:pt x="494" y="620"/>
                  </a:lnTo>
                  <a:lnTo>
                    <a:pt x="491" y="623"/>
                  </a:lnTo>
                  <a:lnTo>
                    <a:pt x="491" y="626"/>
                  </a:lnTo>
                  <a:lnTo>
                    <a:pt x="488" y="626"/>
                  </a:lnTo>
                  <a:lnTo>
                    <a:pt x="488" y="626"/>
                  </a:lnTo>
                  <a:lnTo>
                    <a:pt x="486" y="626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3" y="623"/>
                  </a:lnTo>
                  <a:lnTo>
                    <a:pt x="480" y="623"/>
                  </a:lnTo>
                  <a:lnTo>
                    <a:pt x="480" y="623"/>
                  </a:lnTo>
                  <a:lnTo>
                    <a:pt x="480" y="623"/>
                  </a:lnTo>
                  <a:lnTo>
                    <a:pt x="478" y="623"/>
                  </a:lnTo>
                  <a:lnTo>
                    <a:pt x="478" y="623"/>
                  </a:lnTo>
                  <a:lnTo>
                    <a:pt x="478" y="623"/>
                  </a:lnTo>
                  <a:lnTo>
                    <a:pt x="475" y="623"/>
                  </a:lnTo>
                  <a:lnTo>
                    <a:pt x="475" y="626"/>
                  </a:lnTo>
                  <a:lnTo>
                    <a:pt x="475" y="626"/>
                  </a:lnTo>
                  <a:lnTo>
                    <a:pt x="475" y="626"/>
                  </a:lnTo>
                  <a:lnTo>
                    <a:pt x="475" y="628"/>
                  </a:lnTo>
                  <a:lnTo>
                    <a:pt x="475" y="628"/>
                  </a:lnTo>
                  <a:lnTo>
                    <a:pt x="475" y="628"/>
                  </a:lnTo>
                  <a:lnTo>
                    <a:pt x="478" y="628"/>
                  </a:lnTo>
                  <a:lnTo>
                    <a:pt x="478" y="628"/>
                  </a:lnTo>
                  <a:lnTo>
                    <a:pt x="480" y="631"/>
                  </a:lnTo>
                  <a:lnTo>
                    <a:pt x="480" y="631"/>
                  </a:lnTo>
                  <a:lnTo>
                    <a:pt x="480" y="634"/>
                  </a:lnTo>
                  <a:lnTo>
                    <a:pt x="480" y="634"/>
                  </a:lnTo>
                  <a:lnTo>
                    <a:pt x="480" y="636"/>
                  </a:lnTo>
                  <a:lnTo>
                    <a:pt x="480" y="639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42"/>
                  </a:lnTo>
                  <a:lnTo>
                    <a:pt x="478" y="639"/>
                  </a:lnTo>
                  <a:lnTo>
                    <a:pt x="478" y="639"/>
                  </a:lnTo>
                  <a:lnTo>
                    <a:pt x="478" y="636"/>
                  </a:lnTo>
                  <a:lnTo>
                    <a:pt x="478" y="636"/>
                  </a:lnTo>
                  <a:lnTo>
                    <a:pt x="478" y="636"/>
                  </a:lnTo>
                  <a:lnTo>
                    <a:pt x="478" y="634"/>
                  </a:lnTo>
                  <a:lnTo>
                    <a:pt x="478" y="634"/>
                  </a:lnTo>
                  <a:lnTo>
                    <a:pt x="475" y="634"/>
                  </a:lnTo>
                  <a:lnTo>
                    <a:pt x="475" y="634"/>
                  </a:lnTo>
                  <a:lnTo>
                    <a:pt x="475" y="634"/>
                  </a:lnTo>
                  <a:lnTo>
                    <a:pt x="475" y="636"/>
                  </a:lnTo>
                  <a:lnTo>
                    <a:pt x="475" y="636"/>
                  </a:lnTo>
                  <a:lnTo>
                    <a:pt x="478" y="639"/>
                  </a:lnTo>
                  <a:lnTo>
                    <a:pt x="475" y="639"/>
                  </a:lnTo>
                  <a:lnTo>
                    <a:pt x="475" y="639"/>
                  </a:lnTo>
                  <a:lnTo>
                    <a:pt x="472" y="639"/>
                  </a:lnTo>
                  <a:lnTo>
                    <a:pt x="472" y="639"/>
                  </a:lnTo>
                  <a:lnTo>
                    <a:pt x="470" y="639"/>
                  </a:lnTo>
                  <a:lnTo>
                    <a:pt x="470" y="639"/>
                  </a:lnTo>
                  <a:lnTo>
                    <a:pt x="467" y="639"/>
                  </a:lnTo>
                  <a:lnTo>
                    <a:pt x="464" y="639"/>
                  </a:lnTo>
                  <a:lnTo>
                    <a:pt x="464" y="639"/>
                  </a:lnTo>
                  <a:lnTo>
                    <a:pt x="467" y="642"/>
                  </a:lnTo>
                  <a:lnTo>
                    <a:pt x="470" y="642"/>
                  </a:lnTo>
                  <a:lnTo>
                    <a:pt x="470" y="642"/>
                  </a:lnTo>
                  <a:lnTo>
                    <a:pt x="470" y="645"/>
                  </a:lnTo>
                  <a:lnTo>
                    <a:pt x="467" y="645"/>
                  </a:lnTo>
                  <a:lnTo>
                    <a:pt x="467" y="645"/>
                  </a:lnTo>
                  <a:lnTo>
                    <a:pt x="467" y="645"/>
                  </a:lnTo>
                  <a:lnTo>
                    <a:pt x="467" y="647"/>
                  </a:lnTo>
                  <a:lnTo>
                    <a:pt x="467" y="647"/>
                  </a:lnTo>
                  <a:lnTo>
                    <a:pt x="467" y="647"/>
                  </a:lnTo>
                  <a:lnTo>
                    <a:pt x="467" y="650"/>
                  </a:lnTo>
                  <a:lnTo>
                    <a:pt x="467" y="650"/>
                  </a:lnTo>
                  <a:lnTo>
                    <a:pt x="464" y="650"/>
                  </a:lnTo>
                  <a:lnTo>
                    <a:pt x="464" y="650"/>
                  </a:lnTo>
                  <a:lnTo>
                    <a:pt x="462" y="653"/>
                  </a:lnTo>
                  <a:lnTo>
                    <a:pt x="462" y="653"/>
                  </a:lnTo>
                  <a:lnTo>
                    <a:pt x="459" y="653"/>
                  </a:lnTo>
                  <a:lnTo>
                    <a:pt x="459" y="655"/>
                  </a:lnTo>
                  <a:lnTo>
                    <a:pt x="456" y="655"/>
                  </a:lnTo>
                  <a:lnTo>
                    <a:pt x="456" y="655"/>
                  </a:lnTo>
                  <a:lnTo>
                    <a:pt x="454" y="658"/>
                  </a:lnTo>
                  <a:lnTo>
                    <a:pt x="454" y="658"/>
                  </a:lnTo>
                  <a:lnTo>
                    <a:pt x="451" y="661"/>
                  </a:lnTo>
                  <a:lnTo>
                    <a:pt x="451" y="661"/>
                  </a:lnTo>
                  <a:lnTo>
                    <a:pt x="451" y="658"/>
                  </a:lnTo>
                  <a:lnTo>
                    <a:pt x="451" y="658"/>
                  </a:lnTo>
                  <a:lnTo>
                    <a:pt x="451" y="655"/>
                  </a:lnTo>
                  <a:lnTo>
                    <a:pt x="448" y="655"/>
                  </a:lnTo>
                  <a:lnTo>
                    <a:pt x="448" y="655"/>
                  </a:lnTo>
                  <a:lnTo>
                    <a:pt x="446" y="655"/>
                  </a:lnTo>
                  <a:lnTo>
                    <a:pt x="446" y="655"/>
                  </a:lnTo>
                  <a:lnTo>
                    <a:pt x="446" y="655"/>
                  </a:lnTo>
                  <a:lnTo>
                    <a:pt x="446" y="658"/>
                  </a:lnTo>
                  <a:lnTo>
                    <a:pt x="446" y="658"/>
                  </a:lnTo>
                  <a:lnTo>
                    <a:pt x="446" y="658"/>
                  </a:lnTo>
                  <a:lnTo>
                    <a:pt x="443" y="658"/>
                  </a:lnTo>
                  <a:lnTo>
                    <a:pt x="443" y="655"/>
                  </a:lnTo>
                  <a:lnTo>
                    <a:pt x="443" y="655"/>
                  </a:lnTo>
                  <a:lnTo>
                    <a:pt x="440" y="653"/>
                  </a:lnTo>
                  <a:lnTo>
                    <a:pt x="440" y="653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8" y="650"/>
                  </a:lnTo>
                  <a:lnTo>
                    <a:pt x="438" y="650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3"/>
                  </a:lnTo>
                  <a:lnTo>
                    <a:pt x="438" y="655"/>
                  </a:lnTo>
                  <a:lnTo>
                    <a:pt x="440" y="655"/>
                  </a:lnTo>
                  <a:lnTo>
                    <a:pt x="440" y="655"/>
                  </a:lnTo>
                  <a:lnTo>
                    <a:pt x="440" y="658"/>
                  </a:lnTo>
                  <a:lnTo>
                    <a:pt x="440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38" y="658"/>
                  </a:lnTo>
                  <a:lnTo>
                    <a:pt x="440" y="661"/>
                  </a:lnTo>
                  <a:lnTo>
                    <a:pt x="440" y="661"/>
                  </a:lnTo>
                  <a:lnTo>
                    <a:pt x="443" y="661"/>
                  </a:lnTo>
                  <a:lnTo>
                    <a:pt x="443" y="663"/>
                  </a:lnTo>
                  <a:lnTo>
                    <a:pt x="443" y="663"/>
                  </a:lnTo>
                  <a:lnTo>
                    <a:pt x="440" y="663"/>
                  </a:lnTo>
                  <a:lnTo>
                    <a:pt x="440" y="666"/>
                  </a:lnTo>
                  <a:lnTo>
                    <a:pt x="440" y="666"/>
                  </a:lnTo>
                  <a:lnTo>
                    <a:pt x="440" y="666"/>
                  </a:lnTo>
                  <a:lnTo>
                    <a:pt x="440" y="669"/>
                  </a:lnTo>
                  <a:lnTo>
                    <a:pt x="440" y="669"/>
                  </a:lnTo>
                  <a:lnTo>
                    <a:pt x="440" y="671"/>
                  </a:lnTo>
                  <a:lnTo>
                    <a:pt x="440" y="671"/>
                  </a:lnTo>
                  <a:lnTo>
                    <a:pt x="440" y="671"/>
                  </a:lnTo>
                  <a:lnTo>
                    <a:pt x="440" y="674"/>
                  </a:lnTo>
                  <a:lnTo>
                    <a:pt x="440" y="674"/>
                  </a:lnTo>
                  <a:lnTo>
                    <a:pt x="440" y="677"/>
                  </a:lnTo>
                  <a:lnTo>
                    <a:pt x="440" y="677"/>
                  </a:lnTo>
                  <a:lnTo>
                    <a:pt x="440" y="679"/>
                  </a:lnTo>
                  <a:lnTo>
                    <a:pt x="440" y="682"/>
                  </a:lnTo>
                  <a:lnTo>
                    <a:pt x="440" y="682"/>
                  </a:lnTo>
                  <a:lnTo>
                    <a:pt x="438" y="682"/>
                  </a:lnTo>
                  <a:lnTo>
                    <a:pt x="438" y="682"/>
                  </a:lnTo>
                  <a:lnTo>
                    <a:pt x="438" y="685"/>
                  </a:lnTo>
                  <a:lnTo>
                    <a:pt x="438" y="685"/>
                  </a:lnTo>
                  <a:lnTo>
                    <a:pt x="438" y="685"/>
                  </a:lnTo>
                  <a:lnTo>
                    <a:pt x="435" y="685"/>
                  </a:lnTo>
                  <a:lnTo>
                    <a:pt x="435" y="685"/>
                  </a:lnTo>
                  <a:lnTo>
                    <a:pt x="432" y="685"/>
                  </a:lnTo>
                  <a:lnTo>
                    <a:pt x="430" y="685"/>
                  </a:lnTo>
                  <a:lnTo>
                    <a:pt x="430" y="685"/>
                  </a:lnTo>
                  <a:lnTo>
                    <a:pt x="430" y="682"/>
                  </a:lnTo>
                  <a:lnTo>
                    <a:pt x="430" y="682"/>
                  </a:lnTo>
                  <a:lnTo>
                    <a:pt x="432" y="679"/>
                  </a:lnTo>
                  <a:lnTo>
                    <a:pt x="430" y="679"/>
                  </a:lnTo>
                  <a:lnTo>
                    <a:pt x="430" y="679"/>
                  </a:lnTo>
                  <a:lnTo>
                    <a:pt x="427" y="682"/>
                  </a:lnTo>
                  <a:lnTo>
                    <a:pt x="427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4" y="682"/>
                  </a:lnTo>
                  <a:lnTo>
                    <a:pt x="422" y="679"/>
                  </a:lnTo>
                  <a:lnTo>
                    <a:pt x="422" y="682"/>
                  </a:lnTo>
                  <a:lnTo>
                    <a:pt x="422" y="682"/>
                  </a:lnTo>
                  <a:lnTo>
                    <a:pt x="422" y="682"/>
                  </a:lnTo>
                  <a:lnTo>
                    <a:pt x="422" y="685"/>
                  </a:lnTo>
                  <a:lnTo>
                    <a:pt x="422" y="685"/>
                  </a:lnTo>
                  <a:lnTo>
                    <a:pt x="422" y="682"/>
                  </a:lnTo>
                  <a:lnTo>
                    <a:pt x="419" y="682"/>
                  </a:lnTo>
                  <a:lnTo>
                    <a:pt x="419" y="682"/>
                  </a:lnTo>
                  <a:lnTo>
                    <a:pt x="419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2"/>
                  </a:lnTo>
                  <a:lnTo>
                    <a:pt x="416" y="685"/>
                  </a:lnTo>
                  <a:lnTo>
                    <a:pt x="414" y="682"/>
                  </a:lnTo>
                  <a:lnTo>
                    <a:pt x="414" y="682"/>
                  </a:lnTo>
                  <a:lnTo>
                    <a:pt x="414" y="682"/>
                  </a:lnTo>
                  <a:lnTo>
                    <a:pt x="411" y="682"/>
                  </a:lnTo>
                  <a:lnTo>
                    <a:pt x="411" y="682"/>
                  </a:lnTo>
                  <a:lnTo>
                    <a:pt x="411" y="679"/>
                  </a:lnTo>
                  <a:lnTo>
                    <a:pt x="411" y="679"/>
                  </a:lnTo>
                  <a:lnTo>
                    <a:pt x="408" y="677"/>
                  </a:lnTo>
                  <a:lnTo>
                    <a:pt x="408" y="677"/>
                  </a:lnTo>
                  <a:lnTo>
                    <a:pt x="406" y="677"/>
                  </a:lnTo>
                  <a:lnTo>
                    <a:pt x="406" y="674"/>
                  </a:lnTo>
                  <a:lnTo>
                    <a:pt x="406" y="674"/>
                  </a:lnTo>
                  <a:lnTo>
                    <a:pt x="406" y="674"/>
                  </a:lnTo>
                  <a:lnTo>
                    <a:pt x="403" y="671"/>
                  </a:lnTo>
                  <a:lnTo>
                    <a:pt x="403" y="671"/>
                  </a:lnTo>
                  <a:lnTo>
                    <a:pt x="403" y="671"/>
                  </a:lnTo>
                  <a:lnTo>
                    <a:pt x="400" y="669"/>
                  </a:lnTo>
                  <a:lnTo>
                    <a:pt x="403" y="669"/>
                  </a:lnTo>
                  <a:lnTo>
                    <a:pt x="403" y="669"/>
                  </a:lnTo>
                  <a:lnTo>
                    <a:pt x="406" y="669"/>
                  </a:lnTo>
                  <a:lnTo>
                    <a:pt x="406" y="666"/>
                  </a:lnTo>
                  <a:lnTo>
                    <a:pt x="408" y="666"/>
                  </a:lnTo>
                  <a:lnTo>
                    <a:pt x="408" y="666"/>
                  </a:lnTo>
                  <a:lnTo>
                    <a:pt x="408" y="663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3" y="663"/>
                  </a:lnTo>
                  <a:lnTo>
                    <a:pt x="403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397" y="661"/>
                  </a:lnTo>
                  <a:lnTo>
                    <a:pt x="397" y="661"/>
                  </a:lnTo>
                  <a:lnTo>
                    <a:pt x="397" y="661"/>
                  </a:lnTo>
                  <a:lnTo>
                    <a:pt x="397" y="663"/>
                  </a:lnTo>
                  <a:lnTo>
                    <a:pt x="397" y="663"/>
                  </a:lnTo>
                  <a:lnTo>
                    <a:pt x="397" y="663"/>
                  </a:lnTo>
                  <a:lnTo>
                    <a:pt x="400" y="663"/>
                  </a:lnTo>
                  <a:lnTo>
                    <a:pt x="400" y="663"/>
                  </a:lnTo>
                  <a:lnTo>
                    <a:pt x="403" y="663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397" y="666"/>
                  </a:lnTo>
                  <a:lnTo>
                    <a:pt x="397" y="666"/>
                  </a:lnTo>
                  <a:lnTo>
                    <a:pt x="397" y="666"/>
                  </a:lnTo>
                  <a:lnTo>
                    <a:pt x="397" y="669"/>
                  </a:lnTo>
                  <a:lnTo>
                    <a:pt x="397" y="669"/>
                  </a:lnTo>
                  <a:lnTo>
                    <a:pt x="397" y="669"/>
                  </a:lnTo>
                  <a:lnTo>
                    <a:pt x="395" y="669"/>
                  </a:lnTo>
                  <a:lnTo>
                    <a:pt x="392" y="669"/>
                  </a:lnTo>
                  <a:lnTo>
                    <a:pt x="389" y="669"/>
                  </a:lnTo>
                  <a:lnTo>
                    <a:pt x="387" y="669"/>
                  </a:lnTo>
                  <a:lnTo>
                    <a:pt x="387" y="666"/>
                  </a:lnTo>
                  <a:lnTo>
                    <a:pt x="384" y="666"/>
                  </a:lnTo>
                  <a:lnTo>
                    <a:pt x="384" y="663"/>
                  </a:lnTo>
                  <a:lnTo>
                    <a:pt x="381" y="663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4" y="661"/>
                  </a:lnTo>
                  <a:lnTo>
                    <a:pt x="381" y="658"/>
                  </a:lnTo>
                  <a:lnTo>
                    <a:pt x="379" y="655"/>
                  </a:lnTo>
                  <a:lnTo>
                    <a:pt x="379" y="653"/>
                  </a:lnTo>
                  <a:lnTo>
                    <a:pt x="379" y="650"/>
                  </a:lnTo>
                  <a:lnTo>
                    <a:pt x="379" y="650"/>
                  </a:lnTo>
                  <a:lnTo>
                    <a:pt x="379" y="647"/>
                  </a:lnTo>
                  <a:lnTo>
                    <a:pt x="379" y="645"/>
                  </a:lnTo>
                  <a:lnTo>
                    <a:pt x="379" y="645"/>
                  </a:lnTo>
                  <a:lnTo>
                    <a:pt x="379" y="645"/>
                  </a:lnTo>
                  <a:lnTo>
                    <a:pt x="376" y="645"/>
                  </a:lnTo>
                  <a:lnTo>
                    <a:pt x="376" y="645"/>
                  </a:lnTo>
                  <a:lnTo>
                    <a:pt x="376" y="645"/>
                  </a:lnTo>
                  <a:lnTo>
                    <a:pt x="376" y="647"/>
                  </a:lnTo>
                  <a:lnTo>
                    <a:pt x="373" y="647"/>
                  </a:lnTo>
                  <a:lnTo>
                    <a:pt x="373" y="650"/>
                  </a:lnTo>
                  <a:lnTo>
                    <a:pt x="371" y="650"/>
                  </a:lnTo>
                  <a:lnTo>
                    <a:pt x="371" y="650"/>
                  </a:lnTo>
                  <a:lnTo>
                    <a:pt x="368" y="647"/>
                  </a:lnTo>
                  <a:lnTo>
                    <a:pt x="368" y="650"/>
                  </a:lnTo>
                  <a:lnTo>
                    <a:pt x="368" y="650"/>
                  </a:lnTo>
                  <a:lnTo>
                    <a:pt x="365" y="647"/>
                  </a:lnTo>
                  <a:lnTo>
                    <a:pt x="365" y="647"/>
                  </a:lnTo>
                  <a:lnTo>
                    <a:pt x="365" y="645"/>
                  </a:lnTo>
                  <a:lnTo>
                    <a:pt x="363" y="645"/>
                  </a:lnTo>
                  <a:lnTo>
                    <a:pt x="363" y="642"/>
                  </a:lnTo>
                  <a:lnTo>
                    <a:pt x="363" y="642"/>
                  </a:lnTo>
                  <a:lnTo>
                    <a:pt x="363" y="645"/>
                  </a:lnTo>
                  <a:lnTo>
                    <a:pt x="363" y="645"/>
                  </a:lnTo>
                  <a:lnTo>
                    <a:pt x="363" y="645"/>
                  </a:lnTo>
                  <a:lnTo>
                    <a:pt x="365" y="647"/>
                  </a:lnTo>
                  <a:lnTo>
                    <a:pt x="365" y="647"/>
                  </a:lnTo>
                  <a:lnTo>
                    <a:pt x="365" y="650"/>
                  </a:lnTo>
                  <a:lnTo>
                    <a:pt x="365" y="650"/>
                  </a:lnTo>
                  <a:lnTo>
                    <a:pt x="363" y="650"/>
                  </a:lnTo>
                  <a:lnTo>
                    <a:pt x="363" y="650"/>
                  </a:lnTo>
                  <a:lnTo>
                    <a:pt x="360" y="647"/>
                  </a:lnTo>
                  <a:lnTo>
                    <a:pt x="360" y="647"/>
                  </a:lnTo>
                  <a:lnTo>
                    <a:pt x="360" y="645"/>
                  </a:lnTo>
                  <a:lnTo>
                    <a:pt x="357" y="645"/>
                  </a:lnTo>
                  <a:lnTo>
                    <a:pt x="357" y="642"/>
                  </a:lnTo>
                  <a:lnTo>
                    <a:pt x="355" y="642"/>
                  </a:lnTo>
                  <a:lnTo>
                    <a:pt x="355" y="642"/>
                  </a:lnTo>
                  <a:lnTo>
                    <a:pt x="355" y="645"/>
                  </a:lnTo>
                  <a:lnTo>
                    <a:pt x="352" y="645"/>
                  </a:lnTo>
                  <a:lnTo>
                    <a:pt x="352" y="642"/>
                  </a:lnTo>
                  <a:lnTo>
                    <a:pt x="352" y="642"/>
                  </a:lnTo>
                  <a:lnTo>
                    <a:pt x="349" y="642"/>
                  </a:lnTo>
                  <a:lnTo>
                    <a:pt x="349" y="639"/>
                  </a:lnTo>
                  <a:lnTo>
                    <a:pt x="347" y="639"/>
                  </a:lnTo>
                  <a:lnTo>
                    <a:pt x="344" y="639"/>
                  </a:lnTo>
                  <a:lnTo>
                    <a:pt x="341" y="639"/>
                  </a:lnTo>
                  <a:lnTo>
                    <a:pt x="341" y="639"/>
                  </a:lnTo>
                  <a:lnTo>
                    <a:pt x="339" y="639"/>
                  </a:lnTo>
                  <a:lnTo>
                    <a:pt x="339" y="639"/>
                  </a:lnTo>
                  <a:lnTo>
                    <a:pt x="336" y="639"/>
                  </a:lnTo>
                  <a:lnTo>
                    <a:pt x="336" y="639"/>
                  </a:lnTo>
                  <a:lnTo>
                    <a:pt x="333" y="639"/>
                  </a:lnTo>
                  <a:lnTo>
                    <a:pt x="333" y="636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28" y="636"/>
                  </a:lnTo>
                  <a:lnTo>
                    <a:pt x="328" y="639"/>
                  </a:lnTo>
                  <a:lnTo>
                    <a:pt x="325" y="639"/>
                  </a:lnTo>
                  <a:lnTo>
                    <a:pt x="325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0" y="639"/>
                  </a:lnTo>
                  <a:lnTo>
                    <a:pt x="320" y="639"/>
                  </a:lnTo>
                  <a:lnTo>
                    <a:pt x="320" y="639"/>
                  </a:lnTo>
                  <a:lnTo>
                    <a:pt x="317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39"/>
                  </a:lnTo>
                  <a:lnTo>
                    <a:pt x="315" y="642"/>
                  </a:lnTo>
                  <a:lnTo>
                    <a:pt x="315" y="642"/>
                  </a:lnTo>
                  <a:lnTo>
                    <a:pt x="312" y="642"/>
                  </a:lnTo>
                  <a:lnTo>
                    <a:pt x="312" y="645"/>
                  </a:lnTo>
                  <a:lnTo>
                    <a:pt x="309" y="645"/>
                  </a:lnTo>
                  <a:lnTo>
                    <a:pt x="309" y="645"/>
                  </a:lnTo>
                  <a:lnTo>
                    <a:pt x="307" y="645"/>
                  </a:lnTo>
                  <a:lnTo>
                    <a:pt x="307" y="645"/>
                  </a:lnTo>
                  <a:lnTo>
                    <a:pt x="307" y="645"/>
                  </a:lnTo>
                  <a:lnTo>
                    <a:pt x="309" y="647"/>
                  </a:lnTo>
                  <a:lnTo>
                    <a:pt x="309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2" y="647"/>
                  </a:lnTo>
                  <a:lnTo>
                    <a:pt x="315" y="647"/>
                  </a:lnTo>
                  <a:lnTo>
                    <a:pt x="317" y="647"/>
                  </a:lnTo>
                  <a:lnTo>
                    <a:pt x="317" y="647"/>
                  </a:lnTo>
                  <a:lnTo>
                    <a:pt x="320" y="645"/>
                  </a:lnTo>
                  <a:lnTo>
                    <a:pt x="320" y="645"/>
                  </a:lnTo>
                  <a:lnTo>
                    <a:pt x="323" y="645"/>
                  </a:lnTo>
                  <a:lnTo>
                    <a:pt x="323" y="645"/>
                  </a:lnTo>
                  <a:lnTo>
                    <a:pt x="325" y="645"/>
                  </a:lnTo>
                  <a:lnTo>
                    <a:pt x="325" y="645"/>
                  </a:lnTo>
                  <a:lnTo>
                    <a:pt x="328" y="645"/>
                  </a:lnTo>
                  <a:lnTo>
                    <a:pt x="328" y="642"/>
                  </a:lnTo>
                  <a:lnTo>
                    <a:pt x="331" y="642"/>
                  </a:lnTo>
                  <a:lnTo>
                    <a:pt x="333" y="642"/>
                  </a:lnTo>
                  <a:lnTo>
                    <a:pt x="336" y="642"/>
                  </a:lnTo>
                  <a:lnTo>
                    <a:pt x="339" y="642"/>
                  </a:lnTo>
                  <a:lnTo>
                    <a:pt x="339" y="642"/>
                  </a:lnTo>
                  <a:lnTo>
                    <a:pt x="341" y="645"/>
                  </a:lnTo>
                  <a:lnTo>
                    <a:pt x="341" y="645"/>
                  </a:lnTo>
                  <a:lnTo>
                    <a:pt x="344" y="645"/>
                  </a:lnTo>
                  <a:lnTo>
                    <a:pt x="344" y="645"/>
                  </a:lnTo>
                  <a:lnTo>
                    <a:pt x="344" y="647"/>
                  </a:lnTo>
                  <a:lnTo>
                    <a:pt x="344" y="647"/>
                  </a:lnTo>
                  <a:lnTo>
                    <a:pt x="344" y="647"/>
                  </a:lnTo>
                  <a:lnTo>
                    <a:pt x="344" y="650"/>
                  </a:lnTo>
                  <a:lnTo>
                    <a:pt x="341" y="653"/>
                  </a:lnTo>
                  <a:lnTo>
                    <a:pt x="341" y="653"/>
                  </a:lnTo>
                  <a:lnTo>
                    <a:pt x="341" y="655"/>
                  </a:lnTo>
                  <a:lnTo>
                    <a:pt x="339" y="658"/>
                  </a:lnTo>
                  <a:lnTo>
                    <a:pt x="339" y="658"/>
                  </a:lnTo>
                  <a:lnTo>
                    <a:pt x="339" y="661"/>
                  </a:lnTo>
                  <a:lnTo>
                    <a:pt x="339" y="663"/>
                  </a:lnTo>
                  <a:lnTo>
                    <a:pt x="339" y="663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1" y="666"/>
                  </a:lnTo>
                  <a:lnTo>
                    <a:pt x="344" y="669"/>
                  </a:lnTo>
                  <a:lnTo>
                    <a:pt x="344" y="671"/>
                  </a:lnTo>
                  <a:lnTo>
                    <a:pt x="344" y="674"/>
                  </a:lnTo>
                  <a:lnTo>
                    <a:pt x="347" y="674"/>
                  </a:lnTo>
                  <a:lnTo>
                    <a:pt x="349" y="677"/>
                  </a:lnTo>
                  <a:lnTo>
                    <a:pt x="352" y="677"/>
                  </a:lnTo>
                  <a:lnTo>
                    <a:pt x="355" y="679"/>
                  </a:lnTo>
                  <a:lnTo>
                    <a:pt x="357" y="679"/>
                  </a:lnTo>
                  <a:lnTo>
                    <a:pt x="357" y="679"/>
                  </a:lnTo>
                  <a:lnTo>
                    <a:pt x="360" y="682"/>
                  </a:lnTo>
                  <a:lnTo>
                    <a:pt x="363" y="682"/>
                  </a:lnTo>
                  <a:lnTo>
                    <a:pt x="363" y="685"/>
                  </a:lnTo>
                  <a:lnTo>
                    <a:pt x="363" y="687"/>
                  </a:lnTo>
                  <a:lnTo>
                    <a:pt x="363" y="690"/>
                  </a:lnTo>
                  <a:lnTo>
                    <a:pt x="368" y="693"/>
                  </a:lnTo>
                  <a:lnTo>
                    <a:pt x="371" y="693"/>
                  </a:lnTo>
                  <a:lnTo>
                    <a:pt x="373" y="695"/>
                  </a:lnTo>
                  <a:lnTo>
                    <a:pt x="373" y="695"/>
                  </a:lnTo>
                  <a:lnTo>
                    <a:pt x="373" y="698"/>
                  </a:lnTo>
                  <a:lnTo>
                    <a:pt x="376" y="698"/>
                  </a:lnTo>
                  <a:lnTo>
                    <a:pt x="379" y="701"/>
                  </a:lnTo>
                  <a:lnTo>
                    <a:pt x="381" y="701"/>
                  </a:lnTo>
                  <a:lnTo>
                    <a:pt x="384" y="703"/>
                  </a:lnTo>
                  <a:lnTo>
                    <a:pt x="387" y="703"/>
                  </a:lnTo>
                  <a:lnTo>
                    <a:pt x="389" y="703"/>
                  </a:lnTo>
                  <a:lnTo>
                    <a:pt x="389" y="706"/>
                  </a:lnTo>
                  <a:lnTo>
                    <a:pt x="392" y="706"/>
                  </a:lnTo>
                  <a:lnTo>
                    <a:pt x="397" y="706"/>
                  </a:lnTo>
                  <a:lnTo>
                    <a:pt x="403" y="706"/>
                  </a:lnTo>
                  <a:lnTo>
                    <a:pt x="406" y="706"/>
                  </a:lnTo>
                  <a:lnTo>
                    <a:pt x="408" y="706"/>
                  </a:lnTo>
                  <a:lnTo>
                    <a:pt x="408" y="709"/>
                  </a:lnTo>
                  <a:lnTo>
                    <a:pt x="411" y="709"/>
                  </a:lnTo>
                  <a:lnTo>
                    <a:pt x="414" y="709"/>
                  </a:lnTo>
                  <a:lnTo>
                    <a:pt x="416" y="711"/>
                  </a:lnTo>
                  <a:lnTo>
                    <a:pt x="419" y="711"/>
                  </a:lnTo>
                  <a:lnTo>
                    <a:pt x="422" y="711"/>
                  </a:lnTo>
                  <a:lnTo>
                    <a:pt x="424" y="714"/>
                  </a:lnTo>
                  <a:lnTo>
                    <a:pt x="427" y="714"/>
                  </a:lnTo>
                  <a:lnTo>
                    <a:pt x="430" y="717"/>
                  </a:lnTo>
                  <a:lnTo>
                    <a:pt x="430" y="717"/>
                  </a:lnTo>
                  <a:lnTo>
                    <a:pt x="430" y="717"/>
                  </a:lnTo>
                  <a:lnTo>
                    <a:pt x="432" y="719"/>
                  </a:lnTo>
                  <a:lnTo>
                    <a:pt x="435" y="719"/>
                  </a:lnTo>
                  <a:lnTo>
                    <a:pt x="435" y="722"/>
                  </a:lnTo>
                  <a:lnTo>
                    <a:pt x="435" y="725"/>
                  </a:lnTo>
                  <a:lnTo>
                    <a:pt x="435" y="725"/>
                  </a:lnTo>
                  <a:lnTo>
                    <a:pt x="435" y="727"/>
                  </a:lnTo>
                  <a:lnTo>
                    <a:pt x="438" y="730"/>
                  </a:lnTo>
                  <a:lnTo>
                    <a:pt x="438" y="730"/>
                  </a:lnTo>
                  <a:lnTo>
                    <a:pt x="440" y="730"/>
                  </a:lnTo>
                  <a:lnTo>
                    <a:pt x="440" y="730"/>
                  </a:lnTo>
                  <a:lnTo>
                    <a:pt x="443" y="730"/>
                  </a:lnTo>
                  <a:lnTo>
                    <a:pt x="443" y="730"/>
                  </a:lnTo>
                  <a:lnTo>
                    <a:pt x="443" y="733"/>
                  </a:lnTo>
                  <a:lnTo>
                    <a:pt x="443" y="733"/>
                  </a:lnTo>
                  <a:lnTo>
                    <a:pt x="443" y="735"/>
                  </a:lnTo>
                  <a:lnTo>
                    <a:pt x="443" y="733"/>
                  </a:lnTo>
                  <a:lnTo>
                    <a:pt x="446" y="733"/>
                  </a:lnTo>
                  <a:lnTo>
                    <a:pt x="446" y="730"/>
                  </a:lnTo>
                  <a:lnTo>
                    <a:pt x="446" y="730"/>
                  </a:lnTo>
                  <a:lnTo>
                    <a:pt x="446" y="733"/>
                  </a:lnTo>
                  <a:lnTo>
                    <a:pt x="448" y="733"/>
                  </a:lnTo>
                  <a:lnTo>
                    <a:pt x="451" y="730"/>
                  </a:lnTo>
                  <a:lnTo>
                    <a:pt x="451" y="730"/>
                  </a:lnTo>
                  <a:lnTo>
                    <a:pt x="454" y="730"/>
                  </a:lnTo>
                  <a:lnTo>
                    <a:pt x="454" y="730"/>
                  </a:lnTo>
                  <a:lnTo>
                    <a:pt x="456" y="730"/>
                  </a:lnTo>
                  <a:lnTo>
                    <a:pt x="459" y="730"/>
                  </a:lnTo>
                  <a:lnTo>
                    <a:pt x="459" y="727"/>
                  </a:lnTo>
                  <a:lnTo>
                    <a:pt x="462" y="727"/>
                  </a:lnTo>
                  <a:lnTo>
                    <a:pt x="464" y="725"/>
                  </a:lnTo>
                  <a:lnTo>
                    <a:pt x="464" y="725"/>
                  </a:lnTo>
                  <a:lnTo>
                    <a:pt x="464" y="722"/>
                  </a:lnTo>
                  <a:lnTo>
                    <a:pt x="464" y="722"/>
                  </a:lnTo>
                  <a:lnTo>
                    <a:pt x="467" y="719"/>
                  </a:lnTo>
                  <a:lnTo>
                    <a:pt x="467" y="717"/>
                  </a:lnTo>
                  <a:lnTo>
                    <a:pt x="467" y="714"/>
                  </a:lnTo>
                  <a:lnTo>
                    <a:pt x="467" y="711"/>
                  </a:lnTo>
                  <a:lnTo>
                    <a:pt x="467" y="711"/>
                  </a:lnTo>
                  <a:lnTo>
                    <a:pt x="467" y="711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9"/>
                  </a:lnTo>
                  <a:lnTo>
                    <a:pt x="467" y="706"/>
                  </a:lnTo>
                  <a:lnTo>
                    <a:pt x="467" y="709"/>
                  </a:lnTo>
                  <a:lnTo>
                    <a:pt x="464" y="709"/>
                  </a:lnTo>
                  <a:lnTo>
                    <a:pt x="464" y="709"/>
                  </a:lnTo>
                  <a:lnTo>
                    <a:pt x="464" y="709"/>
                  </a:lnTo>
                  <a:lnTo>
                    <a:pt x="464" y="706"/>
                  </a:lnTo>
                  <a:lnTo>
                    <a:pt x="464" y="706"/>
                  </a:lnTo>
                  <a:lnTo>
                    <a:pt x="467" y="706"/>
                  </a:lnTo>
                  <a:lnTo>
                    <a:pt x="470" y="706"/>
                  </a:lnTo>
                  <a:lnTo>
                    <a:pt x="472" y="703"/>
                  </a:lnTo>
                  <a:lnTo>
                    <a:pt x="472" y="701"/>
                  </a:lnTo>
                  <a:lnTo>
                    <a:pt x="475" y="698"/>
                  </a:lnTo>
                  <a:lnTo>
                    <a:pt x="480" y="698"/>
                  </a:lnTo>
                  <a:lnTo>
                    <a:pt x="483" y="698"/>
                  </a:lnTo>
                  <a:lnTo>
                    <a:pt x="486" y="698"/>
                  </a:lnTo>
                  <a:lnTo>
                    <a:pt x="486" y="701"/>
                  </a:lnTo>
                  <a:lnTo>
                    <a:pt x="488" y="698"/>
                  </a:lnTo>
                  <a:lnTo>
                    <a:pt x="491" y="698"/>
                  </a:lnTo>
                  <a:lnTo>
                    <a:pt x="491" y="698"/>
                  </a:lnTo>
                  <a:lnTo>
                    <a:pt x="491" y="698"/>
                  </a:lnTo>
                  <a:lnTo>
                    <a:pt x="494" y="698"/>
                  </a:lnTo>
                  <a:lnTo>
                    <a:pt x="494" y="698"/>
                  </a:lnTo>
                  <a:lnTo>
                    <a:pt x="494" y="698"/>
                  </a:lnTo>
                  <a:lnTo>
                    <a:pt x="496" y="698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3"/>
                  </a:lnTo>
                  <a:lnTo>
                    <a:pt x="496" y="693"/>
                  </a:lnTo>
                  <a:lnTo>
                    <a:pt x="496" y="693"/>
                  </a:lnTo>
                  <a:lnTo>
                    <a:pt x="499" y="693"/>
                  </a:lnTo>
                  <a:lnTo>
                    <a:pt x="502" y="693"/>
                  </a:lnTo>
                  <a:lnTo>
                    <a:pt x="502" y="690"/>
                  </a:lnTo>
                  <a:lnTo>
                    <a:pt x="507" y="690"/>
                  </a:lnTo>
                  <a:lnTo>
                    <a:pt x="510" y="690"/>
                  </a:lnTo>
                  <a:lnTo>
                    <a:pt x="512" y="687"/>
                  </a:lnTo>
                  <a:lnTo>
                    <a:pt x="515" y="687"/>
                  </a:lnTo>
                  <a:lnTo>
                    <a:pt x="520" y="687"/>
                  </a:lnTo>
                  <a:lnTo>
                    <a:pt x="523" y="685"/>
                  </a:lnTo>
                  <a:lnTo>
                    <a:pt x="523" y="685"/>
                  </a:lnTo>
                  <a:lnTo>
                    <a:pt x="526" y="682"/>
                  </a:lnTo>
                  <a:lnTo>
                    <a:pt x="528" y="679"/>
                  </a:lnTo>
                  <a:lnTo>
                    <a:pt x="528" y="677"/>
                  </a:lnTo>
                  <a:lnTo>
                    <a:pt x="528" y="677"/>
                  </a:lnTo>
                  <a:lnTo>
                    <a:pt x="531" y="677"/>
                  </a:lnTo>
                  <a:lnTo>
                    <a:pt x="534" y="677"/>
                  </a:lnTo>
                  <a:lnTo>
                    <a:pt x="536" y="674"/>
                  </a:lnTo>
                  <a:lnTo>
                    <a:pt x="539" y="674"/>
                  </a:lnTo>
                  <a:lnTo>
                    <a:pt x="542" y="671"/>
                  </a:lnTo>
                  <a:lnTo>
                    <a:pt x="542" y="669"/>
                  </a:lnTo>
                  <a:lnTo>
                    <a:pt x="542" y="666"/>
                  </a:lnTo>
                  <a:lnTo>
                    <a:pt x="544" y="666"/>
                  </a:lnTo>
                  <a:lnTo>
                    <a:pt x="544" y="663"/>
                  </a:lnTo>
                  <a:lnTo>
                    <a:pt x="547" y="661"/>
                  </a:lnTo>
                  <a:lnTo>
                    <a:pt x="547" y="658"/>
                  </a:lnTo>
                  <a:lnTo>
                    <a:pt x="547" y="653"/>
                  </a:lnTo>
                  <a:lnTo>
                    <a:pt x="550" y="647"/>
                  </a:lnTo>
                  <a:lnTo>
                    <a:pt x="550" y="645"/>
                  </a:lnTo>
                  <a:lnTo>
                    <a:pt x="550" y="642"/>
                  </a:lnTo>
                  <a:lnTo>
                    <a:pt x="550" y="642"/>
                  </a:lnTo>
                  <a:lnTo>
                    <a:pt x="552" y="639"/>
                  </a:lnTo>
                  <a:lnTo>
                    <a:pt x="555" y="636"/>
                  </a:lnTo>
                  <a:lnTo>
                    <a:pt x="555" y="636"/>
                  </a:lnTo>
                  <a:lnTo>
                    <a:pt x="558" y="634"/>
                  </a:lnTo>
                  <a:lnTo>
                    <a:pt x="560" y="631"/>
                  </a:lnTo>
                  <a:lnTo>
                    <a:pt x="560" y="628"/>
                  </a:lnTo>
                  <a:lnTo>
                    <a:pt x="566" y="626"/>
                  </a:lnTo>
                  <a:lnTo>
                    <a:pt x="568" y="623"/>
                  </a:lnTo>
                  <a:lnTo>
                    <a:pt x="571" y="623"/>
                  </a:lnTo>
                  <a:lnTo>
                    <a:pt x="576" y="620"/>
                  </a:lnTo>
                  <a:lnTo>
                    <a:pt x="579" y="618"/>
                  </a:lnTo>
                  <a:lnTo>
                    <a:pt x="582" y="615"/>
                  </a:lnTo>
                  <a:lnTo>
                    <a:pt x="584" y="615"/>
                  </a:lnTo>
                  <a:lnTo>
                    <a:pt x="587" y="612"/>
                  </a:lnTo>
                  <a:lnTo>
                    <a:pt x="590" y="610"/>
                  </a:lnTo>
                  <a:lnTo>
                    <a:pt x="592" y="607"/>
                  </a:lnTo>
                  <a:lnTo>
                    <a:pt x="595" y="604"/>
                  </a:lnTo>
                  <a:lnTo>
                    <a:pt x="595" y="602"/>
                  </a:lnTo>
                  <a:lnTo>
                    <a:pt x="598" y="596"/>
                  </a:lnTo>
                  <a:lnTo>
                    <a:pt x="598" y="594"/>
                  </a:lnTo>
                  <a:lnTo>
                    <a:pt x="600" y="588"/>
                  </a:lnTo>
                  <a:lnTo>
                    <a:pt x="600" y="586"/>
                  </a:lnTo>
                  <a:lnTo>
                    <a:pt x="600" y="580"/>
                  </a:lnTo>
                  <a:lnTo>
                    <a:pt x="600" y="580"/>
                  </a:lnTo>
                  <a:lnTo>
                    <a:pt x="603" y="578"/>
                  </a:lnTo>
                  <a:lnTo>
                    <a:pt x="603" y="578"/>
                  </a:lnTo>
                  <a:lnTo>
                    <a:pt x="603" y="575"/>
                  </a:lnTo>
                  <a:lnTo>
                    <a:pt x="603" y="572"/>
                  </a:lnTo>
                  <a:lnTo>
                    <a:pt x="600" y="570"/>
                  </a:lnTo>
                  <a:lnTo>
                    <a:pt x="600" y="567"/>
                  </a:lnTo>
                  <a:lnTo>
                    <a:pt x="600" y="564"/>
                  </a:lnTo>
                  <a:lnTo>
                    <a:pt x="600" y="559"/>
                  </a:lnTo>
                  <a:lnTo>
                    <a:pt x="600" y="554"/>
                  </a:lnTo>
                  <a:lnTo>
                    <a:pt x="600" y="551"/>
                  </a:lnTo>
                  <a:lnTo>
                    <a:pt x="598" y="548"/>
                  </a:lnTo>
                  <a:lnTo>
                    <a:pt x="598" y="546"/>
                  </a:lnTo>
                  <a:lnTo>
                    <a:pt x="595" y="543"/>
                  </a:lnTo>
                  <a:lnTo>
                    <a:pt x="595" y="538"/>
                  </a:lnTo>
                  <a:lnTo>
                    <a:pt x="592" y="538"/>
                  </a:lnTo>
                  <a:lnTo>
                    <a:pt x="592" y="535"/>
                  </a:lnTo>
                  <a:lnTo>
                    <a:pt x="595" y="532"/>
                  </a:lnTo>
                  <a:lnTo>
                    <a:pt x="598" y="527"/>
                  </a:lnTo>
                  <a:lnTo>
                    <a:pt x="600" y="524"/>
                  </a:lnTo>
                  <a:lnTo>
                    <a:pt x="603" y="522"/>
                  </a:lnTo>
                  <a:lnTo>
                    <a:pt x="603" y="519"/>
                  </a:lnTo>
                  <a:lnTo>
                    <a:pt x="603" y="516"/>
                  </a:lnTo>
                  <a:lnTo>
                    <a:pt x="603" y="514"/>
                  </a:lnTo>
                  <a:lnTo>
                    <a:pt x="603" y="511"/>
                  </a:lnTo>
                  <a:lnTo>
                    <a:pt x="603" y="508"/>
                  </a:lnTo>
                  <a:lnTo>
                    <a:pt x="606" y="506"/>
                  </a:lnTo>
                  <a:lnTo>
                    <a:pt x="606" y="500"/>
                  </a:lnTo>
                  <a:lnTo>
                    <a:pt x="608" y="500"/>
                  </a:lnTo>
                  <a:lnTo>
                    <a:pt x="611" y="498"/>
                  </a:lnTo>
                  <a:lnTo>
                    <a:pt x="614" y="498"/>
                  </a:lnTo>
                  <a:lnTo>
                    <a:pt x="619" y="495"/>
                  </a:lnTo>
                  <a:lnTo>
                    <a:pt x="622" y="495"/>
                  </a:lnTo>
                  <a:lnTo>
                    <a:pt x="624" y="495"/>
                  </a:lnTo>
                  <a:lnTo>
                    <a:pt x="630" y="495"/>
                  </a:lnTo>
                  <a:lnTo>
                    <a:pt x="632" y="492"/>
                  </a:lnTo>
                  <a:lnTo>
                    <a:pt x="635" y="492"/>
                  </a:lnTo>
                  <a:lnTo>
                    <a:pt x="638" y="492"/>
                  </a:lnTo>
                  <a:lnTo>
                    <a:pt x="643" y="492"/>
                  </a:lnTo>
                  <a:lnTo>
                    <a:pt x="646" y="490"/>
                  </a:lnTo>
                  <a:lnTo>
                    <a:pt x="649" y="490"/>
                  </a:lnTo>
                  <a:lnTo>
                    <a:pt x="654" y="492"/>
                  </a:lnTo>
                  <a:lnTo>
                    <a:pt x="657" y="492"/>
                  </a:lnTo>
                  <a:lnTo>
                    <a:pt x="659" y="490"/>
                  </a:lnTo>
                  <a:lnTo>
                    <a:pt x="662" y="490"/>
                  </a:lnTo>
                  <a:lnTo>
                    <a:pt x="667" y="490"/>
                  </a:lnTo>
                  <a:lnTo>
                    <a:pt x="670" y="490"/>
                  </a:lnTo>
                  <a:lnTo>
                    <a:pt x="675" y="490"/>
                  </a:lnTo>
                  <a:lnTo>
                    <a:pt x="675" y="490"/>
                  </a:lnTo>
                  <a:lnTo>
                    <a:pt x="681" y="490"/>
                  </a:lnTo>
                  <a:lnTo>
                    <a:pt x="683" y="490"/>
                  </a:lnTo>
                  <a:lnTo>
                    <a:pt x="689" y="490"/>
                  </a:lnTo>
                  <a:lnTo>
                    <a:pt x="694" y="490"/>
                  </a:lnTo>
                  <a:lnTo>
                    <a:pt x="694" y="492"/>
                  </a:lnTo>
                  <a:lnTo>
                    <a:pt x="694" y="495"/>
                  </a:lnTo>
                  <a:lnTo>
                    <a:pt x="697" y="498"/>
                  </a:lnTo>
                  <a:lnTo>
                    <a:pt x="697" y="503"/>
                  </a:lnTo>
                  <a:lnTo>
                    <a:pt x="694" y="506"/>
                  </a:lnTo>
                  <a:lnTo>
                    <a:pt x="694" y="508"/>
                  </a:lnTo>
                  <a:lnTo>
                    <a:pt x="691" y="511"/>
                  </a:lnTo>
                  <a:lnTo>
                    <a:pt x="691" y="516"/>
                  </a:lnTo>
                  <a:lnTo>
                    <a:pt x="694" y="519"/>
                  </a:lnTo>
                  <a:lnTo>
                    <a:pt x="697" y="522"/>
                  </a:lnTo>
                  <a:lnTo>
                    <a:pt x="697" y="524"/>
                  </a:lnTo>
                  <a:lnTo>
                    <a:pt x="699" y="524"/>
                  </a:lnTo>
                  <a:lnTo>
                    <a:pt x="702" y="527"/>
                  </a:lnTo>
                  <a:lnTo>
                    <a:pt x="702" y="527"/>
                  </a:lnTo>
                  <a:lnTo>
                    <a:pt x="702" y="530"/>
                  </a:lnTo>
                  <a:lnTo>
                    <a:pt x="702" y="530"/>
                  </a:lnTo>
                  <a:lnTo>
                    <a:pt x="702" y="530"/>
                  </a:lnTo>
                  <a:lnTo>
                    <a:pt x="705" y="532"/>
                  </a:lnTo>
                  <a:lnTo>
                    <a:pt x="705" y="532"/>
                  </a:lnTo>
                  <a:lnTo>
                    <a:pt x="705" y="532"/>
                  </a:lnTo>
                  <a:lnTo>
                    <a:pt x="705" y="535"/>
                  </a:lnTo>
                  <a:lnTo>
                    <a:pt x="705" y="535"/>
                  </a:lnTo>
                  <a:lnTo>
                    <a:pt x="705" y="538"/>
                  </a:lnTo>
                  <a:lnTo>
                    <a:pt x="702" y="538"/>
                  </a:lnTo>
                  <a:lnTo>
                    <a:pt x="702" y="535"/>
                  </a:lnTo>
                  <a:lnTo>
                    <a:pt x="702" y="535"/>
                  </a:lnTo>
                  <a:lnTo>
                    <a:pt x="702" y="535"/>
                  </a:lnTo>
                  <a:lnTo>
                    <a:pt x="702" y="532"/>
                  </a:lnTo>
                  <a:lnTo>
                    <a:pt x="702" y="532"/>
                  </a:lnTo>
                  <a:lnTo>
                    <a:pt x="702" y="532"/>
                  </a:lnTo>
                  <a:lnTo>
                    <a:pt x="702" y="530"/>
                  </a:lnTo>
                  <a:lnTo>
                    <a:pt x="699" y="530"/>
                  </a:lnTo>
                  <a:lnTo>
                    <a:pt x="699" y="530"/>
                  </a:lnTo>
                  <a:lnTo>
                    <a:pt x="699" y="530"/>
                  </a:lnTo>
                  <a:lnTo>
                    <a:pt x="699" y="532"/>
                  </a:lnTo>
                  <a:lnTo>
                    <a:pt x="699" y="532"/>
                  </a:lnTo>
                  <a:lnTo>
                    <a:pt x="699" y="535"/>
                  </a:lnTo>
                  <a:lnTo>
                    <a:pt x="699" y="535"/>
                  </a:lnTo>
                  <a:lnTo>
                    <a:pt x="699" y="535"/>
                  </a:lnTo>
                  <a:lnTo>
                    <a:pt x="702" y="538"/>
                  </a:lnTo>
                  <a:lnTo>
                    <a:pt x="702" y="538"/>
                  </a:lnTo>
                  <a:lnTo>
                    <a:pt x="702" y="540"/>
                  </a:lnTo>
                  <a:lnTo>
                    <a:pt x="705" y="540"/>
                  </a:lnTo>
                  <a:lnTo>
                    <a:pt x="705" y="540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5" y="535"/>
                  </a:lnTo>
                  <a:lnTo>
                    <a:pt x="707" y="538"/>
                  </a:lnTo>
                  <a:lnTo>
                    <a:pt x="707" y="540"/>
                  </a:lnTo>
                  <a:lnTo>
                    <a:pt x="710" y="543"/>
                  </a:lnTo>
                  <a:lnTo>
                    <a:pt x="710" y="546"/>
                  </a:lnTo>
                  <a:lnTo>
                    <a:pt x="710" y="548"/>
                  </a:lnTo>
                  <a:lnTo>
                    <a:pt x="707" y="548"/>
                  </a:lnTo>
                  <a:lnTo>
                    <a:pt x="707" y="551"/>
                  </a:lnTo>
                  <a:lnTo>
                    <a:pt x="707" y="554"/>
                  </a:lnTo>
                  <a:lnTo>
                    <a:pt x="707" y="556"/>
                  </a:lnTo>
                  <a:lnTo>
                    <a:pt x="707" y="559"/>
                  </a:lnTo>
                  <a:lnTo>
                    <a:pt x="707" y="562"/>
                  </a:lnTo>
                  <a:lnTo>
                    <a:pt x="705" y="564"/>
                  </a:lnTo>
                  <a:lnTo>
                    <a:pt x="705" y="567"/>
                  </a:lnTo>
                  <a:lnTo>
                    <a:pt x="702" y="564"/>
                  </a:lnTo>
                  <a:lnTo>
                    <a:pt x="702" y="567"/>
                  </a:lnTo>
                  <a:lnTo>
                    <a:pt x="699" y="570"/>
                  </a:lnTo>
                  <a:lnTo>
                    <a:pt x="699" y="572"/>
                  </a:lnTo>
                  <a:lnTo>
                    <a:pt x="702" y="572"/>
                  </a:lnTo>
                  <a:lnTo>
                    <a:pt x="705" y="575"/>
                  </a:lnTo>
                  <a:lnTo>
                    <a:pt x="705" y="575"/>
                  </a:lnTo>
                  <a:lnTo>
                    <a:pt x="707" y="575"/>
                  </a:lnTo>
                  <a:lnTo>
                    <a:pt x="707" y="578"/>
                  </a:lnTo>
                  <a:lnTo>
                    <a:pt x="705" y="578"/>
                  </a:lnTo>
                  <a:lnTo>
                    <a:pt x="705" y="580"/>
                  </a:lnTo>
                  <a:lnTo>
                    <a:pt x="702" y="583"/>
                  </a:lnTo>
                  <a:lnTo>
                    <a:pt x="702" y="586"/>
                  </a:lnTo>
                  <a:lnTo>
                    <a:pt x="699" y="588"/>
                  </a:lnTo>
                  <a:lnTo>
                    <a:pt x="699" y="588"/>
                  </a:lnTo>
                  <a:lnTo>
                    <a:pt x="699" y="591"/>
                  </a:lnTo>
                  <a:lnTo>
                    <a:pt x="697" y="594"/>
                  </a:lnTo>
                  <a:lnTo>
                    <a:pt x="694" y="599"/>
                  </a:lnTo>
                  <a:lnTo>
                    <a:pt x="694" y="602"/>
                  </a:lnTo>
                  <a:lnTo>
                    <a:pt x="697" y="604"/>
                  </a:lnTo>
                  <a:lnTo>
                    <a:pt x="697" y="604"/>
                  </a:lnTo>
                  <a:lnTo>
                    <a:pt x="697" y="607"/>
                  </a:lnTo>
                  <a:lnTo>
                    <a:pt x="697" y="610"/>
                  </a:lnTo>
                  <a:lnTo>
                    <a:pt x="697" y="610"/>
                  </a:lnTo>
                  <a:lnTo>
                    <a:pt x="697" y="612"/>
                  </a:lnTo>
                  <a:lnTo>
                    <a:pt x="694" y="615"/>
                  </a:lnTo>
                  <a:lnTo>
                    <a:pt x="694" y="615"/>
                  </a:lnTo>
                  <a:lnTo>
                    <a:pt x="694" y="618"/>
                  </a:lnTo>
                  <a:lnTo>
                    <a:pt x="691" y="618"/>
                  </a:lnTo>
                  <a:lnTo>
                    <a:pt x="691" y="618"/>
                  </a:lnTo>
                  <a:lnTo>
                    <a:pt x="691" y="615"/>
                  </a:lnTo>
                  <a:lnTo>
                    <a:pt x="689" y="615"/>
                  </a:lnTo>
                  <a:lnTo>
                    <a:pt x="686" y="618"/>
                  </a:lnTo>
                  <a:lnTo>
                    <a:pt x="686" y="620"/>
                  </a:lnTo>
                  <a:lnTo>
                    <a:pt x="689" y="623"/>
                  </a:lnTo>
                  <a:lnTo>
                    <a:pt x="691" y="626"/>
                  </a:lnTo>
                  <a:lnTo>
                    <a:pt x="694" y="628"/>
                  </a:lnTo>
                  <a:lnTo>
                    <a:pt x="694" y="631"/>
                  </a:lnTo>
                  <a:lnTo>
                    <a:pt x="697" y="634"/>
                  </a:lnTo>
                  <a:lnTo>
                    <a:pt x="699" y="636"/>
                  </a:lnTo>
                  <a:lnTo>
                    <a:pt x="702" y="636"/>
                  </a:lnTo>
                  <a:lnTo>
                    <a:pt x="705" y="639"/>
                  </a:lnTo>
                  <a:lnTo>
                    <a:pt x="705" y="639"/>
                  </a:lnTo>
                  <a:lnTo>
                    <a:pt x="705" y="642"/>
                  </a:lnTo>
                  <a:lnTo>
                    <a:pt x="705" y="642"/>
                  </a:lnTo>
                  <a:lnTo>
                    <a:pt x="705" y="642"/>
                  </a:lnTo>
                  <a:lnTo>
                    <a:pt x="707" y="645"/>
                  </a:lnTo>
                  <a:lnTo>
                    <a:pt x="707" y="645"/>
                  </a:lnTo>
                  <a:lnTo>
                    <a:pt x="707" y="647"/>
                  </a:lnTo>
                  <a:lnTo>
                    <a:pt x="707" y="647"/>
                  </a:lnTo>
                  <a:lnTo>
                    <a:pt x="705" y="650"/>
                  </a:lnTo>
                  <a:lnTo>
                    <a:pt x="705" y="650"/>
                  </a:lnTo>
                  <a:lnTo>
                    <a:pt x="705" y="650"/>
                  </a:lnTo>
                  <a:lnTo>
                    <a:pt x="707" y="650"/>
                  </a:lnTo>
                  <a:lnTo>
                    <a:pt x="707" y="650"/>
                  </a:lnTo>
                  <a:lnTo>
                    <a:pt x="710" y="650"/>
                  </a:lnTo>
                  <a:lnTo>
                    <a:pt x="710" y="650"/>
                  </a:lnTo>
                  <a:lnTo>
                    <a:pt x="710" y="650"/>
                  </a:lnTo>
                  <a:lnTo>
                    <a:pt x="713" y="650"/>
                  </a:lnTo>
                  <a:lnTo>
                    <a:pt x="713" y="650"/>
                  </a:lnTo>
                  <a:lnTo>
                    <a:pt x="713" y="650"/>
                  </a:lnTo>
                  <a:lnTo>
                    <a:pt x="715" y="650"/>
                  </a:lnTo>
                  <a:lnTo>
                    <a:pt x="715" y="653"/>
                  </a:lnTo>
                  <a:lnTo>
                    <a:pt x="715" y="653"/>
                  </a:lnTo>
                  <a:lnTo>
                    <a:pt x="718" y="653"/>
                  </a:lnTo>
                  <a:lnTo>
                    <a:pt x="718" y="653"/>
                  </a:lnTo>
                  <a:lnTo>
                    <a:pt x="721" y="653"/>
                  </a:lnTo>
                  <a:lnTo>
                    <a:pt x="723" y="653"/>
                  </a:lnTo>
                  <a:lnTo>
                    <a:pt x="726" y="653"/>
                  </a:lnTo>
                  <a:lnTo>
                    <a:pt x="726" y="653"/>
                  </a:lnTo>
                  <a:lnTo>
                    <a:pt x="729" y="653"/>
                  </a:lnTo>
                  <a:lnTo>
                    <a:pt x="729" y="655"/>
                  </a:lnTo>
                  <a:lnTo>
                    <a:pt x="729" y="655"/>
                  </a:lnTo>
                  <a:lnTo>
                    <a:pt x="731" y="655"/>
                  </a:lnTo>
                  <a:lnTo>
                    <a:pt x="734" y="658"/>
                  </a:lnTo>
                  <a:lnTo>
                    <a:pt x="737" y="658"/>
                  </a:lnTo>
                  <a:lnTo>
                    <a:pt x="737" y="658"/>
                  </a:lnTo>
                  <a:lnTo>
                    <a:pt x="739" y="658"/>
                  </a:lnTo>
                  <a:lnTo>
                    <a:pt x="737" y="655"/>
                  </a:lnTo>
                  <a:lnTo>
                    <a:pt x="739" y="655"/>
                  </a:lnTo>
                  <a:lnTo>
                    <a:pt x="739" y="655"/>
                  </a:lnTo>
                  <a:lnTo>
                    <a:pt x="742" y="655"/>
                  </a:lnTo>
                  <a:lnTo>
                    <a:pt x="745" y="655"/>
                  </a:lnTo>
                  <a:lnTo>
                    <a:pt x="745" y="655"/>
                  </a:lnTo>
                  <a:lnTo>
                    <a:pt x="745" y="655"/>
                  </a:lnTo>
                  <a:lnTo>
                    <a:pt x="747" y="653"/>
                  </a:lnTo>
                  <a:lnTo>
                    <a:pt x="747" y="655"/>
                  </a:lnTo>
                  <a:lnTo>
                    <a:pt x="750" y="655"/>
                  </a:lnTo>
                  <a:lnTo>
                    <a:pt x="750" y="655"/>
                  </a:lnTo>
                  <a:lnTo>
                    <a:pt x="753" y="658"/>
                  </a:lnTo>
                  <a:lnTo>
                    <a:pt x="753" y="658"/>
                  </a:lnTo>
                  <a:lnTo>
                    <a:pt x="755" y="658"/>
                  </a:lnTo>
                  <a:lnTo>
                    <a:pt x="755" y="658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61"/>
                  </a:lnTo>
                  <a:lnTo>
                    <a:pt x="758" y="658"/>
                  </a:lnTo>
                  <a:lnTo>
                    <a:pt x="758" y="658"/>
                  </a:lnTo>
                  <a:lnTo>
                    <a:pt x="761" y="658"/>
                  </a:lnTo>
                  <a:lnTo>
                    <a:pt x="761" y="658"/>
                  </a:lnTo>
                  <a:lnTo>
                    <a:pt x="758" y="655"/>
                  </a:lnTo>
                  <a:lnTo>
                    <a:pt x="758" y="655"/>
                  </a:lnTo>
                  <a:lnTo>
                    <a:pt x="755" y="653"/>
                  </a:lnTo>
                  <a:lnTo>
                    <a:pt x="755" y="653"/>
                  </a:lnTo>
                  <a:lnTo>
                    <a:pt x="753" y="653"/>
                  </a:lnTo>
                  <a:lnTo>
                    <a:pt x="753" y="653"/>
                  </a:lnTo>
                  <a:lnTo>
                    <a:pt x="750" y="650"/>
                  </a:lnTo>
                  <a:lnTo>
                    <a:pt x="753" y="650"/>
                  </a:lnTo>
                  <a:lnTo>
                    <a:pt x="753" y="650"/>
                  </a:lnTo>
                  <a:lnTo>
                    <a:pt x="753" y="647"/>
                  </a:lnTo>
                  <a:lnTo>
                    <a:pt x="750" y="647"/>
                  </a:lnTo>
                  <a:lnTo>
                    <a:pt x="747" y="647"/>
                  </a:lnTo>
                  <a:lnTo>
                    <a:pt x="747" y="647"/>
                  </a:lnTo>
                  <a:lnTo>
                    <a:pt x="747" y="650"/>
                  </a:lnTo>
                  <a:lnTo>
                    <a:pt x="745" y="650"/>
                  </a:lnTo>
                  <a:lnTo>
                    <a:pt x="745" y="650"/>
                  </a:lnTo>
                  <a:lnTo>
                    <a:pt x="745" y="653"/>
                  </a:lnTo>
                  <a:lnTo>
                    <a:pt x="742" y="653"/>
                  </a:lnTo>
                  <a:lnTo>
                    <a:pt x="739" y="650"/>
                  </a:lnTo>
                  <a:lnTo>
                    <a:pt x="739" y="650"/>
                  </a:lnTo>
                  <a:lnTo>
                    <a:pt x="737" y="650"/>
                  </a:lnTo>
                  <a:lnTo>
                    <a:pt x="739" y="650"/>
                  </a:lnTo>
                  <a:lnTo>
                    <a:pt x="737" y="647"/>
                  </a:lnTo>
                  <a:lnTo>
                    <a:pt x="739" y="647"/>
                  </a:lnTo>
                  <a:lnTo>
                    <a:pt x="739" y="647"/>
                  </a:lnTo>
                  <a:lnTo>
                    <a:pt x="742" y="650"/>
                  </a:lnTo>
                  <a:lnTo>
                    <a:pt x="745" y="647"/>
                  </a:lnTo>
                  <a:lnTo>
                    <a:pt x="745" y="647"/>
                  </a:lnTo>
                  <a:lnTo>
                    <a:pt x="745" y="645"/>
                  </a:lnTo>
                  <a:lnTo>
                    <a:pt x="742" y="645"/>
                  </a:lnTo>
                  <a:lnTo>
                    <a:pt x="742" y="645"/>
                  </a:lnTo>
                  <a:lnTo>
                    <a:pt x="742" y="642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5"/>
                  </a:lnTo>
                  <a:lnTo>
                    <a:pt x="739" y="642"/>
                  </a:lnTo>
                  <a:lnTo>
                    <a:pt x="739" y="642"/>
                  </a:lnTo>
                  <a:lnTo>
                    <a:pt x="739" y="642"/>
                  </a:lnTo>
                  <a:lnTo>
                    <a:pt x="739" y="639"/>
                  </a:lnTo>
                  <a:lnTo>
                    <a:pt x="739" y="639"/>
                  </a:lnTo>
                  <a:lnTo>
                    <a:pt x="737" y="639"/>
                  </a:lnTo>
                  <a:lnTo>
                    <a:pt x="737" y="642"/>
                  </a:lnTo>
                  <a:lnTo>
                    <a:pt x="737" y="642"/>
                  </a:lnTo>
                  <a:lnTo>
                    <a:pt x="734" y="642"/>
                  </a:lnTo>
                  <a:lnTo>
                    <a:pt x="737" y="645"/>
                  </a:lnTo>
                  <a:lnTo>
                    <a:pt x="737" y="645"/>
                  </a:lnTo>
                  <a:lnTo>
                    <a:pt x="734" y="647"/>
                  </a:lnTo>
                  <a:lnTo>
                    <a:pt x="734" y="645"/>
                  </a:lnTo>
                  <a:lnTo>
                    <a:pt x="734" y="645"/>
                  </a:lnTo>
                  <a:lnTo>
                    <a:pt x="734" y="642"/>
                  </a:lnTo>
                  <a:lnTo>
                    <a:pt x="731" y="642"/>
                  </a:lnTo>
                  <a:lnTo>
                    <a:pt x="731" y="642"/>
                  </a:lnTo>
                  <a:lnTo>
                    <a:pt x="729" y="645"/>
                  </a:lnTo>
                  <a:lnTo>
                    <a:pt x="729" y="645"/>
                  </a:lnTo>
                  <a:lnTo>
                    <a:pt x="729" y="642"/>
                  </a:lnTo>
                  <a:lnTo>
                    <a:pt x="729" y="642"/>
                  </a:lnTo>
                  <a:lnTo>
                    <a:pt x="726" y="642"/>
                  </a:lnTo>
                  <a:lnTo>
                    <a:pt x="726" y="642"/>
                  </a:lnTo>
                  <a:lnTo>
                    <a:pt x="723" y="642"/>
                  </a:lnTo>
                  <a:lnTo>
                    <a:pt x="723" y="642"/>
                  </a:lnTo>
                  <a:lnTo>
                    <a:pt x="723" y="639"/>
                  </a:lnTo>
                  <a:lnTo>
                    <a:pt x="723" y="639"/>
                  </a:lnTo>
                  <a:lnTo>
                    <a:pt x="721" y="639"/>
                  </a:lnTo>
                  <a:lnTo>
                    <a:pt x="718" y="639"/>
                  </a:lnTo>
                  <a:lnTo>
                    <a:pt x="718" y="639"/>
                  </a:lnTo>
                  <a:lnTo>
                    <a:pt x="715" y="639"/>
                  </a:lnTo>
                  <a:lnTo>
                    <a:pt x="715" y="639"/>
                  </a:lnTo>
                  <a:lnTo>
                    <a:pt x="715" y="639"/>
                  </a:lnTo>
                  <a:lnTo>
                    <a:pt x="715" y="636"/>
                  </a:lnTo>
                  <a:lnTo>
                    <a:pt x="715" y="636"/>
                  </a:lnTo>
                  <a:lnTo>
                    <a:pt x="715" y="636"/>
                  </a:lnTo>
                  <a:lnTo>
                    <a:pt x="718" y="636"/>
                  </a:lnTo>
                  <a:lnTo>
                    <a:pt x="718" y="636"/>
                  </a:lnTo>
                  <a:lnTo>
                    <a:pt x="718" y="634"/>
                  </a:lnTo>
                  <a:lnTo>
                    <a:pt x="721" y="636"/>
                  </a:lnTo>
                  <a:lnTo>
                    <a:pt x="721" y="634"/>
                  </a:lnTo>
                  <a:lnTo>
                    <a:pt x="718" y="634"/>
                  </a:lnTo>
                  <a:lnTo>
                    <a:pt x="718" y="634"/>
                  </a:lnTo>
                  <a:lnTo>
                    <a:pt x="715" y="634"/>
                  </a:lnTo>
                  <a:lnTo>
                    <a:pt x="715" y="634"/>
                  </a:lnTo>
                  <a:lnTo>
                    <a:pt x="715" y="631"/>
                  </a:lnTo>
                  <a:lnTo>
                    <a:pt x="715" y="631"/>
                  </a:lnTo>
                  <a:lnTo>
                    <a:pt x="713" y="631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28"/>
                  </a:lnTo>
                  <a:lnTo>
                    <a:pt x="713" y="631"/>
                  </a:lnTo>
                  <a:lnTo>
                    <a:pt x="710" y="631"/>
                  </a:lnTo>
                  <a:lnTo>
                    <a:pt x="707" y="631"/>
                  </a:lnTo>
                  <a:lnTo>
                    <a:pt x="707" y="631"/>
                  </a:lnTo>
                  <a:lnTo>
                    <a:pt x="705" y="631"/>
                  </a:lnTo>
                  <a:lnTo>
                    <a:pt x="705" y="631"/>
                  </a:lnTo>
                  <a:lnTo>
                    <a:pt x="702" y="628"/>
                  </a:lnTo>
                  <a:lnTo>
                    <a:pt x="702" y="628"/>
                  </a:lnTo>
                  <a:lnTo>
                    <a:pt x="702" y="626"/>
                  </a:lnTo>
                  <a:lnTo>
                    <a:pt x="702" y="623"/>
                  </a:lnTo>
                  <a:lnTo>
                    <a:pt x="702" y="623"/>
                  </a:lnTo>
                  <a:lnTo>
                    <a:pt x="702" y="620"/>
                  </a:lnTo>
                  <a:lnTo>
                    <a:pt x="705" y="618"/>
                  </a:lnTo>
                  <a:lnTo>
                    <a:pt x="705" y="615"/>
                  </a:lnTo>
                  <a:lnTo>
                    <a:pt x="705" y="612"/>
                  </a:lnTo>
                  <a:lnTo>
                    <a:pt x="705" y="612"/>
                  </a:lnTo>
                  <a:lnTo>
                    <a:pt x="707" y="610"/>
                  </a:lnTo>
                  <a:lnTo>
                    <a:pt x="707" y="610"/>
                  </a:lnTo>
                  <a:lnTo>
                    <a:pt x="707" y="610"/>
                  </a:lnTo>
                  <a:lnTo>
                    <a:pt x="710" y="610"/>
                  </a:lnTo>
                  <a:lnTo>
                    <a:pt x="710" y="610"/>
                  </a:lnTo>
                  <a:lnTo>
                    <a:pt x="710" y="610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10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7"/>
                  </a:lnTo>
                  <a:lnTo>
                    <a:pt x="707" y="604"/>
                  </a:lnTo>
                  <a:lnTo>
                    <a:pt x="707" y="602"/>
                  </a:lnTo>
                  <a:lnTo>
                    <a:pt x="707" y="602"/>
                  </a:lnTo>
                  <a:lnTo>
                    <a:pt x="707" y="599"/>
                  </a:lnTo>
                  <a:lnTo>
                    <a:pt x="710" y="596"/>
                  </a:lnTo>
                  <a:lnTo>
                    <a:pt x="710" y="594"/>
                  </a:lnTo>
                  <a:lnTo>
                    <a:pt x="710" y="594"/>
                  </a:lnTo>
                  <a:lnTo>
                    <a:pt x="710" y="591"/>
                  </a:lnTo>
                  <a:lnTo>
                    <a:pt x="713" y="588"/>
                  </a:lnTo>
                  <a:lnTo>
                    <a:pt x="715" y="586"/>
                  </a:lnTo>
                  <a:lnTo>
                    <a:pt x="715" y="583"/>
                  </a:lnTo>
                  <a:lnTo>
                    <a:pt x="718" y="583"/>
                  </a:lnTo>
                  <a:lnTo>
                    <a:pt x="718" y="580"/>
                  </a:lnTo>
                  <a:lnTo>
                    <a:pt x="721" y="580"/>
                  </a:lnTo>
                  <a:lnTo>
                    <a:pt x="723" y="580"/>
                  </a:lnTo>
                  <a:lnTo>
                    <a:pt x="726" y="580"/>
                  </a:lnTo>
                  <a:lnTo>
                    <a:pt x="729" y="580"/>
                  </a:lnTo>
                  <a:lnTo>
                    <a:pt x="729" y="580"/>
                  </a:lnTo>
                  <a:lnTo>
                    <a:pt x="731" y="583"/>
                  </a:lnTo>
                  <a:lnTo>
                    <a:pt x="734" y="580"/>
                  </a:lnTo>
                  <a:lnTo>
                    <a:pt x="734" y="580"/>
                  </a:lnTo>
                  <a:lnTo>
                    <a:pt x="737" y="580"/>
                  </a:lnTo>
                  <a:lnTo>
                    <a:pt x="737" y="580"/>
                  </a:lnTo>
                  <a:lnTo>
                    <a:pt x="739" y="580"/>
                  </a:lnTo>
                  <a:lnTo>
                    <a:pt x="739" y="578"/>
                  </a:lnTo>
                  <a:lnTo>
                    <a:pt x="739" y="575"/>
                  </a:lnTo>
                  <a:lnTo>
                    <a:pt x="737" y="575"/>
                  </a:lnTo>
                  <a:lnTo>
                    <a:pt x="737" y="572"/>
                  </a:lnTo>
                  <a:lnTo>
                    <a:pt x="737" y="570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7" y="567"/>
                  </a:lnTo>
                  <a:lnTo>
                    <a:pt x="734" y="567"/>
                  </a:lnTo>
                  <a:lnTo>
                    <a:pt x="734" y="564"/>
                  </a:lnTo>
                  <a:lnTo>
                    <a:pt x="734" y="564"/>
                  </a:lnTo>
                  <a:lnTo>
                    <a:pt x="734" y="559"/>
                  </a:lnTo>
                  <a:lnTo>
                    <a:pt x="734" y="559"/>
                  </a:lnTo>
                  <a:lnTo>
                    <a:pt x="731" y="556"/>
                  </a:lnTo>
                  <a:lnTo>
                    <a:pt x="731" y="556"/>
                  </a:lnTo>
                  <a:lnTo>
                    <a:pt x="734" y="556"/>
                  </a:lnTo>
                  <a:lnTo>
                    <a:pt x="734" y="554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1" y="548"/>
                  </a:lnTo>
                  <a:lnTo>
                    <a:pt x="731" y="548"/>
                  </a:lnTo>
                  <a:lnTo>
                    <a:pt x="731" y="548"/>
                  </a:lnTo>
                  <a:lnTo>
                    <a:pt x="729" y="551"/>
                  </a:lnTo>
                  <a:lnTo>
                    <a:pt x="729" y="548"/>
                  </a:lnTo>
                  <a:lnTo>
                    <a:pt x="729" y="548"/>
                  </a:lnTo>
                  <a:lnTo>
                    <a:pt x="731" y="546"/>
                  </a:lnTo>
                  <a:lnTo>
                    <a:pt x="731" y="543"/>
                  </a:lnTo>
                  <a:lnTo>
                    <a:pt x="729" y="543"/>
                  </a:lnTo>
                  <a:lnTo>
                    <a:pt x="729" y="540"/>
                  </a:lnTo>
                  <a:lnTo>
                    <a:pt x="729" y="538"/>
                  </a:lnTo>
                  <a:lnTo>
                    <a:pt x="731" y="538"/>
                  </a:lnTo>
                  <a:lnTo>
                    <a:pt x="731" y="535"/>
                  </a:lnTo>
                  <a:lnTo>
                    <a:pt x="731" y="532"/>
                  </a:lnTo>
                  <a:lnTo>
                    <a:pt x="731" y="532"/>
                  </a:lnTo>
                  <a:lnTo>
                    <a:pt x="731" y="530"/>
                  </a:lnTo>
                  <a:lnTo>
                    <a:pt x="731" y="530"/>
                  </a:lnTo>
                  <a:lnTo>
                    <a:pt x="731" y="527"/>
                  </a:lnTo>
                  <a:lnTo>
                    <a:pt x="731" y="524"/>
                  </a:lnTo>
                  <a:lnTo>
                    <a:pt x="731" y="522"/>
                  </a:lnTo>
                  <a:lnTo>
                    <a:pt x="731" y="519"/>
                  </a:lnTo>
                  <a:lnTo>
                    <a:pt x="734" y="514"/>
                  </a:lnTo>
                  <a:lnTo>
                    <a:pt x="734" y="511"/>
                  </a:lnTo>
                  <a:lnTo>
                    <a:pt x="734" y="511"/>
                  </a:lnTo>
                  <a:lnTo>
                    <a:pt x="734" y="508"/>
                  </a:lnTo>
                  <a:lnTo>
                    <a:pt x="731" y="508"/>
                  </a:lnTo>
                  <a:lnTo>
                    <a:pt x="731" y="506"/>
                  </a:lnTo>
                  <a:lnTo>
                    <a:pt x="729" y="506"/>
                  </a:lnTo>
                  <a:lnTo>
                    <a:pt x="729" y="503"/>
                  </a:lnTo>
                  <a:lnTo>
                    <a:pt x="726" y="503"/>
                  </a:lnTo>
                  <a:lnTo>
                    <a:pt x="723" y="503"/>
                  </a:lnTo>
                  <a:lnTo>
                    <a:pt x="721" y="500"/>
                  </a:lnTo>
                  <a:lnTo>
                    <a:pt x="721" y="500"/>
                  </a:lnTo>
                  <a:lnTo>
                    <a:pt x="718" y="498"/>
                  </a:lnTo>
                  <a:lnTo>
                    <a:pt x="718" y="495"/>
                  </a:lnTo>
                  <a:lnTo>
                    <a:pt x="715" y="495"/>
                  </a:lnTo>
                  <a:lnTo>
                    <a:pt x="713" y="492"/>
                  </a:lnTo>
                  <a:lnTo>
                    <a:pt x="710" y="492"/>
                  </a:lnTo>
                  <a:lnTo>
                    <a:pt x="710" y="492"/>
                  </a:lnTo>
                  <a:lnTo>
                    <a:pt x="707" y="490"/>
                  </a:lnTo>
                  <a:lnTo>
                    <a:pt x="705" y="490"/>
                  </a:lnTo>
                  <a:lnTo>
                    <a:pt x="705" y="487"/>
                  </a:lnTo>
                  <a:lnTo>
                    <a:pt x="705" y="484"/>
                  </a:lnTo>
                  <a:lnTo>
                    <a:pt x="705" y="484"/>
                  </a:lnTo>
                  <a:lnTo>
                    <a:pt x="705" y="484"/>
                  </a:lnTo>
                  <a:lnTo>
                    <a:pt x="705" y="481"/>
                  </a:lnTo>
                  <a:lnTo>
                    <a:pt x="705" y="479"/>
                  </a:lnTo>
                  <a:lnTo>
                    <a:pt x="705" y="476"/>
                  </a:lnTo>
                  <a:lnTo>
                    <a:pt x="702" y="476"/>
                  </a:lnTo>
                  <a:lnTo>
                    <a:pt x="702" y="476"/>
                  </a:lnTo>
                  <a:lnTo>
                    <a:pt x="702" y="476"/>
                  </a:lnTo>
                  <a:lnTo>
                    <a:pt x="699" y="476"/>
                  </a:lnTo>
                  <a:lnTo>
                    <a:pt x="699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3"/>
                  </a:lnTo>
                  <a:lnTo>
                    <a:pt x="694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1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6" y="465"/>
                  </a:lnTo>
                  <a:lnTo>
                    <a:pt x="683" y="463"/>
                  </a:lnTo>
                  <a:lnTo>
                    <a:pt x="683" y="460"/>
                  </a:lnTo>
                  <a:lnTo>
                    <a:pt x="681" y="460"/>
                  </a:lnTo>
                  <a:lnTo>
                    <a:pt x="678" y="457"/>
                  </a:lnTo>
                  <a:lnTo>
                    <a:pt x="675" y="457"/>
                  </a:lnTo>
                  <a:lnTo>
                    <a:pt x="670" y="457"/>
                  </a:lnTo>
                  <a:lnTo>
                    <a:pt x="667" y="457"/>
                  </a:lnTo>
                  <a:lnTo>
                    <a:pt x="667" y="455"/>
                  </a:lnTo>
                  <a:lnTo>
                    <a:pt x="665" y="455"/>
                  </a:lnTo>
                  <a:lnTo>
                    <a:pt x="662" y="455"/>
                  </a:lnTo>
                  <a:lnTo>
                    <a:pt x="659" y="455"/>
                  </a:lnTo>
                  <a:lnTo>
                    <a:pt x="657" y="455"/>
                  </a:lnTo>
                  <a:lnTo>
                    <a:pt x="654" y="455"/>
                  </a:lnTo>
                  <a:lnTo>
                    <a:pt x="651" y="455"/>
                  </a:lnTo>
                  <a:lnTo>
                    <a:pt x="649" y="457"/>
                  </a:lnTo>
                  <a:lnTo>
                    <a:pt x="649" y="457"/>
                  </a:lnTo>
                  <a:lnTo>
                    <a:pt x="646" y="457"/>
                  </a:lnTo>
                  <a:lnTo>
                    <a:pt x="646" y="460"/>
                  </a:lnTo>
                  <a:lnTo>
                    <a:pt x="643" y="460"/>
                  </a:lnTo>
                  <a:lnTo>
                    <a:pt x="640" y="460"/>
                  </a:lnTo>
                  <a:lnTo>
                    <a:pt x="640" y="463"/>
                  </a:lnTo>
                  <a:lnTo>
                    <a:pt x="640" y="463"/>
                  </a:lnTo>
                  <a:lnTo>
                    <a:pt x="640" y="465"/>
                  </a:lnTo>
                  <a:lnTo>
                    <a:pt x="638" y="465"/>
                  </a:lnTo>
                  <a:lnTo>
                    <a:pt x="635" y="465"/>
                  </a:lnTo>
                  <a:lnTo>
                    <a:pt x="632" y="465"/>
                  </a:lnTo>
                  <a:lnTo>
                    <a:pt x="632" y="465"/>
                  </a:lnTo>
                  <a:lnTo>
                    <a:pt x="630" y="465"/>
                  </a:lnTo>
                  <a:lnTo>
                    <a:pt x="627" y="465"/>
                  </a:lnTo>
                  <a:lnTo>
                    <a:pt x="627" y="465"/>
                  </a:lnTo>
                  <a:lnTo>
                    <a:pt x="624" y="463"/>
                  </a:lnTo>
                  <a:lnTo>
                    <a:pt x="624" y="460"/>
                  </a:lnTo>
                  <a:lnTo>
                    <a:pt x="622" y="460"/>
                  </a:lnTo>
                  <a:lnTo>
                    <a:pt x="622" y="460"/>
                  </a:lnTo>
                  <a:lnTo>
                    <a:pt x="619" y="457"/>
                  </a:lnTo>
                  <a:lnTo>
                    <a:pt x="619" y="457"/>
                  </a:lnTo>
                  <a:lnTo>
                    <a:pt x="616" y="455"/>
                  </a:lnTo>
                  <a:lnTo>
                    <a:pt x="614" y="455"/>
                  </a:lnTo>
                  <a:lnTo>
                    <a:pt x="611" y="455"/>
                  </a:lnTo>
                  <a:lnTo>
                    <a:pt x="608" y="455"/>
                  </a:lnTo>
                  <a:lnTo>
                    <a:pt x="606" y="455"/>
                  </a:lnTo>
                  <a:lnTo>
                    <a:pt x="606" y="455"/>
                  </a:lnTo>
                  <a:lnTo>
                    <a:pt x="603" y="455"/>
                  </a:lnTo>
                  <a:lnTo>
                    <a:pt x="603" y="455"/>
                  </a:lnTo>
                  <a:lnTo>
                    <a:pt x="603" y="457"/>
                  </a:lnTo>
                  <a:lnTo>
                    <a:pt x="600" y="457"/>
                  </a:lnTo>
                  <a:lnTo>
                    <a:pt x="598" y="457"/>
                  </a:lnTo>
                  <a:lnTo>
                    <a:pt x="598" y="457"/>
                  </a:lnTo>
                  <a:lnTo>
                    <a:pt x="595" y="457"/>
                  </a:lnTo>
                  <a:lnTo>
                    <a:pt x="595" y="457"/>
                  </a:lnTo>
                  <a:lnTo>
                    <a:pt x="595" y="457"/>
                  </a:lnTo>
                  <a:lnTo>
                    <a:pt x="592" y="455"/>
                  </a:lnTo>
                  <a:lnTo>
                    <a:pt x="592" y="452"/>
                  </a:lnTo>
                  <a:lnTo>
                    <a:pt x="592" y="452"/>
                  </a:lnTo>
                  <a:lnTo>
                    <a:pt x="592" y="449"/>
                  </a:lnTo>
                  <a:lnTo>
                    <a:pt x="592" y="447"/>
                  </a:lnTo>
                  <a:lnTo>
                    <a:pt x="592" y="444"/>
                  </a:lnTo>
                  <a:lnTo>
                    <a:pt x="592" y="441"/>
                  </a:lnTo>
                  <a:lnTo>
                    <a:pt x="595" y="439"/>
                  </a:lnTo>
                  <a:lnTo>
                    <a:pt x="598" y="436"/>
                  </a:lnTo>
                  <a:lnTo>
                    <a:pt x="598" y="433"/>
                  </a:lnTo>
                  <a:lnTo>
                    <a:pt x="598" y="431"/>
                  </a:lnTo>
                  <a:lnTo>
                    <a:pt x="600" y="428"/>
                  </a:lnTo>
                  <a:lnTo>
                    <a:pt x="600" y="425"/>
                  </a:lnTo>
                  <a:lnTo>
                    <a:pt x="603" y="423"/>
                  </a:lnTo>
                  <a:lnTo>
                    <a:pt x="603" y="417"/>
                  </a:lnTo>
                  <a:lnTo>
                    <a:pt x="603" y="415"/>
                  </a:lnTo>
                  <a:lnTo>
                    <a:pt x="603" y="412"/>
                  </a:lnTo>
                  <a:lnTo>
                    <a:pt x="603" y="409"/>
                  </a:lnTo>
                  <a:lnTo>
                    <a:pt x="603" y="407"/>
                  </a:lnTo>
                  <a:lnTo>
                    <a:pt x="603" y="404"/>
                  </a:lnTo>
                  <a:lnTo>
                    <a:pt x="603" y="404"/>
                  </a:lnTo>
                  <a:lnTo>
                    <a:pt x="600" y="401"/>
                  </a:lnTo>
                  <a:lnTo>
                    <a:pt x="600" y="399"/>
                  </a:lnTo>
                  <a:lnTo>
                    <a:pt x="598" y="396"/>
                  </a:lnTo>
                  <a:lnTo>
                    <a:pt x="598" y="396"/>
                  </a:lnTo>
                  <a:lnTo>
                    <a:pt x="598" y="393"/>
                  </a:lnTo>
                  <a:lnTo>
                    <a:pt x="598" y="391"/>
                  </a:lnTo>
                  <a:lnTo>
                    <a:pt x="598" y="388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3"/>
                  </a:lnTo>
                  <a:lnTo>
                    <a:pt x="598" y="380"/>
                  </a:lnTo>
                  <a:lnTo>
                    <a:pt x="600" y="380"/>
                  </a:lnTo>
                  <a:lnTo>
                    <a:pt x="600" y="380"/>
                  </a:lnTo>
                  <a:lnTo>
                    <a:pt x="603" y="377"/>
                  </a:lnTo>
                  <a:lnTo>
                    <a:pt x="603" y="377"/>
                  </a:lnTo>
                  <a:lnTo>
                    <a:pt x="603" y="377"/>
                  </a:lnTo>
                  <a:lnTo>
                    <a:pt x="606" y="375"/>
                  </a:lnTo>
                  <a:lnTo>
                    <a:pt x="606" y="372"/>
                  </a:lnTo>
                  <a:lnTo>
                    <a:pt x="606" y="369"/>
                  </a:lnTo>
                  <a:lnTo>
                    <a:pt x="608" y="369"/>
                  </a:lnTo>
                  <a:lnTo>
                    <a:pt x="611" y="367"/>
                  </a:lnTo>
                  <a:lnTo>
                    <a:pt x="611" y="364"/>
                  </a:lnTo>
                  <a:lnTo>
                    <a:pt x="611" y="361"/>
                  </a:lnTo>
                  <a:lnTo>
                    <a:pt x="611" y="359"/>
                  </a:lnTo>
                  <a:lnTo>
                    <a:pt x="611" y="359"/>
                  </a:lnTo>
                  <a:lnTo>
                    <a:pt x="611" y="356"/>
                  </a:lnTo>
                  <a:lnTo>
                    <a:pt x="614" y="356"/>
                  </a:lnTo>
                  <a:lnTo>
                    <a:pt x="614" y="356"/>
                  </a:lnTo>
                  <a:lnTo>
                    <a:pt x="614" y="353"/>
                  </a:lnTo>
                  <a:lnTo>
                    <a:pt x="616" y="353"/>
                  </a:lnTo>
                  <a:lnTo>
                    <a:pt x="616" y="351"/>
                  </a:lnTo>
                  <a:lnTo>
                    <a:pt x="616" y="348"/>
                  </a:lnTo>
                  <a:lnTo>
                    <a:pt x="614" y="348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6" y="343"/>
                  </a:lnTo>
                  <a:lnTo>
                    <a:pt x="619" y="340"/>
                  </a:lnTo>
                  <a:lnTo>
                    <a:pt x="622" y="337"/>
                  </a:lnTo>
                  <a:lnTo>
                    <a:pt x="624" y="332"/>
                  </a:lnTo>
                  <a:lnTo>
                    <a:pt x="627" y="332"/>
                  </a:lnTo>
                  <a:lnTo>
                    <a:pt x="630" y="329"/>
                  </a:lnTo>
                  <a:lnTo>
                    <a:pt x="632" y="324"/>
                  </a:lnTo>
                  <a:lnTo>
                    <a:pt x="635" y="324"/>
                  </a:lnTo>
                  <a:lnTo>
                    <a:pt x="635" y="321"/>
                  </a:lnTo>
                  <a:lnTo>
                    <a:pt x="638" y="318"/>
                  </a:lnTo>
                  <a:lnTo>
                    <a:pt x="638" y="318"/>
                  </a:lnTo>
                  <a:lnTo>
                    <a:pt x="640" y="318"/>
                  </a:lnTo>
                  <a:lnTo>
                    <a:pt x="643" y="313"/>
                  </a:lnTo>
                  <a:lnTo>
                    <a:pt x="643" y="310"/>
                  </a:lnTo>
                  <a:lnTo>
                    <a:pt x="646" y="310"/>
                  </a:lnTo>
                  <a:lnTo>
                    <a:pt x="649" y="305"/>
                  </a:lnTo>
                  <a:lnTo>
                    <a:pt x="649" y="302"/>
                  </a:lnTo>
                  <a:lnTo>
                    <a:pt x="649" y="297"/>
                  </a:lnTo>
                  <a:lnTo>
                    <a:pt x="649" y="292"/>
                  </a:lnTo>
                  <a:lnTo>
                    <a:pt x="649" y="289"/>
                  </a:lnTo>
                  <a:lnTo>
                    <a:pt x="649" y="286"/>
                  </a:lnTo>
                  <a:lnTo>
                    <a:pt x="646" y="284"/>
                  </a:lnTo>
                  <a:lnTo>
                    <a:pt x="646" y="281"/>
                  </a:lnTo>
                  <a:lnTo>
                    <a:pt x="643" y="278"/>
                  </a:lnTo>
                  <a:lnTo>
                    <a:pt x="643" y="276"/>
                  </a:lnTo>
                  <a:lnTo>
                    <a:pt x="640" y="273"/>
                  </a:lnTo>
                  <a:lnTo>
                    <a:pt x="640" y="270"/>
                  </a:lnTo>
                  <a:lnTo>
                    <a:pt x="640" y="268"/>
                  </a:lnTo>
                  <a:lnTo>
                    <a:pt x="640" y="265"/>
                  </a:lnTo>
                  <a:lnTo>
                    <a:pt x="640" y="262"/>
                  </a:lnTo>
                  <a:lnTo>
                    <a:pt x="640" y="257"/>
                  </a:lnTo>
                  <a:lnTo>
                    <a:pt x="643" y="254"/>
                  </a:lnTo>
                  <a:lnTo>
                    <a:pt x="643" y="252"/>
                  </a:lnTo>
                  <a:lnTo>
                    <a:pt x="640" y="246"/>
                  </a:lnTo>
                  <a:lnTo>
                    <a:pt x="640" y="244"/>
                  </a:lnTo>
                  <a:lnTo>
                    <a:pt x="638" y="241"/>
                  </a:lnTo>
                  <a:lnTo>
                    <a:pt x="638" y="238"/>
                  </a:lnTo>
                  <a:lnTo>
                    <a:pt x="640" y="236"/>
                  </a:lnTo>
                  <a:lnTo>
                    <a:pt x="640" y="233"/>
                  </a:lnTo>
                  <a:lnTo>
                    <a:pt x="638" y="230"/>
                  </a:lnTo>
                  <a:lnTo>
                    <a:pt x="638" y="228"/>
                  </a:lnTo>
                  <a:lnTo>
                    <a:pt x="638" y="228"/>
                  </a:lnTo>
                  <a:lnTo>
                    <a:pt x="638" y="225"/>
                  </a:lnTo>
                  <a:lnTo>
                    <a:pt x="638" y="222"/>
                  </a:lnTo>
                  <a:lnTo>
                    <a:pt x="635" y="220"/>
                  </a:lnTo>
                  <a:lnTo>
                    <a:pt x="635" y="217"/>
                  </a:lnTo>
                  <a:lnTo>
                    <a:pt x="635" y="214"/>
                  </a:lnTo>
                  <a:lnTo>
                    <a:pt x="632" y="214"/>
                  </a:lnTo>
                  <a:lnTo>
                    <a:pt x="632" y="212"/>
                  </a:lnTo>
                  <a:lnTo>
                    <a:pt x="630" y="212"/>
                  </a:lnTo>
                  <a:lnTo>
                    <a:pt x="630" y="209"/>
                  </a:lnTo>
                  <a:lnTo>
                    <a:pt x="627" y="209"/>
                  </a:lnTo>
                  <a:lnTo>
                    <a:pt x="627" y="206"/>
                  </a:lnTo>
                  <a:lnTo>
                    <a:pt x="624" y="206"/>
                  </a:lnTo>
                  <a:lnTo>
                    <a:pt x="624" y="204"/>
                  </a:lnTo>
                  <a:lnTo>
                    <a:pt x="624" y="204"/>
                  </a:lnTo>
                  <a:lnTo>
                    <a:pt x="624" y="204"/>
                  </a:lnTo>
                  <a:lnTo>
                    <a:pt x="624" y="201"/>
                  </a:lnTo>
                  <a:lnTo>
                    <a:pt x="624" y="201"/>
                  </a:lnTo>
                  <a:lnTo>
                    <a:pt x="624" y="201"/>
                  </a:lnTo>
                  <a:lnTo>
                    <a:pt x="627" y="198"/>
                  </a:lnTo>
                  <a:lnTo>
                    <a:pt x="630" y="198"/>
                  </a:lnTo>
                  <a:lnTo>
                    <a:pt x="635" y="190"/>
                  </a:lnTo>
                  <a:lnTo>
                    <a:pt x="638" y="188"/>
                  </a:lnTo>
                  <a:lnTo>
                    <a:pt x="640" y="185"/>
                  </a:lnTo>
                  <a:lnTo>
                    <a:pt x="643" y="185"/>
                  </a:lnTo>
                  <a:lnTo>
                    <a:pt x="646" y="182"/>
                  </a:lnTo>
                  <a:lnTo>
                    <a:pt x="649" y="180"/>
                  </a:lnTo>
                  <a:lnTo>
                    <a:pt x="649" y="177"/>
                  </a:lnTo>
                  <a:lnTo>
                    <a:pt x="649" y="174"/>
                  </a:lnTo>
                  <a:lnTo>
                    <a:pt x="651" y="172"/>
                  </a:lnTo>
                  <a:lnTo>
                    <a:pt x="651" y="172"/>
                  </a:lnTo>
                  <a:lnTo>
                    <a:pt x="651" y="172"/>
                  </a:lnTo>
                  <a:lnTo>
                    <a:pt x="651" y="169"/>
                  </a:lnTo>
                  <a:lnTo>
                    <a:pt x="651" y="166"/>
                  </a:lnTo>
                  <a:lnTo>
                    <a:pt x="651" y="166"/>
                  </a:lnTo>
                  <a:lnTo>
                    <a:pt x="651" y="163"/>
                  </a:lnTo>
                  <a:lnTo>
                    <a:pt x="654" y="161"/>
                  </a:lnTo>
                  <a:lnTo>
                    <a:pt x="657" y="161"/>
                  </a:lnTo>
                  <a:lnTo>
                    <a:pt x="659" y="158"/>
                  </a:lnTo>
                  <a:lnTo>
                    <a:pt x="662" y="158"/>
                  </a:lnTo>
                  <a:lnTo>
                    <a:pt x="665" y="158"/>
                  </a:lnTo>
                  <a:lnTo>
                    <a:pt x="667" y="155"/>
                  </a:lnTo>
                  <a:lnTo>
                    <a:pt x="670" y="155"/>
                  </a:lnTo>
                  <a:lnTo>
                    <a:pt x="673" y="155"/>
                  </a:lnTo>
                  <a:lnTo>
                    <a:pt x="675" y="155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81" y="153"/>
                  </a:lnTo>
                  <a:lnTo>
                    <a:pt x="681" y="153"/>
                  </a:lnTo>
                  <a:lnTo>
                    <a:pt x="683" y="150"/>
                  </a:lnTo>
                  <a:lnTo>
                    <a:pt x="683" y="153"/>
                  </a:lnTo>
                  <a:lnTo>
                    <a:pt x="686" y="153"/>
                  </a:lnTo>
                  <a:lnTo>
                    <a:pt x="689" y="150"/>
                  </a:lnTo>
                  <a:lnTo>
                    <a:pt x="689" y="150"/>
                  </a:lnTo>
                  <a:lnTo>
                    <a:pt x="691" y="150"/>
                  </a:lnTo>
                  <a:lnTo>
                    <a:pt x="691" y="150"/>
                  </a:lnTo>
                  <a:lnTo>
                    <a:pt x="694" y="150"/>
                  </a:lnTo>
                  <a:lnTo>
                    <a:pt x="697" y="147"/>
                  </a:lnTo>
                  <a:lnTo>
                    <a:pt x="699" y="147"/>
                  </a:lnTo>
                  <a:lnTo>
                    <a:pt x="702" y="145"/>
                  </a:lnTo>
                  <a:lnTo>
                    <a:pt x="705" y="145"/>
                  </a:lnTo>
                  <a:lnTo>
                    <a:pt x="707" y="142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3" y="137"/>
                  </a:lnTo>
                  <a:lnTo>
                    <a:pt x="713" y="134"/>
                  </a:lnTo>
                  <a:lnTo>
                    <a:pt x="715" y="131"/>
                  </a:lnTo>
                  <a:lnTo>
                    <a:pt x="715" y="126"/>
                  </a:lnTo>
                  <a:lnTo>
                    <a:pt x="718" y="121"/>
                  </a:lnTo>
                  <a:lnTo>
                    <a:pt x="718" y="118"/>
                  </a:lnTo>
                  <a:lnTo>
                    <a:pt x="721" y="113"/>
                  </a:lnTo>
                  <a:lnTo>
                    <a:pt x="721" y="107"/>
                  </a:lnTo>
                  <a:lnTo>
                    <a:pt x="721" y="102"/>
                  </a:lnTo>
                  <a:lnTo>
                    <a:pt x="723" y="97"/>
                  </a:lnTo>
                  <a:lnTo>
                    <a:pt x="723" y="94"/>
                  </a:lnTo>
                  <a:lnTo>
                    <a:pt x="723" y="89"/>
                  </a:lnTo>
                  <a:lnTo>
                    <a:pt x="723" y="83"/>
                  </a:lnTo>
                  <a:lnTo>
                    <a:pt x="723" y="78"/>
                  </a:lnTo>
                  <a:lnTo>
                    <a:pt x="723" y="75"/>
                  </a:lnTo>
                  <a:lnTo>
                    <a:pt x="723" y="73"/>
                  </a:lnTo>
                  <a:lnTo>
                    <a:pt x="723" y="73"/>
                  </a:lnTo>
                  <a:lnTo>
                    <a:pt x="721" y="70"/>
                  </a:lnTo>
                  <a:lnTo>
                    <a:pt x="721" y="70"/>
                  </a:lnTo>
                  <a:lnTo>
                    <a:pt x="721" y="67"/>
                  </a:lnTo>
                  <a:lnTo>
                    <a:pt x="721" y="67"/>
                  </a:lnTo>
                  <a:lnTo>
                    <a:pt x="721" y="65"/>
                  </a:lnTo>
                  <a:lnTo>
                    <a:pt x="718" y="65"/>
                  </a:lnTo>
                  <a:lnTo>
                    <a:pt x="718" y="65"/>
                  </a:lnTo>
                  <a:lnTo>
                    <a:pt x="718" y="62"/>
                  </a:lnTo>
                  <a:lnTo>
                    <a:pt x="718" y="62"/>
                  </a:lnTo>
                  <a:lnTo>
                    <a:pt x="721" y="62"/>
                  </a:lnTo>
                  <a:lnTo>
                    <a:pt x="721" y="62"/>
                  </a:lnTo>
                  <a:lnTo>
                    <a:pt x="723" y="62"/>
                  </a:lnTo>
                  <a:lnTo>
                    <a:pt x="723" y="59"/>
                  </a:lnTo>
                  <a:lnTo>
                    <a:pt x="726" y="59"/>
                  </a:lnTo>
                  <a:lnTo>
                    <a:pt x="729" y="59"/>
                  </a:lnTo>
                  <a:lnTo>
                    <a:pt x="729" y="59"/>
                  </a:lnTo>
                  <a:lnTo>
                    <a:pt x="731" y="59"/>
                  </a:lnTo>
                  <a:lnTo>
                    <a:pt x="734" y="62"/>
                  </a:lnTo>
                  <a:lnTo>
                    <a:pt x="734" y="65"/>
                  </a:lnTo>
                  <a:lnTo>
                    <a:pt x="734" y="65"/>
                  </a:lnTo>
                  <a:lnTo>
                    <a:pt x="737" y="67"/>
                  </a:lnTo>
                  <a:lnTo>
                    <a:pt x="739" y="70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5"/>
                  </a:lnTo>
                  <a:lnTo>
                    <a:pt x="742" y="78"/>
                  </a:lnTo>
                  <a:lnTo>
                    <a:pt x="742" y="78"/>
                  </a:lnTo>
                  <a:lnTo>
                    <a:pt x="742" y="78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81"/>
                  </a:lnTo>
                  <a:lnTo>
                    <a:pt x="739" y="78"/>
                  </a:lnTo>
                  <a:lnTo>
                    <a:pt x="739" y="78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4" y="81"/>
                  </a:lnTo>
                  <a:lnTo>
                    <a:pt x="734" y="83"/>
                  </a:lnTo>
                  <a:lnTo>
                    <a:pt x="734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9" y="86"/>
                  </a:lnTo>
                  <a:lnTo>
                    <a:pt x="739" y="89"/>
                  </a:lnTo>
                  <a:lnTo>
                    <a:pt x="739" y="91"/>
                  </a:lnTo>
                  <a:lnTo>
                    <a:pt x="742" y="94"/>
                  </a:lnTo>
                  <a:lnTo>
                    <a:pt x="742" y="94"/>
                  </a:lnTo>
                  <a:lnTo>
                    <a:pt x="742" y="97"/>
                  </a:lnTo>
                  <a:lnTo>
                    <a:pt x="745" y="97"/>
                  </a:lnTo>
                  <a:lnTo>
                    <a:pt x="745" y="99"/>
                  </a:lnTo>
                  <a:lnTo>
                    <a:pt x="745" y="99"/>
                  </a:lnTo>
                  <a:lnTo>
                    <a:pt x="742" y="102"/>
                  </a:lnTo>
                  <a:lnTo>
                    <a:pt x="742" y="102"/>
                  </a:lnTo>
                  <a:lnTo>
                    <a:pt x="742" y="99"/>
                  </a:lnTo>
                  <a:lnTo>
                    <a:pt x="739" y="99"/>
                  </a:lnTo>
                  <a:lnTo>
                    <a:pt x="739" y="99"/>
                  </a:lnTo>
                  <a:lnTo>
                    <a:pt x="737" y="102"/>
                  </a:lnTo>
                  <a:lnTo>
                    <a:pt x="737" y="105"/>
                  </a:lnTo>
                  <a:lnTo>
                    <a:pt x="737" y="105"/>
                  </a:lnTo>
                  <a:lnTo>
                    <a:pt x="737" y="107"/>
                  </a:lnTo>
                  <a:lnTo>
                    <a:pt x="737" y="110"/>
                  </a:lnTo>
                  <a:lnTo>
                    <a:pt x="737" y="113"/>
                  </a:lnTo>
                  <a:lnTo>
                    <a:pt x="737" y="115"/>
                  </a:lnTo>
                  <a:lnTo>
                    <a:pt x="737" y="115"/>
                  </a:lnTo>
                  <a:lnTo>
                    <a:pt x="737" y="118"/>
                  </a:lnTo>
                  <a:lnTo>
                    <a:pt x="737" y="121"/>
                  </a:lnTo>
                  <a:lnTo>
                    <a:pt x="737" y="121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7" y="126"/>
                  </a:lnTo>
                  <a:lnTo>
                    <a:pt x="739" y="126"/>
                  </a:lnTo>
                  <a:lnTo>
                    <a:pt x="739" y="129"/>
                  </a:lnTo>
                  <a:lnTo>
                    <a:pt x="739" y="129"/>
                  </a:lnTo>
                  <a:lnTo>
                    <a:pt x="739" y="131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7" y="134"/>
                  </a:lnTo>
                  <a:lnTo>
                    <a:pt x="734" y="134"/>
                  </a:lnTo>
                  <a:lnTo>
                    <a:pt x="734" y="134"/>
                  </a:lnTo>
                  <a:lnTo>
                    <a:pt x="731" y="134"/>
                  </a:lnTo>
                  <a:lnTo>
                    <a:pt x="731" y="137"/>
                  </a:lnTo>
                  <a:lnTo>
                    <a:pt x="731" y="139"/>
                  </a:lnTo>
                  <a:lnTo>
                    <a:pt x="729" y="139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29" y="145"/>
                  </a:lnTo>
                  <a:lnTo>
                    <a:pt x="729" y="145"/>
                  </a:lnTo>
                  <a:lnTo>
                    <a:pt x="726" y="147"/>
                  </a:lnTo>
                  <a:lnTo>
                    <a:pt x="726" y="150"/>
                  </a:lnTo>
                  <a:lnTo>
                    <a:pt x="726" y="150"/>
                  </a:lnTo>
                  <a:lnTo>
                    <a:pt x="723" y="153"/>
                  </a:lnTo>
                  <a:lnTo>
                    <a:pt x="723" y="153"/>
                  </a:lnTo>
                  <a:lnTo>
                    <a:pt x="723" y="155"/>
                  </a:lnTo>
                  <a:lnTo>
                    <a:pt x="721" y="155"/>
                  </a:lnTo>
                  <a:lnTo>
                    <a:pt x="721" y="155"/>
                  </a:lnTo>
                  <a:lnTo>
                    <a:pt x="721" y="155"/>
                  </a:ln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7" name="Freeform 8877">
              <a:extLst>
                <a:ext uri="{FF2B5EF4-FFF2-40B4-BE49-F238E27FC236}">
                  <a16:creationId xmlns:a16="http://schemas.microsoft.com/office/drawing/2014/main" id="{90693478-B4B0-8A4D-B97F-58D2FFBDE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4928" y="3790951"/>
              <a:ext cx="1890712" cy="2095499"/>
            </a:xfrm>
            <a:custGeom>
              <a:avLst/>
              <a:gdLst>
                <a:gd name="T0" fmla="*/ 494 w 1191"/>
                <a:gd name="T1" fmla="*/ 1071 h 1320"/>
                <a:gd name="T2" fmla="*/ 428 w 1191"/>
                <a:gd name="T3" fmla="*/ 1068 h 1320"/>
                <a:gd name="T4" fmla="*/ 374 w 1191"/>
                <a:gd name="T5" fmla="*/ 1133 h 1320"/>
                <a:gd name="T6" fmla="*/ 441 w 1191"/>
                <a:gd name="T7" fmla="*/ 1130 h 1320"/>
                <a:gd name="T8" fmla="*/ 500 w 1191"/>
                <a:gd name="T9" fmla="*/ 1138 h 1320"/>
                <a:gd name="T10" fmla="*/ 558 w 1191"/>
                <a:gd name="T11" fmla="*/ 1173 h 1320"/>
                <a:gd name="T12" fmla="*/ 574 w 1191"/>
                <a:gd name="T13" fmla="*/ 1090 h 1320"/>
                <a:gd name="T14" fmla="*/ 748 w 1191"/>
                <a:gd name="T15" fmla="*/ 497 h 1320"/>
                <a:gd name="T16" fmla="*/ 703 w 1191"/>
                <a:gd name="T17" fmla="*/ 515 h 1320"/>
                <a:gd name="T18" fmla="*/ 687 w 1191"/>
                <a:gd name="T19" fmla="*/ 457 h 1320"/>
                <a:gd name="T20" fmla="*/ 692 w 1191"/>
                <a:gd name="T21" fmla="*/ 390 h 1320"/>
                <a:gd name="T22" fmla="*/ 708 w 1191"/>
                <a:gd name="T23" fmla="*/ 320 h 1320"/>
                <a:gd name="T24" fmla="*/ 668 w 1191"/>
                <a:gd name="T25" fmla="*/ 261 h 1320"/>
                <a:gd name="T26" fmla="*/ 665 w 1191"/>
                <a:gd name="T27" fmla="*/ 187 h 1320"/>
                <a:gd name="T28" fmla="*/ 639 w 1191"/>
                <a:gd name="T29" fmla="*/ 139 h 1320"/>
                <a:gd name="T30" fmla="*/ 582 w 1191"/>
                <a:gd name="T31" fmla="*/ 69 h 1320"/>
                <a:gd name="T32" fmla="*/ 580 w 1191"/>
                <a:gd name="T33" fmla="*/ 32 h 1320"/>
                <a:gd name="T34" fmla="*/ 540 w 1191"/>
                <a:gd name="T35" fmla="*/ 34 h 1320"/>
                <a:gd name="T36" fmla="*/ 489 w 1191"/>
                <a:gd name="T37" fmla="*/ 72 h 1320"/>
                <a:gd name="T38" fmla="*/ 486 w 1191"/>
                <a:gd name="T39" fmla="*/ 125 h 1320"/>
                <a:gd name="T40" fmla="*/ 510 w 1191"/>
                <a:gd name="T41" fmla="*/ 189 h 1320"/>
                <a:gd name="T42" fmla="*/ 481 w 1191"/>
                <a:gd name="T43" fmla="*/ 269 h 1320"/>
                <a:gd name="T44" fmla="*/ 436 w 1191"/>
                <a:gd name="T45" fmla="*/ 323 h 1320"/>
                <a:gd name="T46" fmla="*/ 433 w 1191"/>
                <a:gd name="T47" fmla="*/ 387 h 1320"/>
                <a:gd name="T48" fmla="*/ 484 w 1191"/>
                <a:gd name="T49" fmla="*/ 454 h 1320"/>
                <a:gd name="T50" fmla="*/ 454 w 1191"/>
                <a:gd name="T51" fmla="*/ 494 h 1320"/>
                <a:gd name="T52" fmla="*/ 468 w 1191"/>
                <a:gd name="T53" fmla="*/ 561 h 1320"/>
                <a:gd name="T54" fmla="*/ 417 w 1191"/>
                <a:gd name="T55" fmla="*/ 571 h 1320"/>
                <a:gd name="T56" fmla="*/ 369 w 1191"/>
                <a:gd name="T57" fmla="*/ 537 h 1320"/>
                <a:gd name="T58" fmla="*/ 350 w 1191"/>
                <a:gd name="T59" fmla="*/ 587 h 1320"/>
                <a:gd name="T60" fmla="*/ 286 w 1191"/>
                <a:gd name="T61" fmla="*/ 654 h 1320"/>
                <a:gd name="T62" fmla="*/ 267 w 1191"/>
                <a:gd name="T63" fmla="*/ 729 h 1320"/>
                <a:gd name="T64" fmla="*/ 219 w 1191"/>
                <a:gd name="T65" fmla="*/ 668 h 1320"/>
                <a:gd name="T66" fmla="*/ 142 w 1191"/>
                <a:gd name="T67" fmla="*/ 700 h 1320"/>
                <a:gd name="T68" fmla="*/ 104 w 1191"/>
                <a:gd name="T69" fmla="*/ 849 h 1320"/>
                <a:gd name="T70" fmla="*/ 54 w 1191"/>
                <a:gd name="T71" fmla="*/ 948 h 1320"/>
                <a:gd name="T72" fmla="*/ 22 w 1191"/>
                <a:gd name="T73" fmla="*/ 1018 h 1320"/>
                <a:gd name="T74" fmla="*/ 48 w 1191"/>
                <a:gd name="T75" fmla="*/ 1098 h 1320"/>
                <a:gd name="T76" fmla="*/ 139 w 1191"/>
                <a:gd name="T77" fmla="*/ 1143 h 1320"/>
                <a:gd name="T78" fmla="*/ 211 w 1191"/>
                <a:gd name="T79" fmla="*/ 1162 h 1320"/>
                <a:gd name="T80" fmla="*/ 273 w 1191"/>
                <a:gd name="T81" fmla="*/ 1149 h 1320"/>
                <a:gd name="T82" fmla="*/ 366 w 1191"/>
                <a:gd name="T83" fmla="*/ 1221 h 1320"/>
                <a:gd name="T84" fmla="*/ 446 w 1191"/>
                <a:gd name="T85" fmla="*/ 1280 h 1320"/>
                <a:gd name="T86" fmla="*/ 532 w 1191"/>
                <a:gd name="T87" fmla="*/ 1298 h 1320"/>
                <a:gd name="T88" fmla="*/ 729 w 1191"/>
                <a:gd name="T89" fmla="*/ 825 h 1320"/>
                <a:gd name="T90" fmla="*/ 791 w 1191"/>
                <a:gd name="T91" fmla="*/ 724 h 1320"/>
                <a:gd name="T92" fmla="*/ 930 w 1191"/>
                <a:gd name="T93" fmla="*/ 718 h 1320"/>
                <a:gd name="T94" fmla="*/ 1050 w 1191"/>
                <a:gd name="T95" fmla="*/ 638 h 1320"/>
                <a:gd name="T96" fmla="*/ 1149 w 1191"/>
                <a:gd name="T97" fmla="*/ 630 h 1320"/>
                <a:gd name="T98" fmla="*/ 1108 w 1191"/>
                <a:gd name="T99" fmla="*/ 531 h 1320"/>
                <a:gd name="T100" fmla="*/ 1189 w 1191"/>
                <a:gd name="T101" fmla="*/ 481 h 1320"/>
                <a:gd name="T102" fmla="*/ 1157 w 1191"/>
                <a:gd name="T103" fmla="*/ 416 h 1320"/>
                <a:gd name="T104" fmla="*/ 1117 w 1191"/>
                <a:gd name="T105" fmla="*/ 371 h 1320"/>
                <a:gd name="T106" fmla="*/ 1090 w 1191"/>
                <a:gd name="T107" fmla="*/ 382 h 1320"/>
                <a:gd name="T108" fmla="*/ 1055 w 1191"/>
                <a:gd name="T109" fmla="*/ 363 h 1320"/>
                <a:gd name="T110" fmla="*/ 1036 w 1191"/>
                <a:gd name="T111" fmla="*/ 334 h 1320"/>
                <a:gd name="T112" fmla="*/ 986 w 1191"/>
                <a:gd name="T113" fmla="*/ 315 h 1320"/>
                <a:gd name="T114" fmla="*/ 943 w 1191"/>
                <a:gd name="T115" fmla="*/ 331 h 1320"/>
                <a:gd name="T116" fmla="*/ 916 w 1191"/>
                <a:gd name="T117" fmla="*/ 390 h 1320"/>
                <a:gd name="T118" fmla="*/ 890 w 1191"/>
                <a:gd name="T119" fmla="*/ 430 h 1320"/>
                <a:gd name="T120" fmla="*/ 876 w 1191"/>
                <a:gd name="T121" fmla="*/ 473 h 1320"/>
                <a:gd name="T122" fmla="*/ 847 w 1191"/>
                <a:gd name="T123" fmla="*/ 510 h 1320"/>
                <a:gd name="T124" fmla="*/ 823 w 1191"/>
                <a:gd name="T125" fmla="*/ 449 h 1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1" h="1320" extrusionOk="0">
                  <a:moveTo>
                    <a:pt x="566" y="1074"/>
                  </a:moveTo>
                  <a:lnTo>
                    <a:pt x="566" y="1077"/>
                  </a:lnTo>
                  <a:lnTo>
                    <a:pt x="564" y="1077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4" y="1079"/>
                  </a:lnTo>
                  <a:lnTo>
                    <a:pt x="566" y="1082"/>
                  </a:lnTo>
                  <a:lnTo>
                    <a:pt x="566" y="1082"/>
                  </a:lnTo>
                  <a:lnTo>
                    <a:pt x="566" y="1085"/>
                  </a:lnTo>
                  <a:lnTo>
                    <a:pt x="566" y="1085"/>
                  </a:lnTo>
                  <a:lnTo>
                    <a:pt x="564" y="1087"/>
                  </a:lnTo>
                  <a:lnTo>
                    <a:pt x="564" y="1090"/>
                  </a:lnTo>
                  <a:lnTo>
                    <a:pt x="561" y="1093"/>
                  </a:lnTo>
                  <a:lnTo>
                    <a:pt x="561" y="1093"/>
                  </a:lnTo>
                  <a:lnTo>
                    <a:pt x="556" y="1087"/>
                  </a:lnTo>
                  <a:lnTo>
                    <a:pt x="553" y="1090"/>
                  </a:lnTo>
                  <a:lnTo>
                    <a:pt x="553" y="1090"/>
                  </a:lnTo>
                  <a:lnTo>
                    <a:pt x="550" y="1093"/>
                  </a:lnTo>
                  <a:lnTo>
                    <a:pt x="548" y="1090"/>
                  </a:lnTo>
                  <a:lnTo>
                    <a:pt x="548" y="1090"/>
                  </a:lnTo>
                  <a:lnTo>
                    <a:pt x="545" y="1090"/>
                  </a:lnTo>
                  <a:lnTo>
                    <a:pt x="545" y="1093"/>
                  </a:lnTo>
                  <a:lnTo>
                    <a:pt x="542" y="1093"/>
                  </a:lnTo>
                  <a:lnTo>
                    <a:pt x="542" y="1095"/>
                  </a:lnTo>
                  <a:lnTo>
                    <a:pt x="540" y="1093"/>
                  </a:lnTo>
                  <a:lnTo>
                    <a:pt x="537" y="1095"/>
                  </a:lnTo>
                  <a:lnTo>
                    <a:pt x="537" y="1093"/>
                  </a:lnTo>
                  <a:lnTo>
                    <a:pt x="534" y="1095"/>
                  </a:lnTo>
                  <a:lnTo>
                    <a:pt x="532" y="1095"/>
                  </a:lnTo>
                  <a:lnTo>
                    <a:pt x="532" y="1098"/>
                  </a:lnTo>
                  <a:lnTo>
                    <a:pt x="529" y="1098"/>
                  </a:lnTo>
                  <a:lnTo>
                    <a:pt x="529" y="1098"/>
                  </a:lnTo>
                  <a:lnTo>
                    <a:pt x="526" y="1098"/>
                  </a:lnTo>
                  <a:lnTo>
                    <a:pt x="526" y="1098"/>
                  </a:lnTo>
                  <a:lnTo>
                    <a:pt x="526" y="1098"/>
                  </a:lnTo>
                  <a:lnTo>
                    <a:pt x="524" y="1098"/>
                  </a:lnTo>
                  <a:lnTo>
                    <a:pt x="524" y="1098"/>
                  </a:lnTo>
                  <a:lnTo>
                    <a:pt x="521" y="1098"/>
                  </a:lnTo>
                  <a:lnTo>
                    <a:pt x="518" y="1098"/>
                  </a:lnTo>
                  <a:lnTo>
                    <a:pt x="518" y="1098"/>
                  </a:lnTo>
                  <a:lnTo>
                    <a:pt x="518" y="1098"/>
                  </a:lnTo>
                  <a:lnTo>
                    <a:pt x="516" y="1098"/>
                  </a:lnTo>
                  <a:lnTo>
                    <a:pt x="516" y="1095"/>
                  </a:lnTo>
                  <a:lnTo>
                    <a:pt x="516" y="1095"/>
                  </a:lnTo>
                  <a:lnTo>
                    <a:pt x="516" y="1093"/>
                  </a:lnTo>
                  <a:lnTo>
                    <a:pt x="516" y="1093"/>
                  </a:lnTo>
                  <a:lnTo>
                    <a:pt x="516" y="1093"/>
                  </a:lnTo>
                  <a:lnTo>
                    <a:pt x="516" y="1090"/>
                  </a:lnTo>
                  <a:lnTo>
                    <a:pt x="516" y="1090"/>
                  </a:lnTo>
                  <a:lnTo>
                    <a:pt x="513" y="1090"/>
                  </a:lnTo>
                  <a:lnTo>
                    <a:pt x="516" y="1087"/>
                  </a:lnTo>
                  <a:lnTo>
                    <a:pt x="510" y="1085"/>
                  </a:lnTo>
                  <a:lnTo>
                    <a:pt x="510" y="1087"/>
                  </a:lnTo>
                  <a:lnTo>
                    <a:pt x="505" y="1085"/>
                  </a:lnTo>
                  <a:lnTo>
                    <a:pt x="502" y="1085"/>
                  </a:lnTo>
                  <a:lnTo>
                    <a:pt x="502" y="1082"/>
                  </a:lnTo>
                  <a:lnTo>
                    <a:pt x="500" y="1082"/>
                  </a:lnTo>
                  <a:lnTo>
                    <a:pt x="500" y="1079"/>
                  </a:lnTo>
                  <a:lnTo>
                    <a:pt x="500" y="1077"/>
                  </a:lnTo>
                  <a:lnTo>
                    <a:pt x="497" y="1077"/>
                  </a:lnTo>
                  <a:lnTo>
                    <a:pt x="497" y="1077"/>
                  </a:lnTo>
                  <a:lnTo>
                    <a:pt x="494" y="1074"/>
                  </a:lnTo>
                  <a:lnTo>
                    <a:pt x="494" y="1074"/>
                  </a:lnTo>
                  <a:lnTo>
                    <a:pt x="494" y="1071"/>
                  </a:lnTo>
                  <a:lnTo>
                    <a:pt x="494" y="1068"/>
                  </a:lnTo>
                  <a:lnTo>
                    <a:pt x="494" y="1068"/>
                  </a:lnTo>
                  <a:lnTo>
                    <a:pt x="494" y="1066"/>
                  </a:lnTo>
                  <a:lnTo>
                    <a:pt x="492" y="1063"/>
                  </a:lnTo>
                  <a:lnTo>
                    <a:pt x="489" y="1060"/>
                  </a:lnTo>
                  <a:lnTo>
                    <a:pt x="489" y="1055"/>
                  </a:lnTo>
                  <a:lnTo>
                    <a:pt x="489" y="1055"/>
                  </a:lnTo>
                  <a:lnTo>
                    <a:pt x="492" y="1055"/>
                  </a:lnTo>
                  <a:lnTo>
                    <a:pt x="492" y="1052"/>
                  </a:lnTo>
                  <a:lnTo>
                    <a:pt x="489" y="1050"/>
                  </a:lnTo>
                  <a:lnTo>
                    <a:pt x="489" y="1050"/>
                  </a:lnTo>
                  <a:lnTo>
                    <a:pt x="489" y="1047"/>
                  </a:lnTo>
                  <a:lnTo>
                    <a:pt x="489" y="1044"/>
                  </a:lnTo>
                  <a:lnTo>
                    <a:pt x="484" y="1039"/>
                  </a:lnTo>
                  <a:lnTo>
                    <a:pt x="481" y="1042"/>
                  </a:lnTo>
                  <a:lnTo>
                    <a:pt x="478" y="1044"/>
                  </a:lnTo>
                  <a:lnTo>
                    <a:pt x="478" y="1044"/>
                  </a:lnTo>
                  <a:lnTo>
                    <a:pt x="478" y="1047"/>
                  </a:lnTo>
                  <a:lnTo>
                    <a:pt x="478" y="1047"/>
                  </a:lnTo>
                  <a:lnTo>
                    <a:pt x="476" y="1050"/>
                  </a:lnTo>
                  <a:lnTo>
                    <a:pt x="476" y="1052"/>
                  </a:lnTo>
                  <a:lnTo>
                    <a:pt x="473" y="1055"/>
                  </a:lnTo>
                  <a:lnTo>
                    <a:pt x="473" y="1052"/>
                  </a:lnTo>
                  <a:lnTo>
                    <a:pt x="470" y="1052"/>
                  </a:lnTo>
                  <a:lnTo>
                    <a:pt x="470" y="1052"/>
                  </a:lnTo>
                  <a:lnTo>
                    <a:pt x="468" y="1052"/>
                  </a:lnTo>
                  <a:lnTo>
                    <a:pt x="465" y="1052"/>
                  </a:lnTo>
                  <a:lnTo>
                    <a:pt x="465" y="1055"/>
                  </a:lnTo>
                  <a:lnTo>
                    <a:pt x="462" y="1055"/>
                  </a:lnTo>
                  <a:lnTo>
                    <a:pt x="462" y="1058"/>
                  </a:lnTo>
                  <a:lnTo>
                    <a:pt x="462" y="1063"/>
                  </a:lnTo>
                  <a:lnTo>
                    <a:pt x="460" y="1063"/>
                  </a:lnTo>
                  <a:lnTo>
                    <a:pt x="460" y="1066"/>
                  </a:lnTo>
                  <a:lnTo>
                    <a:pt x="457" y="1066"/>
                  </a:lnTo>
                  <a:lnTo>
                    <a:pt x="457" y="1063"/>
                  </a:lnTo>
                  <a:lnTo>
                    <a:pt x="454" y="1066"/>
                  </a:lnTo>
                  <a:lnTo>
                    <a:pt x="454" y="1066"/>
                  </a:lnTo>
                  <a:lnTo>
                    <a:pt x="454" y="1068"/>
                  </a:lnTo>
                  <a:lnTo>
                    <a:pt x="452" y="1068"/>
                  </a:lnTo>
                  <a:lnTo>
                    <a:pt x="452" y="1068"/>
                  </a:lnTo>
                  <a:lnTo>
                    <a:pt x="452" y="1071"/>
                  </a:lnTo>
                  <a:lnTo>
                    <a:pt x="449" y="1071"/>
                  </a:lnTo>
                  <a:lnTo>
                    <a:pt x="446" y="1071"/>
                  </a:lnTo>
                  <a:lnTo>
                    <a:pt x="446" y="1068"/>
                  </a:lnTo>
                  <a:lnTo>
                    <a:pt x="444" y="1068"/>
                  </a:lnTo>
                  <a:lnTo>
                    <a:pt x="441" y="1068"/>
                  </a:lnTo>
                  <a:lnTo>
                    <a:pt x="441" y="1074"/>
                  </a:lnTo>
                  <a:lnTo>
                    <a:pt x="441" y="1074"/>
                  </a:lnTo>
                  <a:lnTo>
                    <a:pt x="444" y="1077"/>
                  </a:lnTo>
                  <a:lnTo>
                    <a:pt x="446" y="1079"/>
                  </a:lnTo>
                  <a:lnTo>
                    <a:pt x="444" y="1082"/>
                  </a:lnTo>
                  <a:lnTo>
                    <a:pt x="446" y="1085"/>
                  </a:lnTo>
                  <a:lnTo>
                    <a:pt x="446" y="1085"/>
                  </a:lnTo>
                  <a:lnTo>
                    <a:pt x="444" y="1085"/>
                  </a:lnTo>
                  <a:lnTo>
                    <a:pt x="444" y="1085"/>
                  </a:lnTo>
                  <a:lnTo>
                    <a:pt x="441" y="1087"/>
                  </a:lnTo>
                  <a:lnTo>
                    <a:pt x="438" y="1087"/>
                  </a:lnTo>
                  <a:lnTo>
                    <a:pt x="438" y="1085"/>
                  </a:lnTo>
                  <a:lnTo>
                    <a:pt x="438" y="1085"/>
                  </a:lnTo>
                  <a:lnTo>
                    <a:pt x="436" y="1082"/>
                  </a:lnTo>
                  <a:lnTo>
                    <a:pt x="436" y="1077"/>
                  </a:lnTo>
                  <a:lnTo>
                    <a:pt x="433" y="1074"/>
                  </a:lnTo>
                  <a:lnTo>
                    <a:pt x="430" y="1071"/>
                  </a:lnTo>
                  <a:lnTo>
                    <a:pt x="430" y="1068"/>
                  </a:lnTo>
                  <a:lnTo>
                    <a:pt x="428" y="1068"/>
                  </a:lnTo>
                  <a:lnTo>
                    <a:pt x="422" y="1068"/>
                  </a:lnTo>
                  <a:lnTo>
                    <a:pt x="414" y="1066"/>
                  </a:lnTo>
                  <a:lnTo>
                    <a:pt x="414" y="1063"/>
                  </a:lnTo>
                  <a:lnTo>
                    <a:pt x="412" y="1063"/>
                  </a:lnTo>
                  <a:lnTo>
                    <a:pt x="409" y="1063"/>
                  </a:lnTo>
                  <a:lnTo>
                    <a:pt x="406" y="1060"/>
                  </a:lnTo>
                  <a:lnTo>
                    <a:pt x="409" y="1052"/>
                  </a:lnTo>
                  <a:lnTo>
                    <a:pt x="401" y="1047"/>
                  </a:lnTo>
                  <a:lnTo>
                    <a:pt x="401" y="1047"/>
                  </a:lnTo>
                  <a:lnTo>
                    <a:pt x="398" y="1050"/>
                  </a:lnTo>
                  <a:lnTo>
                    <a:pt x="398" y="1052"/>
                  </a:lnTo>
                  <a:lnTo>
                    <a:pt x="398" y="1055"/>
                  </a:lnTo>
                  <a:lnTo>
                    <a:pt x="393" y="1058"/>
                  </a:lnTo>
                  <a:lnTo>
                    <a:pt x="393" y="1055"/>
                  </a:lnTo>
                  <a:lnTo>
                    <a:pt x="387" y="1058"/>
                  </a:lnTo>
                  <a:lnTo>
                    <a:pt x="387" y="1068"/>
                  </a:lnTo>
                  <a:lnTo>
                    <a:pt x="385" y="1068"/>
                  </a:lnTo>
                  <a:lnTo>
                    <a:pt x="385" y="1068"/>
                  </a:lnTo>
                  <a:lnTo>
                    <a:pt x="382" y="1068"/>
                  </a:lnTo>
                  <a:lnTo>
                    <a:pt x="382" y="1066"/>
                  </a:lnTo>
                  <a:lnTo>
                    <a:pt x="382" y="1066"/>
                  </a:lnTo>
                  <a:lnTo>
                    <a:pt x="382" y="1063"/>
                  </a:lnTo>
                  <a:lnTo>
                    <a:pt x="379" y="1066"/>
                  </a:lnTo>
                  <a:lnTo>
                    <a:pt x="379" y="1068"/>
                  </a:lnTo>
                  <a:lnTo>
                    <a:pt x="377" y="1068"/>
                  </a:lnTo>
                  <a:lnTo>
                    <a:pt x="377" y="1068"/>
                  </a:lnTo>
                  <a:lnTo>
                    <a:pt x="377" y="1068"/>
                  </a:lnTo>
                  <a:lnTo>
                    <a:pt x="377" y="1071"/>
                  </a:lnTo>
                  <a:lnTo>
                    <a:pt x="379" y="1071"/>
                  </a:lnTo>
                  <a:lnTo>
                    <a:pt x="379" y="1071"/>
                  </a:lnTo>
                  <a:lnTo>
                    <a:pt x="379" y="1074"/>
                  </a:lnTo>
                  <a:lnTo>
                    <a:pt x="382" y="1074"/>
                  </a:lnTo>
                  <a:lnTo>
                    <a:pt x="382" y="1074"/>
                  </a:lnTo>
                  <a:lnTo>
                    <a:pt x="385" y="1074"/>
                  </a:lnTo>
                  <a:lnTo>
                    <a:pt x="385" y="1077"/>
                  </a:lnTo>
                  <a:lnTo>
                    <a:pt x="387" y="1074"/>
                  </a:lnTo>
                  <a:lnTo>
                    <a:pt x="387" y="1074"/>
                  </a:lnTo>
                  <a:lnTo>
                    <a:pt x="387" y="1077"/>
                  </a:lnTo>
                  <a:lnTo>
                    <a:pt x="393" y="1082"/>
                  </a:lnTo>
                  <a:lnTo>
                    <a:pt x="387" y="1085"/>
                  </a:lnTo>
                  <a:lnTo>
                    <a:pt x="393" y="1090"/>
                  </a:lnTo>
                  <a:lnTo>
                    <a:pt x="398" y="1090"/>
                  </a:lnTo>
                  <a:lnTo>
                    <a:pt x="401" y="1093"/>
                  </a:lnTo>
                  <a:lnTo>
                    <a:pt x="401" y="1093"/>
                  </a:lnTo>
                  <a:lnTo>
                    <a:pt x="404" y="1093"/>
                  </a:lnTo>
                  <a:lnTo>
                    <a:pt x="404" y="1095"/>
                  </a:lnTo>
                  <a:lnTo>
                    <a:pt x="401" y="1095"/>
                  </a:lnTo>
                  <a:lnTo>
                    <a:pt x="401" y="1095"/>
                  </a:lnTo>
                  <a:lnTo>
                    <a:pt x="398" y="1101"/>
                  </a:lnTo>
                  <a:lnTo>
                    <a:pt x="401" y="1101"/>
                  </a:lnTo>
                  <a:lnTo>
                    <a:pt x="401" y="1103"/>
                  </a:lnTo>
                  <a:lnTo>
                    <a:pt x="398" y="1106"/>
                  </a:lnTo>
                  <a:lnTo>
                    <a:pt x="393" y="1109"/>
                  </a:lnTo>
                  <a:lnTo>
                    <a:pt x="396" y="1114"/>
                  </a:lnTo>
                  <a:lnTo>
                    <a:pt x="390" y="1117"/>
                  </a:lnTo>
                  <a:lnTo>
                    <a:pt x="390" y="1114"/>
                  </a:lnTo>
                  <a:lnTo>
                    <a:pt x="385" y="1114"/>
                  </a:lnTo>
                  <a:lnTo>
                    <a:pt x="382" y="1119"/>
                  </a:lnTo>
                  <a:lnTo>
                    <a:pt x="382" y="1122"/>
                  </a:lnTo>
                  <a:lnTo>
                    <a:pt x="377" y="1122"/>
                  </a:lnTo>
                  <a:lnTo>
                    <a:pt x="377" y="1122"/>
                  </a:lnTo>
                  <a:lnTo>
                    <a:pt x="371" y="1122"/>
                  </a:lnTo>
                  <a:lnTo>
                    <a:pt x="371" y="1127"/>
                  </a:lnTo>
                  <a:lnTo>
                    <a:pt x="371" y="1130"/>
                  </a:lnTo>
                  <a:lnTo>
                    <a:pt x="374" y="1133"/>
                  </a:lnTo>
                  <a:lnTo>
                    <a:pt x="374" y="1135"/>
                  </a:lnTo>
                  <a:lnTo>
                    <a:pt x="377" y="1135"/>
                  </a:lnTo>
                  <a:lnTo>
                    <a:pt x="379" y="1135"/>
                  </a:lnTo>
                  <a:lnTo>
                    <a:pt x="379" y="1135"/>
                  </a:lnTo>
                  <a:lnTo>
                    <a:pt x="379" y="1135"/>
                  </a:lnTo>
                  <a:lnTo>
                    <a:pt x="382" y="1135"/>
                  </a:lnTo>
                  <a:lnTo>
                    <a:pt x="385" y="1138"/>
                  </a:lnTo>
                  <a:lnTo>
                    <a:pt x="385" y="1138"/>
                  </a:lnTo>
                  <a:lnTo>
                    <a:pt x="387" y="1138"/>
                  </a:lnTo>
                  <a:lnTo>
                    <a:pt x="387" y="1138"/>
                  </a:lnTo>
                  <a:lnTo>
                    <a:pt x="387" y="1141"/>
                  </a:lnTo>
                  <a:lnTo>
                    <a:pt x="387" y="1141"/>
                  </a:lnTo>
                  <a:lnTo>
                    <a:pt x="390" y="1143"/>
                  </a:lnTo>
                  <a:lnTo>
                    <a:pt x="390" y="1143"/>
                  </a:lnTo>
                  <a:lnTo>
                    <a:pt x="390" y="1143"/>
                  </a:lnTo>
                  <a:lnTo>
                    <a:pt x="393" y="1146"/>
                  </a:lnTo>
                  <a:lnTo>
                    <a:pt x="393" y="1146"/>
                  </a:lnTo>
                  <a:lnTo>
                    <a:pt x="396" y="1149"/>
                  </a:lnTo>
                  <a:lnTo>
                    <a:pt x="396" y="1149"/>
                  </a:lnTo>
                  <a:lnTo>
                    <a:pt x="398" y="1149"/>
                  </a:lnTo>
                  <a:lnTo>
                    <a:pt x="401" y="1149"/>
                  </a:lnTo>
                  <a:lnTo>
                    <a:pt x="401" y="1149"/>
                  </a:lnTo>
                  <a:lnTo>
                    <a:pt x="404" y="1149"/>
                  </a:lnTo>
                  <a:lnTo>
                    <a:pt x="406" y="1151"/>
                  </a:lnTo>
                  <a:lnTo>
                    <a:pt x="406" y="1143"/>
                  </a:lnTo>
                  <a:lnTo>
                    <a:pt x="409" y="1143"/>
                  </a:lnTo>
                  <a:lnTo>
                    <a:pt x="409" y="1135"/>
                  </a:lnTo>
                  <a:lnTo>
                    <a:pt x="412" y="1133"/>
                  </a:lnTo>
                  <a:lnTo>
                    <a:pt x="412" y="1130"/>
                  </a:lnTo>
                  <a:lnTo>
                    <a:pt x="412" y="1130"/>
                  </a:lnTo>
                  <a:lnTo>
                    <a:pt x="414" y="1130"/>
                  </a:lnTo>
                  <a:lnTo>
                    <a:pt x="414" y="1130"/>
                  </a:lnTo>
                  <a:lnTo>
                    <a:pt x="414" y="1130"/>
                  </a:lnTo>
                  <a:lnTo>
                    <a:pt x="414" y="1127"/>
                  </a:lnTo>
                  <a:lnTo>
                    <a:pt x="414" y="1127"/>
                  </a:lnTo>
                  <a:lnTo>
                    <a:pt x="414" y="1122"/>
                  </a:lnTo>
                  <a:lnTo>
                    <a:pt x="414" y="1122"/>
                  </a:lnTo>
                  <a:lnTo>
                    <a:pt x="414" y="1117"/>
                  </a:lnTo>
                  <a:lnTo>
                    <a:pt x="414" y="1117"/>
                  </a:lnTo>
                  <a:lnTo>
                    <a:pt x="414" y="1117"/>
                  </a:lnTo>
                  <a:lnTo>
                    <a:pt x="417" y="1119"/>
                  </a:lnTo>
                  <a:lnTo>
                    <a:pt x="417" y="1119"/>
                  </a:lnTo>
                  <a:lnTo>
                    <a:pt x="417" y="1122"/>
                  </a:lnTo>
                  <a:lnTo>
                    <a:pt x="417" y="1125"/>
                  </a:lnTo>
                  <a:lnTo>
                    <a:pt x="417" y="1122"/>
                  </a:lnTo>
                  <a:lnTo>
                    <a:pt x="417" y="1122"/>
                  </a:lnTo>
                  <a:lnTo>
                    <a:pt x="417" y="1119"/>
                  </a:lnTo>
                  <a:lnTo>
                    <a:pt x="420" y="1119"/>
                  </a:lnTo>
                  <a:lnTo>
                    <a:pt x="422" y="1125"/>
                  </a:lnTo>
                  <a:lnTo>
                    <a:pt x="422" y="1125"/>
                  </a:lnTo>
                  <a:lnTo>
                    <a:pt x="425" y="1125"/>
                  </a:lnTo>
                  <a:lnTo>
                    <a:pt x="425" y="1125"/>
                  </a:lnTo>
                  <a:lnTo>
                    <a:pt x="428" y="1122"/>
                  </a:lnTo>
                  <a:lnTo>
                    <a:pt x="428" y="1119"/>
                  </a:lnTo>
                  <a:lnTo>
                    <a:pt x="430" y="1119"/>
                  </a:lnTo>
                  <a:lnTo>
                    <a:pt x="430" y="1117"/>
                  </a:lnTo>
                  <a:lnTo>
                    <a:pt x="436" y="1117"/>
                  </a:lnTo>
                  <a:lnTo>
                    <a:pt x="436" y="1117"/>
                  </a:lnTo>
                  <a:lnTo>
                    <a:pt x="441" y="1117"/>
                  </a:lnTo>
                  <a:lnTo>
                    <a:pt x="441" y="1117"/>
                  </a:lnTo>
                  <a:lnTo>
                    <a:pt x="444" y="1125"/>
                  </a:lnTo>
                  <a:lnTo>
                    <a:pt x="444" y="1127"/>
                  </a:lnTo>
                  <a:lnTo>
                    <a:pt x="441" y="1130"/>
                  </a:lnTo>
                  <a:lnTo>
                    <a:pt x="441" y="1130"/>
                  </a:lnTo>
                  <a:lnTo>
                    <a:pt x="441" y="1130"/>
                  </a:lnTo>
                  <a:lnTo>
                    <a:pt x="441" y="1133"/>
                  </a:lnTo>
                  <a:lnTo>
                    <a:pt x="441" y="1135"/>
                  </a:lnTo>
                  <a:lnTo>
                    <a:pt x="441" y="1138"/>
                  </a:lnTo>
                  <a:lnTo>
                    <a:pt x="444" y="1141"/>
                  </a:lnTo>
                  <a:lnTo>
                    <a:pt x="444" y="1143"/>
                  </a:lnTo>
                  <a:lnTo>
                    <a:pt x="444" y="1146"/>
                  </a:lnTo>
                  <a:lnTo>
                    <a:pt x="446" y="1146"/>
                  </a:lnTo>
                  <a:lnTo>
                    <a:pt x="449" y="1146"/>
                  </a:lnTo>
                  <a:lnTo>
                    <a:pt x="452" y="1146"/>
                  </a:lnTo>
                  <a:lnTo>
                    <a:pt x="452" y="1146"/>
                  </a:lnTo>
                  <a:lnTo>
                    <a:pt x="454" y="1149"/>
                  </a:lnTo>
                  <a:lnTo>
                    <a:pt x="457" y="1149"/>
                  </a:lnTo>
                  <a:lnTo>
                    <a:pt x="460" y="1149"/>
                  </a:lnTo>
                  <a:lnTo>
                    <a:pt x="460" y="1149"/>
                  </a:lnTo>
                  <a:lnTo>
                    <a:pt x="462" y="1151"/>
                  </a:lnTo>
                  <a:lnTo>
                    <a:pt x="462" y="1154"/>
                  </a:lnTo>
                  <a:lnTo>
                    <a:pt x="462" y="1154"/>
                  </a:lnTo>
                  <a:lnTo>
                    <a:pt x="462" y="1159"/>
                  </a:lnTo>
                  <a:lnTo>
                    <a:pt x="462" y="1159"/>
                  </a:lnTo>
                  <a:lnTo>
                    <a:pt x="465" y="1162"/>
                  </a:lnTo>
                  <a:lnTo>
                    <a:pt x="465" y="1162"/>
                  </a:lnTo>
                  <a:lnTo>
                    <a:pt x="468" y="1162"/>
                  </a:lnTo>
                  <a:lnTo>
                    <a:pt x="468" y="1162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0" y="1167"/>
                  </a:lnTo>
                  <a:lnTo>
                    <a:pt x="473" y="1170"/>
                  </a:lnTo>
                  <a:lnTo>
                    <a:pt x="473" y="1170"/>
                  </a:lnTo>
                  <a:lnTo>
                    <a:pt x="473" y="1170"/>
                  </a:lnTo>
                  <a:lnTo>
                    <a:pt x="476" y="1170"/>
                  </a:lnTo>
                  <a:lnTo>
                    <a:pt x="478" y="1173"/>
                  </a:lnTo>
                  <a:lnTo>
                    <a:pt x="478" y="1170"/>
                  </a:lnTo>
                  <a:lnTo>
                    <a:pt x="478" y="1170"/>
                  </a:lnTo>
                  <a:lnTo>
                    <a:pt x="478" y="1170"/>
                  </a:lnTo>
                  <a:lnTo>
                    <a:pt x="478" y="1167"/>
                  </a:lnTo>
                  <a:lnTo>
                    <a:pt x="476" y="1167"/>
                  </a:lnTo>
                  <a:lnTo>
                    <a:pt x="476" y="1167"/>
                  </a:lnTo>
                  <a:lnTo>
                    <a:pt x="476" y="1165"/>
                  </a:lnTo>
                  <a:lnTo>
                    <a:pt x="478" y="1165"/>
                  </a:lnTo>
                  <a:lnTo>
                    <a:pt x="476" y="1162"/>
                  </a:lnTo>
                  <a:lnTo>
                    <a:pt x="476" y="1162"/>
                  </a:lnTo>
                  <a:lnTo>
                    <a:pt x="476" y="1162"/>
                  </a:lnTo>
                  <a:lnTo>
                    <a:pt x="473" y="1157"/>
                  </a:lnTo>
                  <a:lnTo>
                    <a:pt x="476" y="1157"/>
                  </a:lnTo>
                  <a:lnTo>
                    <a:pt x="476" y="1157"/>
                  </a:lnTo>
                  <a:lnTo>
                    <a:pt x="473" y="1157"/>
                  </a:lnTo>
                  <a:lnTo>
                    <a:pt x="473" y="1157"/>
                  </a:lnTo>
                  <a:lnTo>
                    <a:pt x="473" y="1154"/>
                  </a:lnTo>
                  <a:lnTo>
                    <a:pt x="473" y="1151"/>
                  </a:lnTo>
                  <a:lnTo>
                    <a:pt x="476" y="1146"/>
                  </a:lnTo>
                  <a:lnTo>
                    <a:pt x="478" y="1143"/>
                  </a:lnTo>
                  <a:lnTo>
                    <a:pt x="478" y="1141"/>
                  </a:lnTo>
                  <a:lnTo>
                    <a:pt x="484" y="1138"/>
                  </a:lnTo>
                  <a:lnTo>
                    <a:pt x="486" y="1141"/>
                  </a:lnTo>
                  <a:lnTo>
                    <a:pt x="486" y="1141"/>
                  </a:lnTo>
                  <a:lnTo>
                    <a:pt x="489" y="1141"/>
                  </a:lnTo>
                  <a:lnTo>
                    <a:pt x="492" y="1141"/>
                  </a:lnTo>
                  <a:lnTo>
                    <a:pt x="492" y="1138"/>
                  </a:lnTo>
                  <a:lnTo>
                    <a:pt x="492" y="1138"/>
                  </a:lnTo>
                  <a:lnTo>
                    <a:pt x="494" y="1138"/>
                  </a:lnTo>
                  <a:lnTo>
                    <a:pt x="494" y="1138"/>
                  </a:lnTo>
                  <a:lnTo>
                    <a:pt x="497" y="1138"/>
                  </a:lnTo>
                  <a:lnTo>
                    <a:pt x="497" y="1138"/>
                  </a:lnTo>
                  <a:lnTo>
                    <a:pt x="500" y="1138"/>
                  </a:lnTo>
                  <a:lnTo>
                    <a:pt x="500" y="1135"/>
                  </a:lnTo>
                  <a:lnTo>
                    <a:pt x="500" y="1135"/>
                  </a:lnTo>
                  <a:lnTo>
                    <a:pt x="502" y="1138"/>
                  </a:lnTo>
                  <a:lnTo>
                    <a:pt x="505" y="1138"/>
                  </a:lnTo>
                  <a:lnTo>
                    <a:pt x="505" y="1138"/>
                  </a:lnTo>
                  <a:lnTo>
                    <a:pt x="508" y="1138"/>
                  </a:lnTo>
                  <a:lnTo>
                    <a:pt x="508" y="1141"/>
                  </a:lnTo>
                  <a:lnTo>
                    <a:pt x="505" y="1141"/>
                  </a:lnTo>
                  <a:lnTo>
                    <a:pt x="505" y="1141"/>
                  </a:lnTo>
                  <a:lnTo>
                    <a:pt x="505" y="1143"/>
                  </a:lnTo>
                  <a:lnTo>
                    <a:pt x="505" y="1143"/>
                  </a:lnTo>
                  <a:lnTo>
                    <a:pt x="502" y="1143"/>
                  </a:lnTo>
                  <a:lnTo>
                    <a:pt x="502" y="1146"/>
                  </a:lnTo>
                  <a:lnTo>
                    <a:pt x="500" y="1149"/>
                  </a:lnTo>
                  <a:lnTo>
                    <a:pt x="500" y="1146"/>
                  </a:lnTo>
                  <a:lnTo>
                    <a:pt x="497" y="1149"/>
                  </a:lnTo>
                  <a:lnTo>
                    <a:pt x="497" y="1151"/>
                  </a:lnTo>
                  <a:lnTo>
                    <a:pt x="497" y="1151"/>
                  </a:lnTo>
                  <a:lnTo>
                    <a:pt x="497" y="1151"/>
                  </a:lnTo>
                  <a:lnTo>
                    <a:pt x="500" y="1154"/>
                  </a:lnTo>
                  <a:lnTo>
                    <a:pt x="500" y="1154"/>
                  </a:lnTo>
                  <a:lnTo>
                    <a:pt x="502" y="1157"/>
                  </a:lnTo>
                  <a:lnTo>
                    <a:pt x="502" y="1157"/>
                  </a:lnTo>
                  <a:lnTo>
                    <a:pt x="505" y="1157"/>
                  </a:lnTo>
                  <a:lnTo>
                    <a:pt x="505" y="1154"/>
                  </a:lnTo>
                  <a:lnTo>
                    <a:pt x="508" y="1157"/>
                  </a:lnTo>
                  <a:lnTo>
                    <a:pt x="508" y="1157"/>
                  </a:lnTo>
                  <a:lnTo>
                    <a:pt x="510" y="1157"/>
                  </a:lnTo>
                  <a:lnTo>
                    <a:pt x="510" y="1159"/>
                  </a:lnTo>
                  <a:lnTo>
                    <a:pt x="510" y="1159"/>
                  </a:lnTo>
                  <a:lnTo>
                    <a:pt x="513" y="1162"/>
                  </a:lnTo>
                  <a:lnTo>
                    <a:pt x="516" y="1162"/>
                  </a:lnTo>
                  <a:lnTo>
                    <a:pt x="516" y="1162"/>
                  </a:lnTo>
                  <a:lnTo>
                    <a:pt x="516" y="1162"/>
                  </a:lnTo>
                  <a:lnTo>
                    <a:pt x="513" y="1165"/>
                  </a:lnTo>
                  <a:lnTo>
                    <a:pt x="513" y="1170"/>
                  </a:lnTo>
                  <a:lnTo>
                    <a:pt x="529" y="1183"/>
                  </a:lnTo>
                  <a:lnTo>
                    <a:pt x="526" y="1186"/>
                  </a:lnTo>
                  <a:lnTo>
                    <a:pt x="526" y="1186"/>
                  </a:lnTo>
                  <a:lnTo>
                    <a:pt x="529" y="1189"/>
                  </a:lnTo>
                  <a:lnTo>
                    <a:pt x="529" y="1189"/>
                  </a:lnTo>
                  <a:lnTo>
                    <a:pt x="532" y="1189"/>
                  </a:lnTo>
                  <a:lnTo>
                    <a:pt x="532" y="1191"/>
                  </a:lnTo>
                  <a:lnTo>
                    <a:pt x="534" y="1191"/>
                  </a:lnTo>
                  <a:lnTo>
                    <a:pt x="537" y="1194"/>
                  </a:lnTo>
                  <a:lnTo>
                    <a:pt x="540" y="1194"/>
                  </a:lnTo>
                  <a:lnTo>
                    <a:pt x="540" y="1197"/>
                  </a:lnTo>
                  <a:lnTo>
                    <a:pt x="540" y="1197"/>
                  </a:lnTo>
                  <a:lnTo>
                    <a:pt x="542" y="1194"/>
                  </a:lnTo>
                  <a:lnTo>
                    <a:pt x="542" y="1194"/>
                  </a:lnTo>
                  <a:lnTo>
                    <a:pt x="542" y="1194"/>
                  </a:lnTo>
                  <a:lnTo>
                    <a:pt x="545" y="1191"/>
                  </a:lnTo>
                  <a:lnTo>
                    <a:pt x="545" y="1191"/>
                  </a:lnTo>
                  <a:lnTo>
                    <a:pt x="548" y="1189"/>
                  </a:lnTo>
                  <a:lnTo>
                    <a:pt x="548" y="1189"/>
                  </a:lnTo>
                  <a:lnTo>
                    <a:pt x="548" y="1189"/>
                  </a:lnTo>
                  <a:lnTo>
                    <a:pt x="550" y="1189"/>
                  </a:lnTo>
                  <a:lnTo>
                    <a:pt x="550" y="1186"/>
                  </a:lnTo>
                  <a:lnTo>
                    <a:pt x="553" y="1183"/>
                  </a:lnTo>
                  <a:lnTo>
                    <a:pt x="553" y="1183"/>
                  </a:lnTo>
                  <a:lnTo>
                    <a:pt x="553" y="1178"/>
                  </a:lnTo>
                  <a:lnTo>
                    <a:pt x="556" y="1175"/>
                  </a:lnTo>
                  <a:lnTo>
                    <a:pt x="556" y="1175"/>
                  </a:lnTo>
                  <a:lnTo>
                    <a:pt x="558" y="1173"/>
                  </a:lnTo>
                  <a:lnTo>
                    <a:pt x="558" y="1173"/>
                  </a:lnTo>
                  <a:lnTo>
                    <a:pt x="561" y="1170"/>
                  </a:lnTo>
                  <a:lnTo>
                    <a:pt x="566" y="1167"/>
                  </a:lnTo>
                  <a:lnTo>
                    <a:pt x="566" y="1167"/>
                  </a:lnTo>
                  <a:lnTo>
                    <a:pt x="566" y="1165"/>
                  </a:lnTo>
                  <a:lnTo>
                    <a:pt x="566" y="1165"/>
                  </a:lnTo>
                  <a:lnTo>
                    <a:pt x="569" y="1162"/>
                  </a:lnTo>
                  <a:lnTo>
                    <a:pt x="566" y="1159"/>
                  </a:lnTo>
                  <a:lnTo>
                    <a:pt x="569" y="1157"/>
                  </a:lnTo>
                  <a:lnTo>
                    <a:pt x="569" y="1157"/>
                  </a:lnTo>
                  <a:lnTo>
                    <a:pt x="569" y="1159"/>
                  </a:lnTo>
                  <a:lnTo>
                    <a:pt x="572" y="1157"/>
                  </a:lnTo>
                  <a:lnTo>
                    <a:pt x="574" y="1157"/>
                  </a:lnTo>
                  <a:lnTo>
                    <a:pt x="577" y="1154"/>
                  </a:lnTo>
                  <a:lnTo>
                    <a:pt x="577" y="1154"/>
                  </a:lnTo>
                  <a:lnTo>
                    <a:pt x="580" y="1154"/>
                  </a:lnTo>
                  <a:lnTo>
                    <a:pt x="580" y="1154"/>
                  </a:lnTo>
                  <a:lnTo>
                    <a:pt x="577" y="1151"/>
                  </a:lnTo>
                  <a:lnTo>
                    <a:pt x="580" y="1151"/>
                  </a:lnTo>
                  <a:lnTo>
                    <a:pt x="580" y="1149"/>
                  </a:lnTo>
                  <a:lnTo>
                    <a:pt x="580" y="1149"/>
                  </a:lnTo>
                  <a:lnTo>
                    <a:pt x="580" y="1146"/>
                  </a:lnTo>
                  <a:lnTo>
                    <a:pt x="582" y="1146"/>
                  </a:lnTo>
                  <a:lnTo>
                    <a:pt x="582" y="1143"/>
                  </a:lnTo>
                  <a:lnTo>
                    <a:pt x="580" y="1141"/>
                  </a:lnTo>
                  <a:lnTo>
                    <a:pt x="580" y="1138"/>
                  </a:lnTo>
                  <a:lnTo>
                    <a:pt x="580" y="1135"/>
                  </a:lnTo>
                  <a:lnTo>
                    <a:pt x="582" y="1135"/>
                  </a:lnTo>
                  <a:lnTo>
                    <a:pt x="582" y="1135"/>
                  </a:lnTo>
                  <a:lnTo>
                    <a:pt x="585" y="1133"/>
                  </a:lnTo>
                  <a:lnTo>
                    <a:pt x="585" y="1133"/>
                  </a:lnTo>
                  <a:lnTo>
                    <a:pt x="585" y="1130"/>
                  </a:lnTo>
                  <a:lnTo>
                    <a:pt x="585" y="1127"/>
                  </a:lnTo>
                  <a:lnTo>
                    <a:pt x="588" y="1125"/>
                  </a:lnTo>
                  <a:lnTo>
                    <a:pt x="588" y="1122"/>
                  </a:lnTo>
                  <a:lnTo>
                    <a:pt x="588" y="1122"/>
                  </a:lnTo>
                  <a:lnTo>
                    <a:pt x="585" y="1119"/>
                  </a:lnTo>
                  <a:lnTo>
                    <a:pt x="588" y="1117"/>
                  </a:lnTo>
                  <a:lnTo>
                    <a:pt x="590" y="1117"/>
                  </a:lnTo>
                  <a:lnTo>
                    <a:pt x="593" y="1111"/>
                  </a:lnTo>
                  <a:lnTo>
                    <a:pt x="596" y="1114"/>
                  </a:lnTo>
                  <a:lnTo>
                    <a:pt x="596" y="1111"/>
                  </a:lnTo>
                  <a:lnTo>
                    <a:pt x="598" y="1111"/>
                  </a:lnTo>
                  <a:lnTo>
                    <a:pt x="598" y="1109"/>
                  </a:lnTo>
                  <a:lnTo>
                    <a:pt x="598" y="1106"/>
                  </a:lnTo>
                  <a:lnTo>
                    <a:pt x="598" y="1103"/>
                  </a:lnTo>
                  <a:lnTo>
                    <a:pt x="598" y="1101"/>
                  </a:lnTo>
                  <a:lnTo>
                    <a:pt x="598" y="1101"/>
                  </a:lnTo>
                  <a:lnTo>
                    <a:pt x="596" y="1103"/>
                  </a:lnTo>
                  <a:lnTo>
                    <a:pt x="593" y="1101"/>
                  </a:lnTo>
                  <a:lnTo>
                    <a:pt x="590" y="1095"/>
                  </a:lnTo>
                  <a:lnTo>
                    <a:pt x="590" y="1095"/>
                  </a:lnTo>
                  <a:lnTo>
                    <a:pt x="590" y="1093"/>
                  </a:lnTo>
                  <a:lnTo>
                    <a:pt x="590" y="1090"/>
                  </a:lnTo>
                  <a:lnTo>
                    <a:pt x="590" y="1090"/>
                  </a:lnTo>
                  <a:lnTo>
                    <a:pt x="590" y="1090"/>
                  </a:lnTo>
                  <a:lnTo>
                    <a:pt x="588" y="1090"/>
                  </a:lnTo>
                  <a:lnTo>
                    <a:pt x="588" y="1090"/>
                  </a:lnTo>
                  <a:lnTo>
                    <a:pt x="588" y="1093"/>
                  </a:lnTo>
                  <a:lnTo>
                    <a:pt x="585" y="1095"/>
                  </a:lnTo>
                  <a:lnTo>
                    <a:pt x="582" y="1098"/>
                  </a:lnTo>
                  <a:lnTo>
                    <a:pt x="580" y="1098"/>
                  </a:lnTo>
                  <a:lnTo>
                    <a:pt x="577" y="1098"/>
                  </a:lnTo>
                  <a:lnTo>
                    <a:pt x="577" y="1095"/>
                  </a:lnTo>
                  <a:lnTo>
                    <a:pt x="574" y="1095"/>
                  </a:lnTo>
                  <a:lnTo>
                    <a:pt x="574" y="1090"/>
                  </a:lnTo>
                  <a:lnTo>
                    <a:pt x="574" y="1090"/>
                  </a:lnTo>
                  <a:lnTo>
                    <a:pt x="574" y="1090"/>
                  </a:lnTo>
                  <a:lnTo>
                    <a:pt x="577" y="1087"/>
                  </a:lnTo>
                  <a:lnTo>
                    <a:pt x="577" y="1085"/>
                  </a:lnTo>
                  <a:lnTo>
                    <a:pt x="577" y="1085"/>
                  </a:lnTo>
                  <a:lnTo>
                    <a:pt x="574" y="1082"/>
                  </a:lnTo>
                  <a:lnTo>
                    <a:pt x="574" y="1079"/>
                  </a:lnTo>
                  <a:lnTo>
                    <a:pt x="574" y="1077"/>
                  </a:lnTo>
                  <a:lnTo>
                    <a:pt x="574" y="1074"/>
                  </a:lnTo>
                  <a:lnTo>
                    <a:pt x="572" y="1071"/>
                  </a:lnTo>
                  <a:lnTo>
                    <a:pt x="569" y="1074"/>
                  </a:lnTo>
                  <a:lnTo>
                    <a:pt x="569" y="1071"/>
                  </a:lnTo>
                  <a:lnTo>
                    <a:pt x="566" y="1074"/>
                  </a:lnTo>
                  <a:close/>
                  <a:moveTo>
                    <a:pt x="796" y="483"/>
                  </a:moveTo>
                  <a:lnTo>
                    <a:pt x="793" y="483"/>
                  </a:lnTo>
                  <a:lnTo>
                    <a:pt x="793" y="481"/>
                  </a:lnTo>
                  <a:lnTo>
                    <a:pt x="791" y="481"/>
                  </a:lnTo>
                  <a:lnTo>
                    <a:pt x="791" y="481"/>
                  </a:lnTo>
                  <a:lnTo>
                    <a:pt x="791" y="478"/>
                  </a:lnTo>
                  <a:lnTo>
                    <a:pt x="788" y="478"/>
                  </a:lnTo>
                  <a:lnTo>
                    <a:pt x="785" y="481"/>
                  </a:lnTo>
                  <a:lnTo>
                    <a:pt x="783" y="481"/>
                  </a:lnTo>
                  <a:lnTo>
                    <a:pt x="783" y="481"/>
                  </a:lnTo>
                  <a:lnTo>
                    <a:pt x="780" y="483"/>
                  </a:lnTo>
                  <a:lnTo>
                    <a:pt x="780" y="483"/>
                  </a:lnTo>
                  <a:lnTo>
                    <a:pt x="780" y="483"/>
                  </a:lnTo>
                  <a:lnTo>
                    <a:pt x="780" y="486"/>
                  </a:lnTo>
                  <a:lnTo>
                    <a:pt x="780" y="486"/>
                  </a:lnTo>
                  <a:lnTo>
                    <a:pt x="777" y="486"/>
                  </a:lnTo>
                  <a:lnTo>
                    <a:pt x="777" y="486"/>
                  </a:lnTo>
                  <a:lnTo>
                    <a:pt x="777" y="489"/>
                  </a:lnTo>
                  <a:lnTo>
                    <a:pt x="780" y="489"/>
                  </a:lnTo>
                  <a:lnTo>
                    <a:pt x="777" y="489"/>
                  </a:lnTo>
                  <a:lnTo>
                    <a:pt x="777" y="489"/>
                  </a:lnTo>
                  <a:lnTo>
                    <a:pt x="775" y="489"/>
                  </a:lnTo>
                  <a:lnTo>
                    <a:pt x="775" y="489"/>
                  </a:lnTo>
                  <a:lnTo>
                    <a:pt x="775" y="486"/>
                  </a:lnTo>
                  <a:lnTo>
                    <a:pt x="772" y="486"/>
                  </a:lnTo>
                  <a:lnTo>
                    <a:pt x="772" y="486"/>
                  </a:lnTo>
                  <a:lnTo>
                    <a:pt x="769" y="486"/>
                  </a:lnTo>
                  <a:lnTo>
                    <a:pt x="769" y="489"/>
                  </a:lnTo>
                  <a:lnTo>
                    <a:pt x="769" y="489"/>
                  </a:lnTo>
                  <a:lnTo>
                    <a:pt x="769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4" y="489"/>
                  </a:lnTo>
                  <a:lnTo>
                    <a:pt x="764" y="489"/>
                  </a:lnTo>
                  <a:lnTo>
                    <a:pt x="761" y="489"/>
                  </a:lnTo>
                  <a:lnTo>
                    <a:pt x="761" y="486"/>
                  </a:lnTo>
                  <a:lnTo>
                    <a:pt x="759" y="486"/>
                  </a:lnTo>
                  <a:lnTo>
                    <a:pt x="759" y="486"/>
                  </a:lnTo>
                  <a:lnTo>
                    <a:pt x="756" y="489"/>
                  </a:lnTo>
                  <a:lnTo>
                    <a:pt x="756" y="486"/>
                  </a:lnTo>
                  <a:lnTo>
                    <a:pt x="753" y="486"/>
                  </a:lnTo>
                  <a:lnTo>
                    <a:pt x="753" y="486"/>
                  </a:lnTo>
                  <a:lnTo>
                    <a:pt x="751" y="489"/>
                  </a:lnTo>
                  <a:lnTo>
                    <a:pt x="751" y="489"/>
                  </a:lnTo>
                  <a:lnTo>
                    <a:pt x="751" y="491"/>
                  </a:lnTo>
                  <a:lnTo>
                    <a:pt x="748" y="491"/>
                  </a:lnTo>
                  <a:lnTo>
                    <a:pt x="748" y="494"/>
                  </a:lnTo>
                  <a:lnTo>
                    <a:pt x="751" y="494"/>
                  </a:lnTo>
                  <a:lnTo>
                    <a:pt x="751" y="494"/>
                  </a:lnTo>
                  <a:lnTo>
                    <a:pt x="748" y="497"/>
                  </a:lnTo>
                  <a:lnTo>
                    <a:pt x="748" y="497"/>
                  </a:lnTo>
                  <a:lnTo>
                    <a:pt x="748" y="497"/>
                  </a:lnTo>
                  <a:lnTo>
                    <a:pt x="745" y="497"/>
                  </a:lnTo>
                  <a:lnTo>
                    <a:pt x="745" y="499"/>
                  </a:lnTo>
                  <a:lnTo>
                    <a:pt x="748" y="499"/>
                  </a:lnTo>
                  <a:lnTo>
                    <a:pt x="748" y="499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8" y="502"/>
                  </a:lnTo>
                  <a:lnTo>
                    <a:pt x="745" y="505"/>
                  </a:lnTo>
                  <a:lnTo>
                    <a:pt x="745" y="505"/>
                  </a:lnTo>
                  <a:lnTo>
                    <a:pt x="748" y="507"/>
                  </a:lnTo>
                  <a:lnTo>
                    <a:pt x="748" y="507"/>
                  </a:lnTo>
                  <a:lnTo>
                    <a:pt x="748" y="507"/>
                  </a:lnTo>
                  <a:lnTo>
                    <a:pt x="745" y="507"/>
                  </a:lnTo>
                  <a:lnTo>
                    <a:pt x="748" y="510"/>
                  </a:lnTo>
                  <a:lnTo>
                    <a:pt x="745" y="510"/>
                  </a:lnTo>
                  <a:lnTo>
                    <a:pt x="745" y="510"/>
                  </a:lnTo>
                  <a:lnTo>
                    <a:pt x="745" y="513"/>
                  </a:lnTo>
                  <a:lnTo>
                    <a:pt x="743" y="513"/>
                  </a:lnTo>
                  <a:lnTo>
                    <a:pt x="743" y="513"/>
                  </a:lnTo>
                  <a:lnTo>
                    <a:pt x="740" y="513"/>
                  </a:lnTo>
                  <a:lnTo>
                    <a:pt x="740" y="513"/>
                  </a:lnTo>
                  <a:lnTo>
                    <a:pt x="740" y="513"/>
                  </a:lnTo>
                  <a:lnTo>
                    <a:pt x="737" y="513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5"/>
                  </a:lnTo>
                  <a:lnTo>
                    <a:pt x="737" y="518"/>
                  </a:lnTo>
                  <a:lnTo>
                    <a:pt x="735" y="518"/>
                  </a:lnTo>
                  <a:lnTo>
                    <a:pt x="735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32" y="518"/>
                  </a:lnTo>
                  <a:lnTo>
                    <a:pt x="729" y="521"/>
                  </a:lnTo>
                  <a:lnTo>
                    <a:pt x="729" y="521"/>
                  </a:lnTo>
                  <a:lnTo>
                    <a:pt x="727" y="521"/>
                  </a:lnTo>
                  <a:lnTo>
                    <a:pt x="727" y="521"/>
                  </a:lnTo>
                  <a:lnTo>
                    <a:pt x="727" y="521"/>
                  </a:lnTo>
                  <a:lnTo>
                    <a:pt x="724" y="521"/>
                  </a:lnTo>
                  <a:lnTo>
                    <a:pt x="724" y="521"/>
                  </a:lnTo>
                  <a:lnTo>
                    <a:pt x="721" y="518"/>
                  </a:lnTo>
                  <a:lnTo>
                    <a:pt x="721" y="518"/>
                  </a:lnTo>
                  <a:lnTo>
                    <a:pt x="719" y="518"/>
                  </a:lnTo>
                  <a:lnTo>
                    <a:pt x="719" y="518"/>
                  </a:lnTo>
                  <a:lnTo>
                    <a:pt x="716" y="518"/>
                  </a:lnTo>
                  <a:lnTo>
                    <a:pt x="716" y="521"/>
                  </a:lnTo>
                  <a:lnTo>
                    <a:pt x="716" y="521"/>
                  </a:lnTo>
                  <a:lnTo>
                    <a:pt x="713" y="521"/>
                  </a:lnTo>
                  <a:lnTo>
                    <a:pt x="713" y="523"/>
                  </a:lnTo>
                  <a:lnTo>
                    <a:pt x="713" y="523"/>
                  </a:lnTo>
                  <a:lnTo>
                    <a:pt x="711" y="521"/>
                  </a:lnTo>
                  <a:lnTo>
                    <a:pt x="711" y="521"/>
                  </a:lnTo>
                  <a:lnTo>
                    <a:pt x="711" y="521"/>
                  </a:lnTo>
                  <a:lnTo>
                    <a:pt x="708" y="521"/>
                  </a:lnTo>
                  <a:lnTo>
                    <a:pt x="708" y="518"/>
                  </a:lnTo>
                  <a:lnTo>
                    <a:pt x="708" y="518"/>
                  </a:lnTo>
                  <a:lnTo>
                    <a:pt x="708" y="515"/>
                  </a:lnTo>
                  <a:lnTo>
                    <a:pt x="705" y="515"/>
                  </a:lnTo>
                  <a:lnTo>
                    <a:pt x="705" y="515"/>
                  </a:lnTo>
                  <a:lnTo>
                    <a:pt x="705" y="515"/>
                  </a:lnTo>
                  <a:lnTo>
                    <a:pt x="703" y="515"/>
                  </a:lnTo>
                  <a:lnTo>
                    <a:pt x="703" y="518"/>
                  </a:lnTo>
                  <a:lnTo>
                    <a:pt x="703" y="518"/>
                  </a:lnTo>
                  <a:lnTo>
                    <a:pt x="703" y="518"/>
                  </a:lnTo>
                  <a:lnTo>
                    <a:pt x="703" y="515"/>
                  </a:lnTo>
                  <a:lnTo>
                    <a:pt x="700" y="515"/>
                  </a:lnTo>
                  <a:lnTo>
                    <a:pt x="700" y="515"/>
                  </a:lnTo>
                  <a:lnTo>
                    <a:pt x="700" y="513"/>
                  </a:lnTo>
                  <a:lnTo>
                    <a:pt x="700" y="510"/>
                  </a:lnTo>
                  <a:lnTo>
                    <a:pt x="700" y="510"/>
                  </a:lnTo>
                  <a:lnTo>
                    <a:pt x="700" y="507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5" y="507"/>
                  </a:lnTo>
                  <a:lnTo>
                    <a:pt x="695" y="507"/>
                  </a:lnTo>
                  <a:lnTo>
                    <a:pt x="692" y="505"/>
                  </a:lnTo>
                  <a:lnTo>
                    <a:pt x="692" y="505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502"/>
                  </a:lnTo>
                  <a:lnTo>
                    <a:pt x="692" y="499"/>
                  </a:lnTo>
                  <a:lnTo>
                    <a:pt x="689" y="499"/>
                  </a:lnTo>
                  <a:lnTo>
                    <a:pt x="689" y="499"/>
                  </a:lnTo>
                  <a:lnTo>
                    <a:pt x="692" y="497"/>
                  </a:lnTo>
                  <a:lnTo>
                    <a:pt x="692" y="497"/>
                  </a:lnTo>
                  <a:lnTo>
                    <a:pt x="689" y="497"/>
                  </a:lnTo>
                  <a:lnTo>
                    <a:pt x="689" y="497"/>
                  </a:lnTo>
                  <a:lnTo>
                    <a:pt x="687" y="494"/>
                  </a:lnTo>
                  <a:lnTo>
                    <a:pt x="687" y="494"/>
                  </a:lnTo>
                  <a:lnTo>
                    <a:pt x="684" y="494"/>
                  </a:lnTo>
                  <a:lnTo>
                    <a:pt x="681" y="494"/>
                  </a:lnTo>
                  <a:lnTo>
                    <a:pt x="679" y="494"/>
                  </a:lnTo>
                  <a:lnTo>
                    <a:pt x="679" y="491"/>
                  </a:lnTo>
                  <a:lnTo>
                    <a:pt x="679" y="491"/>
                  </a:lnTo>
                  <a:lnTo>
                    <a:pt x="679" y="489"/>
                  </a:lnTo>
                  <a:lnTo>
                    <a:pt x="676" y="489"/>
                  </a:lnTo>
                  <a:lnTo>
                    <a:pt x="679" y="489"/>
                  </a:lnTo>
                  <a:lnTo>
                    <a:pt x="681" y="486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79" y="481"/>
                  </a:lnTo>
                  <a:lnTo>
                    <a:pt x="679" y="483"/>
                  </a:lnTo>
                  <a:lnTo>
                    <a:pt x="676" y="483"/>
                  </a:lnTo>
                  <a:lnTo>
                    <a:pt x="676" y="481"/>
                  </a:lnTo>
                  <a:lnTo>
                    <a:pt x="676" y="481"/>
                  </a:lnTo>
                  <a:lnTo>
                    <a:pt x="676" y="478"/>
                  </a:lnTo>
                  <a:lnTo>
                    <a:pt x="679" y="478"/>
                  </a:lnTo>
                  <a:lnTo>
                    <a:pt x="679" y="475"/>
                  </a:lnTo>
                  <a:lnTo>
                    <a:pt x="679" y="475"/>
                  </a:lnTo>
                  <a:lnTo>
                    <a:pt x="681" y="473"/>
                  </a:lnTo>
                  <a:lnTo>
                    <a:pt x="681" y="473"/>
                  </a:lnTo>
                  <a:lnTo>
                    <a:pt x="681" y="470"/>
                  </a:lnTo>
                  <a:lnTo>
                    <a:pt x="681" y="470"/>
                  </a:lnTo>
                  <a:lnTo>
                    <a:pt x="681" y="470"/>
                  </a:lnTo>
                  <a:lnTo>
                    <a:pt x="681" y="467"/>
                  </a:lnTo>
                  <a:lnTo>
                    <a:pt x="681" y="467"/>
                  </a:lnTo>
                  <a:lnTo>
                    <a:pt x="684" y="467"/>
                  </a:lnTo>
                  <a:lnTo>
                    <a:pt x="684" y="465"/>
                  </a:lnTo>
                  <a:lnTo>
                    <a:pt x="684" y="465"/>
                  </a:lnTo>
                  <a:lnTo>
                    <a:pt x="687" y="465"/>
                  </a:lnTo>
                  <a:lnTo>
                    <a:pt x="687" y="462"/>
                  </a:lnTo>
                  <a:lnTo>
                    <a:pt x="687" y="459"/>
                  </a:lnTo>
                  <a:lnTo>
                    <a:pt x="687" y="457"/>
                  </a:lnTo>
                  <a:lnTo>
                    <a:pt x="687" y="457"/>
                  </a:lnTo>
                  <a:lnTo>
                    <a:pt x="684" y="457"/>
                  </a:lnTo>
                  <a:lnTo>
                    <a:pt x="684" y="457"/>
                  </a:lnTo>
                  <a:lnTo>
                    <a:pt x="684" y="454"/>
                  </a:lnTo>
                  <a:lnTo>
                    <a:pt x="684" y="454"/>
                  </a:lnTo>
                  <a:lnTo>
                    <a:pt x="684" y="451"/>
                  </a:lnTo>
                  <a:lnTo>
                    <a:pt x="684" y="451"/>
                  </a:lnTo>
                  <a:lnTo>
                    <a:pt x="684" y="449"/>
                  </a:lnTo>
                  <a:lnTo>
                    <a:pt x="684" y="449"/>
                  </a:lnTo>
                  <a:lnTo>
                    <a:pt x="684" y="446"/>
                  </a:lnTo>
                  <a:lnTo>
                    <a:pt x="684" y="446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7" y="441"/>
                  </a:lnTo>
                  <a:lnTo>
                    <a:pt x="689" y="438"/>
                  </a:lnTo>
                  <a:lnTo>
                    <a:pt x="689" y="438"/>
                  </a:lnTo>
                  <a:lnTo>
                    <a:pt x="689" y="438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87" y="432"/>
                  </a:lnTo>
                  <a:lnTo>
                    <a:pt x="687" y="432"/>
                  </a:lnTo>
                  <a:lnTo>
                    <a:pt x="689" y="430"/>
                  </a:lnTo>
                  <a:lnTo>
                    <a:pt x="689" y="430"/>
                  </a:lnTo>
                  <a:lnTo>
                    <a:pt x="689" y="430"/>
                  </a:lnTo>
                  <a:lnTo>
                    <a:pt x="689" y="427"/>
                  </a:lnTo>
                  <a:lnTo>
                    <a:pt x="689" y="427"/>
                  </a:lnTo>
                  <a:lnTo>
                    <a:pt x="689" y="427"/>
                  </a:lnTo>
                  <a:lnTo>
                    <a:pt x="689" y="424"/>
                  </a:lnTo>
                  <a:lnTo>
                    <a:pt x="689" y="424"/>
                  </a:lnTo>
                  <a:lnTo>
                    <a:pt x="692" y="424"/>
                  </a:lnTo>
                  <a:lnTo>
                    <a:pt x="692" y="422"/>
                  </a:lnTo>
                  <a:lnTo>
                    <a:pt x="692" y="422"/>
                  </a:lnTo>
                  <a:lnTo>
                    <a:pt x="692" y="419"/>
                  </a:lnTo>
                  <a:lnTo>
                    <a:pt x="692" y="419"/>
                  </a:lnTo>
                  <a:lnTo>
                    <a:pt x="689" y="419"/>
                  </a:lnTo>
                  <a:lnTo>
                    <a:pt x="689" y="419"/>
                  </a:lnTo>
                  <a:lnTo>
                    <a:pt x="689" y="419"/>
                  </a:lnTo>
                  <a:lnTo>
                    <a:pt x="689" y="416"/>
                  </a:lnTo>
                  <a:lnTo>
                    <a:pt x="689" y="416"/>
                  </a:lnTo>
                  <a:lnTo>
                    <a:pt x="689" y="414"/>
                  </a:lnTo>
                  <a:lnTo>
                    <a:pt x="689" y="414"/>
                  </a:lnTo>
                  <a:lnTo>
                    <a:pt x="687" y="414"/>
                  </a:lnTo>
                  <a:lnTo>
                    <a:pt x="687" y="411"/>
                  </a:lnTo>
                  <a:lnTo>
                    <a:pt x="687" y="411"/>
                  </a:lnTo>
                  <a:lnTo>
                    <a:pt x="687" y="408"/>
                  </a:lnTo>
                  <a:lnTo>
                    <a:pt x="687" y="408"/>
                  </a:lnTo>
                  <a:lnTo>
                    <a:pt x="687" y="406"/>
                  </a:lnTo>
                  <a:lnTo>
                    <a:pt x="687" y="406"/>
                  </a:lnTo>
                  <a:lnTo>
                    <a:pt x="687" y="406"/>
                  </a:lnTo>
                  <a:lnTo>
                    <a:pt x="687" y="403"/>
                  </a:lnTo>
                  <a:lnTo>
                    <a:pt x="687" y="403"/>
                  </a:lnTo>
                  <a:lnTo>
                    <a:pt x="687" y="400"/>
                  </a:lnTo>
                  <a:lnTo>
                    <a:pt x="687" y="400"/>
                  </a:lnTo>
                  <a:lnTo>
                    <a:pt x="687" y="398"/>
                  </a:lnTo>
                  <a:lnTo>
                    <a:pt x="689" y="398"/>
                  </a:lnTo>
                  <a:lnTo>
                    <a:pt x="689" y="398"/>
                  </a:lnTo>
                  <a:lnTo>
                    <a:pt x="689" y="398"/>
                  </a:lnTo>
                  <a:lnTo>
                    <a:pt x="692" y="395"/>
                  </a:lnTo>
                  <a:lnTo>
                    <a:pt x="692" y="395"/>
                  </a:lnTo>
                  <a:lnTo>
                    <a:pt x="692" y="392"/>
                  </a:lnTo>
                  <a:lnTo>
                    <a:pt x="692" y="392"/>
                  </a:lnTo>
                  <a:lnTo>
                    <a:pt x="692" y="392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90"/>
                  </a:lnTo>
                  <a:lnTo>
                    <a:pt x="692" y="387"/>
                  </a:lnTo>
                  <a:lnTo>
                    <a:pt x="692" y="387"/>
                  </a:lnTo>
                  <a:lnTo>
                    <a:pt x="692" y="387"/>
                  </a:lnTo>
                  <a:lnTo>
                    <a:pt x="689" y="387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2" y="384"/>
                  </a:lnTo>
                  <a:lnTo>
                    <a:pt x="695" y="382"/>
                  </a:lnTo>
                  <a:lnTo>
                    <a:pt x="695" y="382"/>
                  </a:lnTo>
                  <a:lnTo>
                    <a:pt x="695" y="379"/>
                  </a:lnTo>
                  <a:lnTo>
                    <a:pt x="695" y="379"/>
                  </a:lnTo>
                  <a:lnTo>
                    <a:pt x="692" y="376"/>
                  </a:lnTo>
                  <a:lnTo>
                    <a:pt x="692" y="376"/>
                  </a:lnTo>
                  <a:lnTo>
                    <a:pt x="692" y="376"/>
                  </a:lnTo>
                  <a:lnTo>
                    <a:pt x="692" y="374"/>
                  </a:lnTo>
                  <a:lnTo>
                    <a:pt x="695" y="374"/>
                  </a:lnTo>
                  <a:lnTo>
                    <a:pt x="695" y="371"/>
                  </a:lnTo>
                  <a:lnTo>
                    <a:pt x="695" y="368"/>
                  </a:lnTo>
                  <a:lnTo>
                    <a:pt x="697" y="368"/>
                  </a:lnTo>
                  <a:lnTo>
                    <a:pt x="697" y="366"/>
                  </a:lnTo>
                  <a:lnTo>
                    <a:pt x="697" y="366"/>
                  </a:lnTo>
                  <a:lnTo>
                    <a:pt x="697" y="363"/>
                  </a:lnTo>
                  <a:lnTo>
                    <a:pt x="697" y="363"/>
                  </a:lnTo>
                  <a:lnTo>
                    <a:pt x="700" y="363"/>
                  </a:lnTo>
                  <a:lnTo>
                    <a:pt x="700" y="360"/>
                  </a:lnTo>
                  <a:lnTo>
                    <a:pt x="700" y="360"/>
                  </a:lnTo>
                  <a:lnTo>
                    <a:pt x="700" y="360"/>
                  </a:lnTo>
                  <a:lnTo>
                    <a:pt x="700" y="358"/>
                  </a:lnTo>
                  <a:lnTo>
                    <a:pt x="700" y="358"/>
                  </a:lnTo>
                  <a:lnTo>
                    <a:pt x="700" y="358"/>
                  </a:lnTo>
                  <a:lnTo>
                    <a:pt x="697" y="358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7" y="355"/>
                  </a:lnTo>
                  <a:lnTo>
                    <a:pt x="695" y="352"/>
                  </a:lnTo>
                  <a:lnTo>
                    <a:pt x="697" y="352"/>
                  </a:lnTo>
                  <a:lnTo>
                    <a:pt x="697" y="352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703" y="352"/>
                  </a:lnTo>
                  <a:lnTo>
                    <a:pt x="703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0"/>
                  </a:lnTo>
                  <a:lnTo>
                    <a:pt x="708" y="350"/>
                  </a:lnTo>
                  <a:lnTo>
                    <a:pt x="705" y="347"/>
                  </a:lnTo>
                  <a:lnTo>
                    <a:pt x="705" y="344"/>
                  </a:lnTo>
                  <a:lnTo>
                    <a:pt x="705" y="342"/>
                  </a:lnTo>
                  <a:lnTo>
                    <a:pt x="705" y="342"/>
                  </a:lnTo>
                  <a:lnTo>
                    <a:pt x="705" y="339"/>
                  </a:lnTo>
                  <a:lnTo>
                    <a:pt x="703" y="339"/>
                  </a:lnTo>
                  <a:lnTo>
                    <a:pt x="700" y="336"/>
                  </a:lnTo>
                  <a:lnTo>
                    <a:pt x="703" y="334"/>
                  </a:lnTo>
                  <a:lnTo>
                    <a:pt x="703" y="334"/>
                  </a:lnTo>
                  <a:lnTo>
                    <a:pt x="705" y="331"/>
                  </a:lnTo>
                  <a:lnTo>
                    <a:pt x="705" y="328"/>
                  </a:lnTo>
                  <a:lnTo>
                    <a:pt x="705" y="328"/>
                  </a:lnTo>
                  <a:lnTo>
                    <a:pt x="708" y="326"/>
                  </a:lnTo>
                  <a:lnTo>
                    <a:pt x="708" y="323"/>
                  </a:lnTo>
                  <a:lnTo>
                    <a:pt x="708" y="323"/>
                  </a:lnTo>
                  <a:lnTo>
                    <a:pt x="708" y="320"/>
                  </a:lnTo>
                  <a:lnTo>
                    <a:pt x="711" y="320"/>
                  </a:lnTo>
                  <a:lnTo>
                    <a:pt x="711" y="318"/>
                  </a:lnTo>
                  <a:lnTo>
                    <a:pt x="711" y="315"/>
                  </a:lnTo>
                  <a:lnTo>
                    <a:pt x="711" y="312"/>
                  </a:lnTo>
                  <a:lnTo>
                    <a:pt x="711" y="310"/>
                  </a:lnTo>
                  <a:lnTo>
                    <a:pt x="711" y="307"/>
                  </a:lnTo>
                  <a:lnTo>
                    <a:pt x="711" y="304"/>
                  </a:lnTo>
                  <a:lnTo>
                    <a:pt x="711" y="302"/>
                  </a:lnTo>
                  <a:lnTo>
                    <a:pt x="711" y="302"/>
                  </a:lnTo>
                  <a:lnTo>
                    <a:pt x="708" y="302"/>
                  </a:lnTo>
                  <a:lnTo>
                    <a:pt x="708" y="299"/>
                  </a:lnTo>
                  <a:lnTo>
                    <a:pt x="705" y="299"/>
                  </a:lnTo>
                  <a:lnTo>
                    <a:pt x="705" y="299"/>
                  </a:lnTo>
                  <a:lnTo>
                    <a:pt x="703" y="299"/>
                  </a:lnTo>
                  <a:lnTo>
                    <a:pt x="703" y="299"/>
                  </a:lnTo>
                  <a:lnTo>
                    <a:pt x="703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700" y="302"/>
                  </a:lnTo>
                  <a:lnTo>
                    <a:pt x="697" y="302"/>
                  </a:lnTo>
                  <a:lnTo>
                    <a:pt x="697" y="302"/>
                  </a:lnTo>
                  <a:lnTo>
                    <a:pt x="695" y="304"/>
                  </a:lnTo>
                  <a:lnTo>
                    <a:pt x="692" y="302"/>
                  </a:lnTo>
                  <a:lnTo>
                    <a:pt x="689" y="299"/>
                  </a:lnTo>
                  <a:lnTo>
                    <a:pt x="689" y="299"/>
                  </a:lnTo>
                  <a:lnTo>
                    <a:pt x="689" y="296"/>
                  </a:lnTo>
                  <a:lnTo>
                    <a:pt x="687" y="296"/>
                  </a:lnTo>
                  <a:lnTo>
                    <a:pt x="687" y="294"/>
                  </a:lnTo>
                  <a:lnTo>
                    <a:pt x="687" y="294"/>
                  </a:lnTo>
                  <a:lnTo>
                    <a:pt x="684" y="294"/>
                  </a:lnTo>
                  <a:lnTo>
                    <a:pt x="684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79" y="291"/>
                  </a:lnTo>
                  <a:lnTo>
                    <a:pt x="679" y="294"/>
                  </a:lnTo>
                  <a:lnTo>
                    <a:pt x="679" y="291"/>
                  </a:lnTo>
                  <a:lnTo>
                    <a:pt x="676" y="291"/>
                  </a:lnTo>
                  <a:lnTo>
                    <a:pt x="676" y="294"/>
                  </a:lnTo>
                  <a:lnTo>
                    <a:pt x="673" y="291"/>
                  </a:lnTo>
                  <a:lnTo>
                    <a:pt x="673" y="291"/>
                  </a:lnTo>
                  <a:lnTo>
                    <a:pt x="673" y="291"/>
                  </a:lnTo>
                  <a:lnTo>
                    <a:pt x="671" y="291"/>
                  </a:lnTo>
                  <a:lnTo>
                    <a:pt x="671" y="291"/>
                  </a:lnTo>
                  <a:lnTo>
                    <a:pt x="671" y="288"/>
                  </a:lnTo>
                  <a:lnTo>
                    <a:pt x="671" y="288"/>
                  </a:lnTo>
                  <a:lnTo>
                    <a:pt x="671" y="286"/>
                  </a:lnTo>
                  <a:lnTo>
                    <a:pt x="671" y="286"/>
                  </a:lnTo>
                  <a:lnTo>
                    <a:pt x="671" y="283"/>
                  </a:lnTo>
                  <a:lnTo>
                    <a:pt x="671" y="280"/>
                  </a:lnTo>
                  <a:lnTo>
                    <a:pt x="673" y="280"/>
                  </a:lnTo>
                  <a:lnTo>
                    <a:pt x="673" y="280"/>
                  </a:lnTo>
                  <a:lnTo>
                    <a:pt x="671" y="278"/>
                  </a:lnTo>
                  <a:lnTo>
                    <a:pt x="671" y="275"/>
                  </a:lnTo>
                  <a:lnTo>
                    <a:pt x="671" y="275"/>
                  </a:lnTo>
                  <a:lnTo>
                    <a:pt x="671" y="272"/>
                  </a:lnTo>
                  <a:lnTo>
                    <a:pt x="671" y="272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71" y="267"/>
                  </a:lnTo>
                  <a:lnTo>
                    <a:pt x="671" y="267"/>
                  </a:lnTo>
                  <a:lnTo>
                    <a:pt x="668" y="264"/>
                  </a:lnTo>
                  <a:lnTo>
                    <a:pt x="668" y="264"/>
                  </a:lnTo>
                  <a:lnTo>
                    <a:pt x="668" y="261"/>
                  </a:lnTo>
                  <a:lnTo>
                    <a:pt x="665" y="261"/>
                  </a:lnTo>
                  <a:lnTo>
                    <a:pt x="665" y="261"/>
                  </a:lnTo>
                  <a:lnTo>
                    <a:pt x="665" y="259"/>
                  </a:lnTo>
                  <a:lnTo>
                    <a:pt x="663" y="259"/>
                  </a:lnTo>
                  <a:lnTo>
                    <a:pt x="660" y="259"/>
                  </a:lnTo>
                  <a:lnTo>
                    <a:pt x="663" y="256"/>
                  </a:lnTo>
                  <a:lnTo>
                    <a:pt x="663" y="253"/>
                  </a:lnTo>
                  <a:lnTo>
                    <a:pt x="660" y="256"/>
                  </a:lnTo>
                  <a:lnTo>
                    <a:pt x="657" y="253"/>
                  </a:lnTo>
                  <a:lnTo>
                    <a:pt x="655" y="251"/>
                  </a:lnTo>
                  <a:lnTo>
                    <a:pt x="657" y="251"/>
                  </a:lnTo>
                  <a:lnTo>
                    <a:pt x="655" y="248"/>
                  </a:lnTo>
                  <a:lnTo>
                    <a:pt x="655" y="245"/>
                  </a:lnTo>
                  <a:lnTo>
                    <a:pt x="655" y="245"/>
                  </a:lnTo>
                  <a:lnTo>
                    <a:pt x="652" y="245"/>
                  </a:lnTo>
                  <a:lnTo>
                    <a:pt x="652" y="245"/>
                  </a:lnTo>
                  <a:lnTo>
                    <a:pt x="655" y="245"/>
                  </a:lnTo>
                  <a:lnTo>
                    <a:pt x="652" y="243"/>
                  </a:lnTo>
                  <a:lnTo>
                    <a:pt x="652" y="243"/>
                  </a:lnTo>
                  <a:lnTo>
                    <a:pt x="652" y="240"/>
                  </a:lnTo>
                  <a:lnTo>
                    <a:pt x="652" y="237"/>
                  </a:lnTo>
                  <a:lnTo>
                    <a:pt x="652" y="235"/>
                  </a:lnTo>
                  <a:lnTo>
                    <a:pt x="652" y="235"/>
                  </a:lnTo>
                  <a:lnTo>
                    <a:pt x="655" y="232"/>
                  </a:lnTo>
                  <a:lnTo>
                    <a:pt x="655" y="229"/>
                  </a:lnTo>
                  <a:lnTo>
                    <a:pt x="655" y="227"/>
                  </a:lnTo>
                  <a:lnTo>
                    <a:pt x="657" y="227"/>
                  </a:lnTo>
                  <a:lnTo>
                    <a:pt x="657" y="224"/>
                  </a:lnTo>
                  <a:lnTo>
                    <a:pt x="657" y="224"/>
                  </a:lnTo>
                  <a:lnTo>
                    <a:pt x="657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3" y="221"/>
                  </a:lnTo>
                  <a:lnTo>
                    <a:pt x="663" y="219"/>
                  </a:lnTo>
                  <a:lnTo>
                    <a:pt x="663" y="219"/>
                  </a:lnTo>
                  <a:lnTo>
                    <a:pt x="663" y="219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3"/>
                  </a:lnTo>
                  <a:lnTo>
                    <a:pt x="663" y="213"/>
                  </a:lnTo>
                  <a:lnTo>
                    <a:pt x="663" y="211"/>
                  </a:lnTo>
                  <a:lnTo>
                    <a:pt x="663" y="211"/>
                  </a:lnTo>
                  <a:lnTo>
                    <a:pt x="663" y="211"/>
                  </a:lnTo>
                  <a:lnTo>
                    <a:pt x="663" y="208"/>
                  </a:lnTo>
                  <a:lnTo>
                    <a:pt x="665" y="208"/>
                  </a:lnTo>
                  <a:lnTo>
                    <a:pt x="665" y="205"/>
                  </a:lnTo>
                  <a:lnTo>
                    <a:pt x="665" y="205"/>
                  </a:lnTo>
                  <a:lnTo>
                    <a:pt x="668" y="205"/>
                  </a:lnTo>
                  <a:lnTo>
                    <a:pt x="668" y="205"/>
                  </a:lnTo>
                  <a:lnTo>
                    <a:pt x="668" y="203"/>
                  </a:lnTo>
                  <a:lnTo>
                    <a:pt x="668" y="203"/>
                  </a:lnTo>
                  <a:lnTo>
                    <a:pt x="668" y="203"/>
                  </a:lnTo>
                  <a:lnTo>
                    <a:pt x="668" y="200"/>
                  </a:lnTo>
                  <a:lnTo>
                    <a:pt x="665" y="200"/>
                  </a:lnTo>
                  <a:lnTo>
                    <a:pt x="665" y="200"/>
                  </a:lnTo>
                  <a:lnTo>
                    <a:pt x="665" y="197"/>
                  </a:lnTo>
                  <a:lnTo>
                    <a:pt x="663" y="197"/>
                  </a:lnTo>
                  <a:lnTo>
                    <a:pt x="663" y="197"/>
                  </a:lnTo>
                  <a:lnTo>
                    <a:pt x="663" y="195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7"/>
                  </a:lnTo>
                  <a:lnTo>
                    <a:pt x="663" y="187"/>
                  </a:lnTo>
                  <a:lnTo>
                    <a:pt x="660" y="184"/>
                  </a:lnTo>
                  <a:lnTo>
                    <a:pt x="660" y="184"/>
                  </a:lnTo>
                  <a:lnTo>
                    <a:pt x="660" y="184"/>
                  </a:lnTo>
                  <a:lnTo>
                    <a:pt x="660" y="181"/>
                  </a:lnTo>
                  <a:lnTo>
                    <a:pt x="660" y="181"/>
                  </a:lnTo>
                  <a:lnTo>
                    <a:pt x="660" y="179"/>
                  </a:lnTo>
                  <a:lnTo>
                    <a:pt x="657" y="179"/>
                  </a:lnTo>
                  <a:lnTo>
                    <a:pt x="657" y="179"/>
                  </a:lnTo>
                  <a:lnTo>
                    <a:pt x="655" y="179"/>
                  </a:lnTo>
                  <a:lnTo>
                    <a:pt x="655" y="181"/>
                  </a:lnTo>
                  <a:lnTo>
                    <a:pt x="652" y="181"/>
                  </a:lnTo>
                  <a:lnTo>
                    <a:pt x="649" y="181"/>
                  </a:lnTo>
                  <a:lnTo>
                    <a:pt x="649" y="181"/>
                  </a:lnTo>
                  <a:lnTo>
                    <a:pt x="647" y="181"/>
                  </a:lnTo>
                  <a:lnTo>
                    <a:pt x="644" y="181"/>
                  </a:lnTo>
                  <a:lnTo>
                    <a:pt x="644" y="181"/>
                  </a:lnTo>
                  <a:lnTo>
                    <a:pt x="641" y="181"/>
                  </a:lnTo>
                  <a:lnTo>
                    <a:pt x="641" y="181"/>
                  </a:lnTo>
                  <a:lnTo>
                    <a:pt x="641" y="184"/>
                  </a:lnTo>
                  <a:lnTo>
                    <a:pt x="641" y="184"/>
                  </a:lnTo>
                  <a:lnTo>
                    <a:pt x="641" y="184"/>
                  </a:lnTo>
                  <a:lnTo>
                    <a:pt x="639" y="184"/>
                  </a:lnTo>
                  <a:lnTo>
                    <a:pt x="639" y="184"/>
                  </a:lnTo>
                  <a:lnTo>
                    <a:pt x="639" y="184"/>
                  </a:lnTo>
                  <a:lnTo>
                    <a:pt x="636" y="184"/>
                  </a:lnTo>
                  <a:lnTo>
                    <a:pt x="636" y="181"/>
                  </a:lnTo>
                  <a:lnTo>
                    <a:pt x="636" y="181"/>
                  </a:lnTo>
                  <a:lnTo>
                    <a:pt x="636" y="179"/>
                  </a:lnTo>
                  <a:lnTo>
                    <a:pt x="636" y="179"/>
                  </a:lnTo>
                  <a:lnTo>
                    <a:pt x="633" y="179"/>
                  </a:lnTo>
                  <a:lnTo>
                    <a:pt x="633" y="179"/>
                  </a:lnTo>
                  <a:lnTo>
                    <a:pt x="630" y="179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8" y="176"/>
                  </a:lnTo>
                  <a:lnTo>
                    <a:pt x="628" y="173"/>
                  </a:lnTo>
                  <a:lnTo>
                    <a:pt x="628" y="173"/>
                  </a:lnTo>
                  <a:lnTo>
                    <a:pt x="628" y="171"/>
                  </a:lnTo>
                  <a:lnTo>
                    <a:pt x="628" y="171"/>
                  </a:lnTo>
                  <a:lnTo>
                    <a:pt x="628" y="171"/>
                  </a:lnTo>
                  <a:lnTo>
                    <a:pt x="628" y="168"/>
                  </a:lnTo>
                  <a:lnTo>
                    <a:pt x="628" y="168"/>
                  </a:lnTo>
                  <a:lnTo>
                    <a:pt x="630" y="165"/>
                  </a:lnTo>
                  <a:lnTo>
                    <a:pt x="630" y="165"/>
                  </a:lnTo>
                  <a:lnTo>
                    <a:pt x="630" y="165"/>
                  </a:lnTo>
                  <a:lnTo>
                    <a:pt x="630" y="163"/>
                  </a:lnTo>
                  <a:lnTo>
                    <a:pt x="630" y="163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3" y="157"/>
                  </a:lnTo>
                  <a:lnTo>
                    <a:pt x="636" y="157"/>
                  </a:lnTo>
                  <a:lnTo>
                    <a:pt x="633" y="155"/>
                  </a:lnTo>
                  <a:lnTo>
                    <a:pt x="633" y="152"/>
                  </a:lnTo>
                  <a:lnTo>
                    <a:pt x="633" y="149"/>
                  </a:lnTo>
                  <a:lnTo>
                    <a:pt x="633" y="147"/>
                  </a:lnTo>
                  <a:lnTo>
                    <a:pt x="636" y="147"/>
                  </a:lnTo>
                  <a:lnTo>
                    <a:pt x="636" y="144"/>
                  </a:lnTo>
                  <a:lnTo>
                    <a:pt x="636" y="144"/>
                  </a:lnTo>
                  <a:lnTo>
                    <a:pt x="636" y="144"/>
                  </a:lnTo>
                  <a:lnTo>
                    <a:pt x="639" y="141"/>
                  </a:lnTo>
                  <a:lnTo>
                    <a:pt x="641" y="141"/>
                  </a:lnTo>
                  <a:lnTo>
                    <a:pt x="641" y="139"/>
                  </a:lnTo>
                  <a:lnTo>
                    <a:pt x="639" y="139"/>
                  </a:lnTo>
                  <a:lnTo>
                    <a:pt x="639" y="136"/>
                  </a:lnTo>
                  <a:lnTo>
                    <a:pt x="639" y="133"/>
                  </a:lnTo>
                  <a:lnTo>
                    <a:pt x="636" y="133"/>
                  </a:lnTo>
                  <a:lnTo>
                    <a:pt x="633" y="133"/>
                  </a:lnTo>
                  <a:lnTo>
                    <a:pt x="633" y="133"/>
                  </a:lnTo>
                  <a:lnTo>
                    <a:pt x="630" y="131"/>
                  </a:lnTo>
                  <a:lnTo>
                    <a:pt x="630" y="128"/>
                  </a:lnTo>
                  <a:lnTo>
                    <a:pt x="630" y="125"/>
                  </a:lnTo>
                  <a:lnTo>
                    <a:pt x="630" y="125"/>
                  </a:lnTo>
                  <a:lnTo>
                    <a:pt x="630" y="123"/>
                  </a:lnTo>
                  <a:lnTo>
                    <a:pt x="628" y="123"/>
                  </a:lnTo>
                  <a:lnTo>
                    <a:pt x="628" y="123"/>
                  </a:lnTo>
                  <a:lnTo>
                    <a:pt x="630" y="120"/>
                  </a:lnTo>
                  <a:lnTo>
                    <a:pt x="628" y="120"/>
                  </a:lnTo>
                  <a:lnTo>
                    <a:pt x="628" y="120"/>
                  </a:lnTo>
                  <a:lnTo>
                    <a:pt x="628" y="117"/>
                  </a:lnTo>
                  <a:lnTo>
                    <a:pt x="628" y="115"/>
                  </a:lnTo>
                  <a:lnTo>
                    <a:pt x="628" y="115"/>
                  </a:lnTo>
                  <a:lnTo>
                    <a:pt x="625" y="112"/>
                  </a:lnTo>
                  <a:lnTo>
                    <a:pt x="625" y="112"/>
                  </a:lnTo>
                  <a:lnTo>
                    <a:pt x="625" y="109"/>
                  </a:lnTo>
                  <a:lnTo>
                    <a:pt x="625" y="109"/>
                  </a:lnTo>
                  <a:lnTo>
                    <a:pt x="625" y="106"/>
                  </a:lnTo>
                  <a:lnTo>
                    <a:pt x="622" y="106"/>
                  </a:lnTo>
                  <a:lnTo>
                    <a:pt x="622" y="104"/>
                  </a:lnTo>
                  <a:lnTo>
                    <a:pt x="622" y="101"/>
                  </a:lnTo>
                  <a:lnTo>
                    <a:pt x="625" y="101"/>
                  </a:lnTo>
                  <a:lnTo>
                    <a:pt x="622" y="98"/>
                  </a:lnTo>
                  <a:lnTo>
                    <a:pt x="622" y="96"/>
                  </a:lnTo>
                  <a:lnTo>
                    <a:pt x="620" y="93"/>
                  </a:lnTo>
                  <a:lnTo>
                    <a:pt x="620" y="93"/>
                  </a:lnTo>
                  <a:lnTo>
                    <a:pt x="620" y="90"/>
                  </a:lnTo>
                  <a:lnTo>
                    <a:pt x="620" y="90"/>
                  </a:lnTo>
                  <a:lnTo>
                    <a:pt x="620" y="88"/>
                  </a:lnTo>
                  <a:lnTo>
                    <a:pt x="620" y="88"/>
                  </a:lnTo>
                  <a:lnTo>
                    <a:pt x="620" y="88"/>
                  </a:lnTo>
                  <a:lnTo>
                    <a:pt x="617" y="88"/>
                  </a:lnTo>
                  <a:lnTo>
                    <a:pt x="614" y="90"/>
                  </a:lnTo>
                  <a:lnTo>
                    <a:pt x="614" y="90"/>
                  </a:lnTo>
                  <a:lnTo>
                    <a:pt x="614" y="88"/>
                  </a:lnTo>
                  <a:lnTo>
                    <a:pt x="614" y="85"/>
                  </a:lnTo>
                  <a:lnTo>
                    <a:pt x="612" y="85"/>
                  </a:lnTo>
                  <a:lnTo>
                    <a:pt x="612" y="82"/>
                  </a:lnTo>
                  <a:lnTo>
                    <a:pt x="612" y="80"/>
                  </a:lnTo>
                  <a:lnTo>
                    <a:pt x="609" y="80"/>
                  </a:lnTo>
                  <a:lnTo>
                    <a:pt x="606" y="80"/>
                  </a:lnTo>
                  <a:lnTo>
                    <a:pt x="606" y="77"/>
                  </a:lnTo>
                  <a:lnTo>
                    <a:pt x="606" y="74"/>
                  </a:lnTo>
                  <a:lnTo>
                    <a:pt x="606" y="74"/>
                  </a:lnTo>
                  <a:lnTo>
                    <a:pt x="604" y="74"/>
                  </a:lnTo>
                  <a:lnTo>
                    <a:pt x="604" y="72"/>
                  </a:lnTo>
                  <a:lnTo>
                    <a:pt x="601" y="72"/>
                  </a:lnTo>
                  <a:lnTo>
                    <a:pt x="601" y="69"/>
                  </a:lnTo>
                  <a:lnTo>
                    <a:pt x="601" y="72"/>
                  </a:lnTo>
                  <a:lnTo>
                    <a:pt x="598" y="69"/>
                  </a:lnTo>
                  <a:lnTo>
                    <a:pt x="598" y="72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3" y="72"/>
                  </a:lnTo>
                  <a:lnTo>
                    <a:pt x="590" y="72"/>
                  </a:lnTo>
                  <a:lnTo>
                    <a:pt x="590" y="72"/>
                  </a:lnTo>
                  <a:lnTo>
                    <a:pt x="588" y="72"/>
                  </a:lnTo>
                  <a:lnTo>
                    <a:pt x="588" y="69"/>
                  </a:lnTo>
                  <a:lnTo>
                    <a:pt x="585" y="69"/>
                  </a:lnTo>
                  <a:lnTo>
                    <a:pt x="582" y="69"/>
                  </a:lnTo>
                  <a:lnTo>
                    <a:pt x="582" y="69"/>
                  </a:lnTo>
                  <a:lnTo>
                    <a:pt x="582" y="69"/>
                  </a:lnTo>
                  <a:lnTo>
                    <a:pt x="580" y="69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2" y="69"/>
                  </a:lnTo>
                  <a:lnTo>
                    <a:pt x="572" y="72"/>
                  </a:lnTo>
                  <a:lnTo>
                    <a:pt x="569" y="72"/>
                  </a:lnTo>
                  <a:lnTo>
                    <a:pt x="566" y="72"/>
                  </a:lnTo>
                  <a:lnTo>
                    <a:pt x="566" y="72"/>
                  </a:lnTo>
                  <a:lnTo>
                    <a:pt x="564" y="74"/>
                  </a:lnTo>
                  <a:lnTo>
                    <a:pt x="561" y="74"/>
                  </a:lnTo>
                  <a:lnTo>
                    <a:pt x="558" y="74"/>
                  </a:lnTo>
                  <a:lnTo>
                    <a:pt x="558" y="74"/>
                  </a:lnTo>
                  <a:lnTo>
                    <a:pt x="558" y="72"/>
                  </a:lnTo>
                  <a:lnTo>
                    <a:pt x="558" y="72"/>
                  </a:lnTo>
                  <a:lnTo>
                    <a:pt x="558" y="69"/>
                  </a:lnTo>
                  <a:lnTo>
                    <a:pt x="558" y="69"/>
                  </a:lnTo>
                  <a:lnTo>
                    <a:pt x="558" y="66"/>
                  </a:lnTo>
                  <a:lnTo>
                    <a:pt x="561" y="66"/>
                  </a:lnTo>
                  <a:lnTo>
                    <a:pt x="561" y="66"/>
                  </a:lnTo>
                  <a:lnTo>
                    <a:pt x="561" y="66"/>
                  </a:lnTo>
                  <a:lnTo>
                    <a:pt x="564" y="64"/>
                  </a:lnTo>
                  <a:lnTo>
                    <a:pt x="564" y="64"/>
                  </a:lnTo>
                  <a:lnTo>
                    <a:pt x="564" y="61"/>
                  </a:lnTo>
                  <a:lnTo>
                    <a:pt x="564" y="61"/>
                  </a:lnTo>
                  <a:lnTo>
                    <a:pt x="564" y="58"/>
                  </a:lnTo>
                  <a:lnTo>
                    <a:pt x="564" y="56"/>
                  </a:lnTo>
                  <a:lnTo>
                    <a:pt x="564" y="53"/>
                  </a:lnTo>
                  <a:lnTo>
                    <a:pt x="564" y="53"/>
                  </a:lnTo>
                  <a:lnTo>
                    <a:pt x="564" y="50"/>
                  </a:lnTo>
                  <a:lnTo>
                    <a:pt x="564" y="48"/>
                  </a:lnTo>
                  <a:lnTo>
                    <a:pt x="564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9" y="50"/>
                  </a:lnTo>
                  <a:lnTo>
                    <a:pt x="569" y="50"/>
                  </a:lnTo>
                  <a:lnTo>
                    <a:pt x="572" y="50"/>
                  </a:lnTo>
                  <a:lnTo>
                    <a:pt x="572" y="50"/>
                  </a:lnTo>
                  <a:lnTo>
                    <a:pt x="572" y="50"/>
                  </a:lnTo>
                  <a:lnTo>
                    <a:pt x="574" y="50"/>
                  </a:lnTo>
                  <a:lnTo>
                    <a:pt x="574" y="48"/>
                  </a:lnTo>
                  <a:lnTo>
                    <a:pt x="574" y="48"/>
                  </a:lnTo>
                  <a:lnTo>
                    <a:pt x="577" y="48"/>
                  </a:lnTo>
                  <a:lnTo>
                    <a:pt x="577" y="48"/>
                  </a:lnTo>
                  <a:lnTo>
                    <a:pt x="577" y="48"/>
                  </a:lnTo>
                  <a:lnTo>
                    <a:pt x="580" y="48"/>
                  </a:lnTo>
                  <a:lnTo>
                    <a:pt x="580" y="48"/>
                  </a:lnTo>
                  <a:lnTo>
                    <a:pt x="580" y="48"/>
                  </a:lnTo>
                  <a:lnTo>
                    <a:pt x="582" y="48"/>
                  </a:lnTo>
                  <a:lnTo>
                    <a:pt x="582" y="45"/>
                  </a:lnTo>
                  <a:lnTo>
                    <a:pt x="585" y="45"/>
                  </a:lnTo>
                  <a:lnTo>
                    <a:pt x="585" y="45"/>
                  </a:lnTo>
                  <a:lnTo>
                    <a:pt x="585" y="42"/>
                  </a:lnTo>
                  <a:lnTo>
                    <a:pt x="585" y="42"/>
                  </a:lnTo>
                  <a:lnTo>
                    <a:pt x="582" y="40"/>
                  </a:lnTo>
                  <a:lnTo>
                    <a:pt x="582" y="37"/>
                  </a:lnTo>
                  <a:lnTo>
                    <a:pt x="582" y="37"/>
                  </a:lnTo>
                  <a:lnTo>
                    <a:pt x="580" y="37"/>
                  </a:lnTo>
                  <a:lnTo>
                    <a:pt x="580" y="34"/>
                  </a:lnTo>
                  <a:lnTo>
                    <a:pt x="580" y="34"/>
                  </a:lnTo>
                  <a:lnTo>
                    <a:pt x="580" y="32"/>
                  </a:lnTo>
                  <a:lnTo>
                    <a:pt x="580" y="32"/>
                  </a:lnTo>
                  <a:lnTo>
                    <a:pt x="580" y="29"/>
                  </a:lnTo>
                  <a:lnTo>
                    <a:pt x="580" y="29"/>
                  </a:lnTo>
                  <a:lnTo>
                    <a:pt x="580" y="29"/>
                  </a:lnTo>
                  <a:lnTo>
                    <a:pt x="577" y="26"/>
                  </a:lnTo>
                  <a:lnTo>
                    <a:pt x="577" y="26"/>
                  </a:lnTo>
                  <a:lnTo>
                    <a:pt x="574" y="26"/>
                  </a:lnTo>
                  <a:lnTo>
                    <a:pt x="574" y="24"/>
                  </a:lnTo>
                  <a:lnTo>
                    <a:pt x="574" y="24"/>
                  </a:lnTo>
                  <a:lnTo>
                    <a:pt x="572" y="24"/>
                  </a:lnTo>
                  <a:lnTo>
                    <a:pt x="572" y="21"/>
                  </a:lnTo>
                  <a:lnTo>
                    <a:pt x="572" y="21"/>
                  </a:lnTo>
                  <a:lnTo>
                    <a:pt x="572" y="18"/>
                  </a:lnTo>
                  <a:lnTo>
                    <a:pt x="572" y="18"/>
                  </a:lnTo>
                  <a:lnTo>
                    <a:pt x="569" y="18"/>
                  </a:lnTo>
                  <a:lnTo>
                    <a:pt x="569" y="18"/>
                  </a:lnTo>
                  <a:lnTo>
                    <a:pt x="569" y="16"/>
                  </a:lnTo>
                  <a:lnTo>
                    <a:pt x="566" y="16"/>
                  </a:lnTo>
                  <a:lnTo>
                    <a:pt x="569" y="13"/>
                  </a:lnTo>
                  <a:lnTo>
                    <a:pt x="569" y="13"/>
                  </a:lnTo>
                  <a:lnTo>
                    <a:pt x="569" y="10"/>
                  </a:lnTo>
                  <a:lnTo>
                    <a:pt x="569" y="10"/>
                  </a:lnTo>
                  <a:lnTo>
                    <a:pt x="569" y="10"/>
                  </a:lnTo>
                  <a:lnTo>
                    <a:pt x="566" y="10"/>
                  </a:lnTo>
                  <a:lnTo>
                    <a:pt x="566" y="8"/>
                  </a:lnTo>
                  <a:lnTo>
                    <a:pt x="566" y="8"/>
                  </a:lnTo>
                  <a:lnTo>
                    <a:pt x="566" y="8"/>
                  </a:lnTo>
                  <a:lnTo>
                    <a:pt x="566" y="5"/>
                  </a:lnTo>
                  <a:lnTo>
                    <a:pt x="569" y="5"/>
                  </a:lnTo>
                  <a:lnTo>
                    <a:pt x="569" y="5"/>
                  </a:lnTo>
                  <a:lnTo>
                    <a:pt x="566" y="5"/>
                  </a:lnTo>
                  <a:lnTo>
                    <a:pt x="566" y="5"/>
                  </a:lnTo>
                  <a:lnTo>
                    <a:pt x="566" y="5"/>
                  </a:lnTo>
                  <a:lnTo>
                    <a:pt x="564" y="2"/>
                  </a:lnTo>
                  <a:lnTo>
                    <a:pt x="564" y="2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4" y="8"/>
                  </a:lnTo>
                  <a:lnTo>
                    <a:pt x="564" y="8"/>
                  </a:lnTo>
                  <a:lnTo>
                    <a:pt x="564" y="10"/>
                  </a:lnTo>
                  <a:lnTo>
                    <a:pt x="564" y="13"/>
                  </a:lnTo>
                  <a:lnTo>
                    <a:pt x="564" y="16"/>
                  </a:lnTo>
                  <a:lnTo>
                    <a:pt x="561" y="18"/>
                  </a:lnTo>
                  <a:lnTo>
                    <a:pt x="561" y="21"/>
                  </a:lnTo>
                  <a:lnTo>
                    <a:pt x="561" y="21"/>
                  </a:lnTo>
                  <a:lnTo>
                    <a:pt x="561" y="24"/>
                  </a:lnTo>
                  <a:lnTo>
                    <a:pt x="561" y="26"/>
                  </a:lnTo>
                  <a:lnTo>
                    <a:pt x="564" y="26"/>
                  </a:lnTo>
                  <a:lnTo>
                    <a:pt x="561" y="29"/>
                  </a:lnTo>
                  <a:lnTo>
                    <a:pt x="561" y="32"/>
                  </a:lnTo>
                  <a:lnTo>
                    <a:pt x="561" y="32"/>
                  </a:lnTo>
                  <a:lnTo>
                    <a:pt x="558" y="32"/>
                  </a:lnTo>
                  <a:lnTo>
                    <a:pt x="556" y="32"/>
                  </a:lnTo>
                  <a:lnTo>
                    <a:pt x="556" y="32"/>
                  </a:lnTo>
                  <a:lnTo>
                    <a:pt x="553" y="34"/>
                  </a:lnTo>
                  <a:lnTo>
                    <a:pt x="550" y="34"/>
                  </a:lnTo>
                  <a:lnTo>
                    <a:pt x="548" y="34"/>
                  </a:lnTo>
                  <a:lnTo>
                    <a:pt x="548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5" y="34"/>
                  </a:lnTo>
                  <a:lnTo>
                    <a:pt x="542" y="34"/>
                  </a:lnTo>
                  <a:lnTo>
                    <a:pt x="542" y="37"/>
                  </a:lnTo>
                  <a:lnTo>
                    <a:pt x="540" y="34"/>
                  </a:lnTo>
                  <a:lnTo>
                    <a:pt x="540" y="34"/>
                  </a:lnTo>
                  <a:lnTo>
                    <a:pt x="537" y="34"/>
                  </a:lnTo>
                  <a:lnTo>
                    <a:pt x="534" y="37"/>
                  </a:lnTo>
                  <a:lnTo>
                    <a:pt x="534" y="37"/>
                  </a:lnTo>
                  <a:lnTo>
                    <a:pt x="532" y="40"/>
                  </a:lnTo>
                  <a:lnTo>
                    <a:pt x="532" y="40"/>
                  </a:lnTo>
                  <a:lnTo>
                    <a:pt x="532" y="42"/>
                  </a:lnTo>
                  <a:lnTo>
                    <a:pt x="532" y="45"/>
                  </a:lnTo>
                  <a:lnTo>
                    <a:pt x="532" y="48"/>
                  </a:lnTo>
                  <a:lnTo>
                    <a:pt x="529" y="48"/>
                  </a:lnTo>
                  <a:lnTo>
                    <a:pt x="529" y="50"/>
                  </a:lnTo>
                  <a:lnTo>
                    <a:pt x="526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1" y="50"/>
                  </a:lnTo>
                  <a:lnTo>
                    <a:pt x="521" y="50"/>
                  </a:lnTo>
                  <a:lnTo>
                    <a:pt x="521" y="48"/>
                  </a:lnTo>
                  <a:lnTo>
                    <a:pt x="518" y="48"/>
                  </a:lnTo>
                  <a:lnTo>
                    <a:pt x="518" y="45"/>
                  </a:lnTo>
                  <a:lnTo>
                    <a:pt x="518" y="42"/>
                  </a:lnTo>
                  <a:lnTo>
                    <a:pt x="516" y="42"/>
                  </a:lnTo>
                  <a:lnTo>
                    <a:pt x="513" y="42"/>
                  </a:lnTo>
                  <a:lnTo>
                    <a:pt x="513" y="42"/>
                  </a:lnTo>
                  <a:lnTo>
                    <a:pt x="510" y="42"/>
                  </a:lnTo>
                  <a:lnTo>
                    <a:pt x="510" y="45"/>
                  </a:lnTo>
                  <a:lnTo>
                    <a:pt x="510" y="48"/>
                  </a:lnTo>
                  <a:lnTo>
                    <a:pt x="510" y="48"/>
                  </a:lnTo>
                  <a:lnTo>
                    <a:pt x="508" y="48"/>
                  </a:lnTo>
                  <a:lnTo>
                    <a:pt x="508" y="50"/>
                  </a:lnTo>
                  <a:lnTo>
                    <a:pt x="508" y="50"/>
                  </a:lnTo>
                  <a:lnTo>
                    <a:pt x="505" y="50"/>
                  </a:lnTo>
                  <a:lnTo>
                    <a:pt x="505" y="48"/>
                  </a:lnTo>
                  <a:lnTo>
                    <a:pt x="505" y="48"/>
                  </a:lnTo>
                  <a:lnTo>
                    <a:pt x="502" y="45"/>
                  </a:lnTo>
                  <a:lnTo>
                    <a:pt x="500" y="45"/>
                  </a:lnTo>
                  <a:lnTo>
                    <a:pt x="500" y="45"/>
                  </a:lnTo>
                  <a:lnTo>
                    <a:pt x="497" y="45"/>
                  </a:lnTo>
                  <a:lnTo>
                    <a:pt x="497" y="45"/>
                  </a:lnTo>
                  <a:lnTo>
                    <a:pt x="497" y="42"/>
                  </a:lnTo>
                  <a:lnTo>
                    <a:pt x="497" y="42"/>
                  </a:lnTo>
                  <a:lnTo>
                    <a:pt x="494" y="45"/>
                  </a:lnTo>
                  <a:lnTo>
                    <a:pt x="494" y="42"/>
                  </a:lnTo>
                  <a:lnTo>
                    <a:pt x="494" y="42"/>
                  </a:lnTo>
                  <a:lnTo>
                    <a:pt x="494" y="40"/>
                  </a:lnTo>
                  <a:lnTo>
                    <a:pt x="492" y="40"/>
                  </a:lnTo>
                  <a:lnTo>
                    <a:pt x="492" y="40"/>
                  </a:lnTo>
                  <a:lnTo>
                    <a:pt x="489" y="40"/>
                  </a:lnTo>
                  <a:lnTo>
                    <a:pt x="489" y="40"/>
                  </a:lnTo>
                  <a:lnTo>
                    <a:pt x="486" y="42"/>
                  </a:lnTo>
                  <a:lnTo>
                    <a:pt x="486" y="42"/>
                  </a:lnTo>
                  <a:lnTo>
                    <a:pt x="489" y="45"/>
                  </a:lnTo>
                  <a:lnTo>
                    <a:pt x="489" y="48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2" y="50"/>
                  </a:lnTo>
                  <a:lnTo>
                    <a:pt x="492" y="53"/>
                  </a:lnTo>
                  <a:lnTo>
                    <a:pt x="494" y="53"/>
                  </a:lnTo>
                  <a:lnTo>
                    <a:pt x="497" y="56"/>
                  </a:lnTo>
                  <a:lnTo>
                    <a:pt x="497" y="56"/>
                  </a:lnTo>
                  <a:lnTo>
                    <a:pt x="494" y="58"/>
                  </a:lnTo>
                  <a:lnTo>
                    <a:pt x="494" y="61"/>
                  </a:lnTo>
                  <a:lnTo>
                    <a:pt x="492" y="61"/>
                  </a:lnTo>
                  <a:lnTo>
                    <a:pt x="492" y="64"/>
                  </a:lnTo>
                  <a:lnTo>
                    <a:pt x="492" y="66"/>
                  </a:lnTo>
                  <a:lnTo>
                    <a:pt x="492" y="69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89" y="74"/>
                  </a:lnTo>
                  <a:lnTo>
                    <a:pt x="492" y="77"/>
                  </a:lnTo>
                  <a:lnTo>
                    <a:pt x="492" y="77"/>
                  </a:lnTo>
                  <a:lnTo>
                    <a:pt x="492" y="80"/>
                  </a:lnTo>
                  <a:lnTo>
                    <a:pt x="492" y="80"/>
                  </a:lnTo>
                  <a:lnTo>
                    <a:pt x="492" y="82"/>
                  </a:lnTo>
                  <a:lnTo>
                    <a:pt x="492" y="82"/>
                  </a:lnTo>
                  <a:lnTo>
                    <a:pt x="492" y="82"/>
                  </a:lnTo>
                  <a:lnTo>
                    <a:pt x="489" y="85"/>
                  </a:lnTo>
                  <a:lnTo>
                    <a:pt x="489" y="85"/>
                  </a:lnTo>
                  <a:lnTo>
                    <a:pt x="489" y="88"/>
                  </a:lnTo>
                  <a:lnTo>
                    <a:pt x="489" y="88"/>
                  </a:lnTo>
                  <a:lnTo>
                    <a:pt x="489" y="90"/>
                  </a:lnTo>
                  <a:lnTo>
                    <a:pt x="486" y="90"/>
                  </a:lnTo>
                  <a:lnTo>
                    <a:pt x="486" y="90"/>
                  </a:lnTo>
                  <a:lnTo>
                    <a:pt x="486" y="93"/>
                  </a:lnTo>
                  <a:lnTo>
                    <a:pt x="489" y="93"/>
                  </a:lnTo>
                  <a:lnTo>
                    <a:pt x="489" y="93"/>
                  </a:lnTo>
                  <a:lnTo>
                    <a:pt x="489" y="96"/>
                  </a:lnTo>
                  <a:lnTo>
                    <a:pt x="492" y="98"/>
                  </a:lnTo>
                  <a:lnTo>
                    <a:pt x="492" y="98"/>
                  </a:lnTo>
                  <a:lnTo>
                    <a:pt x="492" y="101"/>
                  </a:lnTo>
                  <a:lnTo>
                    <a:pt x="494" y="101"/>
                  </a:lnTo>
                  <a:lnTo>
                    <a:pt x="494" y="101"/>
                  </a:lnTo>
                  <a:lnTo>
                    <a:pt x="497" y="104"/>
                  </a:lnTo>
                  <a:lnTo>
                    <a:pt x="497" y="104"/>
                  </a:lnTo>
                  <a:lnTo>
                    <a:pt x="497" y="104"/>
                  </a:lnTo>
                  <a:lnTo>
                    <a:pt x="500" y="104"/>
                  </a:lnTo>
                  <a:lnTo>
                    <a:pt x="500" y="106"/>
                  </a:lnTo>
                  <a:lnTo>
                    <a:pt x="497" y="106"/>
                  </a:lnTo>
                  <a:lnTo>
                    <a:pt x="497" y="109"/>
                  </a:lnTo>
                  <a:lnTo>
                    <a:pt x="497" y="109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6" y="115"/>
                  </a:lnTo>
                  <a:lnTo>
                    <a:pt x="486" y="115"/>
                  </a:lnTo>
                  <a:lnTo>
                    <a:pt x="484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4" y="117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4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5"/>
                  </a:lnTo>
                  <a:lnTo>
                    <a:pt x="486" y="125"/>
                  </a:lnTo>
                  <a:lnTo>
                    <a:pt x="486" y="125"/>
                  </a:lnTo>
                  <a:lnTo>
                    <a:pt x="486" y="128"/>
                  </a:lnTo>
                  <a:lnTo>
                    <a:pt x="486" y="128"/>
                  </a:lnTo>
                  <a:lnTo>
                    <a:pt x="486" y="128"/>
                  </a:lnTo>
                  <a:lnTo>
                    <a:pt x="486" y="131"/>
                  </a:lnTo>
                  <a:lnTo>
                    <a:pt x="486" y="131"/>
                  </a:lnTo>
                  <a:lnTo>
                    <a:pt x="486" y="133"/>
                  </a:lnTo>
                  <a:lnTo>
                    <a:pt x="486" y="133"/>
                  </a:lnTo>
                  <a:lnTo>
                    <a:pt x="484" y="136"/>
                  </a:lnTo>
                  <a:lnTo>
                    <a:pt x="484" y="139"/>
                  </a:lnTo>
                  <a:lnTo>
                    <a:pt x="476" y="139"/>
                  </a:lnTo>
                  <a:lnTo>
                    <a:pt x="476" y="141"/>
                  </a:lnTo>
                  <a:lnTo>
                    <a:pt x="476" y="144"/>
                  </a:lnTo>
                  <a:lnTo>
                    <a:pt x="478" y="147"/>
                  </a:lnTo>
                  <a:lnTo>
                    <a:pt x="478" y="147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52"/>
                  </a:lnTo>
                  <a:lnTo>
                    <a:pt x="478" y="152"/>
                  </a:lnTo>
                  <a:lnTo>
                    <a:pt x="481" y="152"/>
                  </a:lnTo>
                  <a:lnTo>
                    <a:pt x="481" y="155"/>
                  </a:lnTo>
                  <a:lnTo>
                    <a:pt x="481" y="155"/>
                  </a:lnTo>
                  <a:lnTo>
                    <a:pt x="484" y="157"/>
                  </a:lnTo>
                  <a:lnTo>
                    <a:pt x="486" y="157"/>
                  </a:lnTo>
                  <a:lnTo>
                    <a:pt x="486" y="157"/>
                  </a:lnTo>
                  <a:lnTo>
                    <a:pt x="486" y="157"/>
                  </a:lnTo>
                  <a:lnTo>
                    <a:pt x="489" y="157"/>
                  </a:lnTo>
                  <a:lnTo>
                    <a:pt x="489" y="160"/>
                  </a:lnTo>
                  <a:lnTo>
                    <a:pt x="492" y="160"/>
                  </a:lnTo>
                  <a:lnTo>
                    <a:pt x="492" y="160"/>
                  </a:lnTo>
                  <a:lnTo>
                    <a:pt x="494" y="163"/>
                  </a:lnTo>
                  <a:lnTo>
                    <a:pt x="494" y="163"/>
                  </a:lnTo>
                  <a:lnTo>
                    <a:pt x="494" y="165"/>
                  </a:lnTo>
                  <a:lnTo>
                    <a:pt x="494" y="168"/>
                  </a:lnTo>
                  <a:lnTo>
                    <a:pt x="497" y="168"/>
                  </a:lnTo>
                  <a:lnTo>
                    <a:pt x="497" y="168"/>
                  </a:lnTo>
                  <a:lnTo>
                    <a:pt x="497" y="171"/>
                  </a:lnTo>
                  <a:lnTo>
                    <a:pt x="500" y="171"/>
                  </a:lnTo>
                  <a:lnTo>
                    <a:pt x="497" y="173"/>
                  </a:lnTo>
                  <a:lnTo>
                    <a:pt x="497" y="173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497" y="176"/>
                  </a:lnTo>
                  <a:lnTo>
                    <a:pt x="500" y="176"/>
                  </a:lnTo>
                  <a:lnTo>
                    <a:pt x="502" y="176"/>
                  </a:lnTo>
                  <a:lnTo>
                    <a:pt x="502" y="179"/>
                  </a:lnTo>
                  <a:lnTo>
                    <a:pt x="502" y="179"/>
                  </a:lnTo>
                  <a:lnTo>
                    <a:pt x="502" y="179"/>
                  </a:lnTo>
                  <a:lnTo>
                    <a:pt x="505" y="179"/>
                  </a:lnTo>
                  <a:lnTo>
                    <a:pt x="505" y="179"/>
                  </a:lnTo>
                  <a:lnTo>
                    <a:pt x="505" y="181"/>
                  </a:lnTo>
                  <a:lnTo>
                    <a:pt x="508" y="181"/>
                  </a:lnTo>
                  <a:lnTo>
                    <a:pt x="508" y="181"/>
                  </a:lnTo>
                  <a:lnTo>
                    <a:pt x="510" y="181"/>
                  </a:lnTo>
                  <a:lnTo>
                    <a:pt x="513" y="181"/>
                  </a:lnTo>
                  <a:lnTo>
                    <a:pt x="513" y="184"/>
                  </a:lnTo>
                  <a:lnTo>
                    <a:pt x="513" y="184"/>
                  </a:lnTo>
                  <a:lnTo>
                    <a:pt x="513" y="184"/>
                  </a:lnTo>
                  <a:lnTo>
                    <a:pt x="510" y="184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9"/>
                  </a:lnTo>
                  <a:lnTo>
                    <a:pt x="510" y="189"/>
                  </a:lnTo>
                  <a:lnTo>
                    <a:pt x="510" y="192"/>
                  </a:lnTo>
                  <a:lnTo>
                    <a:pt x="510" y="192"/>
                  </a:lnTo>
                  <a:lnTo>
                    <a:pt x="510" y="195"/>
                  </a:lnTo>
                  <a:lnTo>
                    <a:pt x="510" y="195"/>
                  </a:lnTo>
                  <a:lnTo>
                    <a:pt x="510" y="197"/>
                  </a:lnTo>
                  <a:lnTo>
                    <a:pt x="510" y="197"/>
                  </a:lnTo>
                  <a:lnTo>
                    <a:pt x="508" y="200"/>
                  </a:lnTo>
                  <a:lnTo>
                    <a:pt x="508" y="200"/>
                  </a:lnTo>
                  <a:lnTo>
                    <a:pt x="505" y="203"/>
                  </a:lnTo>
                  <a:lnTo>
                    <a:pt x="505" y="205"/>
                  </a:lnTo>
                  <a:lnTo>
                    <a:pt x="505" y="205"/>
                  </a:lnTo>
                  <a:lnTo>
                    <a:pt x="502" y="205"/>
                  </a:lnTo>
                  <a:lnTo>
                    <a:pt x="502" y="208"/>
                  </a:lnTo>
                  <a:lnTo>
                    <a:pt x="500" y="208"/>
                  </a:lnTo>
                  <a:lnTo>
                    <a:pt x="500" y="208"/>
                  </a:lnTo>
                  <a:lnTo>
                    <a:pt x="500" y="208"/>
                  </a:lnTo>
                  <a:lnTo>
                    <a:pt x="502" y="211"/>
                  </a:lnTo>
                  <a:lnTo>
                    <a:pt x="502" y="211"/>
                  </a:lnTo>
                  <a:lnTo>
                    <a:pt x="502" y="211"/>
                  </a:lnTo>
                  <a:lnTo>
                    <a:pt x="502" y="213"/>
                  </a:lnTo>
                  <a:lnTo>
                    <a:pt x="502" y="213"/>
                  </a:lnTo>
                  <a:lnTo>
                    <a:pt x="500" y="213"/>
                  </a:lnTo>
                  <a:lnTo>
                    <a:pt x="500" y="213"/>
                  </a:lnTo>
                  <a:lnTo>
                    <a:pt x="497" y="216"/>
                  </a:lnTo>
                  <a:lnTo>
                    <a:pt x="497" y="216"/>
                  </a:lnTo>
                  <a:lnTo>
                    <a:pt x="497" y="219"/>
                  </a:lnTo>
                  <a:lnTo>
                    <a:pt x="497" y="219"/>
                  </a:lnTo>
                  <a:lnTo>
                    <a:pt x="497" y="219"/>
                  </a:lnTo>
                  <a:lnTo>
                    <a:pt x="497" y="221"/>
                  </a:lnTo>
                  <a:lnTo>
                    <a:pt x="500" y="221"/>
                  </a:lnTo>
                  <a:lnTo>
                    <a:pt x="500" y="221"/>
                  </a:lnTo>
                  <a:lnTo>
                    <a:pt x="500" y="221"/>
                  </a:lnTo>
                  <a:lnTo>
                    <a:pt x="502" y="224"/>
                  </a:lnTo>
                  <a:lnTo>
                    <a:pt x="502" y="227"/>
                  </a:lnTo>
                  <a:lnTo>
                    <a:pt x="500" y="229"/>
                  </a:lnTo>
                  <a:lnTo>
                    <a:pt x="502" y="229"/>
                  </a:lnTo>
                  <a:lnTo>
                    <a:pt x="502" y="232"/>
                  </a:lnTo>
                  <a:lnTo>
                    <a:pt x="500" y="232"/>
                  </a:lnTo>
                  <a:lnTo>
                    <a:pt x="500" y="235"/>
                  </a:lnTo>
                  <a:lnTo>
                    <a:pt x="500" y="237"/>
                  </a:lnTo>
                  <a:lnTo>
                    <a:pt x="502" y="237"/>
                  </a:lnTo>
                  <a:lnTo>
                    <a:pt x="502" y="240"/>
                  </a:lnTo>
                  <a:lnTo>
                    <a:pt x="502" y="240"/>
                  </a:lnTo>
                  <a:lnTo>
                    <a:pt x="502" y="243"/>
                  </a:lnTo>
                  <a:lnTo>
                    <a:pt x="502" y="243"/>
                  </a:lnTo>
                  <a:lnTo>
                    <a:pt x="502" y="243"/>
                  </a:lnTo>
                  <a:lnTo>
                    <a:pt x="500" y="245"/>
                  </a:lnTo>
                  <a:lnTo>
                    <a:pt x="497" y="245"/>
                  </a:lnTo>
                  <a:lnTo>
                    <a:pt x="494" y="248"/>
                  </a:lnTo>
                  <a:lnTo>
                    <a:pt x="494" y="248"/>
                  </a:lnTo>
                  <a:lnTo>
                    <a:pt x="492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89" y="253"/>
                  </a:lnTo>
                  <a:lnTo>
                    <a:pt x="486" y="256"/>
                  </a:lnTo>
                  <a:lnTo>
                    <a:pt x="486" y="256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4" y="261"/>
                  </a:lnTo>
                  <a:lnTo>
                    <a:pt x="481" y="264"/>
                  </a:lnTo>
                  <a:lnTo>
                    <a:pt x="481" y="264"/>
                  </a:lnTo>
                  <a:lnTo>
                    <a:pt x="481" y="267"/>
                  </a:lnTo>
                  <a:lnTo>
                    <a:pt x="481" y="267"/>
                  </a:lnTo>
                  <a:lnTo>
                    <a:pt x="481" y="269"/>
                  </a:lnTo>
                  <a:lnTo>
                    <a:pt x="481" y="272"/>
                  </a:lnTo>
                  <a:lnTo>
                    <a:pt x="484" y="272"/>
                  </a:lnTo>
                  <a:lnTo>
                    <a:pt x="484" y="278"/>
                  </a:lnTo>
                  <a:lnTo>
                    <a:pt x="484" y="278"/>
                  </a:lnTo>
                  <a:lnTo>
                    <a:pt x="486" y="280"/>
                  </a:lnTo>
                  <a:lnTo>
                    <a:pt x="486" y="283"/>
                  </a:lnTo>
                  <a:lnTo>
                    <a:pt x="484" y="283"/>
                  </a:lnTo>
                  <a:lnTo>
                    <a:pt x="484" y="283"/>
                  </a:lnTo>
                  <a:lnTo>
                    <a:pt x="484" y="283"/>
                  </a:lnTo>
                  <a:lnTo>
                    <a:pt x="481" y="286"/>
                  </a:lnTo>
                  <a:lnTo>
                    <a:pt x="478" y="286"/>
                  </a:lnTo>
                  <a:lnTo>
                    <a:pt x="478" y="288"/>
                  </a:lnTo>
                  <a:lnTo>
                    <a:pt x="478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3" y="288"/>
                  </a:lnTo>
                  <a:lnTo>
                    <a:pt x="473" y="288"/>
                  </a:lnTo>
                  <a:lnTo>
                    <a:pt x="470" y="291"/>
                  </a:lnTo>
                  <a:lnTo>
                    <a:pt x="470" y="291"/>
                  </a:lnTo>
                  <a:lnTo>
                    <a:pt x="470" y="291"/>
                  </a:lnTo>
                  <a:lnTo>
                    <a:pt x="468" y="294"/>
                  </a:lnTo>
                  <a:lnTo>
                    <a:pt x="468" y="294"/>
                  </a:lnTo>
                  <a:lnTo>
                    <a:pt x="468" y="296"/>
                  </a:lnTo>
                  <a:lnTo>
                    <a:pt x="468" y="296"/>
                  </a:lnTo>
                  <a:lnTo>
                    <a:pt x="465" y="296"/>
                  </a:lnTo>
                  <a:lnTo>
                    <a:pt x="462" y="296"/>
                  </a:lnTo>
                  <a:lnTo>
                    <a:pt x="462" y="299"/>
                  </a:lnTo>
                  <a:lnTo>
                    <a:pt x="462" y="299"/>
                  </a:lnTo>
                  <a:lnTo>
                    <a:pt x="460" y="299"/>
                  </a:lnTo>
                  <a:lnTo>
                    <a:pt x="460" y="302"/>
                  </a:lnTo>
                  <a:lnTo>
                    <a:pt x="457" y="302"/>
                  </a:lnTo>
                  <a:lnTo>
                    <a:pt x="457" y="302"/>
                  </a:lnTo>
                  <a:lnTo>
                    <a:pt x="457" y="304"/>
                  </a:lnTo>
                  <a:lnTo>
                    <a:pt x="457" y="304"/>
                  </a:lnTo>
                  <a:lnTo>
                    <a:pt x="457" y="304"/>
                  </a:lnTo>
                  <a:lnTo>
                    <a:pt x="454" y="307"/>
                  </a:lnTo>
                  <a:lnTo>
                    <a:pt x="454" y="307"/>
                  </a:lnTo>
                  <a:lnTo>
                    <a:pt x="454" y="307"/>
                  </a:lnTo>
                  <a:lnTo>
                    <a:pt x="454" y="310"/>
                  </a:lnTo>
                  <a:lnTo>
                    <a:pt x="457" y="310"/>
                  </a:lnTo>
                  <a:lnTo>
                    <a:pt x="454" y="312"/>
                  </a:lnTo>
                  <a:lnTo>
                    <a:pt x="454" y="312"/>
                  </a:lnTo>
                  <a:lnTo>
                    <a:pt x="452" y="312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49" y="315"/>
                  </a:lnTo>
                  <a:lnTo>
                    <a:pt x="446" y="315"/>
                  </a:lnTo>
                  <a:lnTo>
                    <a:pt x="446" y="315"/>
                  </a:lnTo>
                  <a:lnTo>
                    <a:pt x="446" y="315"/>
                  </a:lnTo>
                  <a:lnTo>
                    <a:pt x="444" y="315"/>
                  </a:lnTo>
                  <a:lnTo>
                    <a:pt x="444" y="318"/>
                  </a:lnTo>
                  <a:lnTo>
                    <a:pt x="444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41" y="318"/>
                  </a:lnTo>
                  <a:lnTo>
                    <a:pt x="438" y="320"/>
                  </a:lnTo>
                  <a:lnTo>
                    <a:pt x="438" y="320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3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6" y="323"/>
                  </a:lnTo>
                  <a:lnTo>
                    <a:pt x="438" y="323"/>
                  </a:lnTo>
                  <a:lnTo>
                    <a:pt x="438" y="323"/>
                  </a:lnTo>
                  <a:lnTo>
                    <a:pt x="441" y="326"/>
                  </a:lnTo>
                  <a:lnTo>
                    <a:pt x="441" y="326"/>
                  </a:lnTo>
                  <a:lnTo>
                    <a:pt x="441" y="328"/>
                  </a:lnTo>
                  <a:lnTo>
                    <a:pt x="441" y="328"/>
                  </a:lnTo>
                  <a:lnTo>
                    <a:pt x="441" y="328"/>
                  </a:lnTo>
                  <a:lnTo>
                    <a:pt x="444" y="328"/>
                  </a:lnTo>
                  <a:lnTo>
                    <a:pt x="444" y="331"/>
                  </a:lnTo>
                  <a:lnTo>
                    <a:pt x="444" y="334"/>
                  </a:lnTo>
                  <a:lnTo>
                    <a:pt x="446" y="334"/>
                  </a:lnTo>
                  <a:lnTo>
                    <a:pt x="446" y="334"/>
                  </a:lnTo>
                  <a:lnTo>
                    <a:pt x="446" y="336"/>
                  </a:lnTo>
                  <a:lnTo>
                    <a:pt x="446" y="336"/>
                  </a:lnTo>
                  <a:lnTo>
                    <a:pt x="446" y="339"/>
                  </a:lnTo>
                  <a:lnTo>
                    <a:pt x="444" y="336"/>
                  </a:lnTo>
                  <a:lnTo>
                    <a:pt x="444" y="339"/>
                  </a:lnTo>
                  <a:lnTo>
                    <a:pt x="438" y="339"/>
                  </a:lnTo>
                  <a:lnTo>
                    <a:pt x="438" y="339"/>
                  </a:lnTo>
                  <a:lnTo>
                    <a:pt x="438" y="339"/>
                  </a:lnTo>
                  <a:lnTo>
                    <a:pt x="438" y="342"/>
                  </a:lnTo>
                  <a:lnTo>
                    <a:pt x="436" y="344"/>
                  </a:lnTo>
                  <a:lnTo>
                    <a:pt x="433" y="344"/>
                  </a:lnTo>
                  <a:lnTo>
                    <a:pt x="433" y="347"/>
                  </a:lnTo>
                  <a:lnTo>
                    <a:pt x="433" y="350"/>
                  </a:lnTo>
                  <a:lnTo>
                    <a:pt x="433" y="350"/>
                  </a:lnTo>
                  <a:lnTo>
                    <a:pt x="430" y="350"/>
                  </a:lnTo>
                  <a:lnTo>
                    <a:pt x="428" y="352"/>
                  </a:lnTo>
                  <a:lnTo>
                    <a:pt x="428" y="352"/>
                  </a:lnTo>
                  <a:lnTo>
                    <a:pt x="428" y="352"/>
                  </a:lnTo>
                  <a:lnTo>
                    <a:pt x="430" y="355"/>
                  </a:lnTo>
                  <a:lnTo>
                    <a:pt x="430" y="355"/>
                  </a:lnTo>
                  <a:lnTo>
                    <a:pt x="430" y="358"/>
                  </a:lnTo>
                  <a:lnTo>
                    <a:pt x="428" y="358"/>
                  </a:lnTo>
                  <a:lnTo>
                    <a:pt x="428" y="358"/>
                  </a:lnTo>
                  <a:lnTo>
                    <a:pt x="428" y="360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3"/>
                  </a:lnTo>
                  <a:lnTo>
                    <a:pt x="428" y="363"/>
                  </a:lnTo>
                  <a:lnTo>
                    <a:pt x="428" y="366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71"/>
                  </a:lnTo>
                  <a:lnTo>
                    <a:pt x="430" y="371"/>
                  </a:lnTo>
                  <a:lnTo>
                    <a:pt x="428" y="374"/>
                  </a:lnTo>
                  <a:lnTo>
                    <a:pt x="428" y="374"/>
                  </a:lnTo>
                  <a:lnTo>
                    <a:pt x="425" y="374"/>
                  </a:lnTo>
                  <a:lnTo>
                    <a:pt x="425" y="374"/>
                  </a:lnTo>
                  <a:lnTo>
                    <a:pt x="425" y="376"/>
                  </a:lnTo>
                  <a:lnTo>
                    <a:pt x="425" y="376"/>
                  </a:lnTo>
                  <a:lnTo>
                    <a:pt x="425" y="379"/>
                  </a:lnTo>
                  <a:lnTo>
                    <a:pt x="425" y="379"/>
                  </a:lnTo>
                  <a:lnTo>
                    <a:pt x="428" y="382"/>
                  </a:lnTo>
                  <a:lnTo>
                    <a:pt x="428" y="382"/>
                  </a:lnTo>
                  <a:lnTo>
                    <a:pt x="428" y="382"/>
                  </a:lnTo>
                  <a:lnTo>
                    <a:pt x="430" y="382"/>
                  </a:lnTo>
                  <a:lnTo>
                    <a:pt x="430" y="382"/>
                  </a:lnTo>
                  <a:lnTo>
                    <a:pt x="433" y="384"/>
                  </a:lnTo>
                  <a:lnTo>
                    <a:pt x="433" y="384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2"/>
                  </a:lnTo>
                  <a:lnTo>
                    <a:pt x="430" y="392"/>
                  </a:lnTo>
                  <a:lnTo>
                    <a:pt x="430" y="395"/>
                  </a:lnTo>
                  <a:lnTo>
                    <a:pt x="428" y="398"/>
                  </a:lnTo>
                  <a:lnTo>
                    <a:pt x="428" y="398"/>
                  </a:lnTo>
                  <a:lnTo>
                    <a:pt x="430" y="400"/>
                  </a:lnTo>
                  <a:lnTo>
                    <a:pt x="430" y="400"/>
                  </a:lnTo>
                  <a:lnTo>
                    <a:pt x="430" y="403"/>
                  </a:lnTo>
                  <a:lnTo>
                    <a:pt x="430" y="403"/>
                  </a:lnTo>
                  <a:lnTo>
                    <a:pt x="430" y="406"/>
                  </a:lnTo>
                  <a:lnTo>
                    <a:pt x="433" y="406"/>
                  </a:lnTo>
                  <a:lnTo>
                    <a:pt x="436" y="408"/>
                  </a:lnTo>
                  <a:lnTo>
                    <a:pt x="436" y="408"/>
                  </a:lnTo>
                  <a:lnTo>
                    <a:pt x="436" y="411"/>
                  </a:lnTo>
                  <a:lnTo>
                    <a:pt x="436" y="411"/>
                  </a:lnTo>
                  <a:lnTo>
                    <a:pt x="436" y="414"/>
                  </a:lnTo>
                  <a:lnTo>
                    <a:pt x="436" y="414"/>
                  </a:lnTo>
                  <a:lnTo>
                    <a:pt x="438" y="416"/>
                  </a:lnTo>
                  <a:lnTo>
                    <a:pt x="438" y="416"/>
                  </a:lnTo>
                  <a:lnTo>
                    <a:pt x="436" y="416"/>
                  </a:lnTo>
                  <a:lnTo>
                    <a:pt x="438" y="419"/>
                  </a:lnTo>
                  <a:lnTo>
                    <a:pt x="441" y="419"/>
                  </a:lnTo>
                  <a:lnTo>
                    <a:pt x="444" y="422"/>
                  </a:lnTo>
                  <a:lnTo>
                    <a:pt x="444" y="422"/>
                  </a:lnTo>
                  <a:lnTo>
                    <a:pt x="446" y="424"/>
                  </a:lnTo>
                  <a:lnTo>
                    <a:pt x="446" y="424"/>
                  </a:lnTo>
                  <a:lnTo>
                    <a:pt x="449" y="424"/>
                  </a:lnTo>
                  <a:lnTo>
                    <a:pt x="449" y="427"/>
                  </a:lnTo>
                  <a:lnTo>
                    <a:pt x="449" y="427"/>
                  </a:lnTo>
                  <a:lnTo>
                    <a:pt x="452" y="427"/>
                  </a:lnTo>
                  <a:lnTo>
                    <a:pt x="452" y="427"/>
                  </a:lnTo>
                  <a:lnTo>
                    <a:pt x="454" y="427"/>
                  </a:lnTo>
                  <a:lnTo>
                    <a:pt x="454" y="427"/>
                  </a:lnTo>
                  <a:lnTo>
                    <a:pt x="457" y="427"/>
                  </a:lnTo>
                  <a:lnTo>
                    <a:pt x="457" y="427"/>
                  </a:lnTo>
                  <a:lnTo>
                    <a:pt x="460" y="427"/>
                  </a:lnTo>
                  <a:lnTo>
                    <a:pt x="460" y="427"/>
                  </a:lnTo>
                  <a:lnTo>
                    <a:pt x="462" y="427"/>
                  </a:lnTo>
                  <a:lnTo>
                    <a:pt x="465" y="427"/>
                  </a:lnTo>
                  <a:lnTo>
                    <a:pt x="468" y="427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7"/>
                  </a:lnTo>
                  <a:lnTo>
                    <a:pt x="473" y="427"/>
                  </a:lnTo>
                  <a:lnTo>
                    <a:pt x="473" y="427"/>
                  </a:lnTo>
                  <a:lnTo>
                    <a:pt x="473" y="430"/>
                  </a:lnTo>
                  <a:lnTo>
                    <a:pt x="476" y="430"/>
                  </a:lnTo>
                  <a:lnTo>
                    <a:pt x="476" y="430"/>
                  </a:lnTo>
                  <a:lnTo>
                    <a:pt x="476" y="427"/>
                  </a:lnTo>
                  <a:lnTo>
                    <a:pt x="478" y="430"/>
                  </a:lnTo>
                  <a:lnTo>
                    <a:pt x="478" y="430"/>
                  </a:lnTo>
                  <a:lnTo>
                    <a:pt x="478" y="430"/>
                  </a:lnTo>
                  <a:lnTo>
                    <a:pt x="481" y="432"/>
                  </a:lnTo>
                  <a:lnTo>
                    <a:pt x="481" y="432"/>
                  </a:lnTo>
                  <a:lnTo>
                    <a:pt x="478" y="438"/>
                  </a:lnTo>
                  <a:lnTo>
                    <a:pt x="478" y="441"/>
                  </a:lnTo>
                  <a:lnTo>
                    <a:pt x="478" y="443"/>
                  </a:lnTo>
                  <a:lnTo>
                    <a:pt x="478" y="443"/>
                  </a:lnTo>
                  <a:lnTo>
                    <a:pt x="481" y="446"/>
                  </a:lnTo>
                  <a:lnTo>
                    <a:pt x="481" y="449"/>
                  </a:lnTo>
                  <a:lnTo>
                    <a:pt x="484" y="449"/>
                  </a:lnTo>
                  <a:lnTo>
                    <a:pt x="484" y="451"/>
                  </a:lnTo>
                  <a:lnTo>
                    <a:pt x="484" y="454"/>
                  </a:lnTo>
                  <a:lnTo>
                    <a:pt x="484" y="454"/>
                  </a:lnTo>
                  <a:lnTo>
                    <a:pt x="481" y="457"/>
                  </a:lnTo>
                  <a:lnTo>
                    <a:pt x="481" y="457"/>
                  </a:lnTo>
                  <a:lnTo>
                    <a:pt x="481" y="459"/>
                  </a:lnTo>
                  <a:lnTo>
                    <a:pt x="481" y="459"/>
                  </a:lnTo>
                  <a:lnTo>
                    <a:pt x="481" y="462"/>
                  </a:lnTo>
                  <a:lnTo>
                    <a:pt x="481" y="462"/>
                  </a:lnTo>
                  <a:lnTo>
                    <a:pt x="481" y="462"/>
                  </a:lnTo>
                  <a:lnTo>
                    <a:pt x="481" y="465"/>
                  </a:lnTo>
                  <a:lnTo>
                    <a:pt x="484" y="465"/>
                  </a:lnTo>
                  <a:lnTo>
                    <a:pt x="484" y="467"/>
                  </a:lnTo>
                  <a:lnTo>
                    <a:pt x="486" y="467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6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1" y="470"/>
                  </a:lnTo>
                  <a:lnTo>
                    <a:pt x="481" y="470"/>
                  </a:lnTo>
                  <a:lnTo>
                    <a:pt x="478" y="470"/>
                  </a:lnTo>
                  <a:lnTo>
                    <a:pt x="478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6" y="470"/>
                  </a:lnTo>
                  <a:lnTo>
                    <a:pt x="473" y="467"/>
                  </a:lnTo>
                  <a:lnTo>
                    <a:pt x="473" y="467"/>
                  </a:lnTo>
                  <a:lnTo>
                    <a:pt x="473" y="470"/>
                  </a:lnTo>
                  <a:lnTo>
                    <a:pt x="470" y="470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68" y="467"/>
                  </a:lnTo>
                  <a:lnTo>
                    <a:pt x="465" y="467"/>
                  </a:lnTo>
                  <a:lnTo>
                    <a:pt x="465" y="470"/>
                  </a:lnTo>
                  <a:lnTo>
                    <a:pt x="465" y="473"/>
                  </a:lnTo>
                  <a:lnTo>
                    <a:pt x="462" y="473"/>
                  </a:lnTo>
                  <a:lnTo>
                    <a:pt x="462" y="470"/>
                  </a:lnTo>
                  <a:lnTo>
                    <a:pt x="460" y="470"/>
                  </a:lnTo>
                  <a:lnTo>
                    <a:pt x="460" y="473"/>
                  </a:lnTo>
                  <a:lnTo>
                    <a:pt x="460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3"/>
                  </a:lnTo>
                  <a:lnTo>
                    <a:pt x="462" y="475"/>
                  </a:lnTo>
                  <a:lnTo>
                    <a:pt x="462" y="475"/>
                  </a:lnTo>
                  <a:lnTo>
                    <a:pt x="462" y="478"/>
                  </a:lnTo>
                  <a:lnTo>
                    <a:pt x="462" y="481"/>
                  </a:lnTo>
                  <a:lnTo>
                    <a:pt x="462" y="481"/>
                  </a:lnTo>
                  <a:lnTo>
                    <a:pt x="460" y="481"/>
                  </a:lnTo>
                  <a:lnTo>
                    <a:pt x="460" y="481"/>
                  </a:lnTo>
                  <a:lnTo>
                    <a:pt x="457" y="481"/>
                  </a:lnTo>
                  <a:lnTo>
                    <a:pt x="457" y="481"/>
                  </a:lnTo>
                  <a:lnTo>
                    <a:pt x="454" y="483"/>
                  </a:lnTo>
                  <a:lnTo>
                    <a:pt x="454" y="483"/>
                  </a:lnTo>
                  <a:lnTo>
                    <a:pt x="452" y="486"/>
                  </a:lnTo>
                  <a:lnTo>
                    <a:pt x="452" y="489"/>
                  </a:lnTo>
                  <a:lnTo>
                    <a:pt x="452" y="489"/>
                  </a:lnTo>
                  <a:lnTo>
                    <a:pt x="452" y="489"/>
                  </a:lnTo>
                  <a:lnTo>
                    <a:pt x="454" y="489"/>
                  </a:lnTo>
                  <a:lnTo>
                    <a:pt x="454" y="491"/>
                  </a:lnTo>
                  <a:lnTo>
                    <a:pt x="452" y="491"/>
                  </a:lnTo>
                  <a:lnTo>
                    <a:pt x="454" y="494"/>
                  </a:lnTo>
                  <a:lnTo>
                    <a:pt x="454" y="494"/>
                  </a:lnTo>
                  <a:lnTo>
                    <a:pt x="457" y="497"/>
                  </a:lnTo>
                  <a:lnTo>
                    <a:pt x="457" y="497"/>
                  </a:lnTo>
                  <a:lnTo>
                    <a:pt x="457" y="499"/>
                  </a:lnTo>
                  <a:lnTo>
                    <a:pt x="457" y="502"/>
                  </a:lnTo>
                  <a:lnTo>
                    <a:pt x="460" y="505"/>
                  </a:lnTo>
                  <a:lnTo>
                    <a:pt x="460" y="505"/>
                  </a:lnTo>
                  <a:lnTo>
                    <a:pt x="462" y="507"/>
                  </a:lnTo>
                  <a:lnTo>
                    <a:pt x="462" y="507"/>
                  </a:lnTo>
                  <a:lnTo>
                    <a:pt x="465" y="510"/>
                  </a:lnTo>
                  <a:lnTo>
                    <a:pt x="465" y="510"/>
                  </a:lnTo>
                  <a:lnTo>
                    <a:pt x="470" y="510"/>
                  </a:lnTo>
                  <a:lnTo>
                    <a:pt x="470" y="510"/>
                  </a:lnTo>
                  <a:lnTo>
                    <a:pt x="470" y="510"/>
                  </a:lnTo>
                  <a:lnTo>
                    <a:pt x="473" y="507"/>
                  </a:lnTo>
                  <a:lnTo>
                    <a:pt x="473" y="507"/>
                  </a:lnTo>
                  <a:lnTo>
                    <a:pt x="476" y="510"/>
                  </a:lnTo>
                  <a:lnTo>
                    <a:pt x="476" y="510"/>
                  </a:lnTo>
                  <a:lnTo>
                    <a:pt x="478" y="513"/>
                  </a:lnTo>
                  <a:lnTo>
                    <a:pt x="478" y="513"/>
                  </a:lnTo>
                  <a:lnTo>
                    <a:pt x="478" y="513"/>
                  </a:lnTo>
                  <a:lnTo>
                    <a:pt x="476" y="515"/>
                  </a:lnTo>
                  <a:lnTo>
                    <a:pt x="478" y="515"/>
                  </a:lnTo>
                  <a:lnTo>
                    <a:pt x="478" y="515"/>
                  </a:lnTo>
                  <a:lnTo>
                    <a:pt x="478" y="518"/>
                  </a:lnTo>
                  <a:lnTo>
                    <a:pt x="476" y="518"/>
                  </a:lnTo>
                  <a:lnTo>
                    <a:pt x="478" y="521"/>
                  </a:lnTo>
                  <a:lnTo>
                    <a:pt x="476" y="521"/>
                  </a:lnTo>
                  <a:lnTo>
                    <a:pt x="476" y="523"/>
                  </a:lnTo>
                  <a:lnTo>
                    <a:pt x="478" y="526"/>
                  </a:lnTo>
                  <a:lnTo>
                    <a:pt x="476" y="526"/>
                  </a:lnTo>
                  <a:lnTo>
                    <a:pt x="476" y="529"/>
                  </a:lnTo>
                  <a:lnTo>
                    <a:pt x="478" y="529"/>
                  </a:lnTo>
                  <a:lnTo>
                    <a:pt x="478" y="529"/>
                  </a:lnTo>
                  <a:lnTo>
                    <a:pt x="478" y="529"/>
                  </a:lnTo>
                  <a:lnTo>
                    <a:pt x="481" y="529"/>
                  </a:lnTo>
                  <a:lnTo>
                    <a:pt x="481" y="529"/>
                  </a:lnTo>
                  <a:lnTo>
                    <a:pt x="484" y="531"/>
                  </a:lnTo>
                  <a:lnTo>
                    <a:pt x="484" y="534"/>
                  </a:lnTo>
                  <a:lnTo>
                    <a:pt x="484" y="534"/>
                  </a:lnTo>
                  <a:lnTo>
                    <a:pt x="484" y="534"/>
                  </a:lnTo>
                  <a:lnTo>
                    <a:pt x="484" y="537"/>
                  </a:lnTo>
                  <a:lnTo>
                    <a:pt x="484" y="537"/>
                  </a:lnTo>
                  <a:lnTo>
                    <a:pt x="484" y="537"/>
                  </a:lnTo>
                  <a:lnTo>
                    <a:pt x="486" y="539"/>
                  </a:lnTo>
                  <a:lnTo>
                    <a:pt x="486" y="542"/>
                  </a:lnTo>
                  <a:lnTo>
                    <a:pt x="486" y="542"/>
                  </a:lnTo>
                  <a:lnTo>
                    <a:pt x="489" y="542"/>
                  </a:lnTo>
                  <a:lnTo>
                    <a:pt x="489" y="545"/>
                  </a:lnTo>
                  <a:lnTo>
                    <a:pt x="486" y="545"/>
                  </a:lnTo>
                  <a:lnTo>
                    <a:pt x="486" y="547"/>
                  </a:lnTo>
                  <a:lnTo>
                    <a:pt x="486" y="547"/>
                  </a:lnTo>
                  <a:lnTo>
                    <a:pt x="484" y="547"/>
                  </a:lnTo>
                  <a:lnTo>
                    <a:pt x="484" y="547"/>
                  </a:lnTo>
                  <a:lnTo>
                    <a:pt x="481" y="547"/>
                  </a:lnTo>
                  <a:lnTo>
                    <a:pt x="478" y="550"/>
                  </a:lnTo>
                  <a:lnTo>
                    <a:pt x="478" y="550"/>
                  </a:lnTo>
                  <a:lnTo>
                    <a:pt x="478" y="553"/>
                  </a:lnTo>
                  <a:lnTo>
                    <a:pt x="476" y="553"/>
                  </a:lnTo>
                  <a:lnTo>
                    <a:pt x="476" y="555"/>
                  </a:lnTo>
                  <a:lnTo>
                    <a:pt x="473" y="555"/>
                  </a:lnTo>
                  <a:lnTo>
                    <a:pt x="473" y="558"/>
                  </a:lnTo>
                  <a:lnTo>
                    <a:pt x="470" y="558"/>
                  </a:lnTo>
                  <a:lnTo>
                    <a:pt x="468" y="561"/>
                  </a:lnTo>
                  <a:lnTo>
                    <a:pt x="468" y="561"/>
                  </a:lnTo>
                  <a:lnTo>
                    <a:pt x="468" y="563"/>
                  </a:lnTo>
                  <a:lnTo>
                    <a:pt x="468" y="566"/>
                  </a:lnTo>
                  <a:lnTo>
                    <a:pt x="465" y="566"/>
                  </a:lnTo>
                  <a:lnTo>
                    <a:pt x="465" y="566"/>
                  </a:lnTo>
                  <a:lnTo>
                    <a:pt x="462" y="569"/>
                  </a:lnTo>
                  <a:lnTo>
                    <a:pt x="462" y="569"/>
                  </a:lnTo>
                  <a:lnTo>
                    <a:pt x="462" y="571"/>
                  </a:lnTo>
                  <a:lnTo>
                    <a:pt x="460" y="571"/>
                  </a:lnTo>
                  <a:lnTo>
                    <a:pt x="460" y="574"/>
                  </a:lnTo>
                  <a:lnTo>
                    <a:pt x="460" y="577"/>
                  </a:lnTo>
                  <a:lnTo>
                    <a:pt x="462" y="577"/>
                  </a:lnTo>
                  <a:lnTo>
                    <a:pt x="462" y="577"/>
                  </a:lnTo>
                  <a:lnTo>
                    <a:pt x="462" y="577"/>
                  </a:lnTo>
                  <a:lnTo>
                    <a:pt x="465" y="579"/>
                  </a:lnTo>
                  <a:lnTo>
                    <a:pt x="465" y="579"/>
                  </a:lnTo>
                  <a:lnTo>
                    <a:pt x="465" y="579"/>
                  </a:lnTo>
                  <a:lnTo>
                    <a:pt x="465" y="582"/>
                  </a:lnTo>
                  <a:lnTo>
                    <a:pt x="468" y="582"/>
                  </a:lnTo>
                  <a:lnTo>
                    <a:pt x="468" y="582"/>
                  </a:lnTo>
                  <a:lnTo>
                    <a:pt x="468" y="582"/>
                  </a:lnTo>
                  <a:lnTo>
                    <a:pt x="468" y="585"/>
                  </a:lnTo>
                  <a:lnTo>
                    <a:pt x="465" y="585"/>
                  </a:lnTo>
                  <a:lnTo>
                    <a:pt x="465" y="587"/>
                  </a:lnTo>
                  <a:lnTo>
                    <a:pt x="465" y="587"/>
                  </a:lnTo>
                  <a:lnTo>
                    <a:pt x="462" y="590"/>
                  </a:lnTo>
                  <a:lnTo>
                    <a:pt x="460" y="590"/>
                  </a:lnTo>
                  <a:lnTo>
                    <a:pt x="460" y="590"/>
                  </a:lnTo>
                  <a:lnTo>
                    <a:pt x="460" y="590"/>
                  </a:lnTo>
                  <a:lnTo>
                    <a:pt x="457" y="593"/>
                  </a:lnTo>
                  <a:lnTo>
                    <a:pt x="457" y="593"/>
                  </a:lnTo>
                  <a:lnTo>
                    <a:pt x="454" y="593"/>
                  </a:lnTo>
                  <a:lnTo>
                    <a:pt x="454" y="596"/>
                  </a:lnTo>
                  <a:lnTo>
                    <a:pt x="454" y="596"/>
                  </a:lnTo>
                  <a:lnTo>
                    <a:pt x="454" y="596"/>
                  </a:lnTo>
                  <a:lnTo>
                    <a:pt x="452" y="593"/>
                  </a:lnTo>
                  <a:lnTo>
                    <a:pt x="452" y="596"/>
                  </a:lnTo>
                  <a:lnTo>
                    <a:pt x="449" y="596"/>
                  </a:lnTo>
                  <a:lnTo>
                    <a:pt x="449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6" y="596"/>
                  </a:lnTo>
                  <a:lnTo>
                    <a:pt x="444" y="593"/>
                  </a:lnTo>
                  <a:lnTo>
                    <a:pt x="444" y="593"/>
                  </a:lnTo>
                  <a:lnTo>
                    <a:pt x="441" y="590"/>
                  </a:lnTo>
                  <a:lnTo>
                    <a:pt x="441" y="590"/>
                  </a:lnTo>
                  <a:lnTo>
                    <a:pt x="444" y="587"/>
                  </a:lnTo>
                  <a:lnTo>
                    <a:pt x="444" y="587"/>
                  </a:lnTo>
                  <a:lnTo>
                    <a:pt x="441" y="587"/>
                  </a:lnTo>
                  <a:lnTo>
                    <a:pt x="438" y="587"/>
                  </a:lnTo>
                  <a:lnTo>
                    <a:pt x="438" y="587"/>
                  </a:lnTo>
                  <a:lnTo>
                    <a:pt x="436" y="587"/>
                  </a:lnTo>
                  <a:lnTo>
                    <a:pt x="436" y="585"/>
                  </a:lnTo>
                  <a:lnTo>
                    <a:pt x="433" y="582"/>
                  </a:lnTo>
                  <a:lnTo>
                    <a:pt x="433" y="582"/>
                  </a:lnTo>
                  <a:lnTo>
                    <a:pt x="433" y="582"/>
                  </a:lnTo>
                  <a:lnTo>
                    <a:pt x="436" y="579"/>
                  </a:lnTo>
                  <a:lnTo>
                    <a:pt x="436" y="577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20" y="574"/>
                  </a:lnTo>
                  <a:lnTo>
                    <a:pt x="417" y="571"/>
                  </a:lnTo>
                  <a:lnTo>
                    <a:pt x="417" y="571"/>
                  </a:lnTo>
                  <a:lnTo>
                    <a:pt x="417" y="571"/>
                  </a:lnTo>
                  <a:lnTo>
                    <a:pt x="417" y="569"/>
                  </a:lnTo>
                  <a:lnTo>
                    <a:pt x="414" y="569"/>
                  </a:lnTo>
                  <a:lnTo>
                    <a:pt x="414" y="569"/>
                  </a:lnTo>
                  <a:lnTo>
                    <a:pt x="414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12" y="571"/>
                  </a:lnTo>
                  <a:lnTo>
                    <a:pt x="409" y="571"/>
                  </a:lnTo>
                  <a:lnTo>
                    <a:pt x="409" y="571"/>
                  </a:lnTo>
                  <a:lnTo>
                    <a:pt x="406" y="571"/>
                  </a:lnTo>
                  <a:lnTo>
                    <a:pt x="406" y="569"/>
                  </a:lnTo>
                  <a:lnTo>
                    <a:pt x="404" y="569"/>
                  </a:lnTo>
                  <a:lnTo>
                    <a:pt x="401" y="571"/>
                  </a:lnTo>
                  <a:lnTo>
                    <a:pt x="401" y="571"/>
                  </a:lnTo>
                  <a:lnTo>
                    <a:pt x="401" y="569"/>
                  </a:lnTo>
                  <a:lnTo>
                    <a:pt x="401" y="566"/>
                  </a:lnTo>
                  <a:lnTo>
                    <a:pt x="401" y="566"/>
                  </a:lnTo>
                  <a:lnTo>
                    <a:pt x="398" y="566"/>
                  </a:lnTo>
                  <a:lnTo>
                    <a:pt x="398" y="563"/>
                  </a:lnTo>
                  <a:lnTo>
                    <a:pt x="396" y="563"/>
                  </a:lnTo>
                  <a:lnTo>
                    <a:pt x="396" y="563"/>
                  </a:lnTo>
                  <a:lnTo>
                    <a:pt x="396" y="563"/>
                  </a:lnTo>
                  <a:lnTo>
                    <a:pt x="393" y="563"/>
                  </a:lnTo>
                  <a:lnTo>
                    <a:pt x="393" y="561"/>
                  </a:lnTo>
                  <a:lnTo>
                    <a:pt x="390" y="561"/>
                  </a:lnTo>
                  <a:lnTo>
                    <a:pt x="390" y="561"/>
                  </a:lnTo>
                  <a:lnTo>
                    <a:pt x="387" y="561"/>
                  </a:lnTo>
                  <a:lnTo>
                    <a:pt x="387" y="558"/>
                  </a:lnTo>
                  <a:lnTo>
                    <a:pt x="385" y="553"/>
                  </a:lnTo>
                  <a:lnTo>
                    <a:pt x="385" y="553"/>
                  </a:lnTo>
                  <a:lnTo>
                    <a:pt x="382" y="550"/>
                  </a:lnTo>
                  <a:lnTo>
                    <a:pt x="382" y="550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5"/>
                  </a:lnTo>
                  <a:lnTo>
                    <a:pt x="379" y="545"/>
                  </a:lnTo>
                  <a:lnTo>
                    <a:pt x="379" y="542"/>
                  </a:lnTo>
                  <a:lnTo>
                    <a:pt x="377" y="542"/>
                  </a:lnTo>
                  <a:lnTo>
                    <a:pt x="379" y="542"/>
                  </a:lnTo>
                  <a:lnTo>
                    <a:pt x="379" y="539"/>
                  </a:lnTo>
                  <a:lnTo>
                    <a:pt x="382" y="539"/>
                  </a:lnTo>
                  <a:lnTo>
                    <a:pt x="382" y="539"/>
                  </a:lnTo>
                  <a:lnTo>
                    <a:pt x="382" y="539"/>
                  </a:lnTo>
                  <a:lnTo>
                    <a:pt x="385" y="539"/>
                  </a:lnTo>
                  <a:lnTo>
                    <a:pt x="385" y="539"/>
                  </a:lnTo>
                  <a:lnTo>
                    <a:pt x="382" y="539"/>
                  </a:lnTo>
                  <a:lnTo>
                    <a:pt x="382" y="537"/>
                  </a:lnTo>
                  <a:lnTo>
                    <a:pt x="382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77" y="537"/>
                  </a:lnTo>
                  <a:lnTo>
                    <a:pt x="377" y="537"/>
                  </a:lnTo>
                  <a:lnTo>
                    <a:pt x="377" y="537"/>
                  </a:lnTo>
                  <a:lnTo>
                    <a:pt x="377" y="539"/>
                  </a:lnTo>
                  <a:lnTo>
                    <a:pt x="374" y="539"/>
                  </a:lnTo>
                  <a:lnTo>
                    <a:pt x="374" y="539"/>
                  </a:lnTo>
                  <a:lnTo>
                    <a:pt x="374" y="539"/>
                  </a:lnTo>
                  <a:lnTo>
                    <a:pt x="371" y="539"/>
                  </a:lnTo>
                  <a:lnTo>
                    <a:pt x="371" y="539"/>
                  </a:lnTo>
                  <a:lnTo>
                    <a:pt x="371" y="537"/>
                  </a:lnTo>
                  <a:lnTo>
                    <a:pt x="369" y="537"/>
                  </a:lnTo>
                  <a:lnTo>
                    <a:pt x="369" y="537"/>
                  </a:lnTo>
                  <a:lnTo>
                    <a:pt x="369" y="534"/>
                  </a:lnTo>
                  <a:lnTo>
                    <a:pt x="369" y="534"/>
                  </a:lnTo>
                  <a:lnTo>
                    <a:pt x="369" y="534"/>
                  </a:lnTo>
                  <a:lnTo>
                    <a:pt x="366" y="534"/>
                  </a:lnTo>
                  <a:lnTo>
                    <a:pt x="366" y="534"/>
                  </a:lnTo>
                  <a:lnTo>
                    <a:pt x="366" y="534"/>
                  </a:lnTo>
                  <a:lnTo>
                    <a:pt x="366" y="537"/>
                  </a:lnTo>
                  <a:lnTo>
                    <a:pt x="366" y="537"/>
                  </a:lnTo>
                  <a:lnTo>
                    <a:pt x="363" y="537"/>
                  </a:lnTo>
                  <a:lnTo>
                    <a:pt x="363" y="537"/>
                  </a:lnTo>
                  <a:lnTo>
                    <a:pt x="363" y="537"/>
                  </a:lnTo>
                  <a:lnTo>
                    <a:pt x="363" y="539"/>
                  </a:lnTo>
                  <a:lnTo>
                    <a:pt x="363" y="539"/>
                  </a:lnTo>
                  <a:lnTo>
                    <a:pt x="361" y="539"/>
                  </a:lnTo>
                  <a:lnTo>
                    <a:pt x="361" y="542"/>
                  </a:lnTo>
                  <a:lnTo>
                    <a:pt x="361" y="542"/>
                  </a:lnTo>
                  <a:lnTo>
                    <a:pt x="361" y="542"/>
                  </a:lnTo>
                  <a:lnTo>
                    <a:pt x="361" y="545"/>
                  </a:lnTo>
                  <a:lnTo>
                    <a:pt x="361" y="545"/>
                  </a:lnTo>
                  <a:lnTo>
                    <a:pt x="361" y="545"/>
                  </a:lnTo>
                  <a:lnTo>
                    <a:pt x="358" y="547"/>
                  </a:lnTo>
                  <a:lnTo>
                    <a:pt x="358" y="547"/>
                  </a:lnTo>
                  <a:lnTo>
                    <a:pt x="358" y="547"/>
                  </a:lnTo>
                  <a:lnTo>
                    <a:pt x="355" y="547"/>
                  </a:lnTo>
                  <a:lnTo>
                    <a:pt x="355" y="547"/>
                  </a:lnTo>
                  <a:lnTo>
                    <a:pt x="355" y="547"/>
                  </a:lnTo>
                  <a:lnTo>
                    <a:pt x="353" y="547"/>
                  </a:lnTo>
                  <a:lnTo>
                    <a:pt x="353" y="547"/>
                  </a:lnTo>
                  <a:lnTo>
                    <a:pt x="353" y="547"/>
                  </a:lnTo>
                  <a:lnTo>
                    <a:pt x="350" y="547"/>
                  </a:lnTo>
                  <a:lnTo>
                    <a:pt x="350" y="547"/>
                  </a:lnTo>
                  <a:lnTo>
                    <a:pt x="350" y="547"/>
                  </a:lnTo>
                  <a:lnTo>
                    <a:pt x="347" y="547"/>
                  </a:lnTo>
                  <a:lnTo>
                    <a:pt x="347" y="547"/>
                  </a:lnTo>
                  <a:lnTo>
                    <a:pt x="347" y="547"/>
                  </a:lnTo>
                  <a:lnTo>
                    <a:pt x="345" y="547"/>
                  </a:lnTo>
                  <a:lnTo>
                    <a:pt x="345" y="550"/>
                  </a:lnTo>
                  <a:lnTo>
                    <a:pt x="345" y="550"/>
                  </a:lnTo>
                  <a:lnTo>
                    <a:pt x="342" y="550"/>
                  </a:lnTo>
                  <a:lnTo>
                    <a:pt x="342" y="553"/>
                  </a:lnTo>
                  <a:lnTo>
                    <a:pt x="339" y="553"/>
                  </a:lnTo>
                  <a:lnTo>
                    <a:pt x="339" y="555"/>
                  </a:lnTo>
                  <a:lnTo>
                    <a:pt x="339" y="555"/>
                  </a:lnTo>
                  <a:lnTo>
                    <a:pt x="339" y="555"/>
                  </a:lnTo>
                  <a:lnTo>
                    <a:pt x="339" y="558"/>
                  </a:lnTo>
                  <a:lnTo>
                    <a:pt x="339" y="561"/>
                  </a:lnTo>
                  <a:lnTo>
                    <a:pt x="339" y="561"/>
                  </a:lnTo>
                  <a:lnTo>
                    <a:pt x="339" y="563"/>
                  </a:lnTo>
                  <a:lnTo>
                    <a:pt x="339" y="563"/>
                  </a:lnTo>
                  <a:lnTo>
                    <a:pt x="339" y="566"/>
                  </a:lnTo>
                  <a:lnTo>
                    <a:pt x="342" y="566"/>
                  </a:lnTo>
                  <a:lnTo>
                    <a:pt x="342" y="569"/>
                  </a:lnTo>
                  <a:lnTo>
                    <a:pt x="342" y="569"/>
                  </a:lnTo>
                  <a:lnTo>
                    <a:pt x="342" y="569"/>
                  </a:lnTo>
                  <a:lnTo>
                    <a:pt x="339" y="569"/>
                  </a:lnTo>
                  <a:lnTo>
                    <a:pt x="339" y="569"/>
                  </a:lnTo>
                  <a:lnTo>
                    <a:pt x="342" y="571"/>
                  </a:lnTo>
                  <a:lnTo>
                    <a:pt x="342" y="574"/>
                  </a:lnTo>
                  <a:lnTo>
                    <a:pt x="342" y="574"/>
                  </a:lnTo>
                  <a:lnTo>
                    <a:pt x="345" y="577"/>
                  </a:lnTo>
                  <a:lnTo>
                    <a:pt x="345" y="577"/>
                  </a:lnTo>
                  <a:lnTo>
                    <a:pt x="347" y="579"/>
                  </a:lnTo>
                  <a:lnTo>
                    <a:pt x="347" y="585"/>
                  </a:lnTo>
                  <a:lnTo>
                    <a:pt x="347" y="587"/>
                  </a:lnTo>
                  <a:lnTo>
                    <a:pt x="350" y="587"/>
                  </a:lnTo>
                  <a:lnTo>
                    <a:pt x="353" y="593"/>
                  </a:lnTo>
                  <a:lnTo>
                    <a:pt x="350" y="593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7" y="596"/>
                  </a:lnTo>
                  <a:lnTo>
                    <a:pt x="345" y="598"/>
                  </a:lnTo>
                  <a:lnTo>
                    <a:pt x="345" y="598"/>
                  </a:lnTo>
                  <a:lnTo>
                    <a:pt x="345" y="601"/>
                  </a:lnTo>
                  <a:lnTo>
                    <a:pt x="342" y="601"/>
                  </a:lnTo>
                  <a:lnTo>
                    <a:pt x="342" y="601"/>
                  </a:lnTo>
                  <a:lnTo>
                    <a:pt x="339" y="604"/>
                  </a:lnTo>
                  <a:lnTo>
                    <a:pt x="339" y="604"/>
                  </a:lnTo>
                  <a:lnTo>
                    <a:pt x="339" y="604"/>
                  </a:lnTo>
                  <a:lnTo>
                    <a:pt x="337" y="606"/>
                  </a:lnTo>
                  <a:lnTo>
                    <a:pt x="337" y="606"/>
                  </a:lnTo>
                  <a:lnTo>
                    <a:pt x="337" y="609"/>
                  </a:lnTo>
                  <a:lnTo>
                    <a:pt x="337" y="609"/>
                  </a:lnTo>
                  <a:lnTo>
                    <a:pt x="337" y="612"/>
                  </a:lnTo>
                  <a:lnTo>
                    <a:pt x="337" y="612"/>
                  </a:lnTo>
                  <a:lnTo>
                    <a:pt x="334" y="612"/>
                  </a:lnTo>
                  <a:lnTo>
                    <a:pt x="334" y="614"/>
                  </a:lnTo>
                  <a:lnTo>
                    <a:pt x="334" y="614"/>
                  </a:lnTo>
                  <a:lnTo>
                    <a:pt x="334" y="614"/>
                  </a:lnTo>
                  <a:lnTo>
                    <a:pt x="331" y="617"/>
                  </a:lnTo>
                  <a:lnTo>
                    <a:pt x="331" y="617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26" y="620"/>
                  </a:lnTo>
                  <a:lnTo>
                    <a:pt x="326" y="620"/>
                  </a:lnTo>
                  <a:lnTo>
                    <a:pt x="323" y="620"/>
                  </a:lnTo>
                  <a:lnTo>
                    <a:pt x="323" y="620"/>
                  </a:lnTo>
                  <a:lnTo>
                    <a:pt x="321" y="622"/>
                  </a:lnTo>
                  <a:lnTo>
                    <a:pt x="321" y="625"/>
                  </a:lnTo>
                  <a:lnTo>
                    <a:pt x="318" y="625"/>
                  </a:lnTo>
                  <a:lnTo>
                    <a:pt x="315" y="625"/>
                  </a:lnTo>
                  <a:lnTo>
                    <a:pt x="313" y="625"/>
                  </a:lnTo>
                  <a:lnTo>
                    <a:pt x="313" y="625"/>
                  </a:lnTo>
                  <a:lnTo>
                    <a:pt x="310" y="628"/>
                  </a:lnTo>
                  <a:lnTo>
                    <a:pt x="310" y="628"/>
                  </a:lnTo>
                  <a:lnTo>
                    <a:pt x="307" y="630"/>
                  </a:lnTo>
                  <a:lnTo>
                    <a:pt x="307" y="630"/>
                  </a:lnTo>
                  <a:lnTo>
                    <a:pt x="307" y="633"/>
                  </a:lnTo>
                  <a:lnTo>
                    <a:pt x="307" y="633"/>
                  </a:lnTo>
                  <a:lnTo>
                    <a:pt x="307" y="636"/>
                  </a:lnTo>
                  <a:lnTo>
                    <a:pt x="307" y="636"/>
                  </a:lnTo>
                  <a:lnTo>
                    <a:pt x="307" y="636"/>
                  </a:lnTo>
                  <a:lnTo>
                    <a:pt x="305" y="638"/>
                  </a:lnTo>
                  <a:lnTo>
                    <a:pt x="305" y="641"/>
                  </a:lnTo>
                  <a:lnTo>
                    <a:pt x="305" y="641"/>
                  </a:lnTo>
                  <a:lnTo>
                    <a:pt x="302" y="644"/>
                  </a:lnTo>
                  <a:lnTo>
                    <a:pt x="302" y="644"/>
                  </a:lnTo>
                  <a:lnTo>
                    <a:pt x="302" y="644"/>
                  </a:lnTo>
                  <a:lnTo>
                    <a:pt x="302" y="646"/>
                  </a:lnTo>
                  <a:lnTo>
                    <a:pt x="302" y="646"/>
                  </a:lnTo>
                  <a:lnTo>
                    <a:pt x="299" y="649"/>
                  </a:lnTo>
                  <a:lnTo>
                    <a:pt x="299" y="649"/>
                  </a:lnTo>
                  <a:lnTo>
                    <a:pt x="297" y="646"/>
                  </a:lnTo>
                  <a:lnTo>
                    <a:pt x="294" y="649"/>
                  </a:lnTo>
                  <a:lnTo>
                    <a:pt x="294" y="649"/>
                  </a:lnTo>
                  <a:lnTo>
                    <a:pt x="291" y="649"/>
                  </a:lnTo>
                  <a:lnTo>
                    <a:pt x="291" y="649"/>
                  </a:lnTo>
                  <a:lnTo>
                    <a:pt x="289" y="652"/>
                  </a:lnTo>
                  <a:lnTo>
                    <a:pt x="289" y="652"/>
                  </a:lnTo>
                  <a:lnTo>
                    <a:pt x="286" y="654"/>
                  </a:lnTo>
                  <a:lnTo>
                    <a:pt x="286" y="654"/>
                  </a:lnTo>
                  <a:lnTo>
                    <a:pt x="286" y="657"/>
                  </a:lnTo>
                  <a:lnTo>
                    <a:pt x="286" y="657"/>
                  </a:lnTo>
                  <a:lnTo>
                    <a:pt x="286" y="660"/>
                  </a:lnTo>
                  <a:lnTo>
                    <a:pt x="283" y="660"/>
                  </a:lnTo>
                  <a:lnTo>
                    <a:pt x="283" y="662"/>
                  </a:lnTo>
                  <a:lnTo>
                    <a:pt x="281" y="662"/>
                  </a:lnTo>
                  <a:lnTo>
                    <a:pt x="281" y="665"/>
                  </a:lnTo>
                  <a:lnTo>
                    <a:pt x="283" y="665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3" y="670"/>
                  </a:lnTo>
                  <a:lnTo>
                    <a:pt x="286" y="670"/>
                  </a:lnTo>
                  <a:lnTo>
                    <a:pt x="283" y="670"/>
                  </a:lnTo>
                  <a:lnTo>
                    <a:pt x="283" y="673"/>
                  </a:lnTo>
                  <a:lnTo>
                    <a:pt x="281" y="673"/>
                  </a:lnTo>
                  <a:lnTo>
                    <a:pt x="281" y="676"/>
                  </a:lnTo>
                  <a:lnTo>
                    <a:pt x="281" y="676"/>
                  </a:lnTo>
                  <a:lnTo>
                    <a:pt x="281" y="678"/>
                  </a:lnTo>
                  <a:lnTo>
                    <a:pt x="278" y="678"/>
                  </a:lnTo>
                  <a:lnTo>
                    <a:pt x="275" y="681"/>
                  </a:lnTo>
                  <a:lnTo>
                    <a:pt x="278" y="681"/>
                  </a:lnTo>
                  <a:lnTo>
                    <a:pt x="275" y="686"/>
                  </a:lnTo>
                  <a:lnTo>
                    <a:pt x="273" y="686"/>
                  </a:lnTo>
                  <a:lnTo>
                    <a:pt x="270" y="686"/>
                  </a:lnTo>
                  <a:lnTo>
                    <a:pt x="270" y="684"/>
                  </a:lnTo>
                  <a:lnTo>
                    <a:pt x="267" y="686"/>
                  </a:lnTo>
                  <a:lnTo>
                    <a:pt x="267" y="684"/>
                  </a:lnTo>
                  <a:lnTo>
                    <a:pt x="267" y="684"/>
                  </a:lnTo>
                  <a:lnTo>
                    <a:pt x="267" y="686"/>
                  </a:lnTo>
                  <a:lnTo>
                    <a:pt x="267" y="686"/>
                  </a:lnTo>
                  <a:lnTo>
                    <a:pt x="267" y="686"/>
                  </a:lnTo>
                  <a:lnTo>
                    <a:pt x="270" y="689"/>
                  </a:lnTo>
                  <a:lnTo>
                    <a:pt x="267" y="692"/>
                  </a:lnTo>
                  <a:lnTo>
                    <a:pt x="270" y="692"/>
                  </a:lnTo>
                  <a:lnTo>
                    <a:pt x="270" y="694"/>
                  </a:lnTo>
                  <a:lnTo>
                    <a:pt x="270" y="694"/>
                  </a:lnTo>
                  <a:lnTo>
                    <a:pt x="270" y="694"/>
                  </a:lnTo>
                  <a:lnTo>
                    <a:pt x="270" y="697"/>
                  </a:lnTo>
                  <a:lnTo>
                    <a:pt x="270" y="697"/>
                  </a:lnTo>
                  <a:lnTo>
                    <a:pt x="270" y="700"/>
                  </a:lnTo>
                  <a:lnTo>
                    <a:pt x="270" y="702"/>
                  </a:lnTo>
                  <a:lnTo>
                    <a:pt x="270" y="705"/>
                  </a:lnTo>
                  <a:lnTo>
                    <a:pt x="267" y="705"/>
                  </a:lnTo>
                  <a:lnTo>
                    <a:pt x="267" y="705"/>
                  </a:lnTo>
                  <a:lnTo>
                    <a:pt x="270" y="708"/>
                  </a:lnTo>
                  <a:lnTo>
                    <a:pt x="267" y="708"/>
                  </a:lnTo>
                  <a:lnTo>
                    <a:pt x="270" y="710"/>
                  </a:lnTo>
                  <a:lnTo>
                    <a:pt x="270" y="713"/>
                  </a:lnTo>
                  <a:lnTo>
                    <a:pt x="273" y="713"/>
                  </a:lnTo>
                  <a:lnTo>
                    <a:pt x="273" y="713"/>
                  </a:lnTo>
                  <a:lnTo>
                    <a:pt x="275" y="716"/>
                  </a:lnTo>
                  <a:lnTo>
                    <a:pt x="275" y="716"/>
                  </a:lnTo>
                  <a:lnTo>
                    <a:pt x="275" y="718"/>
                  </a:lnTo>
                  <a:lnTo>
                    <a:pt x="275" y="721"/>
                  </a:lnTo>
                  <a:lnTo>
                    <a:pt x="275" y="721"/>
                  </a:lnTo>
                  <a:lnTo>
                    <a:pt x="275" y="721"/>
                  </a:lnTo>
                  <a:lnTo>
                    <a:pt x="275" y="724"/>
                  </a:lnTo>
                  <a:lnTo>
                    <a:pt x="275" y="726"/>
                  </a:lnTo>
                  <a:lnTo>
                    <a:pt x="275" y="726"/>
                  </a:lnTo>
                  <a:lnTo>
                    <a:pt x="273" y="726"/>
                  </a:lnTo>
                  <a:lnTo>
                    <a:pt x="273" y="726"/>
                  </a:lnTo>
                  <a:lnTo>
                    <a:pt x="270" y="726"/>
                  </a:lnTo>
                  <a:lnTo>
                    <a:pt x="270" y="729"/>
                  </a:lnTo>
                  <a:lnTo>
                    <a:pt x="267" y="729"/>
                  </a:lnTo>
                  <a:lnTo>
                    <a:pt x="267" y="732"/>
                  </a:lnTo>
                  <a:lnTo>
                    <a:pt x="267" y="732"/>
                  </a:lnTo>
                  <a:lnTo>
                    <a:pt x="267" y="732"/>
                  </a:lnTo>
                  <a:lnTo>
                    <a:pt x="265" y="732"/>
                  </a:lnTo>
                  <a:lnTo>
                    <a:pt x="262" y="726"/>
                  </a:lnTo>
                  <a:lnTo>
                    <a:pt x="254" y="724"/>
                  </a:lnTo>
                  <a:lnTo>
                    <a:pt x="251" y="721"/>
                  </a:lnTo>
                  <a:lnTo>
                    <a:pt x="246" y="718"/>
                  </a:lnTo>
                  <a:lnTo>
                    <a:pt x="246" y="716"/>
                  </a:lnTo>
                  <a:lnTo>
                    <a:pt x="246" y="716"/>
                  </a:lnTo>
                  <a:lnTo>
                    <a:pt x="249" y="716"/>
                  </a:lnTo>
                  <a:lnTo>
                    <a:pt x="249" y="713"/>
                  </a:lnTo>
                  <a:lnTo>
                    <a:pt x="246" y="713"/>
                  </a:lnTo>
                  <a:lnTo>
                    <a:pt x="246" y="713"/>
                  </a:lnTo>
                  <a:lnTo>
                    <a:pt x="243" y="710"/>
                  </a:lnTo>
                  <a:lnTo>
                    <a:pt x="243" y="710"/>
                  </a:lnTo>
                  <a:lnTo>
                    <a:pt x="243" y="708"/>
                  </a:lnTo>
                  <a:lnTo>
                    <a:pt x="246" y="708"/>
                  </a:lnTo>
                  <a:lnTo>
                    <a:pt x="243" y="708"/>
                  </a:lnTo>
                  <a:lnTo>
                    <a:pt x="241" y="708"/>
                  </a:lnTo>
                  <a:lnTo>
                    <a:pt x="241" y="705"/>
                  </a:lnTo>
                  <a:lnTo>
                    <a:pt x="243" y="705"/>
                  </a:lnTo>
                  <a:lnTo>
                    <a:pt x="243" y="702"/>
                  </a:lnTo>
                  <a:lnTo>
                    <a:pt x="246" y="700"/>
                  </a:lnTo>
                  <a:lnTo>
                    <a:pt x="243" y="700"/>
                  </a:lnTo>
                  <a:lnTo>
                    <a:pt x="241" y="697"/>
                  </a:lnTo>
                  <a:lnTo>
                    <a:pt x="241" y="697"/>
                  </a:lnTo>
                  <a:lnTo>
                    <a:pt x="241" y="694"/>
                  </a:lnTo>
                  <a:lnTo>
                    <a:pt x="238" y="692"/>
                  </a:lnTo>
                  <a:lnTo>
                    <a:pt x="235" y="692"/>
                  </a:lnTo>
                  <a:lnTo>
                    <a:pt x="233" y="692"/>
                  </a:lnTo>
                  <a:lnTo>
                    <a:pt x="233" y="689"/>
                  </a:lnTo>
                  <a:lnTo>
                    <a:pt x="230" y="689"/>
                  </a:lnTo>
                  <a:lnTo>
                    <a:pt x="230" y="689"/>
                  </a:lnTo>
                  <a:lnTo>
                    <a:pt x="230" y="689"/>
                  </a:lnTo>
                  <a:lnTo>
                    <a:pt x="233" y="686"/>
                  </a:lnTo>
                  <a:lnTo>
                    <a:pt x="230" y="686"/>
                  </a:lnTo>
                  <a:lnTo>
                    <a:pt x="230" y="686"/>
                  </a:lnTo>
                  <a:lnTo>
                    <a:pt x="230" y="684"/>
                  </a:lnTo>
                  <a:lnTo>
                    <a:pt x="230" y="684"/>
                  </a:lnTo>
                  <a:lnTo>
                    <a:pt x="227" y="684"/>
                  </a:lnTo>
                  <a:lnTo>
                    <a:pt x="227" y="684"/>
                  </a:lnTo>
                  <a:lnTo>
                    <a:pt x="227" y="684"/>
                  </a:lnTo>
                  <a:lnTo>
                    <a:pt x="227" y="681"/>
                  </a:lnTo>
                  <a:lnTo>
                    <a:pt x="227" y="681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8"/>
                  </a:lnTo>
                  <a:lnTo>
                    <a:pt x="227" y="676"/>
                  </a:lnTo>
                  <a:lnTo>
                    <a:pt x="227" y="676"/>
                  </a:lnTo>
                  <a:lnTo>
                    <a:pt x="227" y="676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27" y="673"/>
                  </a:lnTo>
                  <a:lnTo>
                    <a:pt x="230" y="673"/>
                  </a:lnTo>
                  <a:lnTo>
                    <a:pt x="227" y="670"/>
                  </a:lnTo>
                  <a:lnTo>
                    <a:pt x="227" y="670"/>
                  </a:lnTo>
                  <a:lnTo>
                    <a:pt x="227" y="668"/>
                  </a:lnTo>
                  <a:lnTo>
                    <a:pt x="227" y="668"/>
                  </a:lnTo>
                  <a:lnTo>
                    <a:pt x="225" y="668"/>
                  </a:lnTo>
                  <a:lnTo>
                    <a:pt x="225" y="670"/>
                  </a:lnTo>
                  <a:lnTo>
                    <a:pt x="222" y="668"/>
                  </a:lnTo>
                  <a:lnTo>
                    <a:pt x="219" y="668"/>
                  </a:lnTo>
                  <a:lnTo>
                    <a:pt x="219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4" y="670"/>
                  </a:lnTo>
                  <a:lnTo>
                    <a:pt x="214" y="670"/>
                  </a:lnTo>
                  <a:lnTo>
                    <a:pt x="211" y="670"/>
                  </a:lnTo>
                  <a:lnTo>
                    <a:pt x="211" y="670"/>
                  </a:lnTo>
                  <a:lnTo>
                    <a:pt x="211" y="668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6" y="668"/>
                  </a:lnTo>
                  <a:lnTo>
                    <a:pt x="206" y="668"/>
                  </a:lnTo>
                  <a:lnTo>
                    <a:pt x="206" y="670"/>
                  </a:lnTo>
                  <a:lnTo>
                    <a:pt x="206" y="670"/>
                  </a:lnTo>
                  <a:lnTo>
                    <a:pt x="206" y="673"/>
                  </a:lnTo>
                  <a:lnTo>
                    <a:pt x="206" y="673"/>
                  </a:lnTo>
                  <a:lnTo>
                    <a:pt x="203" y="673"/>
                  </a:lnTo>
                  <a:lnTo>
                    <a:pt x="203" y="676"/>
                  </a:lnTo>
                  <a:lnTo>
                    <a:pt x="206" y="678"/>
                  </a:lnTo>
                  <a:lnTo>
                    <a:pt x="206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3" y="681"/>
                  </a:lnTo>
                  <a:lnTo>
                    <a:pt x="201" y="681"/>
                  </a:lnTo>
                  <a:lnTo>
                    <a:pt x="201" y="684"/>
                  </a:lnTo>
                  <a:lnTo>
                    <a:pt x="201" y="684"/>
                  </a:lnTo>
                  <a:lnTo>
                    <a:pt x="198" y="684"/>
                  </a:lnTo>
                  <a:lnTo>
                    <a:pt x="201" y="686"/>
                  </a:lnTo>
                  <a:lnTo>
                    <a:pt x="198" y="686"/>
                  </a:lnTo>
                  <a:lnTo>
                    <a:pt x="198" y="686"/>
                  </a:lnTo>
                  <a:lnTo>
                    <a:pt x="198" y="689"/>
                  </a:lnTo>
                  <a:lnTo>
                    <a:pt x="198" y="689"/>
                  </a:lnTo>
                  <a:lnTo>
                    <a:pt x="198" y="692"/>
                  </a:lnTo>
                  <a:lnTo>
                    <a:pt x="195" y="694"/>
                  </a:lnTo>
                  <a:lnTo>
                    <a:pt x="195" y="694"/>
                  </a:lnTo>
                  <a:lnTo>
                    <a:pt x="195" y="697"/>
                  </a:lnTo>
                  <a:lnTo>
                    <a:pt x="195" y="700"/>
                  </a:lnTo>
                  <a:lnTo>
                    <a:pt x="195" y="700"/>
                  </a:lnTo>
                  <a:lnTo>
                    <a:pt x="193" y="697"/>
                  </a:lnTo>
                  <a:lnTo>
                    <a:pt x="190" y="700"/>
                  </a:lnTo>
                  <a:lnTo>
                    <a:pt x="187" y="700"/>
                  </a:lnTo>
                  <a:lnTo>
                    <a:pt x="185" y="700"/>
                  </a:lnTo>
                  <a:lnTo>
                    <a:pt x="185" y="702"/>
                  </a:lnTo>
                  <a:lnTo>
                    <a:pt x="182" y="702"/>
                  </a:lnTo>
                  <a:lnTo>
                    <a:pt x="179" y="700"/>
                  </a:lnTo>
                  <a:lnTo>
                    <a:pt x="177" y="700"/>
                  </a:lnTo>
                  <a:lnTo>
                    <a:pt x="174" y="705"/>
                  </a:lnTo>
                  <a:lnTo>
                    <a:pt x="174" y="705"/>
                  </a:lnTo>
                  <a:lnTo>
                    <a:pt x="171" y="708"/>
                  </a:lnTo>
                  <a:lnTo>
                    <a:pt x="169" y="705"/>
                  </a:lnTo>
                  <a:lnTo>
                    <a:pt x="169" y="708"/>
                  </a:lnTo>
                  <a:lnTo>
                    <a:pt x="163" y="702"/>
                  </a:lnTo>
                  <a:lnTo>
                    <a:pt x="161" y="700"/>
                  </a:lnTo>
                  <a:lnTo>
                    <a:pt x="161" y="700"/>
                  </a:lnTo>
                  <a:lnTo>
                    <a:pt x="158" y="700"/>
                  </a:lnTo>
                  <a:lnTo>
                    <a:pt x="158" y="702"/>
                  </a:lnTo>
                  <a:lnTo>
                    <a:pt x="155" y="702"/>
                  </a:lnTo>
                  <a:lnTo>
                    <a:pt x="155" y="702"/>
                  </a:lnTo>
                  <a:lnTo>
                    <a:pt x="152" y="702"/>
                  </a:lnTo>
                  <a:lnTo>
                    <a:pt x="150" y="700"/>
                  </a:lnTo>
                  <a:lnTo>
                    <a:pt x="147" y="700"/>
                  </a:lnTo>
                  <a:lnTo>
                    <a:pt x="144" y="700"/>
                  </a:lnTo>
                  <a:lnTo>
                    <a:pt x="142" y="700"/>
                  </a:lnTo>
                  <a:lnTo>
                    <a:pt x="142" y="700"/>
                  </a:lnTo>
                  <a:lnTo>
                    <a:pt x="139" y="700"/>
                  </a:lnTo>
                  <a:lnTo>
                    <a:pt x="136" y="700"/>
                  </a:lnTo>
                  <a:lnTo>
                    <a:pt x="134" y="700"/>
                  </a:lnTo>
                  <a:lnTo>
                    <a:pt x="131" y="700"/>
                  </a:lnTo>
                  <a:lnTo>
                    <a:pt x="131" y="700"/>
                  </a:lnTo>
                  <a:lnTo>
                    <a:pt x="128" y="697"/>
                  </a:lnTo>
                  <a:lnTo>
                    <a:pt x="126" y="697"/>
                  </a:lnTo>
                  <a:lnTo>
                    <a:pt x="123" y="697"/>
                  </a:lnTo>
                  <a:lnTo>
                    <a:pt x="120" y="697"/>
                  </a:lnTo>
                  <a:lnTo>
                    <a:pt x="120" y="697"/>
                  </a:lnTo>
                  <a:lnTo>
                    <a:pt x="118" y="697"/>
                  </a:lnTo>
                  <a:lnTo>
                    <a:pt x="118" y="697"/>
                  </a:lnTo>
                  <a:lnTo>
                    <a:pt x="88" y="777"/>
                  </a:lnTo>
                  <a:lnTo>
                    <a:pt x="88" y="777"/>
                  </a:lnTo>
                  <a:lnTo>
                    <a:pt x="88" y="780"/>
                  </a:lnTo>
                  <a:lnTo>
                    <a:pt x="91" y="780"/>
                  </a:lnTo>
                  <a:lnTo>
                    <a:pt x="91" y="780"/>
                  </a:lnTo>
                  <a:lnTo>
                    <a:pt x="91" y="783"/>
                  </a:lnTo>
                  <a:lnTo>
                    <a:pt x="94" y="783"/>
                  </a:lnTo>
                  <a:lnTo>
                    <a:pt x="94" y="783"/>
                  </a:lnTo>
                  <a:lnTo>
                    <a:pt x="96" y="783"/>
                  </a:lnTo>
                  <a:lnTo>
                    <a:pt x="96" y="783"/>
                  </a:lnTo>
                  <a:lnTo>
                    <a:pt x="99" y="783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3"/>
                  </a:lnTo>
                  <a:lnTo>
                    <a:pt x="102" y="783"/>
                  </a:lnTo>
                  <a:lnTo>
                    <a:pt x="102" y="783"/>
                  </a:lnTo>
                  <a:lnTo>
                    <a:pt x="102" y="785"/>
                  </a:lnTo>
                  <a:lnTo>
                    <a:pt x="99" y="788"/>
                  </a:lnTo>
                  <a:lnTo>
                    <a:pt x="99" y="788"/>
                  </a:lnTo>
                  <a:lnTo>
                    <a:pt x="96" y="791"/>
                  </a:lnTo>
                  <a:lnTo>
                    <a:pt x="96" y="796"/>
                  </a:lnTo>
                  <a:lnTo>
                    <a:pt x="96" y="799"/>
                  </a:lnTo>
                  <a:lnTo>
                    <a:pt x="99" y="801"/>
                  </a:lnTo>
                  <a:lnTo>
                    <a:pt x="102" y="801"/>
                  </a:lnTo>
                  <a:lnTo>
                    <a:pt x="104" y="801"/>
                  </a:lnTo>
                  <a:lnTo>
                    <a:pt x="104" y="799"/>
                  </a:lnTo>
                  <a:lnTo>
                    <a:pt x="107" y="799"/>
                  </a:lnTo>
                  <a:lnTo>
                    <a:pt x="107" y="799"/>
                  </a:lnTo>
                  <a:lnTo>
                    <a:pt x="107" y="799"/>
                  </a:lnTo>
                  <a:lnTo>
                    <a:pt x="112" y="801"/>
                  </a:lnTo>
                  <a:lnTo>
                    <a:pt x="112" y="801"/>
                  </a:lnTo>
                  <a:lnTo>
                    <a:pt x="112" y="804"/>
                  </a:lnTo>
                  <a:lnTo>
                    <a:pt x="112" y="807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5"/>
                  </a:lnTo>
                  <a:lnTo>
                    <a:pt x="110" y="815"/>
                  </a:lnTo>
                  <a:lnTo>
                    <a:pt x="110" y="815"/>
                  </a:lnTo>
                  <a:lnTo>
                    <a:pt x="112" y="817"/>
                  </a:lnTo>
                  <a:lnTo>
                    <a:pt x="112" y="820"/>
                  </a:lnTo>
                  <a:lnTo>
                    <a:pt x="112" y="823"/>
                  </a:lnTo>
                  <a:lnTo>
                    <a:pt x="110" y="823"/>
                  </a:lnTo>
                  <a:lnTo>
                    <a:pt x="110" y="823"/>
                  </a:lnTo>
                  <a:lnTo>
                    <a:pt x="110" y="823"/>
                  </a:lnTo>
                  <a:lnTo>
                    <a:pt x="118" y="823"/>
                  </a:lnTo>
                  <a:lnTo>
                    <a:pt x="118" y="839"/>
                  </a:lnTo>
                  <a:lnTo>
                    <a:pt x="102" y="841"/>
                  </a:lnTo>
                  <a:lnTo>
                    <a:pt x="102" y="849"/>
                  </a:lnTo>
                  <a:lnTo>
                    <a:pt x="104" y="849"/>
                  </a:lnTo>
                  <a:lnTo>
                    <a:pt x="104" y="857"/>
                  </a:lnTo>
                  <a:lnTo>
                    <a:pt x="102" y="860"/>
                  </a:lnTo>
                  <a:lnTo>
                    <a:pt x="99" y="860"/>
                  </a:lnTo>
                  <a:lnTo>
                    <a:pt x="99" y="857"/>
                  </a:lnTo>
                  <a:lnTo>
                    <a:pt x="96" y="857"/>
                  </a:lnTo>
                  <a:lnTo>
                    <a:pt x="96" y="857"/>
                  </a:lnTo>
                  <a:lnTo>
                    <a:pt x="94" y="863"/>
                  </a:lnTo>
                  <a:lnTo>
                    <a:pt x="96" y="863"/>
                  </a:lnTo>
                  <a:lnTo>
                    <a:pt x="96" y="868"/>
                  </a:lnTo>
                  <a:lnTo>
                    <a:pt x="94" y="868"/>
                  </a:lnTo>
                  <a:lnTo>
                    <a:pt x="94" y="871"/>
                  </a:lnTo>
                  <a:lnTo>
                    <a:pt x="91" y="873"/>
                  </a:lnTo>
                  <a:lnTo>
                    <a:pt x="88" y="873"/>
                  </a:lnTo>
                  <a:lnTo>
                    <a:pt x="88" y="873"/>
                  </a:lnTo>
                  <a:lnTo>
                    <a:pt x="86" y="871"/>
                  </a:lnTo>
                  <a:lnTo>
                    <a:pt x="86" y="868"/>
                  </a:lnTo>
                  <a:lnTo>
                    <a:pt x="80" y="868"/>
                  </a:lnTo>
                  <a:lnTo>
                    <a:pt x="75" y="876"/>
                  </a:lnTo>
                  <a:lnTo>
                    <a:pt x="72" y="876"/>
                  </a:lnTo>
                  <a:lnTo>
                    <a:pt x="72" y="892"/>
                  </a:lnTo>
                  <a:lnTo>
                    <a:pt x="67" y="892"/>
                  </a:lnTo>
                  <a:lnTo>
                    <a:pt x="67" y="895"/>
                  </a:lnTo>
                  <a:lnTo>
                    <a:pt x="64" y="895"/>
                  </a:lnTo>
                  <a:lnTo>
                    <a:pt x="64" y="897"/>
                  </a:lnTo>
                  <a:lnTo>
                    <a:pt x="62" y="900"/>
                  </a:lnTo>
                  <a:lnTo>
                    <a:pt x="62" y="903"/>
                  </a:lnTo>
                  <a:lnTo>
                    <a:pt x="59" y="903"/>
                  </a:lnTo>
                  <a:lnTo>
                    <a:pt x="62" y="905"/>
                  </a:lnTo>
                  <a:lnTo>
                    <a:pt x="64" y="908"/>
                  </a:lnTo>
                  <a:lnTo>
                    <a:pt x="64" y="908"/>
                  </a:lnTo>
                  <a:lnTo>
                    <a:pt x="59" y="914"/>
                  </a:lnTo>
                  <a:lnTo>
                    <a:pt x="64" y="916"/>
                  </a:lnTo>
                  <a:lnTo>
                    <a:pt x="64" y="919"/>
                  </a:lnTo>
                  <a:lnTo>
                    <a:pt x="64" y="922"/>
                  </a:lnTo>
                  <a:lnTo>
                    <a:pt x="62" y="922"/>
                  </a:lnTo>
                  <a:lnTo>
                    <a:pt x="64" y="922"/>
                  </a:lnTo>
                  <a:lnTo>
                    <a:pt x="64" y="924"/>
                  </a:lnTo>
                  <a:lnTo>
                    <a:pt x="64" y="927"/>
                  </a:lnTo>
                  <a:lnTo>
                    <a:pt x="64" y="927"/>
                  </a:lnTo>
                  <a:lnTo>
                    <a:pt x="64" y="927"/>
                  </a:lnTo>
                  <a:lnTo>
                    <a:pt x="64" y="930"/>
                  </a:lnTo>
                  <a:lnTo>
                    <a:pt x="64" y="932"/>
                  </a:lnTo>
                  <a:lnTo>
                    <a:pt x="64" y="932"/>
                  </a:lnTo>
                  <a:lnTo>
                    <a:pt x="64" y="935"/>
                  </a:lnTo>
                  <a:lnTo>
                    <a:pt x="67" y="935"/>
                  </a:lnTo>
                  <a:lnTo>
                    <a:pt x="67" y="935"/>
                  </a:lnTo>
                  <a:lnTo>
                    <a:pt x="67" y="938"/>
                  </a:lnTo>
                  <a:lnTo>
                    <a:pt x="67" y="940"/>
                  </a:lnTo>
                  <a:lnTo>
                    <a:pt x="67" y="940"/>
                  </a:lnTo>
                  <a:lnTo>
                    <a:pt x="70" y="940"/>
                  </a:lnTo>
                  <a:lnTo>
                    <a:pt x="70" y="943"/>
                  </a:lnTo>
                  <a:lnTo>
                    <a:pt x="70" y="943"/>
                  </a:lnTo>
                  <a:lnTo>
                    <a:pt x="70" y="946"/>
                  </a:lnTo>
                  <a:lnTo>
                    <a:pt x="70" y="946"/>
                  </a:lnTo>
                  <a:lnTo>
                    <a:pt x="67" y="948"/>
                  </a:lnTo>
                  <a:lnTo>
                    <a:pt x="67" y="948"/>
                  </a:lnTo>
                  <a:lnTo>
                    <a:pt x="64" y="948"/>
                  </a:lnTo>
                  <a:lnTo>
                    <a:pt x="64" y="946"/>
                  </a:lnTo>
                  <a:lnTo>
                    <a:pt x="59" y="948"/>
                  </a:lnTo>
                  <a:lnTo>
                    <a:pt x="59" y="948"/>
                  </a:lnTo>
                  <a:lnTo>
                    <a:pt x="59" y="951"/>
                  </a:lnTo>
                  <a:lnTo>
                    <a:pt x="59" y="951"/>
                  </a:lnTo>
                  <a:lnTo>
                    <a:pt x="56" y="948"/>
                  </a:lnTo>
                  <a:lnTo>
                    <a:pt x="56" y="948"/>
                  </a:lnTo>
                  <a:lnTo>
                    <a:pt x="54" y="948"/>
                  </a:lnTo>
                  <a:lnTo>
                    <a:pt x="54" y="951"/>
                  </a:lnTo>
                  <a:lnTo>
                    <a:pt x="56" y="954"/>
                  </a:lnTo>
                  <a:lnTo>
                    <a:pt x="56" y="956"/>
                  </a:lnTo>
                  <a:lnTo>
                    <a:pt x="56" y="959"/>
                  </a:lnTo>
                  <a:lnTo>
                    <a:pt x="56" y="959"/>
                  </a:lnTo>
                  <a:lnTo>
                    <a:pt x="56" y="962"/>
                  </a:lnTo>
                  <a:lnTo>
                    <a:pt x="56" y="964"/>
                  </a:lnTo>
                  <a:lnTo>
                    <a:pt x="56" y="964"/>
                  </a:lnTo>
                  <a:lnTo>
                    <a:pt x="56" y="967"/>
                  </a:lnTo>
                  <a:lnTo>
                    <a:pt x="54" y="967"/>
                  </a:lnTo>
                  <a:lnTo>
                    <a:pt x="54" y="967"/>
                  </a:lnTo>
                  <a:lnTo>
                    <a:pt x="56" y="967"/>
                  </a:lnTo>
                  <a:lnTo>
                    <a:pt x="56" y="967"/>
                  </a:lnTo>
                  <a:lnTo>
                    <a:pt x="56" y="970"/>
                  </a:lnTo>
                  <a:lnTo>
                    <a:pt x="56" y="970"/>
                  </a:lnTo>
                  <a:lnTo>
                    <a:pt x="56" y="972"/>
                  </a:lnTo>
                  <a:lnTo>
                    <a:pt x="54" y="972"/>
                  </a:lnTo>
                  <a:lnTo>
                    <a:pt x="54" y="972"/>
                  </a:lnTo>
                  <a:lnTo>
                    <a:pt x="51" y="972"/>
                  </a:lnTo>
                  <a:lnTo>
                    <a:pt x="51" y="975"/>
                  </a:lnTo>
                  <a:lnTo>
                    <a:pt x="51" y="975"/>
                  </a:lnTo>
                  <a:lnTo>
                    <a:pt x="54" y="975"/>
                  </a:lnTo>
                  <a:lnTo>
                    <a:pt x="54" y="978"/>
                  </a:lnTo>
                  <a:lnTo>
                    <a:pt x="54" y="978"/>
                  </a:lnTo>
                  <a:lnTo>
                    <a:pt x="59" y="980"/>
                  </a:lnTo>
                  <a:lnTo>
                    <a:pt x="59" y="983"/>
                  </a:lnTo>
                  <a:lnTo>
                    <a:pt x="59" y="986"/>
                  </a:lnTo>
                  <a:lnTo>
                    <a:pt x="59" y="986"/>
                  </a:lnTo>
                  <a:lnTo>
                    <a:pt x="59" y="988"/>
                  </a:lnTo>
                  <a:lnTo>
                    <a:pt x="59" y="991"/>
                  </a:lnTo>
                  <a:lnTo>
                    <a:pt x="59" y="991"/>
                  </a:lnTo>
                  <a:lnTo>
                    <a:pt x="59" y="991"/>
                  </a:lnTo>
                  <a:lnTo>
                    <a:pt x="56" y="994"/>
                  </a:lnTo>
                  <a:lnTo>
                    <a:pt x="56" y="994"/>
                  </a:lnTo>
                  <a:lnTo>
                    <a:pt x="56" y="996"/>
                  </a:lnTo>
                  <a:lnTo>
                    <a:pt x="56" y="996"/>
                  </a:lnTo>
                  <a:lnTo>
                    <a:pt x="54" y="999"/>
                  </a:lnTo>
                  <a:lnTo>
                    <a:pt x="54" y="999"/>
                  </a:lnTo>
                  <a:lnTo>
                    <a:pt x="54" y="1002"/>
                  </a:lnTo>
                  <a:lnTo>
                    <a:pt x="54" y="1002"/>
                  </a:lnTo>
                  <a:lnTo>
                    <a:pt x="54" y="1002"/>
                  </a:lnTo>
                  <a:lnTo>
                    <a:pt x="51" y="1004"/>
                  </a:lnTo>
                  <a:lnTo>
                    <a:pt x="51" y="1004"/>
                  </a:lnTo>
                  <a:lnTo>
                    <a:pt x="51" y="1007"/>
                  </a:lnTo>
                  <a:lnTo>
                    <a:pt x="51" y="1007"/>
                  </a:lnTo>
                  <a:lnTo>
                    <a:pt x="51" y="1010"/>
                  </a:lnTo>
                  <a:lnTo>
                    <a:pt x="51" y="1010"/>
                  </a:lnTo>
                  <a:lnTo>
                    <a:pt x="51" y="1012"/>
                  </a:lnTo>
                  <a:lnTo>
                    <a:pt x="51" y="1015"/>
                  </a:lnTo>
                  <a:lnTo>
                    <a:pt x="51" y="1015"/>
                  </a:lnTo>
                  <a:lnTo>
                    <a:pt x="51" y="1015"/>
                  </a:lnTo>
                  <a:lnTo>
                    <a:pt x="48" y="1018"/>
                  </a:lnTo>
                  <a:lnTo>
                    <a:pt x="48" y="1018"/>
                  </a:lnTo>
                  <a:lnTo>
                    <a:pt x="48" y="1018"/>
                  </a:lnTo>
                  <a:lnTo>
                    <a:pt x="48" y="1020"/>
                  </a:lnTo>
                  <a:lnTo>
                    <a:pt x="51" y="1023"/>
                  </a:lnTo>
                  <a:lnTo>
                    <a:pt x="48" y="1023"/>
                  </a:lnTo>
                  <a:lnTo>
                    <a:pt x="38" y="1018"/>
                  </a:lnTo>
                  <a:lnTo>
                    <a:pt x="38" y="1020"/>
                  </a:lnTo>
                  <a:lnTo>
                    <a:pt x="32" y="1020"/>
                  </a:lnTo>
                  <a:lnTo>
                    <a:pt x="30" y="1020"/>
                  </a:lnTo>
                  <a:lnTo>
                    <a:pt x="27" y="1020"/>
                  </a:lnTo>
                  <a:lnTo>
                    <a:pt x="24" y="1018"/>
                  </a:lnTo>
                  <a:lnTo>
                    <a:pt x="24" y="1018"/>
                  </a:lnTo>
                  <a:lnTo>
                    <a:pt x="22" y="1018"/>
                  </a:lnTo>
                  <a:lnTo>
                    <a:pt x="22" y="1018"/>
                  </a:lnTo>
                  <a:lnTo>
                    <a:pt x="22" y="1020"/>
                  </a:lnTo>
                  <a:lnTo>
                    <a:pt x="22" y="1023"/>
                  </a:lnTo>
                  <a:lnTo>
                    <a:pt x="22" y="1023"/>
                  </a:lnTo>
                  <a:lnTo>
                    <a:pt x="22" y="1023"/>
                  </a:lnTo>
                  <a:lnTo>
                    <a:pt x="22" y="1026"/>
                  </a:lnTo>
                  <a:lnTo>
                    <a:pt x="19" y="1026"/>
                  </a:lnTo>
                  <a:lnTo>
                    <a:pt x="19" y="1026"/>
                  </a:lnTo>
                  <a:lnTo>
                    <a:pt x="19" y="1028"/>
                  </a:lnTo>
                  <a:lnTo>
                    <a:pt x="19" y="1031"/>
                  </a:lnTo>
                  <a:lnTo>
                    <a:pt x="19" y="1031"/>
                  </a:lnTo>
                  <a:lnTo>
                    <a:pt x="16" y="1031"/>
                  </a:lnTo>
                  <a:lnTo>
                    <a:pt x="16" y="1034"/>
                  </a:lnTo>
                  <a:lnTo>
                    <a:pt x="16" y="1036"/>
                  </a:lnTo>
                  <a:lnTo>
                    <a:pt x="14" y="1036"/>
                  </a:lnTo>
                  <a:lnTo>
                    <a:pt x="14" y="1036"/>
                  </a:lnTo>
                  <a:lnTo>
                    <a:pt x="11" y="1034"/>
                  </a:lnTo>
                  <a:lnTo>
                    <a:pt x="11" y="1034"/>
                  </a:lnTo>
                  <a:lnTo>
                    <a:pt x="8" y="1034"/>
                  </a:lnTo>
                  <a:lnTo>
                    <a:pt x="8" y="1034"/>
                  </a:lnTo>
                  <a:lnTo>
                    <a:pt x="6" y="1034"/>
                  </a:lnTo>
                  <a:lnTo>
                    <a:pt x="6" y="1034"/>
                  </a:lnTo>
                  <a:lnTo>
                    <a:pt x="3" y="1036"/>
                  </a:lnTo>
                  <a:lnTo>
                    <a:pt x="3" y="1036"/>
                  </a:lnTo>
                  <a:lnTo>
                    <a:pt x="3" y="1039"/>
                  </a:lnTo>
                  <a:lnTo>
                    <a:pt x="0" y="1039"/>
                  </a:lnTo>
                  <a:lnTo>
                    <a:pt x="0" y="1042"/>
                  </a:lnTo>
                  <a:lnTo>
                    <a:pt x="0" y="1044"/>
                  </a:lnTo>
                  <a:lnTo>
                    <a:pt x="0" y="1047"/>
                  </a:lnTo>
                  <a:lnTo>
                    <a:pt x="0" y="1050"/>
                  </a:lnTo>
                  <a:lnTo>
                    <a:pt x="3" y="1050"/>
                  </a:lnTo>
                  <a:lnTo>
                    <a:pt x="3" y="1050"/>
                  </a:lnTo>
                  <a:lnTo>
                    <a:pt x="6" y="1052"/>
                  </a:lnTo>
                  <a:lnTo>
                    <a:pt x="8" y="1052"/>
                  </a:lnTo>
                  <a:lnTo>
                    <a:pt x="11" y="1052"/>
                  </a:lnTo>
                  <a:lnTo>
                    <a:pt x="11" y="1052"/>
                  </a:lnTo>
                  <a:lnTo>
                    <a:pt x="11" y="1055"/>
                  </a:lnTo>
                  <a:lnTo>
                    <a:pt x="11" y="1055"/>
                  </a:lnTo>
                  <a:lnTo>
                    <a:pt x="14" y="1058"/>
                  </a:lnTo>
                  <a:lnTo>
                    <a:pt x="14" y="1058"/>
                  </a:lnTo>
                  <a:lnTo>
                    <a:pt x="16" y="1060"/>
                  </a:lnTo>
                  <a:lnTo>
                    <a:pt x="16" y="1060"/>
                  </a:lnTo>
                  <a:lnTo>
                    <a:pt x="16" y="1063"/>
                  </a:lnTo>
                  <a:lnTo>
                    <a:pt x="19" y="1063"/>
                  </a:lnTo>
                  <a:lnTo>
                    <a:pt x="19" y="1066"/>
                  </a:lnTo>
                  <a:lnTo>
                    <a:pt x="22" y="1066"/>
                  </a:lnTo>
                  <a:lnTo>
                    <a:pt x="24" y="1066"/>
                  </a:lnTo>
                  <a:lnTo>
                    <a:pt x="24" y="1068"/>
                  </a:lnTo>
                  <a:lnTo>
                    <a:pt x="24" y="1071"/>
                  </a:lnTo>
                  <a:lnTo>
                    <a:pt x="24" y="1074"/>
                  </a:lnTo>
                  <a:lnTo>
                    <a:pt x="24" y="1074"/>
                  </a:lnTo>
                  <a:lnTo>
                    <a:pt x="24" y="1074"/>
                  </a:lnTo>
                  <a:lnTo>
                    <a:pt x="27" y="1074"/>
                  </a:lnTo>
                  <a:lnTo>
                    <a:pt x="27" y="1077"/>
                  </a:lnTo>
                  <a:lnTo>
                    <a:pt x="30" y="1079"/>
                  </a:lnTo>
                  <a:lnTo>
                    <a:pt x="32" y="1082"/>
                  </a:lnTo>
                  <a:lnTo>
                    <a:pt x="35" y="1082"/>
                  </a:lnTo>
                  <a:lnTo>
                    <a:pt x="35" y="1085"/>
                  </a:lnTo>
                  <a:lnTo>
                    <a:pt x="40" y="1087"/>
                  </a:lnTo>
                  <a:lnTo>
                    <a:pt x="43" y="1093"/>
                  </a:lnTo>
                  <a:lnTo>
                    <a:pt x="43" y="1093"/>
                  </a:lnTo>
                  <a:lnTo>
                    <a:pt x="43" y="1095"/>
                  </a:lnTo>
                  <a:lnTo>
                    <a:pt x="43" y="1095"/>
                  </a:lnTo>
                  <a:lnTo>
                    <a:pt x="46" y="1098"/>
                  </a:lnTo>
                  <a:lnTo>
                    <a:pt x="48" y="1098"/>
                  </a:lnTo>
                  <a:lnTo>
                    <a:pt x="48" y="1101"/>
                  </a:lnTo>
                  <a:lnTo>
                    <a:pt x="48" y="1101"/>
                  </a:lnTo>
                  <a:lnTo>
                    <a:pt x="51" y="1103"/>
                  </a:lnTo>
                  <a:lnTo>
                    <a:pt x="51" y="1103"/>
                  </a:lnTo>
                  <a:lnTo>
                    <a:pt x="54" y="1106"/>
                  </a:lnTo>
                  <a:lnTo>
                    <a:pt x="54" y="1106"/>
                  </a:lnTo>
                  <a:lnTo>
                    <a:pt x="56" y="1103"/>
                  </a:lnTo>
                  <a:lnTo>
                    <a:pt x="56" y="1103"/>
                  </a:lnTo>
                  <a:lnTo>
                    <a:pt x="56" y="1109"/>
                  </a:lnTo>
                  <a:lnTo>
                    <a:pt x="62" y="1106"/>
                  </a:lnTo>
                  <a:lnTo>
                    <a:pt x="62" y="1101"/>
                  </a:lnTo>
                  <a:lnTo>
                    <a:pt x="64" y="1098"/>
                  </a:lnTo>
                  <a:lnTo>
                    <a:pt x="67" y="1098"/>
                  </a:lnTo>
                  <a:lnTo>
                    <a:pt x="70" y="1098"/>
                  </a:lnTo>
                  <a:lnTo>
                    <a:pt x="72" y="1101"/>
                  </a:lnTo>
                  <a:lnTo>
                    <a:pt x="75" y="1101"/>
                  </a:lnTo>
                  <a:lnTo>
                    <a:pt x="75" y="1103"/>
                  </a:lnTo>
                  <a:lnTo>
                    <a:pt x="75" y="1103"/>
                  </a:lnTo>
                  <a:lnTo>
                    <a:pt x="78" y="1103"/>
                  </a:lnTo>
                  <a:lnTo>
                    <a:pt x="78" y="1106"/>
                  </a:lnTo>
                  <a:lnTo>
                    <a:pt x="80" y="1106"/>
                  </a:lnTo>
                  <a:lnTo>
                    <a:pt x="80" y="1106"/>
                  </a:lnTo>
                  <a:lnTo>
                    <a:pt x="80" y="1106"/>
                  </a:lnTo>
                  <a:lnTo>
                    <a:pt x="83" y="1109"/>
                  </a:lnTo>
                  <a:lnTo>
                    <a:pt x="86" y="1109"/>
                  </a:lnTo>
                  <a:lnTo>
                    <a:pt x="86" y="1111"/>
                  </a:lnTo>
                  <a:lnTo>
                    <a:pt x="88" y="1111"/>
                  </a:lnTo>
                  <a:lnTo>
                    <a:pt x="88" y="1109"/>
                  </a:lnTo>
                  <a:lnTo>
                    <a:pt x="88" y="1109"/>
                  </a:lnTo>
                  <a:lnTo>
                    <a:pt x="91" y="1111"/>
                  </a:lnTo>
                  <a:lnTo>
                    <a:pt x="96" y="1111"/>
                  </a:lnTo>
                  <a:lnTo>
                    <a:pt x="96" y="1114"/>
                  </a:lnTo>
                  <a:lnTo>
                    <a:pt x="99" y="1114"/>
                  </a:lnTo>
                  <a:lnTo>
                    <a:pt x="99" y="1117"/>
                  </a:lnTo>
                  <a:lnTo>
                    <a:pt x="99" y="1117"/>
                  </a:lnTo>
                  <a:lnTo>
                    <a:pt x="102" y="1119"/>
                  </a:lnTo>
                  <a:lnTo>
                    <a:pt x="102" y="1119"/>
                  </a:lnTo>
                  <a:lnTo>
                    <a:pt x="102" y="1122"/>
                  </a:lnTo>
                  <a:lnTo>
                    <a:pt x="102" y="1125"/>
                  </a:lnTo>
                  <a:lnTo>
                    <a:pt x="102" y="1125"/>
                  </a:lnTo>
                  <a:lnTo>
                    <a:pt x="104" y="1125"/>
                  </a:lnTo>
                  <a:lnTo>
                    <a:pt x="110" y="1125"/>
                  </a:lnTo>
                  <a:lnTo>
                    <a:pt x="112" y="1125"/>
                  </a:lnTo>
                  <a:lnTo>
                    <a:pt x="112" y="1127"/>
                  </a:lnTo>
                  <a:lnTo>
                    <a:pt x="112" y="1127"/>
                  </a:lnTo>
                  <a:lnTo>
                    <a:pt x="112" y="1130"/>
                  </a:lnTo>
                  <a:lnTo>
                    <a:pt x="112" y="1130"/>
                  </a:lnTo>
                  <a:lnTo>
                    <a:pt x="112" y="1130"/>
                  </a:lnTo>
                  <a:lnTo>
                    <a:pt x="115" y="1133"/>
                  </a:lnTo>
                  <a:lnTo>
                    <a:pt x="115" y="1130"/>
                  </a:lnTo>
                  <a:lnTo>
                    <a:pt x="118" y="1130"/>
                  </a:lnTo>
                  <a:lnTo>
                    <a:pt x="118" y="1130"/>
                  </a:lnTo>
                  <a:lnTo>
                    <a:pt x="120" y="1130"/>
                  </a:lnTo>
                  <a:lnTo>
                    <a:pt x="123" y="1130"/>
                  </a:lnTo>
                  <a:lnTo>
                    <a:pt x="126" y="1130"/>
                  </a:lnTo>
                  <a:lnTo>
                    <a:pt x="128" y="1133"/>
                  </a:lnTo>
                  <a:lnTo>
                    <a:pt x="134" y="1133"/>
                  </a:lnTo>
                  <a:lnTo>
                    <a:pt x="134" y="1135"/>
                  </a:lnTo>
                  <a:lnTo>
                    <a:pt x="131" y="1138"/>
                  </a:lnTo>
                  <a:lnTo>
                    <a:pt x="134" y="1138"/>
                  </a:lnTo>
                  <a:lnTo>
                    <a:pt x="136" y="1141"/>
                  </a:lnTo>
                  <a:lnTo>
                    <a:pt x="136" y="1141"/>
                  </a:lnTo>
                  <a:lnTo>
                    <a:pt x="136" y="1143"/>
                  </a:lnTo>
                  <a:lnTo>
                    <a:pt x="139" y="1141"/>
                  </a:lnTo>
                  <a:lnTo>
                    <a:pt x="139" y="1143"/>
                  </a:lnTo>
                  <a:lnTo>
                    <a:pt x="144" y="1143"/>
                  </a:lnTo>
                  <a:lnTo>
                    <a:pt x="144" y="1143"/>
                  </a:lnTo>
                  <a:lnTo>
                    <a:pt x="144" y="1143"/>
                  </a:lnTo>
                  <a:lnTo>
                    <a:pt x="147" y="1146"/>
                  </a:lnTo>
                  <a:lnTo>
                    <a:pt x="152" y="1143"/>
                  </a:lnTo>
                  <a:lnTo>
                    <a:pt x="152" y="1146"/>
                  </a:lnTo>
                  <a:lnTo>
                    <a:pt x="152" y="1146"/>
                  </a:lnTo>
                  <a:lnTo>
                    <a:pt x="152" y="1149"/>
                  </a:lnTo>
                  <a:lnTo>
                    <a:pt x="152" y="1151"/>
                  </a:lnTo>
                  <a:lnTo>
                    <a:pt x="152" y="1151"/>
                  </a:lnTo>
                  <a:lnTo>
                    <a:pt x="152" y="1154"/>
                  </a:lnTo>
                  <a:lnTo>
                    <a:pt x="152" y="1154"/>
                  </a:lnTo>
                  <a:lnTo>
                    <a:pt x="152" y="1154"/>
                  </a:lnTo>
                  <a:lnTo>
                    <a:pt x="152" y="1157"/>
                  </a:lnTo>
                  <a:lnTo>
                    <a:pt x="155" y="1157"/>
                  </a:lnTo>
                  <a:lnTo>
                    <a:pt x="155" y="1157"/>
                  </a:lnTo>
                  <a:lnTo>
                    <a:pt x="158" y="1157"/>
                  </a:lnTo>
                  <a:lnTo>
                    <a:pt x="158" y="1157"/>
                  </a:lnTo>
                  <a:lnTo>
                    <a:pt x="163" y="1154"/>
                  </a:lnTo>
                  <a:lnTo>
                    <a:pt x="163" y="1154"/>
                  </a:lnTo>
                  <a:lnTo>
                    <a:pt x="166" y="1154"/>
                  </a:lnTo>
                  <a:lnTo>
                    <a:pt x="166" y="1154"/>
                  </a:lnTo>
                  <a:lnTo>
                    <a:pt x="169" y="1154"/>
                  </a:lnTo>
                  <a:lnTo>
                    <a:pt x="169" y="1154"/>
                  </a:lnTo>
                  <a:lnTo>
                    <a:pt x="171" y="1154"/>
                  </a:lnTo>
                  <a:lnTo>
                    <a:pt x="171" y="1154"/>
                  </a:lnTo>
                  <a:lnTo>
                    <a:pt x="171" y="1154"/>
                  </a:lnTo>
                  <a:lnTo>
                    <a:pt x="174" y="1151"/>
                  </a:lnTo>
                  <a:lnTo>
                    <a:pt x="174" y="1151"/>
                  </a:lnTo>
                  <a:lnTo>
                    <a:pt x="174" y="1151"/>
                  </a:lnTo>
                  <a:lnTo>
                    <a:pt x="177" y="1151"/>
                  </a:lnTo>
                  <a:lnTo>
                    <a:pt x="179" y="1151"/>
                  </a:lnTo>
                  <a:lnTo>
                    <a:pt x="179" y="1151"/>
                  </a:lnTo>
                  <a:lnTo>
                    <a:pt x="179" y="1151"/>
                  </a:lnTo>
                  <a:lnTo>
                    <a:pt x="182" y="1151"/>
                  </a:lnTo>
                  <a:lnTo>
                    <a:pt x="182" y="1151"/>
                  </a:lnTo>
                  <a:lnTo>
                    <a:pt x="185" y="1151"/>
                  </a:lnTo>
                  <a:lnTo>
                    <a:pt x="185" y="1154"/>
                  </a:lnTo>
                  <a:lnTo>
                    <a:pt x="185" y="1154"/>
                  </a:lnTo>
                  <a:lnTo>
                    <a:pt x="187" y="1154"/>
                  </a:lnTo>
                  <a:lnTo>
                    <a:pt x="187" y="1151"/>
                  </a:lnTo>
                  <a:lnTo>
                    <a:pt x="187" y="1151"/>
                  </a:lnTo>
                  <a:lnTo>
                    <a:pt x="187" y="1149"/>
                  </a:lnTo>
                  <a:lnTo>
                    <a:pt x="190" y="1149"/>
                  </a:lnTo>
                  <a:lnTo>
                    <a:pt x="190" y="1151"/>
                  </a:lnTo>
                  <a:lnTo>
                    <a:pt x="193" y="1151"/>
                  </a:lnTo>
                  <a:lnTo>
                    <a:pt x="193" y="1154"/>
                  </a:lnTo>
                  <a:lnTo>
                    <a:pt x="195" y="1154"/>
                  </a:lnTo>
                  <a:lnTo>
                    <a:pt x="195" y="1154"/>
                  </a:lnTo>
                  <a:lnTo>
                    <a:pt x="198" y="1154"/>
                  </a:lnTo>
                  <a:lnTo>
                    <a:pt x="198" y="1154"/>
                  </a:lnTo>
                  <a:lnTo>
                    <a:pt x="195" y="1157"/>
                  </a:lnTo>
                  <a:lnTo>
                    <a:pt x="195" y="1157"/>
                  </a:lnTo>
                  <a:lnTo>
                    <a:pt x="193" y="1159"/>
                  </a:lnTo>
                  <a:lnTo>
                    <a:pt x="193" y="1159"/>
                  </a:lnTo>
                  <a:lnTo>
                    <a:pt x="201" y="1162"/>
                  </a:lnTo>
                  <a:lnTo>
                    <a:pt x="201" y="1165"/>
                  </a:lnTo>
                  <a:lnTo>
                    <a:pt x="201" y="1165"/>
                  </a:lnTo>
                  <a:lnTo>
                    <a:pt x="203" y="1165"/>
                  </a:lnTo>
                  <a:lnTo>
                    <a:pt x="206" y="1167"/>
                  </a:lnTo>
                  <a:lnTo>
                    <a:pt x="206" y="1167"/>
                  </a:lnTo>
                  <a:lnTo>
                    <a:pt x="209" y="1167"/>
                  </a:lnTo>
                  <a:lnTo>
                    <a:pt x="209" y="1165"/>
                  </a:lnTo>
                  <a:lnTo>
                    <a:pt x="211" y="1162"/>
                  </a:lnTo>
                  <a:lnTo>
                    <a:pt x="211" y="1162"/>
                  </a:lnTo>
                  <a:lnTo>
                    <a:pt x="214" y="1159"/>
                  </a:lnTo>
                  <a:lnTo>
                    <a:pt x="214" y="1159"/>
                  </a:lnTo>
                  <a:lnTo>
                    <a:pt x="217" y="1159"/>
                  </a:lnTo>
                  <a:lnTo>
                    <a:pt x="217" y="1154"/>
                  </a:lnTo>
                  <a:lnTo>
                    <a:pt x="214" y="1154"/>
                  </a:lnTo>
                  <a:lnTo>
                    <a:pt x="214" y="1151"/>
                  </a:lnTo>
                  <a:lnTo>
                    <a:pt x="219" y="1149"/>
                  </a:lnTo>
                  <a:lnTo>
                    <a:pt x="222" y="1149"/>
                  </a:lnTo>
                  <a:lnTo>
                    <a:pt x="225" y="1149"/>
                  </a:lnTo>
                  <a:lnTo>
                    <a:pt x="227" y="1149"/>
                  </a:lnTo>
                  <a:lnTo>
                    <a:pt x="227" y="1149"/>
                  </a:lnTo>
                  <a:lnTo>
                    <a:pt x="230" y="1146"/>
                  </a:lnTo>
                  <a:lnTo>
                    <a:pt x="233" y="1146"/>
                  </a:lnTo>
                  <a:lnTo>
                    <a:pt x="235" y="1146"/>
                  </a:lnTo>
                  <a:lnTo>
                    <a:pt x="235" y="1143"/>
                  </a:lnTo>
                  <a:lnTo>
                    <a:pt x="243" y="1141"/>
                  </a:lnTo>
                  <a:lnTo>
                    <a:pt x="243" y="1138"/>
                  </a:lnTo>
                  <a:lnTo>
                    <a:pt x="241" y="1135"/>
                  </a:lnTo>
                  <a:lnTo>
                    <a:pt x="241" y="1135"/>
                  </a:lnTo>
                  <a:lnTo>
                    <a:pt x="241" y="1133"/>
                  </a:lnTo>
                  <a:lnTo>
                    <a:pt x="241" y="1133"/>
                  </a:lnTo>
                  <a:lnTo>
                    <a:pt x="243" y="1130"/>
                  </a:lnTo>
                  <a:lnTo>
                    <a:pt x="243" y="1130"/>
                  </a:lnTo>
                  <a:lnTo>
                    <a:pt x="246" y="1130"/>
                  </a:lnTo>
                  <a:lnTo>
                    <a:pt x="246" y="1130"/>
                  </a:lnTo>
                  <a:lnTo>
                    <a:pt x="249" y="1130"/>
                  </a:lnTo>
                  <a:lnTo>
                    <a:pt x="249" y="1130"/>
                  </a:lnTo>
                  <a:lnTo>
                    <a:pt x="251" y="1133"/>
                  </a:lnTo>
                  <a:lnTo>
                    <a:pt x="251" y="1133"/>
                  </a:lnTo>
                  <a:lnTo>
                    <a:pt x="251" y="1133"/>
                  </a:lnTo>
                  <a:lnTo>
                    <a:pt x="254" y="1133"/>
                  </a:lnTo>
                  <a:lnTo>
                    <a:pt x="254" y="1130"/>
                  </a:lnTo>
                  <a:lnTo>
                    <a:pt x="254" y="1130"/>
                  </a:lnTo>
                  <a:lnTo>
                    <a:pt x="257" y="1127"/>
                  </a:lnTo>
                  <a:lnTo>
                    <a:pt x="257" y="1125"/>
                  </a:lnTo>
                  <a:lnTo>
                    <a:pt x="257" y="1125"/>
                  </a:lnTo>
                  <a:lnTo>
                    <a:pt x="259" y="1125"/>
                  </a:lnTo>
                  <a:lnTo>
                    <a:pt x="259" y="1122"/>
                  </a:lnTo>
                  <a:lnTo>
                    <a:pt x="262" y="1122"/>
                  </a:lnTo>
                  <a:lnTo>
                    <a:pt x="262" y="1122"/>
                  </a:lnTo>
                  <a:lnTo>
                    <a:pt x="265" y="1122"/>
                  </a:lnTo>
                  <a:lnTo>
                    <a:pt x="265" y="1125"/>
                  </a:lnTo>
                  <a:lnTo>
                    <a:pt x="265" y="1125"/>
                  </a:lnTo>
                  <a:lnTo>
                    <a:pt x="265" y="1127"/>
                  </a:lnTo>
                  <a:lnTo>
                    <a:pt x="265" y="1127"/>
                  </a:lnTo>
                  <a:lnTo>
                    <a:pt x="267" y="1127"/>
                  </a:lnTo>
                  <a:lnTo>
                    <a:pt x="267" y="1130"/>
                  </a:lnTo>
                  <a:lnTo>
                    <a:pt x="267" y="1130"/>
                  </a:lnTo>
                  <a:lnTo>
                    <a:pt x="267" y="1133"/>
                  </a:lnTo>
                  <a:lnTo>
                    <a:pt x="270" y="1133"/>
                  </a:lnTo>
                  <a:lnTo>
                    <a:pt x="273" y="1135"/>
                  </a:lnTo>
                  <a:lnTo>
                    <a:pt x="273" y="1135"/>
                  </a:lnTo>
                  <a:lnTo>
                    <a:pt x="273" y="1138"/>
                  </a:lnTo>
                  <a:lnTo>
                    <a:pt x="273" y="1138"/>
                  </a:lnTo>
                  <a:lnTo>
                    <a:pt x="273" y="1138"/>
                  </a:lnTo>
                  <a:lnTo>
                    <a:pt x="273" y="1141"/>
                  </a:lnTo>
                  <a:lnTo>
                    <a:pt x="273" y="1141"/>
                  </a:lnTo>
                  <a:lnTo>
                    <a:pt x="273" y="1143"/>
                  </a:lnTo>
                  <a:lnTo>
                    <a:pt x="270" y="1143"/>
                  </a:lnTo>
                  <a:lnTo>
                    <a:pt x="270" y="1143"/>
                  </a:lnTo>
                  <a:lnTo>
                    <a:pt x="270" y="1143"/>
                  </a:lnTo>
                  <a:lnTo>
                    <a:pt x="270" y="1146"/>
                  </a:lnTo>
                  <a:lnTo>
                    <a:pt x="270" y="1146"/>
                  </a:lnTo>
                  <a:lnTo>
                    <a:pt x="273" y="1149"/>
                  </a:lnTo>
                  <a:lnTo>
                    <a:pt x="273" y="1149"/>
                  </a:lnTo>
                  <a:lnTo>
                    <a:pt x="273" y="1151"/>
                  </a:lnTo>
                  <a:lnTo>
                    <a:pt x="275" y="1151"/>
                  </a:lnTo>
                  <a:lnTo>
                    <a:pt x="275" y="1151"/>
                  </a:lnTo>
                  <a:lnTo>
                    <a:pt x="278" y="1154"/>
                  </a:lnTo>
                  <a:lnTo>
                    <a:pt x="278" y="1157"/>
                  </a:lnTo>
                  <a:lnTo>
                    <a:pt x="281" y="1157"/>
                  </a:lnTo>
                  <a:lnTo>
                    <a:pt x="281" y="1157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59"/>
                  </a:lnTo>
                  <a:lnTo>
                    <a:pt x="283" y="1162"/>
                  </a:lnTo>
                  <a:lnTo>
                    <a:pt x="286" y="1165"/>
                  </a:lnTo>
                  <a:lnTo>
                    <a:pt x="286" y="1165"/>
                  </a:lnTo>
                  <a:lnTo>
                    <a:pt x="289" y="1165"/>
                  </a:lnTo>
                  <a:lnTo>
                    <a:pt x="291" y="1167"/>
                  </a:lnTo>
                  <a:lnTo>
                    <a:pt x="291" y="1167"/>
                  </a:lnTo>
                  <a:lnTo>
                    <a:pt x="294" y="1167"/>
                  </a:lnTo>
                  <a:lnTo>
                    <a:pt x="294" y="1167"/>
                  </a:lnTo>
                  <a:lnTo>
                    <a:pt x="297" y="1170"/>
                  </a:lnTo>
                  <a:lnTo>
                    <a:pt x="299" y="1173"/>
                  </a:lnTo>
                  <a:lnTo>
                    <a:pt x="299" y="1173"/>
                  </a:lnTo>
                  <a:lnTo>
                    <a:pt x="299" y="1175"/>
                  </a:lnTo>
                  <a:lnTo>
                    <a:pt x="302" y="1178"/>
                  </a:lnTo>
                  <a:lnTo>
                    <a:pt x="305" y="1178"/>
                  </a:lnTo>
                  <a:lnTo>
                    <a:pt x="305" y="1178"/>
                  </a:lnTo>
                  <a:lnTo>
                    <a:pt x="307" y="1178"/>
                  </a:lnTo>
                  <a:lnTo>
                    <a:pt x="307" y="1178"/>
                  </a:lnTo>
                  <a:lnTo>
                    <a:pt x="310" y="1178"/>
                  </a:lnTo>
                  <a:lnTo>
                    <a:pt x="310" y="1178"/>
                  </a:lnTo>
                  <a:lnTo>
                    <a:pt x="310" y="1178"/>
                  </a:lnTo>
                  <a:lnTo>
                    <a:pt x="315" y="1181"/>
                  </a:lnTo>
                  <a:lnTo>
                    <a:pt x="315" y="1183"/>
                  </a:lnTo>
                  <a:lnTo>
                    <a:pt x="315" y="1183"/>
                  </a:lnTo>
                  <a:lnTo>
                    <a:pt x="318" y="1183"/>
                  </a:lnTo>
                  <a:lnTo>
                    <a:pt x="321" y="1183"/>
                  </a:lnTo>
                  <a:lnTo>
                    <a:pt x="323" y="1183"/>
                  </a:lnTo>
                  <a:lnTo>
                    <a:pt x="323" y="1186"/>
                  </a:lnTo>
                  <a:lnTo>
                    <a:pt x="323" y="1186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6" y="1189"/>
                  </a:lnTo>
                  <a:lnTo>
                    <a:pt x="329" y="1191"/>
                  </a:lnTo>
                  <a:lnTo>
                    <a:pt x="331" y="1191"/>
                  </a:lnTo>
                  <a:lnTo>
                    <a:pt x="331" y="1191"/>
                  </a:lnTo>
                  <a:lnTo>
                    <a:pt x="334" y="1191"/>
                  </a:lnTo>
                  <a:lnTo>
                    <a:pt x="337" y="1194"/>
                  </a:lnTo>
                  <a:lnTo>
                    <a:pt x="337" y="1197"/>
                  </a:lnTo>
                  <a:lnTo>
                    <a:pt x="339" y="1197"/>
                  </a:lnTo>
                  <a:lnTo>
                    <a:pt x="339" y="1197"/>
                  </a:lnTo>
                  <a:lnTo>
                    <a:pt x="342" y="1199"/>
                  </a:lnTo>
                  <a:lnTo>
                    <a:pt x="342" y="1199"/>
                  </a:lnTo>
                  <a:lnTo>
                    <a:pt x="342" y="1199"/>
                  </a:lnTo>
                  <a:lnTo>
                    <a:pt x="347" y="1205"/>
                  </a:lnTo>
                  <a:lnTo>
                    <a:pt x="350" y="1205"/>
                  </a:lnTo>
                  <a:lnTo>
                    <a:pt x="350" y="1210"/>
                  </a:lnTo>
                  <a:lnTo>
                    <a:pt x="350" y="1210"/>
                  </a:lnTo>
                  <a:lnTo>
                    <a:pt x="350" y="1210"/>
                  </a:lnTo>
                  <a:lnTo>
                    <a:pt x="353" y="1210"/>
                  </a:lnTo>
                  <a:lnTo>
                    <a:pt x="363" y="1218"/>
                  </a:lnTo>
                  <a:lnTo>
                    <a:pt x="366" y="1218"/>
                  </a:lnTo>
                  <a:lnTo>
                    <a:pt x="366" y="1221"/>
                  </a:lnTo>
                  <a:lnTo>
                    <a:pt x="366" y="1221"/>
                  </a:lnTo>
                  <a:lnTo>
                    <a:pt x="366" y="1221"/>
                  </a:lnTo>
                  <a:lnTo>
                    <a:pt x="366" y="1223"/>
                  </a:lnTo>
                  <a:lnTo>
                    <a:pt x="366" y="1226"/>
                  </a:lnTo>
                  <a:lnTo>
                    <a:pt x="369" y="1226"/>
                  </a:lnTo>
                  <a:lnTo>
                    <a:pt x="377" y="1226"/>
                  </a:lnTo>
                  <a:lnTo>
                    <a:pt x="374" y="1223"/>
                  </a:lnTo>
                  <a:lnTo>
                    <a:pt x="377" y="1223"/>
                  </a:lnTo>
                  <a:lnTo>
                    <a:pt x="377" y="1223"/>
                  </a:lnTo>
                  <a:lnTo>
                    <a:pt x="377" y="1221"/>
                  </a:lnTo>
                  <a:lnTo>
                    <a:pt x="382" y="1221"/>
                  </a:lnTo>
                  <a:lnTo>
                    <a:pt x="382" y="1223"/>
                  </a:lnTo>
                  <a:lnTo>
                    <a:pt x="385" y="1221"/>
                  </a:lnTo>
                  <a:lnTo>
                    <a:pt x="387" y="1223"/>
                  </a:lnTo>
                  <a:lnTo>
                    <a:pt x="390" y="1223"/>
                  </a:lnTo>
                  <a:lnTo>
                    <a:pt x="390" y="1223"/>
                  </a:lnTo>
                  <a:lnTo>
                    <a:pt x="393" y="1223"/>
                  </a:lnTo>
                  <a:lnTo>
                    <a:pt x="393" y="1223"/>
                  </a:lnTo>
                  <a:lnTo>
                    <a:pt x="393" y="1221"/>
                  </a:lnTo>
                  <a:lnTo>
                    <a:pt x="396" y="1221"/>
                  </a:lnTo>
                  <a:lnTo>
                    <a:pt x="398" y="1223"/>
                  </a:lnTo>
                  <a:lnTo>
                    <a:pt x="398" y="1223"/>
                  </a:lnTo>
                  <a:lnTo>
                    <a:pt x="398" y="1223"/>
                  </a:lnTo>
                  <a:lnTo>
                    <a:pt x="401" y="1223"/>
                  </a:lnTo>
                  <a:lnTo>
                    <a:pt x="401" y="1223"/>
                  </a:lnTo>
                  <a:lnTo>
                    <a:pt x="404" y="1223"/>
                  </a:lnTo>
                  <a:lnTo>
                    <a:pt x="404" y="1223"/>
                  </a:lnTo>
                  <a:lnTo>
                    <a:pt x="404" y="1226"/>
                  </a:lnTo>
                  <a:lnTo>
                    <a:pt x="404" y="1231"/>
                  </a:lnTo>
                  <a:lnTo>
                    <a:pt x="406" y="1234"/>
                  </a:lnTo>
                  <a:lnTo>
                    <a:pt x="409" y="1234"/>
                  </a:lnTo>
                  <a:lnTo>
                    <a:pt x="409" y="1234"/>
                  </a:lnTo>
                  <a:lnTo>
                    <a:pt x="409" y="1237"/>
                  </a:lnTo>
                  <a:lnTo>
                    <a:pt x="412" y="1237"/>
                  </a:lnTo>
                  <a:lnTo>
                    <a:pt x="412" y="1240"/>
                  </a:lnTo>
                  <a:lnTo>
                    <a:pt x="414" y="1240"/>
                  </a:lnTo>
                  <a:lnTo>
                    <a:pt x="417" y="1245"/>
                  </a:lnTo>
                  <a:lnTo>
                    <a:pt x="420" y="1245"/>
                  </a:lnTo>
                  <a:lnTo>
                    <a:pt x="422" y="1248"/>
                  </a:lnTo>
                  <a:lnTo>
                    <a:pt x="422" y="1248"/>
                  </a:lnTo>
                  <a:lnTo>
                    <a:pt x="425" y="1250"/>
                  </a:lnTo>
                  <a:lnTo>
                    <a:pt x="430" y="1253"/>
                  </a:lnTo>
                  <a:lnTo>
                    <a:pt x="430" y="1253"/>
                  </a:lnTo>
                  <a:lnTo>
                    <a:pt x="433" y="1253"/>
                  </a:lnTo>
                  <a:lnTo>
                    <a:pt x="436" y="1253"/>
                  </a:lnTo>
                  <a:lnTo>
                    <a:pt x="436" y="1256"/>
                  </a:lnTo>
                  <a:lnTo>
                    <a:pt x="438" y="1258"/>
                  </a:lnTo>
                  <a:lnTo>
                    <a:pt x="438" y="1258"/>
                  </a:lnTo>
                  <a:lnTo>
                    <a:pt x="441" y="1258"/>
                  </a:lnTo>
                  <a:lnTo>
                    <a:pt x="441" y="1258"/>
                  </a:lnTo>
                  <a:lnTo>
                    <a:pt x="444" y="1258"/>
                  </a:lnTo>
                  <a:lnTo>
                    <a:pt x="444" y="1261"/>
                  </a:lnTo>
                  <a:lnTo>
                    <a:pt x="444" y="1261"/>
                  </a:lnTo>
                  <a:lnTo>
                    <a:pt x="444" y="1264"/>
                  </a:lnTo>
                  <a:lnTo>
                    <a:pt x="444" y="1269"/>
                  </a:lnTo>
                  <a:lnTo>
                    <a:pt x="444" y="1269"/>
                  </a:lnTo>
                  <a:lnTo>
                    <a:pt x="446" y="1272"/>
                  </a:lnTo>
                  <a:lnTo>
                    <a:pt x="446" y="1272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4"/>
                  </a:lnTo>
                  <a:lnTo>
                    <a:pt x="446" y="1277"/>
                  </a:lnTo>
                  <a:lnTo>
                    <a:pt x="446" y="1277"/>
                  </a:lnTo>
                  <a:lnTo>
                    <a:pt x="446" y="1280"/>
                  </a:lnTo>
                  <a:lnTo>
                    <a:pt x="446" y="1280"/>
                  </a:lnTo>
                  <a:lnTo>
                    <a:pt x="446" y="1280"/>
                  </a:lnTo>
                  <a:lnTo>
                    <a:pt x="449" y="1282"/>
                  </a:lnTo>
                  <a:lnTo>
                    <a:pt x="449" y="1282"/>
                  </a:lnTo>
                  <a:lnTo>
                    <a:pt x="449" y="1282"/>
                  </a:lnTo>
                  <a:lnTo>
                    <a:pt x="449" y="1285"/>
                  </a:lnTo>
                  <a:lnTo>
                    <a:pt x="449" y="1288"/>
                  </a:lnTo>
                  <a:lnTo>
                    <a:pt x="452" y="1290"/>
                  </a:lnTo>
                  <a:lnTo>
                    <a:pt x="452" y="1290"/>
                  </a:lnTo>
                  <a:lnTo>
                    <a:pt x="452" y="1290"/>
                  </a:lnTo>
                  <a:lnTo>
                    <a:pt x="454" y="1290"/>
                  </a:lnTo>
                  <a:lnTo>
                    <a:pt x="454" y="1293"/>
                  </a:lnTo>
                  <a:lnTo>
                    <a:pt x="457" y="1296"/>
                  </a:lnTo>
                  <a:lnTo>
                    <a:pt x="457" y="1296"/>
                  </a:lnTo>
                  <a:lnTo>
                    <a:pt x="457" y="1293"/>
                  </a:lnTo>
                  <a:lnTo>
                    <a:pt x="460" y="1293"/>
                  </a:lnTo>
                  <a:lnTo>
                    <a:pt x="460" y="1293"/>
                  </a:lnTo>
                  <a:lnTo>
                    <a:pt x="460" y="1293"/>
                  </a:lnTo>
                  <a:lnTo>
                    <a:pt x="462" y="1293"/>
                  </a:lnTo>
                  <a:lnTo>
                    <a:pt x="462" y="1293"/>
                  </a:lnTo>
                  <a:lnTo>
                    <a:pt x="465" y="1290"/>
                  </a:lnTo>
                  <a:lnTo>
                    <a:pt x="465" y="1290"/>
                  </a:lnTo>
                  <a:lnTo>
                    <a:pt x="465" y="1290"/>
                  </a:lnTo>
                  <a:lnTo>
                    <a:pt x="468" y="1290"/>
                  </a:lnTo>
                  <a:lnTo>
                    <a:pt x="468" y="1290"/>
                  </a:lnTo>
                  <a:lnTo>
                    <a:pt x="468" y="1288"/>
                  </a:lnTo>
                  <a:lnTo>
                    <a:pt x="470" y="1288"/>
                  </a:lnTo>
                  <a:lnTo>
                    <a:pt x="478" y="1290"/>
                  </a:lnTo>
                  <a:lnTo>
                    <a:pt x="484" y="1293"/>
                  </a:lnTo>
                  <a:lnTo>
                    <a:pt x="484" y="1293"/>
                  </a:lnTo>
                  <a:lnTo>
                    <a:pt x="486" y="1320"/>
                  </a:lnTo>
                  <a:lnTo>
                    <a:pt x="486" y="1320"/>
                  </a:lnTo>
                  <a:lnTo>
                    <a:pt x="489" y="1320"/>
                  </a:lnTo>
                  <a:lnTo>
                    <a:pt x="492" y="1320"/>
                  </a:lnTo>
                  <a:lnTo>
                    <a:pt x="494" y="1317"/>
                  </a:lnTo>
                  <a:lnTo>
                    <a:pt x="494" y="1317"/>
                  </a:lnTo>
                  <a:lnTo>
                    <a:pt x="494" y="1314"/>
                  </a:lnTo>
                  <a:lnTo>
                    <a:pt x="497" y="1314"/>
                  </a:lnTo>
                  <a:lnTo>
                    <a:pt x="497" y="1312"/>
                  </a:lnTo>
                  <a:lnTo>
                    <a:pt x="497" y="1312"/>
                  </a:lnTo>
                  <a:lnTo>
                    <a:pt x="500" y="1312"/>
                  </a:lnTo>
                  <a:lnTo>
                    <a:pt x="500" y="1312"/>
                  </a:lnTo>
                  <a:lnTo>
                    <a:pt x="502" y="1312"/>
                  </a:lnTo>
                  <a:lnTo>
                    <a:pt x="502" y="1312"/>
                  </a:lnTo>
                  <a:lnTo>
                    <a:pt x="505" y="1309"/>
                  </a:lnTo>
                  <a:lnTo>
                    <a:pt x="505" y="1309"/>
                  </a:lnTo>
                  <a:lnTo>
                    <a:pt x="505" y="1306"/>
                  </a:lnTo>
                  <a:lnTo>
                    <a:pt x="505" y="1306"/>
                  </a:lnTo>
                  <a:lnTo>
                    <a:pt x="508" y="1306"/>
                  </a:lnTo>
                  <a:lnTo>
                    <a:pt x="510" y="1304"/>
                  </a:lnTo>
                  <a:lnTo>
                    <a:pt x="513" y="1304"/>
                  </a:lnTo>
                  <a:lnTo>
                    <a:pt x="516" y="1304"/>
                  </a:lnTo>
                  <a:lnTo>
                    <a:pt x="516" y="1304"/>
                  </a:lnTo>
                  <a:lnTo>
                    <a:pt x="518" y="1304"/>
                  </a:lnTo>
                  <a:lnTo>
                    <a:pt x="518" y="1304"/>
                  </a:lnTo>
                  <a:lnTo>
                    <a:pt x="521" y="1301"/>
                  </a:lnTo>
                  <a:lnTo>
                    <a:pt x="524" y="1301"/>
                  </a:lnTo>
                  <a:lnTo>
                    <a:pt x="524" y="1298"/>
                  </a:lnTo>
                  <a:lnTo>
                    <a:pt x="524" y="1298"/>
                  </a:lnTo>
                  <a:lnTo>
                    <a:pt x="526" y="1301"/>
                  </a:lnTo>
                  <a:lnTo>
                    <a:pt x="526" y="1301"/>
                  </a:lnTo>
                  <a:lnTo>
                    <a:pt x="529" y="1301"/>
                  </a:lnTo>
                  <a:lnTo>
                    <a:pt x="529" y="1301"/>
                  </a:lnTo>
                  <a:lnTo>
                    <a:pt x="529" y="1301"/>
                  </a:lnTo>
                  <a:lnTo>
                    <a:pt x="532" y="1301"/>
                  </a:lnTo>
                  <a:lnTo>
                    <a:pt x="532" y="1298"/>
                  </a:lnTo>
                  <a:lnTo>
                    <a:pt x="534" y="1298"/>
                  </a:lnTo>
                  <a:lnTo>
                    <a:pt x="534" y="1296"/>
                  </a:lnTo>
                  <a:lnTo>
                    <a:pt x="534" y="1296"/>
                  </a:lnTo>
                  <a:lnTo>
                    <a:pt x="534" y="1293"/>
                  </a:lnTo>
                  <a:lnTo>
                    <a:pt x="534" y="1293"/>
                  </a:lnTo>
                  <a:lnTo>
                    <a:pt x="532" y="1290"/>
                  </a:lnTo>
                  <a:lnTo>
                    <a:pt x="532" y="1290"/>
                  </a:lnTo>
                  <a:lnTo>
                    <a:pt x="532" y="1288"/>
                  </a:lnTo>
                  <a:lnTo>
                    <a:pt x="529" y="1285"/>
                  </a:lnTo>
                  <a:lnTo>
                    <a:pt x="609" y="1194"/>
                  </a:lnTo>
                  <a:lnTo>
                    <a:pt x="671" y="1125"/>
                  </a:lnTo>
                  <a:lnTo>
                    <a:pt x="705" y="1085"/>
                  </a:lnTo>
                  <a:lnTo>
                    <a:pt x="727" y="1002"/>
                  </a:lnTo>
                  <a:lnTo>
                    <a:pt x="719" y="964"/>
                  </a:lnTo>
                  <a:lnTo>
                    <a:pt x="716" y="964"/>
                  </a:lnTo>
                  <a:lnTo>
                    <a:pt x="713" y="964"/>
                  </a:lnTo>
                  <a:lnTo>
                    <a:pt x="716" y="959"/>
                  </a:lnTo>
                  <a:lnTo>
                    <a:pt x="716" y="956"/>
                  </a:lnTo>
                  <a:lnTo>
                    <a:pt x="713" y="954"/>
                  </a:lnTo>
                  <a:lnTo>
                    <a:pt x="719" y="951"/>
                  </a:lnTo>
                  <a:lnTo>
                    <a:pt x="719" y="948"/>
                  </a:lnTo>
                  <a:lnTo>
                    <a:pt x="719" y="940"/>
                  </a:lnTo>
                  <a:lnTo>
                    <a:pt x="716" y="935"/>
                  </a:lnTo>
                  <a:lnTo>
                    <a:pt x="716" y="930"/>
                  </a:lnTo>
                  <a:lnTo>
                    <a:pt x="719" y="927"/>
                  </a:lnTo>
                  <a:lnTo>
                    <a:pt x="713" y="924"/>
                  </a:lnTo>
                  <a:lnTo>
                    <a:pt x="713" y="914"/>
                  </a:lnTo>
                  <a:lnTo>
                    <a:pt x="716" y="908"/>
                  </a:lnTo>
                  <a:lnTo>
                    <a:pt x="716" y="908"/>
                  </a:lnTo>
                  <a:lnTo>
                    <a:pt x="716" y="903"/>
                  </a:lnTo>
                  <a:lnTo>
                    <a:pt x="716" y="900"/>
                  </a:lnTo>
                  <a:lnTo>
                    <a:pt x="716" y="900"/>
                  </a:lnTo>
                  <a:lnTo>
                    <a:pt x="716" y="895"/>
                  </a:lnTo>
                  <a:lnTo>
                    <a:pt x="711" y="895"/>
                  </a:lnTo>
                  <a:lnTo>
                    <a:pt x="711" y="895"/>
                  </a:lnTo>
                  <a:lnTo>
                    <a:pt x="711" y="892"/>
                  </a:lnTo>
                  <a:lnTo>
                    <a:pt x="708" y="892"/>
                  </a:lnTo>
                  <a:lnTo>
                    <a:pt x="708" y="889"/>
                  </a:lnTo>
                  <a:lnTo>
                    <a:pt x="708" y="887"/>
                  </a:lnTo>
                  <a:lnTo>
                    <a:pt x="708" y="884"/>
                  </a:lnTo>
                  <a:lnTo>
                    <a:pt x="708" y="881"/>
                  </a:lnTo>
                  <a:lnTo>
                    <a:pt x="705" y="879"/>
                  </a:lnTo>
                  <a:lnTo>
                    <a:pt x="703" y="879"/>
                  </a:lnTo>
                  <a:lnTo>
                    <a:pt x="703" y="876"/>
                  </a:lnTo>
                  <a:lnTo>
                    <a:pt x="705" y="871"/>
                  </a:lnTo>
                  <a:lnTo>
                    <a:pt x="708" y="868"/>
                  </a:lnTo>
                  <a:lnTo>
                    <a:pt x="705" y="865"/>
                  </a:lnTo>
                  <a:lnTo>
                    <a:pt x="705" y="860"/>
                  </a:lnTo>
                  <a:lnTo>
                    <a:pt x="711" y="860"/>
                  </a:lnTo>
                  <a:lnTo>
                    <a:pt x="708" y="855"/>
                  </a:lnTo>
                  <a:lnTo>
                    <a:pt x="708" y="844"/>
                  </a:lnTo>
                  <a:lnTo>
                    <a:pt x="711" y="836"/>
                  </a:lnTo>
                  <a:lnTo>
                    <a:pt x="711" y="833"/>
                  </a:lnTo>
                  <a:lnTo>
                    <a:pt x="713" y="833"/>
                  </a:lnTo>
                  <a:lnTo>
                    <a:pt x="713" y="828"/>
                  </a:lnTo>
                  <a:lnTo>
                    <a:pt x="716" y="828"/>
                  </a:lnTo>
                  <a:lnTo>
                    <a:pt x="719" y="828"/>
                  </a:lnTo>
                  <a:lnTo>
                    <a:pt x="719" y="828"/>
                  </a:lnTo>
                  <a:lnTo>
                    <a:pt x="719" y="828"/>
                  </a:lnTo>
                  <a:lnTo>
                    <a:pt x="719" y="825"/>
                  </a:lnTo>
                  <a:lnTo>
                    <a:pt x="721" y="828"/>
                  </a:lnTo>
                  <a:lnTo>
                    <a:pt x="724" y="828"/>
                  </a:lnTo>
                  <a:lnTo>
                    <a:pt x="727" y="828"/>
                  </a:lnTo>
                  <a:lnTo>
                    <a:pt x="729" y="825"/>
                  </a:lnTo>
                  <a:lnTo>
                    <a:pt x="729" y="825"/>
                  </a:lnTo>
                  <a:lnTo>
                    <a:pt x="729" y="820"/>
                  </a:lnTo>
                  <a:lnTo>
                    <a:pt x="729" y="820"/>
                  </a:lnTo>
                  <a:lnTo>
                    <a:pt x="727" y="820"/>
                  </a:lnTo>
                  <a:lnTo>
                    <a:pt x="724" y="820"/>
                  </a:lnTo>
                  <a:lnTo>
                    <a:pt x="721" y="817"/>
                  </a:lnTo>
                  <a:lnTo>
                    <a:pt x="719" y="817"/>
                  </a:lnTo>
                  <a:lnTo>
                    <a:pt x="716" y="817"/>
                  </a:lnTo>
                  <a:lnTo>
                    <a:pt x="716" y="815"/>
                  </a:lnTo>
                  <a:lnTo>
                    <a:pt x="713" y="815"/>
                  </a:lnTo>
                  <a:lnTo>
                    <a:pt x="708" y="809"/>
                  </a:lnTo>
                  <a:lnTo>
                    <a:pt x="708" y="809"/>
                  </a:lnTo>
                  <a:lnTo>
                    <a:pt x="708" y="807"/>
                  </a:lnTo>
                  <a:lnTo>
                    <a:pt x="705" y="801"/>
                  </a:lnTo>
                  <a:lnTo>
                    <a:pt x="703" y="799"/>
                  </a:lnTo>
                  <a:lnTo>
                    <a:pt x="700" y="799"/>
                  </a:lnTo>
                  <a:lnTo>
                    <a:pt x="700" y="799"/>
                  </a:lnTo>
                  <a:lnTo>
                    <a:pt x="697" y="799"/>
                  </a:lnTo>
                  <a:lnTo>
                    <a:pt x="695" y="799"/>
                  </a:lnTo>
                  <a:lnTo>
                    <a:pt x="692" y="799"/>
                  </a:lnTo>
                  <a:lnTo>
                    <a:pt x="692" y="796"/>
                  </a:lnTo>
                  <a:lnTo>
                    <a:pt x="689" y="791"/>
                  </a:lnTo>
                  <a:lnTo>
                    <a:pt x="689" y="791"/>
                  </a:lnTo>
                  <a:lnTo>
                    <a:pt x="689" y="788"/>
                  </a:lnTo>
                  <a:lnTo>
                    <a:pt x="689" y="785"/>
                  </a:lnTo>
                  <a:lnTo>
                    <a:pt x="692" y="783"/>
                  </a:lnTo>
                  <a:lnTo>
                    <a:pt x="692" y="780"/>
                  </a:lnTo>
                  <a:lnTo>
                    <a:pt x="692" y="777"/>
                  </a:lnTo>
                  <a:lnTo>
                    <a:pt x="695" y="775"/>
                  </a:lnTo>
                  <a:lnTo>
                    <a:pt x="695" y="775"/>
                  </a:lnTo>
                  <a:lnTo>
                    <a:pt x="692" y="772"/>
                  </a:lnTo>
                  <a:lnTo>
                    <a:pt x="689" y="769"/>
                  </a:lnTo>
                  <a:lnTo>
                    <a:pt x="692" y="767"/>
                  </a:lnTo>
                  <a:lnTo>
                    <a:pt x="697" y="767"/>
                  </a:lnTo>
                  <a:lnTo>
                    <a:pt x="700" y="764"/>
                  </a:lnTo>
                  <a:lnTo>
                    <a:pt x="705" y="764"/>
                  </a:lnTo>
                  <a:lnTo>
                    <a:pt x="708" y="759"/>
                  </a:lnTo>
                  <a:lnTo>
                    <a:pt x="708" y="759"/>
                  </a:lnTo>
                  <a:lnTo>
                    <a:pt x="711" y="759"/>
                  </a:lnTo>
                  <a:lnTo>
                    <a:pt x="713" y="753"/>
                  </a:lnTo>
                  <a:lnTo>
                    <a:pt x="716" y="753"/>
                  </a:lnTo>
                  <a:lnTo>
                    <a:pt x="724" y="750"/>
                  </a:lnTo>
                  <a:lnTo>
                    <a:pt x="729" y="745"/>
                  </a:lnTo>
                  <a:lnTo>
                    <a:pt x="735" y="745"/>
                  </a:lnTo>
                  <a:lnTo>
                    <a:pt x="737" y="745"/>
                  </a:lnTo>
                  <a:lnTo>
                    <a:pt x="745" y="745"/>
                  </a:lnTo>
                  <a:lnTo>
                    <a:pt x="748" y="745"/>
                  </a:lnTo>
                  <a:lnTo>
                    <a:pt x="748" y="740"/>
                  </a:lnTo>
                  <a:lnTo>
                    <a:pt x="751" y="740"/>
                  </a:lnTo>
                  <a:lnTo>
                    <a:pt x="751" y="737"/>
                  </a:lnTo>
                  <a:lnTo>
                    <a:pt x="753" y="734"/>
                  </a:lnTo>
                  <a:lnTo>
                    <a:pt x="751" y="732"/>
                  </a:lnTo>
                  <a:lnTo>
                    <a:pt x="751" y="729"/>
                  </a:lnTo>
                  <a:lnTo>
                    <a:pt x="751" y="726"/>
                  </a:lnTo>
                  <a:lnTo>
                    <a:pt x="753" y="724"/>
                  </a:lnTo>
                  <a:lnTo>
                    <a:pt x="756" y="721"/>
                  </a:lnTo>
                  <a:lnTo>
                    <a:pt x="756" y="716"/>
                  </a:lnTo>
                  <a:lnTo>
                    <a:pt x="759" y="713"/>
                  </a:lnTo>
                  <a:lnTo>
                    <a:pt x="761" y="716"/>
                  </a:lnTo>
                  <a:lnTo>
                    <a:pt x="769" y="718"/>
                  </a:lnTo>
                  <a:lnTo>
                    <a:pt x="775" y="716"/>
                  </a:lnTo>
                  <a:lnTo>
                    <a:pt x="777" y="718"/>
                  </a:lnTo>
                  <a:lnTo>
                    <a:pt x="780" y="724"/>
                  </a:lnTo>
                  <a:lnTo>
                    <a:pt x="785" y="726"/>
                  </a:lnTo>
                  <a:lnTo>
                    <a:pt x="788" y="726"/>
                  </a:lnTo>
                  <a:lnTo>
                    <a:pt x="791" y="724"/>
                  </a:lnTo>
                  <a:lnTo>
                    <a:pt x="793" y="718"/>
                  </a:lnTo>
                  <a:lnTo>
                    <a:pt x="796" y="721"/>
                  </a:lnTo>
                  <a:lnTo>
                    <a:pt x="799" y="721"/>
                  </a:lnTo>
                  <a:lnTo>
                    <a:pt x="804" y="721"/>
                  </a:lnTo>
                  <a:lnTo>
                    <a:pt x="809" y="718"/>
                  </a:lnTo>
                  <a:lnTo>
                    <a:pt x="812" y="721"/>
                  </a:lnTo>
                  <a:lnTo>
                    <a:pt x="815" y="721"/>
                  </a:lnTo>
                  <a:lnTo>
                    <a:pt x="817" y="721"/>
                  </a:lnTo>
                  <a:lnTo>
                    <a:pt x="820" y="718"/>
                  </a:lnTo>
                  <a:lnTo>
                    <a:pt x="823" y="713"/>
                  </a:lnTo>
                  <a:lnTo>
                    <a:pt x="825" y="710"/>
                  </a:lnTo>
                  <a:lnTo>
                    <a:pt x="825" y="708"/>
                  </a:lnTo>
                  <a:lnTo>
                    <a:pt x="823" y="705"/>
                  </a:lnTo>
                  <a:lnTo>
                    <a:pt x="825" y="705"/>
                  </a:lnTo>
                  <a:lnTo>
                    <a:pt x="825" y="700"/>
                  </a:lnTo>
                  <a:lnTo>
                    <a:pt x="825" y="694"/>
                  </a:lnTo>
                  <a:lnTo>
                    <a:pt x="828" y="694"/>
                  </a:lnTo>
                  <a:lnTo>
                    <a:pt x="828" y="694"/>
                  </a:lnTo>
                  <a:lnTo>
                    <a:pt x="828" y="689"/>
                  </a:lnTo>
                  <a:lnTo>
                    <a:pt x="833" y="689"/>
                  </a:lnTo>
                  <a:lnTo>
                    <a:pt x="833" y="689"/>
                  </a:lnTo>
                  <a:lnTo>
                    <a:pt x="836" y="694"/>
                  </a:lnTo>
                  <a:lnTo>
                    <a:pt x="839" y="697"/>
                  </a:lnTo>
                  <a:lnTo>
                    <a:pt x="841" y="700"/>
                  </a:lnTo>
                  <a:lnTo>
                    <a:pt x="844" y="702"/>
                  </a:lnTo>
                  <a:lnTo>
                    <a:pt x="847" y="702"/>
                  </a:lnTo>
                  <a:lnTo>
                    <a:pt x="849" y="708"/>
                  </a:lnTo>
                  <a:lnTo>
                    <a:pt x="849" y="708"/>
                  </a:lnTo>
                  <a:lnTo>
                    <a:pt x="852" y="705"/>
                  </a:lnTo>
                  <a:lnTo>
                    <a:pt x="852" y="702"/>
                  </a:lnTo>
                  <a:lnTo>
                    <a:pt x="857" y="702"/>
                  </a:lnTo>
                  <a:lnTo>
                    <a:pt x="860" y="700"/>
                  </a:lnTo>
                  <a:lnTo>
                    <a:pt x="865" y="700"/>
                  </a:lnTo>
                  <a:lnTo>
                    <a:pt x="868" y="705"/>
                  </a:lnTo>
                  <a:lnTo>
                    <a:pt x="868" y="705"/>
                  </a:lnTo>
                  <a:lnTo>
                    <a:pt x="871" y="708"/>
                  </a:lnTo>
                  <a:lnTo>
                    <a:pt x="874" y="708"/>
                  </a:lnTo>
                  <a:lnTo>
                    <a:pt x="876" y="705"/>
                  </a:lnTo>
                  <a:lnTo>
                    <a:pt x="879" y="705"/>
                  </a:lnTo>
                  <a:lnTo>
                    <a:pt x="879" y="705"/>
                  </a:lnTo>
                  <a:lnTo>
                    <a:pt x="882" y="705"/>
                  </a:lnTo>
                  <a:lnTo>
                    <a:pt x="884" y="700"/>
                  </a:lnTo>
                  <a:lnTo>
                    <a:pt x="887" y="700"/>
                  </a:lnTo>
                  <a:lnTo>
                    <a:pt x="890" y="694"/>
                  </a:lnTo>
                  <a:lnTo>
                    <a:pt x="892" y="694"/>
                  </a:lnTo>
                  <a:lnTo>
                    <a:pt x="898" y="694"/>
                  </a:lnTo>
                  <a:lnTo>
                    <a:pt x="898" y="697"/>
                  </a:lnTo>
                  <a:lnTo>
                    <a:pt x="898" y="700"/>
                  </a:lnTo>
                  <a:lnTo>
                    <a:pt x="898" y="700"/>
                  </a:lnTo>
                  <a:lnTo>
                    <a:pt x="895" y="702"/>
                  </a:lnTo>
                  <a:lnTo>
                    <a:pt x="898" y="705"/>
                  </a:lnTo>
                  <a:lnTo>
                    <a:pt x="898" y="705"/>
                  </a:lnTo>
                  <a:lnTo>
                    <a:pt x="898" y="708"/>
                  </a:lnTo>
                  <a:lnTo>
                    <a:pt x="903" y="708"/>
                  </a:lnTo>
                  <a:lnTo>
                    <a:pt x="900" y="713"/>
                  </a:lnTo>
                  <a:lnTo>
                    <a:pt x="906" y="713"/>
                  </a:lnTo>
                  <a:lnTo>
                    <a:pt x="908" y="713"/>
                  </a:lnTo>
                  <a:lnTo>
                    <a:pt x="908" y="716"/>
                  </a:lnTo>
                  <a:lnTo>
                    <a:pt x="911" y="718"/>
                  </a:lnTo>
                  <a:lnTo>
                    <a:pt x="914" y="718"/>
                  </a:lnTo>
                  <a:lnTo>
                    <a:pt x="916" y="716"/>
                  </a:lnTo>
                  <a:lnTo>
                    <a:pt x="919" y="716"/>
                  </a:lnTo>
                  <a:lnTo>
                    <a:pt x="922" y="716"/>
                  </a:lnTo>
                  <a:lnTo>
                    <a:pt x="924" y="716"/>
                  </a:lnTo>
                  <a:lnTo>
                    <a:pt x="930" y="718"/>
                  </a:lnTo>
                  <a:lnTo>
                    <a:pt x="935" y="718"/>
                  </a:lnTo>
                  <a:lnTo>
                    <a:pt x="935" y="718"/>
                  </a:lnTo>
                  <a:lnTo>
                    <a:pt x="940" y="718"/>
                  </a:lnTo>
                  <a:lnTo>
                    <a:pt x="940" y="716"/>
                  </a:lnTo>
                  <a:lnTo>
                    <a:pt x="943" y="716"/>
                  </a:lnTo>
                  <a:lnTo>
                    <a:pt x="946" y="713"/>
                  </a:lnTo>
                  <a:lnTo>
                    <a:pt x="948" y="713"/>
                  </a:lnTo>
                  <a:lnTo>
                    <a:pt x="951" y="713"/>
                  </a:lnTo>
                  <a:lnTo>
                    <a:pt x="954" y="713"/>
                  </a:lnTo>
                  <a:lnTo>
                    <a:pt x="956" y="716"/>
                  </a:lnTo>
                  <a:lnTo>
                    <a:pt x="959" y="716"/>
                  </a:lnTo>
                  <a:lnTo>
                    <a:pt x="959" y="716"/>
                  </a:lnTo>
                  <a:lnTo>
                    <a:pt x="962" y="718"/>
                  </a:lnTo>
                  <a:lnTo>
                    <a:pt x="962" y="718"/>
                  </a:lnTo>
                  <a:lnTo>
                    <a:pt x="964" y="721"/>
                  </a:lnTo>
                  <a:lnTo>
                    <a:pt x="970" y="724"/>
                  </a:lnTo>
                  <a:lnTo>
                    <a:pt x="970" y="721"/>
                  </a:lnTo>
                  <a:lnTo>
                    <a:pt x="970" y="721"/>
                  </a:lnTo>
                  <a:lnTo>
                    <a:pt x="972" y="718"/>
                  </a:lnTo>
                  <a:lnTo>
                    <a:pt x="970" y="716"/>
                  </a:lnTo>
                  <a:lnTo>
                    <a:pt x="972" y="713"/>
                  </a:lnTo>
                  <a:lnTo>
                    <a:pt x="975" y="708"/>
                  </a:lnTo>
                  <a:lnTo>
                    <a:pt x="975" y="702"/>
                  </a:lnTo>
                  <a:lnTo>
                    <a:pt x="978" y="702"/>
                  </a:lnTo>
                  <a:lnTo>
                    <a:pt x="980" y="702"/>
                  </a:lnTo>
                  <a:lnTo>
                    <a:pt x="986" y="700"/>
                  </a:lnTo>
                  <a:lnTo>
                    <a:pt x="988" y="702"/>
                  </a:lnTo>
                  <a:lnTo>
                    <a:pt x="991" y="702"/>
                  </a:lnTo>
                  <a:lnTo>
                    <a:pt x="994" y="702"/>
                  </a:lnTo>
                  <a:lnTo>
                    <a:pt x="996" y="700"/>
                  </a:lnTo>
                  <a:lnTo>
                    <a:pt x="996" y="700"/>
                  </a:lnTo>
                  <a:lnTo>
                    <a:pt x="1002" y="700"/>
                  </a:lnTo>
                  <a:lnTo>
                    <a:pt x="1004" y="697"/>
                  </a:lnTo>
                  <a:lnTo>
                    <a:pt x="1007" y="694"/>
                  </a:lnTo>
                  <a:lnTo>
                    <a:pt x="1010" y="694"/>
                  </a:lnTo>
                  <a:lnTo>
                    <a:pt x="1010" y="692"/>
                  </a:lnTo>
                  <a:lnTo>
                    <a:pt x="1010" y="689"/>
                  </a:lnTo>
                  <a:lnTo>
                    <a:pt x="1010" y="686"/>
                  </a:lnTo>
                  <a:lnTo>
                    <a:pt x="1010" y="684"/>
                  </a:lnTo>
                  <a:lnTo>
                    <a:pt x="1010" y="681"/>
                  </a:lnTo>
                  <a:lnTo>
                    <a:pt x="1012" y="678"/>
                  </a:lnTo>
                  <a:lnTo>
                    <a:pt x="1012" y="673"/>
                  </a:lnTo>
                  <a:lnTo>
                    <a:pt x="1015" y="670"/>
                  </a:lnTo>
                  <a:lnTo>
                    <a:pt x="1018" y="668"/>
                  </a:lnTo>
                  <a:lnTo>
                    <a:pt x="1018" y="665"/>
                  </a:lnTo>
                  <a:lnTo>
                    <a:pt x="1015" y="660"/>
                  </a:lnTo>
                  <a:lnTo>
                    <a:pt x="1015" y="654"/>
                  </a:lnTo>
                  <a:lnTo>
                    <a:pt x="1018" y="652"/>
                  </a:lnTo>
                  <a:lnTo>
                    <a:pt x="1020" y="652"/>
                  </a:lnTo>
                  <a:lnTo>
                    <a:pt x="1020" y="649"/>
                  </a:lnTo>
                  <a:lnTo>
                    <a:pt x="1023" y="649"/>
                  </a:lnTo>
                  <a:lnTo>
                    <a:pt x="1026" y="649"/>
                  </a:lnTo>
                  <a:lnTo>
                    <a:pt x="1028" y="649"/>
                  </a:lnTo>
                  <a:lnTo>
                    <a:pt x="1031" y="649"/>
                  </a:lnTo>
                  <a:lnTo>
                    <a:pt x="1034" y="649"/>
                  </a:lnTo>
                  <a:lnTo>
                    <a:pt x="1036" y="649"/>
                  </a:lnTo>
                  <a:lnTo>
                    <a:pt x="1036" y="646"/>
                  </a:lnTo>
                  <a:lnTo>
                    <a:pt x="1039" y="646"/>
                  </a:lnTo>
                  <a:lnTo>
                    <a:pt x="1042" y="644"/>
                  </a:lnTo>
                  <a:lnTo>
                    <a:pt x="1044" y="644"/>
                  </a:lnTo>
                  <a:lnTo>
                    <a:pt x="1044" y="644"/>
                  </a:lnTo>
                  <a:lnTo>
                    <a:pt x="1047" y="641"/>
                  </a:lnTo>
                  <a:lnTo>
                    <a:pt x="1047" y="641"/>
                  </a:lnTo>
                  <a:lnTo>
                    <a:pt x="1050" y="638"/>
                  </a:lnTo>
                  <a:lnTo>
                    <a:pt x="1050" y="638"/>
                  </a:lnTo>
                  <a:lnTo>
                    <a:pt x="1050" y="633"/>
                  </a:lnTo>
                  <a:lnTo>
                    <a:pt x="1052" y="633"/>
                  </a:lnTo>
                  <a:lnTo>
                    <a:pt x="1052" y="630"/>
                  </a:lnTo>
                  <a:lnTo>
                    <a:pt x="1055" y="630"/>
                  </a:lnTo>
                  <a:lnTo>
                    <a:pt x="1058" y="628"/>
                  </a:lnTo>
                  <a:lnTo>
                    <a:pt x="1060" y="628"/>
                  </a:lnTo>
                  <a:lnTo>
                    <a:pt x="1060" y="630"/>
                  </a:lnTo>
                  <a:lnTo>
                    <a:pt x="1063" y="630"/>
                  </a:lnTo>
                  <a:lnTo>
                    <a:pt x="1063" y="628"/>
                  </a:lnTo>
                  <a:lnTo>
                    <a:pt x="1066" y="628"/>
                  </a:lnTo>
                  <a:lnTo>
                    <a:pt x="1071" y="630"/>
                  </a:lnTo>
                  <a:lnTo>
                    <a:pt x="1076" y="633"/>
                  </a:lnTo>
                  <a:lnTo>
                    <a:pt x="1076" y="636"/>
                  </a:lnTo>
                  <a:lnTo>
                    <a:pt x="1074" y="638"/>
                  </a:lnTo>
                  <a:lnTo>
                    <a:pt x="1071" y="638"/>
                  </a:lnTo>
                  <a:lnTo>
                    <a:pt x="1068" y="641"/>
                  </a:lnTo>
                  <a:lnTo>
                    <a:pt x="1066" y="646"/>
                  </a:lnTo>
                  <a:lnTo>
                    <a:pt x="1060" y="649"/>
                  </a:lnTo>
                  <a:lnTo>
                    <a:pt x="1055" y="654"/>
                  </a:lnTo>
                  <a:lnTo>
                    <a:pt x="1055" y="657"/>
                  </a:lnTo>
                  <a:lnTo>
                    <a:pt x="1060" y="660"/>
                  </a:lnTo>
                  <a:lnTo>
                    <a:pt x="1063" y="662"/>
                  </a:lnTo>
                  <a:lnTo>
                    <a:pt x="1066" y="662"/>
                  </a:lnTo>
                  <a:lnTo>
                    <a:pt x="1068" y="660"/>
                  </a:lnTo>
                  <a:lnTo>
                    <a:pt x="1071" y="662"/>
                  </a:lnTo>
                  <a:lnTo>
                    <a:pt x="1074" y="665"/>
                  </a:lnTo>
                  <a:lnTo>
                    <a:pt x="1076" y="665"/>
                  </a:lnTo>
                  <a:lnTo>
                    <a:pt x="1082" y="665"/>
                  </a:lnTo>
                  <a:lnTo>
                    <a:pt x="1082" y="662"/>
                  </a:lnTo>
                  <a:lnTo>
                    <a:pt x="1084" y="660"/>
                  </a:lnTo>
                  <a:lnTo>
                    <a:pt x="1087" y="662"/>
                  </a:lnTo>
                  <a:lnTo>
                    <a:pt x="1090" y="662"/>
                  </a:lnTo>
                  <a:lnTo>
                    <a:pt x="1092" y="662"/>
                  </a:lnTo>
                  <a:lnTo>
                    <a:pt x="1092" y="665"/>
                  </a:lnTo>
                  <a:lnTo>
                    <a:pt x="1095" y="665"/>
                  </a:lnTo>
                  <a:lnTo>
                    <a:pt x="1098" y="665"/>
                  </a:lnTo>
                  <a:lnTo>
                    <a:pt x="1103" y="665"/>
                  </a:lnTo>
                  <a:lnTo>
                    <a:pt x="1108" y="662"/>
                  </a:lnTo>
                  <a:lnTo>
                    <a:pt x="1108" y="662"/>
                  </a:lnTo>
                  <a:lnTo>
                    <a:pt x="1111" y="665"/>
                  </a:lnTo>
                  <a:lnTo>
                    <a:pt x="1111" y="665"/>
                  </a:lnTo>
                  <a:lnTo>
                    <a:pt x="1114" y="662"/>
                  </a:lnTo>
                  <a:lnTo>
                    <a:pt x="1117" y="660"/>
                  </a:lnTo>
                  <a:lnTo>
                    <a:pt x="1119" y="660"/>
                  </a:lnTo>
                  <a:lnTo>
                    <a:pt x="1122" y="660"/>
                  </a:lnTo>
                  <a:lnTo>
                    <a:pt x="1122" y="657"/>
                  </a:lnTo>
                  <a:lnTo>
                    <a:pt x="1122" y="657"/>
                  </a:lnTo>
                  <a:lnTo>
                    <a:pt x="1125" y="654"/>
                  </a:lnTo>
                  <a:lnTo>
                    <a:pt x="1127" y="654"/>
                  </a:lnTo>
                  <a:lnTo>
                    <a:pt x="1130" y="649"/>
                  </a:lnTo>
                  <a:lnTo>
                    <a:pt x="1133" y="644"/>
                  </a:lnTo>
                  <a:lnTo>
                    <a:pt x="1133" y="641"/>
                  </a:lnTo>
                  <a:lnTo>
                    <a:pt x="1135" y="641"/>
                  </a:lnTo>
                  <a:lnTo>
                    <a:pt x="1135" y="641"/>
                  </a:lnTo>
                  <a:lnTo>
                    <a:pt x="1135" y="644"/>
                  </a:lnTo>
                  <a:lnTo>
                    <a:pt x="1138" y="646"/>
                  </a:lnTo>
                  <a:lnTo>
                    <a:pt x="1141" y="646"/>
                  </a:lnTo>
                  <a:lnTo>
                    <a:pt x="1143" y="649"/>
                  </a:lnTo>
                  <a:lnTo>
                    <a:pt x="1143" y="646"/>
                  </a:lnTo>
                  <a:lnTo>
                    <a:pt x="1146" y="644"/>
                  </a:lnTo>
                  <a:lnTo>
                    <a:pt x="1146" y="638"/>
                  </a:lnTo>
                  <a:lnTo>
                    <a:pt x="1143" y="636"/>
                  </a:lnTo>
                  <a:lnTo>
                    <a:pt x="1143" y="636"/>
                  </a:lnTo>
                  <a:lnTo>
                    <a:pt x="1146" y="633"/>
                  </a:lnTo>
                  <a:lnTo>
                    <a:pt x="1149" y="630"/>
                  </a:lnTo>
                  <a:lnTo>
                    <a:pt x="1146" y="622"/>
                  </a:lnTo>
                  <a:lnTo>
                    <a:pt x="1146" y="620"/>
                  </a:lnTo>
                  <a:lnTo>
                    <a:pt x="1143" y="620"/>
                  </a:lnTo>
                  <a:lnTo>
                    <a:pt x="1143" y="620"/>
                  </a:lnTo>
                  <a:lnTo>
                    <a:pt x="1143" y="617"/>
                  </a:lnTo>
                  <a:lnTo>
                    <a:pt x="1141" y="617"/>
                  </a:lnTo>
                  <a:lnTo>
                    <a:pt x="1146" y="609"/>
                  </a:lnTo>
                  <a:lnTo>
                    <a:pt x="1146" y="604"/>
                  </a:lnTo>
                  <a:lnTo>
                    <a:pt x="1146" y="601"/>
                  </a:lnTo>
                  <a:lnTo>
                    <a:pt x="1146" y="598"/>
                  </a:lnTo>
                  <a:lnTo>
                    <a:pt x="1143" y="598"/>
                  </a:lnTo>
                  <a:lnTo>
                    <a:pt x="1143" y="598"/>
                  </a:lnTo>
                  <a:lnTo>
                    <a:pt x="1141" y="598"/>
                  </a:lnTo>
                  <a:lnTo>
                    <a:pt x="1138" y="598"/>
                  </a:lnTo>
                  <a:lnTo>
                    <a:pt x="1135" y="598"/>
                  </a:lnTo>
                  <a:lnTo>
                    <a:pt x="1138" y="601"/>
                  </a:lnTo>
                  <a:lnTo>
                    <a:pt x="1135" y="604"/>
                  </a:lnTo>
                  <a:lnTo>
                    <a:pt x="1133" y="606"/>
                  </a:lnTo>
                  <a:lnTo>
                    <a:pt x="1130" y="606"/>
                  </a:lnTo>
                  <a:lnTo>
                    <a:pt x="1130" y="601"/>
                  </a:lnTo>
                  <a:lnTo>
                    <a:pt x="1130" y="598"/>
                  </a:lnTo>
                  <a:lnTo>
                    <a:pt x="1127" y="601"/>
                  </a:lnTo>
                  <a:lnTo>
                    <a:pt x="1125" y="601"/>
                  </a:lnTo>
                  <a:lnTo>
                    <a:pt x="1122" y="598"/>
                  </a:lnTo>
                  <a:lnTo>
                    <a:pt x="1122" y="593"/>
                  </a:lnTo>
                  <a:lnTo>
                    <a:pt x="1122" y="590"/>
                  </a:lnTo>
                  <a:lnTo>
                    <a:pt x="1119" y="590"/>
                  </a:lnTo>
                  <a:lnTo>
                    <a:pt x="1119" y="590"/>
                  </a:lnTo>
                  <a:lnTo>
                    <a:pt x="1117" y="590"/>
                  </a:lnTo>
                  <a:lnTo>
                    <a:pt x="1117" y="587"/>
                  </a:lnTo>
                  <a:lnTo>
                    <a:pt x="1117" y="587"/>
                  </a:lnTo>
                  <a:lnTo>
                    <a:pt x="1114" y="582"/>
                  </a:lnTo>
                  <a:lnTo>
                    <a:pt x="1117" y="582"/>
                  </a:lnTo>
                  <a:lnTo>
                    <a:pt x="1117" y="579"/>
                  </a:lnTo>
                  <a:lnTo>
                    <a:pt x="1114" y="579"/>
                  </a:lnTo>
                  <a:lnTo>
                    <a:pt x="1114" y="574"/>
                  </a:lnTo>
                  <a:lnTo>
                    <a:pt x="1111" y="574"/>
                  </a:lnTo>
                  <a:lnTo>
                    <a:pt x="1111" y="574"/>
                  </a:lnTo>
                  <a:lnTo>
                    <a:pt x="1108" y="574"/>
                  </a:lnTo>
                  <a:lnTo>
                    <a:pt x="1108" y="574"/>
                  </a:lnTo>
                  <a:lnTo>
                    <a:pt x="1106" y="574"/>
                  </a:lnTo>
                  <a:lnTo>
                    <a:pt x="1106" y="574"/>
                  </a:lnTo>
                  <a:lnTo>
                    <a:pt x="1103" y="571"/>
                  </a:lnTo>
                  <a:lnTo>
                    <a:pt x="1106" y="566"/>
                  </a:lnTo>
                  <a:lnTo>
                    <a:pt x="1106" y="566"/>
                  </a:lnTo>
                  <a:lnTo>
                    <a:pt x="1100" y="561"/>
                  </a:lnTo>
                  <a:lnTo>
                    <a:pt x="1100" y="558"/>
                  </a:lnTo>
                  <a:lnTo>
                    <a:pt x="1100" y="555"/>
                  </a:lnTo>
                  <a:lnTo>
                    <a:pt x="1100" y="553"/>
                  </a:lnTo>
                  <a:lnTo>
                    <a:pt x="1103" y="553"/>
                  </a:lnTo>
                  <a:lnTo>
                    <a:pt x="1106" y="553"/>
                  </a:lnTo>
                  <a:lnTo>
                    <a:pt x="1108" y="553"/>
                  </a:lnTo>
                  <a:lnTo>
                    <a:pt x="1111" y="550"/>
                  </a:lnTo>
                  <a:lnTo>
                    <a:pt x="1108" y="547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11" y="545"/>
                  </a:lnTo>
                  <a:lnTo>
                    <a:pt x="1108" y="542"/>
                  </a:lnTo>
                  <a:lnTo>
                    <a:pt x="1108" y="539"/>
                  </a:lnTo>
                  <a:lnTo>
                    <a:pt x="1108" y="537"/>
                  </a:lnTo>
                  <a:lnTo>
                    <a:pt x="1108" y="537"/>
                  </a:lnTo>
                  <a:lnTo>
                    <a:pt x="1108" y="537"/>
                  </a:lnTo>
                  <a:lnTo>
                    <a:pt x="1108" y="534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8" y="526"/>
                  </a:lnTo>
                  <a:lnTo>
                    <a:pt x="1106" y="523"/>
                  </a:lnTo>
                  <a:lnTo>
                    <a:pt x="1108" y="521"/>
                  </a:lnTo>
                  <a:lnTo>
                    <a:pt x="1111" y="521"/>
                  </a:lnTo>
                  <a:lnTo>
                    <a:pt x="1114" y="521"/>
                  </a:lnTo>
                  <a:lnTo>
                    <a:pt x="1114" y="518"/>
                  </a:lnTo>
                  <a:lnTo>
                    <a:pt x="1114" y="518"/>
                  </a:lnTo>
                  <a:lnTo>
                    <a:pt x="1111" y="513"/>
                  </a:lnTo>
                  <a:lnTo>
                    <a:pt x="1111" y="513"/>
                  </a:lnTo>
                  <a:lnTo>
                    <a:pt x="1111" y="510"/>
                  </a:lnTo>
                  <a:lnTo>
                    <a:pt x="1108" y="507"/>
                  </a:lnTo>
                  <a:lnTo>
                    <a:pt x="1106" y="507"/>
                  </a:lnTo>
                  <a:lnTo>
                    <a:pt x="1108" y="499"/>
                  </a:lnTo>
                  <a:lnTo>
                    <a:pt x="1111" y="497"/>
                  </a:lnTo>
                  <a:lnTo>
                    <a:pt x="1111" y="497"/>
                  </a:lnTo>
                  <a:lnTo>
                    <a:pt x="1111" y="494"/>
                  </a:lnTo>
                  <a:lnTo>
                    <a:pt x="1114" y="494"/>
                  </a:lnTo>
                  <a:lnTo>
                    <a:pt x="1117" y="494"/>
                  </a:lnTo>
                  <a:lnTo>
                    <a:pt x="1119" y="491"/>
                  </a:lnTo>
                  <a:lnTo>
                    <a:pt x="1122" y="489"/>
                  </a:lnTo>
                  <a:lnTo>
                    <a:pt x="1122" y="491"/>
                  </a:lnTo>
                  <a:lnTo>
                    <a:pt x="1122" y="491"/>
                  </a:lnTo>
                  <a:lnTo>
                    <a:pt x="1125" y="491"/>
                  </a:lnTo>
                  <a:lnTo>
                    <a:pt x="1125" y="491"/>
                  </a:lnTo>
                  <a:lnTo>
                    <a:pt x="1127" y="491"/>
                  </a:lnTo>
                  <a:lnTo>
                    <a:pt x="1130" y="489"/>
                  </a:lnTo>
                  <a:lnTo>
                    <a:pt x="1130" y="491"/>
                  </a:lnTo>
                  <a:lnTo>
                    <a:pt x="1130" y="491"/>
                  </a:lnTo>
                  <a:lnTo>
                    <a:pt x="1133" y="494"/>
                  </a:lnTo>
                  <a:lnTo>
                    <a:pt x="1135" y="491"/>
                  </a:lnTo>
                  <a:lnTo>
                    <a:pt x="1135" y="491"/>
                  </a:lnTo>
                  <a:lnTo>
                    <a:pt x="1138" y="489"/>
                  </a:lnTo>
                  <a:lnTo>
                    <a:pt x="1141" y="489"/>
                  </a:lnTo>
                  <a:lnTo>
                    <a:pt x="1141" y="489"/>
                  </a:lnTo>
                  <a:lnTo>
                    <a:pt x="1143" y="489"/>
                  </a:lnTo>
                  <a:lnTo>
                    <a:pt x="1146" y="491"/>
                  </a:lnTo>
                  <a:lnTo>
                    <a:pt x="1149" y="494"/>
                  </a:lnTo>
                  <a:lnTo>
                    <a:pt x="1151" y="497"/>
                  </a:lnTo>
                  <a:lnTo>
                    <a:pt x="1154" y="497"/>
                  </a:lnTo>
                  <a:lnTo>
                    <a:pt x="1157" y="497"/>
                  </a:lnTo>
                  <a:lnTo>
                    <a:pt x="1157" y="499"/>
                  </a:lnTo>
                  <a:lnTo>
                    <a:pt x="1159" y="502"/>
                  </a:lnTo>
                  <a:lnTo>
                    <a:pt x="1159" y="499"/>
                  </a:lnTo>
                  <a:lnTo>
                    <a:pt x="1162" y="499"/>
                  </a:lnTo>
                  <a:lnTo>
                    <a:pt x="1165" y="502"/>
                  </a:lnTo>
                  <a:lnTo>
                    <a:pt x="1167" y="502"/>
                  </a:lnTo>
                  <a:lnTo>
                    <a:pt x="1173" y="502"/>
                  </a:lnTo>
                  <a:lnTo>
                    <a:pt x="1173" y="499"/>
                  </a:lnTo>
                  <a:lnTo>
                    <a:pt x="1175" y="497"/>
                  </a:lnTo>
                  <a:lnTo>
                    <a:pt x="1175" y="497"/>
                  </a:lnTo>
                  <a:lnTo>
                    <a:pt x="1178" y="497"/>
                  </a:lnTo>
                  <a:lnTo>
                    <a:pt x="1178" y="494"/>
                  </a:lnTo>
                  <a:lnTo>
                    <a:pt x="1181" y="494"/>
                  </a:lnTo>
                  <a:lnTo>
                    <a:pt x="1181" y="494"/>
                  </a:lnTo>
                  <a:lnTo>
                    <a:pt x="1183" y="491"/>
                  </a:lnTo>
                  <a:lnTo>
                    <a:pt x="1183" y="491"/>
                  </a:lnTo>
                  <a:lnTo>
                    <a:pt x="1186" y="491"/>
                  </a:lnTo>
                  <a:lnTo>
                    <a:pt x="1191" y="491"/>
                  </a:lnTo>
                  <a:lnTo>
                    <a:pt x="1191" y="489"/>
                  </a:lnTo>
                  <a:lnTo>
                    <a:pt x="1191" y="486"/>
                  </a:lnTo>
                  <a:lnTo>
                    <a:pt x="1191" y="483"/>
                  </a:lnTo>
                  <a:lnTo>
                    <a:pt x="1191" y="483"/>
                  </a:lnTo>
                  <a:lnTo>
                    <a:pt x="1191" y="483"/>
                  </a:lnTo>
                  <a:lnTo>
                    <a:pt x="1189" y="481"/>
                  </a:lnTo>
                  <a:lnTo>
                    <a:pt x="1189" y="481"/>
                  </a:lnTo>
                  <a:lnTo>
                    <a:pt x="1186" y="481"/>
                  </a:lnTo>
                  <a:lnTo>
                    <a:pt x="1186" y="478"/>
                  </a:lnTo>
                  <a:lnTo>
                    <a:pt x="1186" y="475"/>
                  </a:lnTo>
                  <a:lnTo>
                    <a:pt x="1186" y="473"/>
                  </a:lnTo>
                  <a:lnTo>
                    <a:pt x="1186" y="470"/>
                  </a:lnTo>
                  <a:lnTo>
                    <a:pt x="1186" y="467"/>
                  </a:lnTo>
                  <a:lnTo>
                    <a:pt x="1186" y="467"/>
                  </a:lnTo>
                  <a:lnTo>
                    <a:pt x="1186" y="467"/>
                  </a:lnTo>
                  <a:lnTo>
                    <a:pt x="1186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3" y="465"/>
                  </a:lnTo>
                  <a:lnTo>
                    <a:pt x="1181" y="465"/>
                  </a:lnTo>
                  <a:lnTo>
                    <a:pt x="1181" y="465"/>
                  </a:lnTo>
                  <a:lnTo>
                    <a:pt x="1178" y="465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8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5" y="462"/>
                  </a:lnTo>
                  <a:lnTo>
                    <a:pt x="1173" y="462"/>
                  </a:lnTo>
                  <a:lnTo>
                    <a:pt x="1173" y="462"/>
                  </a:lnTo>
                  <a:lnTo>
                    <a:pt x="1173" y="462"/>
                  </a:lnTo>
                  <a:lnTo>
                    <a:pt x="1170" y="462"/>
                  </a:lnTo>
                  <a:lnTo>
                    <a:pt x="1170" y="459"/>
                  </a:lnTo>
                  <a:lnTo>
                    <a:pt x="1167" y="459"/>
                  </a:lnTo>
                  <a:lnTo>
                    <a:pt x="1167" y="459"/>
                  </a:lnTo>
                  <a:lnTo>
                    <a:pt x="1167" y="459"/>
                  </a:lnTo>
                  <a:lnTo>
                    <a:pt x="1165" y="459"/>
                  </a:lnTo>
                  <a:lnTo>
                    <a:pt x="1165" y="457"/>
                  </a:lnTo>
                  <a:lnTo>
                    <a:pt x="1165" y="454"/>
                  </a:lnTo>
                  <a:lnTo>
                    <a:pt x="1165" y="451"/>
                  </a:lnTo>
                  <a:lnTo>
                    <a:pt x="1165" y="451"/>
                  </a:lnTo>
                  <a:lnTo>
                    <a:pt x="1165" y="449"/>
                  </a:lnTo>
                  <a:lnTo>
                    <a:pt x="1167" y="446"/>
                  </a:lnTo>
                  <a:lnTo>
                    <a:pt x="1165" y="446"/>
                  </a:lnTo>
                  <a:lnTo>
                    <a:pt x="1165" y="443"/>
                  </a:lnTo>
                  <a:lnTo>
                    <a:pt x="1165" y="443"/>
                  </a:lnTo>
                  <a:lnTo>
                    <a:pt x="1165" y="441"/>
                  </a:lnTo>
                  <a:lnTo>
                    <a:pt x="1165" y="441"/>
                  </a:lnTo>
                  <a:lnTo>
                    <a:pt x="1165" y="438"/>
                  </a:lnTo>
                  <a:lnTo>
                    <a:pt x="1165" y="438"/>
                  </a:lnTo>
                  <a:lnTo>
                    <a:pt x="1165" y="435"/>
                  </a:lnTo>
                  <a:lnTo>
                    <a:pt x="1162" y="435"/>
                  </a:lnTo>
                  <a:lnTo>
                    <a:pt x="1162" y="435"/>
                  </a:lnTo>
                  <a:lnTo>
                    <a:pt x="1159" y="432"/>
                  </a:lnTo>
                  <a:lnTo>
                    <a:pt x="1157" y="432"/>
                  </a:lnTo>
                  <a:lnTo>
                    <a:pt x="1157" y="430"/>
                  </a:lnTo>
                  <a:lnTo>
                    <a:pt x="1154" y="430"/>
                  </a:lnTo>
                  <a:lnTo>
                    <a:pt x="1154" y="427"/>
                  </a:lnTo>
                  <a:lnTo>
                    <a:pt x="1157" y="427"/>
                  </a:lnTo>
                  <a:lnTo>
                    <a:pt x="1157" y="427"/>
                  </a:lnTo>
                  <a:lnTo>
                    <a:pt x="1157" y="427"/>
                  </a:lnTo>
                  <a:lnTo>
                    <a:pt x="1159" y="427"/>
                  </a:lnTo>
                  <a:lnTo>
                    <a:pt x="1159" y="424"/>
                  </a:lnTo>
                  <a:lnTo>
                    <a:pt x="1162" y="424"/>
                  </a:lnTo>
                  <a:lnTo>
                    <a:pt x="1159" y="422"/>
                  </a:lnTo>
                  <a:lnTo>
                    <a:pt x="1159" y="422"/>
                  </a:lnTo>
                  <a:lnTo>
                    <a:pt x="1157" y="419"/>
                  </a:lnTo>
                  <a:lnTo>
                    <a:pt x="1157" y="416"/>
                  </a:lnTo>
                  <a:lnTo>
                    <a:pt x="1157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4" y="416"/>
                  </a:lnTo>
                  <a:lnTo>
                    <a:pt x="1151" y="416"/>
                  </a:lnTo>
                  <a:lnTo>
                    <a:pt x="1151" y="419"/>
                  </a:lnTo>
                  <a:lnTo>
                    <a:pt x="1151" y="419"/>
                  </a:lnTo>
                  <a:lnTo>
                    <a:pt x="1151" y="419"/>
                  </a:lnTo>
                  <a:lnTo>
                    <a:pt x="1149" y="416"/>
                  </a:lnTo>
                  <a:lnTo>
                    <a:pt x="1149" y="416"/>
                  </a:lnTo>
                  <a:lnTo>
                    <a:pt x="1151" y="416"/>
                  </a:lnTo>
                  <a:lnTo>
                    <a:pt x="1151" y="414"/>
                  </a:lnTo>
                  <a:lnTo>
                    <a:pt x="1149" y="414"/>
                  </a:lnTo>
                  <a:lnTo>
                    <a:pt x="1149" y="414"/>
                  </a:lnTo>
                  <a:lnTo>
                    <a:pt x="1149" y="411"/>
                  </a:lnTo>
                  <a:lnTo>
                    <a:pt x="1149" y="411"/>
                  </a:lnTo>
                  <a:lnTo>
                    <a:pt x="1146" y="408"/>
                  </a:lnTo>
                  <a:lnTo>
                    <a:pt x="1146" y="408"/>
                  </a:lnTo>
                  <a:lnTo>
                    <a:pt x="1146" y="406"/>
                  </a:lnTo>
                  <a:lnTo>
                    <a:pt x="1146" y="406"/>
                  </a:lnTo>
                  <a:lnTo>
                    <a:pt x="1146" y="406"/>
                  </a:lnTo>
                  <a:lnTo>
                    <a:pt x="1143" y="406"/>
                  </a:lnTo>
                  <a:lnTo>
                    <a:pt x="1146" y="403"/>
                  </a:lnTo>
                  <a:lnTo>
                    <a:pt x="1146" y="403"/>
                  </a:lnTo>
                  <a:lnTo>
                    <a:pt x="1146" y="400"/>
                  </a:lnTo>
                  <a:lnTo>
                    <a:pt x="1146" y="400"/>
                  </a:lnTo>
                  <a:lnTo>
                    <a:pt x="1146" y="398"/>
                  </a:lnTo>
                  <a:lnTo>
                    <a:pt x="1146" y="398"/>
                  </a:lnTo>
                  <a:lnTo>
                    <a:pt x="1149" y="398"/>
                  </a:lnTo>
                  <a:lnTo>
                    <a:pt x="1149" y="398"/>
                  </a:lnTo>
                  <a:lnTo>
                    <a:pt x="1149" y="395"/>
                  </a:lnTo>
                  <a:lnTo>
                    <a:pt x="1149" y="395"/>
                  </a:lnTo>
                  <a:lnTo>
                    <a:pt x="1149" y="395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2"/>
                  </a:lnTo>
                  <a:lnTo>
                    <a:pt x="1149" y="390"/>
                  </a:lnTo>
                  <a:lnTo>
                    <a:pt x="1149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6" y="390"/>
                  </a:lnTo>
                  <a:lnTo>
                    <a:pt x="1143" y="387"/>
                  </a:lnTo>
                  <a:lnTo>
                    <a:pt x="1143" y="384"/>
                  </a:lnTo>
                  <a:lnTo>
                    <a:pt x="1143" y="382"/>
                  </a:lnTo>
                  <a:lnTo>
                    <a:pt x="1143" y="382"/>
                  </a:lnTo>
                  <a:lnTo>
                    <a:pt x="1143" y="382"/>
                  </a:lnTo>
                  <a:lnTo>
                    <a:pt x="1141" y="382"/>
                  </a:lnTo>
                  <a:lnTo>
                    <a:pt x="1141" y="382"/>
                  </a:lnTo>
                  <a:lnTo>
                    <a:pt x="1122" y="376"/>
                  </a:lnTo>
                  <a:lnTo>
                    <a:pt x="1122" y="376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4"/>
                  </a:lnTo>
                  <a:lnTo>
                    <a:pt x="1119" y="371"/>
                  </a:lnTo>
                  <a:lnTo>
                    <a:pt x="1119" y="371"/>
                  </a:lnTo>
                  <a:lnTo>
                    <a:pt x="1119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71"/>
                  </a:lnTo>
                  <a:lnTo>
                    <a:pt x="1117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68"/>
                  </a:lnTo>
                  <a:lnTo>
                    <a:pt x="1114" y="371"/>
                  </a:lnTo>
                  <a:lnTo>
                    <a:pt x="1111" y="371"/>
                  </a:lnTo>
                  <a:lnTo>
                    <a:pt x="1111" y="371"/>
                  </a:lnTo>
                  <a:lnTo>
                    <a:pt x="1111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1"/>
                  </a:lnTo>
                  <a:lnTo>
                    <a:pt x="1108" y="374"/>
                  </a:lnTo>
                  <a:lnTo>
                    <a:pt x="1106" y="374"/>
                  </a:lnTo>
                  <a:lnTo>
                    <a:pt x="1106" y="371"/>
                  </a:lnTo>
                  <a:lnTo>
                    <a:pt x="1103" y="371"/>
                  </a:lnTo>
                  <a:lnTo>
                    <a:pt x="1103" y="374"/>
                  </a:lnTo>
                  <a:lnTo>
                    <a:pt x="1103" y="374"/>
                  </a:lnTo>
                  <a:lnTo>
                    <a:pt x="1103" y="374"/>
                  </a:lnTo>
                  <a:lnTo>
                    <a:pt x="1103" y="376"/>
                  </a:lnTo>
                  <a:lnTo>
                    <a:pt x="1103" y="376"/>
                  </a:lnTo>
                  <a:lnTo>
                    <a:pt x="1106" y="376"/>
                  </a:lnTo>
                  <a:lnTo>
                    <a:pt x="1106" y="376"/>
                  </a:lnTo>
                  <a:lnTo>
                    <a:pt x="1103" y="376"/>
                  </a:lnTo>
                  <a:lnTo>
                    <a:pt x="1103" y="379"/>
                  </a:lnTo>
                  <a:lnTo>
                    <a:pt x="1103" y="379"/>
                  </a:lnTo>
                  <a:lnTo>
                    <a:pt x="1103" y="379"/>
                  </a:lnTo>
                  <a:lnTo>
                    <a:pt x="1100" y="379"/>
                  </a:lnTo>
                  <a:lnTo>
                    <a:pt x="1100" y="379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2"/>
                  </a:lnTo>
                  <a:lnTo>
                    <a:pt x="1100" y="384"/>
                  </a:lnTo>
                  <a:lnTo>
                    <a:pt x="1100" y="384"/>
                  </a:lnTo>
                  <a:lnTo>
                    <a:pt x="1103" y="384"/>
                  </a:lnTo>
                  <a:lnTo>
                    <a:pt x="1103" y="387"/>
                  </a:lnTo>
                  <a:lnTo>
                    <a:pt x="1103" y="387"/>
                  </a:lnTo>
                  <a:lnTo>
                    <a:pt x="1103" y="387"/>
                  </a:lnTo>
                  <a:lnTo>
                    <a:pt x="1100" y="387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100" y="390"/>
                  </a:lnTo>
                  <a:lnTo>
                    <a:pt x="1098" y="390"/>
                  </a:lnTo>
                  <a:lnTo>
                    <a:pt x="1098" y="390"/>
                  </a:lnTo>
                  <a:lnTo>
                    <a:pt x="1098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095" y="387"/>
                  </a:lnTo>
                  <a:lnTo>
                    <a:pt x="1095" y="387"/>
                  </a:lnTo>
                  <a:lnTo>
                    <a:pt x="1095" y="387"/>
                  </a:lnTo>
                  <a:lnTo>
                    <a:pt x="1095" y="384"/>
                  </a:lnTo>
                  <a:lnTo>
                    <a:pt x="1092" y="384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0" y="382"/>
                  </a:lnTo>
                  <a:lnTo>
                    <a:pt x="1090" y="382"/>
                  </a:lnTo>
                  <a:lnTo>
                    <a:pt x="1090" y="382"/>
                  </a:lnTo>
                  <a:lnTo>
                    <a:pt x="1090" y="384"/>
                  </a:lnTo>
                  <a:lnTo>
                    <a:pt x="1087" y="384"/>
                  </a:lnTo>
                  <a:lnTo>
                    <a:pt x="1087" y="384"/>
                  </a:lnTo>
                  <a:lnTo>
                    <a:pt x="1087" y="384"/>
                  </a:lnTo>
                  <a:lnTo>
                    <a:pt x="1087" y="387"/>
                  </a:lnTo>
                  <a:lnTo>
                    <a:pt x="1084" y="387"/>
                  </a:lnTo>
                  <a:lnTo>
                    <a:pt x="1084" y="387"/>
                  </a:lnTo>
                  <a:lnTo>
                    <a:pt x="1084" y="387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4" y="390"/>
                  </a:lnTo>
                  <a:lnTo>
                    <a:pt x="1082" y="390"/>
                  </a:lnTo>
                  <a:lnTo>
                    <a:pt x="1082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9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6" y="390"/>
                  </a:lnTo>
                  <a:lnTo>
                    <a:pt x="1074" y="390"/>
                  </a:lnTo>
                  <a:lnTo>
                    <a:pt x="1074" y="390"/>
                  </a:lnTo>
                  <a:lnTo>
                    <a:pt x="1074" y="392"/>
                  </a:lnTo>
                  <a:lnTo>
                    <a:pt x="1071" y="392"/>
                  </a:lnTo>
                  <a:lnTo>
                    <a:pt x="1071" y="392"/>
                  </a:lnTo>
                  <a:lnTo>
                    <a:pt x="1071" y="392"/>
                  </a:lnTo>
                  <a:lnTo>
                    <a:pt x="1068" y="392"/>
                  </a:lnTo>
                  <a:lnTo>
                    <a:pt x="1066" y="392"/>
                  </a:lnTo>
                  <a:lnTo>
                    <a:pt x="1068" y="392"/>
                  </a:lnTo>
                  <a:lnTo>
                    <a:pt x="1066" y="392"/>
                  </a:lnTo>
                  <a:lnTo>
                    <a:pt x="1066" y="392"/>
                  </a:lnTo>
                  <a:lnTo>
                    <a:pt x="1063" y="392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0" y="390"/>
                  </a:lnTo>
                  <a:lnTo>
                    <a:pt x="1060" y="387"/>
                  </a:lnTo>
                  <a:lnTo>
                    <a:pt x="1060" y="387"/>
                  </a:lnTo>
                  <a:lnTo>
                    <a:pt x="1060" y="384"/>
                  </a:lnTo>
                  <a:lnTo>
                    <a:pt x="1060" y="384"/>
                  </a:lnTo>
                  <a:lnTo>
                    <a:pt x="1060" y="384"/>
                  </a:lnTo>
                  <a:lnTo>
                    <a:pt x="1060" y="382"/>
                  </a:lnTo>
                  <a:lnTo>
                    <a:pt x="1060" y="382"/>
                  </a:lnTo>
                  <a:lnTo>
                    <a:pt x="1060" y="382"/>
                  </a:lnTo>
                  <a:lnTo>
                    <a:pt x="1060" y="379"/>
                  </a:lnTo>
                  <a:lnTo>
                    <a:pt x="1060" y="379"/>
                  </a:lnTo>
                  <a:lnTo>
                    <a:pt x="1060" y="376"/>
                  </a:lnTo>
                  <a:lnTo>
                    <a:pt x="1060" y="376"/>
                  </a:lnTo>
                  <a:lnTo>
                    <a:pt x="1058" y="376"/>
                  </a:lnTo>
                  <a:lnTo>
                    <a:pt x="1058" y="374"/>
                  </a:lnTo>
                  <a:lnTo>
                    <a:pt x="1060" y="374"/>
                  </a:lnTo>
                  <a:lnTo>
                    <a:pt x="1058" y="374"/>
                  </a:lnTo>
                  <a:lnTo>
                    <a:pt x="1058" y="371"/>
                  </a:lnTo>
                  <a:lnTo>
                    <a:pt x="1058" y="371"/>
                  </a:lnTo>
                  <a:lnTo>
                    <a:pt x="1058" y="368"/>
                  </a:lnTo>
                  <a:lnTo>
                    <a:pt x="1055" y="368"/>
                  </a:lnTo>
                  <a:lnTo>
                    <a:pt x="1055" y="366"/>
                  </a:lnTo>
                  <a:lnTo>
                    <a:pt x="1055" y="366"/>
                  </a:lnTo>
                  <a:lnTo>
                    <a:pt x="1055" y="366"/>
                  </a:lnTo>
                  <a:lnTo>
                    <a:pt x="1055" y="363"/>
                  </a:lnTo>
                  <a:lnTo>
                    <a:pt x="1055" y="363"/>
                  </a:lnTo>
                  <a:lnTo>
                    <a:pt x="1055" y="360"/>
                  </a:lnTo>
                  <a:lnTo>
                    <a:pt x="1055" y="360"/>
                  </a:lnTo>
                  <a:lnTo>
                    <a:pt x="1052" y="360"/>
                  </a:lnTo>
                  <a:lnTo>
                    <a:pt x="1052" y="360"/>
                  </a:lnTo>
                  <a:lnTo>
                    <a:pt x="1050" y="360"/>
                  </a:lnTo>
                  <a:lnTo>
                    <a:pt x="1050" y="358"/>
                  </a:lnTo>
                  <a:lnTo>
                    <a:pt x="1047" y="355"/>
                  </a:lnTo>
                  <a:lnTo>
                    <a:pt x="1050" y="355"/>
                  </a:lnTo>
                  <a:lnTo>
                    <a:pt x="1050" y="355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0" y="352"/>
                  </a:lnTo>
                  <a:lnTo>
                    <a:pt x="1052" y="352"/>
                  </a:lnTo>
                  <a:lnTo>
                    <a:pt x="1052" y="352"/>
                  </a:lnTo>
                  <a:lnTo>
                    <a:pt x="1052" y="352"/>
                  </a:lnTo>
                  <a:lnTo>
                    <a:pt x="1052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50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7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5" y="344"/>
                  </a:lnTo>
                  <a:lnTo>
                    <a:pt x="1058" y="344"/>
                  </a:lnTo>
                  <a:lnTo>
                    <a:pt x="1058" y="344"/>
                  </a:lnTo>
                  <a:lnTo>
                    <a:pt x="1058" y="342"/>
                  </a:lnTo>
                  <a:lnTo>
                    <a:pt x="1058" y="342"/>
                  </a:lnTo>
                  <a:lnTo>
                    <a:pt x="1058" y="342"/>
                  </a:lnTo>
                  <a:lnTo>
                    <a:pt x="1058" y="339"/>
                  </a:lnTo>
                  <a:lnTo>
                    <a:pt x="1055" y="339"/>
                  </a:lnTo>
                  <a:lnTo>
                    <a:pt x="1052" y="339"/>
                  </a:lnTo>
                  <a:lnTo>
                    <a:pt x="1052" y="339"/>
                  </a:lnTo>
                  <a:lnTo>
                    <a:pt x="1052" y="339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0" y="342"/>
                  </a:lnTo>
                  <a:lnTo>
                    <a:pt x="1050" y="342"/>
                  </a:lnTo>
                  <a:lnTo>
                    <a:pt x="1050" y="342"/>
                  </a:lnTo>
                  <a:lnTo>
                    <a:pt x="1047" y="344"/>
                  </a:lnTo>
                  <a:lnTo>
                    <a:pt x="1047" y="344"/>
                  </a:lnTo>
                  <a:lnTo>
                    <a:pt x="1044" y="344"/>
                  </a:lnTo>
                  <a:lnTo>
                    <a:pt x="1044" y="344"/>
                  </a:lnTo>
                  <a:lnTo>
                    <a:pt x="1044" y="344"/>
                  </a:lnTo>
                  <a:lnTo>
                    <a:pt x="1042" y="344"/>
                  </a:lnTo>
                  <a:lnTo>
                    <a:pt x="1042" y="344"/>
                  </a:lnTo>
                  <a:lnTo>
                    <a:pt x="1042" y="342"/>
                  </a:lnTo>
                  <a:lnTo>
                    <a:pt x="1042" y="342"/>
                  </a:lnTo>
                  <a:lnTo>
                    <a:pt x="1042" y="339"/>
                  </a:lnTo>
                  <a:lnTo>
                    <a:pt x="1042" y="339"/>
                  </a:lnTo>
                  <a:lnTo>
                    <a:pt x="1042" y="339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9" y="336"/>
                  </a:lnTo>
                  <a:lnTo>
                    <a:pt x="1039" y="334"/>
                  </a:lnTo>
                  <a:lnTo>
                    <a:pt x="1036" y="334"/>
                  </a:lnTo>
                  <a:lnTo>
                    <a:pt x="1036" y="334"/>
                  </a:lnTo>
                  <a:lnTo>
                    <a:pt x="1036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1" y="331"/>
                  </a:lnTo>
                  <a:lnTo>
                    <a:pt x="1031" y="328"/>
                  </a:lnTo>
                  <a:lnTo>
                    <a:pt x="1031" y="328"/>
                  </a:lnTo>
                  <a:lnTo>
                    <a:pt x="1028" y="328"/>
                  </a:lnTo>
                  <a:lnTo>
                    <a:pt x="1028" y="328"/>
                  </a:lnTo>
                  <a:lnTo>
                    <a:pt x="1028" y="328"/>
                  </a:lnTo>
                  <a:lnTo>
                    <a:pt x="1026" y="328"/>
                  </a:lnTo>
                  <a:lnTo>
                    <a:pt x="1026" y="328"/>
                  </a:lnTo>
                  <a:lnTo>
                    <a:pt x="1026" y="326"/>
                  </a:lnTo>
                  <a:lnTo>
                    <a:pt x="1026" y="326"/>
                  </a:lnTo>
                  <a:lnTo>
                    <a:pt x="1026" y="326"/>
                  </a:lnTo>
                  <a:lnTo>
                    <a:pt x="1023" y="323"/>
                  </a:lnTo>
                  <a:lnTo>
                    <a:pt x="1023" y="323"/>
                  </a:lnTo>
                  <a:lnTo>
                    <a:pt x="1023" y="323"/>
                  </a:lnTo>
                  <a:lnTo>
                    <a:pt x="1020" y="323"/>
                  </a:lnTo>
                  <a:lnTo>
                    <a:pt x="1020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8" y="323"/>
                  </a:lnTo>
                  <a:lnTo>
                    <a:pt x="1015" y="323"/>
                  </a:lnTo>
                  <a:lnTo>
                    <a:pt x="1015" y="323"/>
                  </a:lnTo>
                  <a:lnTo>
                    <a:pt x="1015" y="320"/>
                  </a:lnTo>
                  <a:lnTo>
                    <a:pt x="1015" y="320"/>
                  </a:lnTo>
                  <a:lnTo>
                    <a:pt x="1015" y="320"/>
                  </a:lnTo>
                  <a:lnTo>
                    <a:pt x="1012" y="318"/>
                  </a:lnTo>
                  <a:lnTo>
                    <a:pt x="1012" y="318"/>
                  </a:lnTo>
                  <a:lnTo>
                    <a:pt x="1010" y="318"/>
                  </a:lnTo>
                  <a:lnTo>
                    <a:pt x="1010" y="318"/>
                  </a:lnTo>
                  <a:lnTo>
                    <a:pt x="1010" y="318"/>
                  </a:lnTo>
                  <a:lnTo>
                    <a:pt x="1007" y="318"/>
                  </a:lnTo>
                  <a:lnTo>
                    <a:pt x="1007" y="318"/>
                  </a:lnTo>
                  <a:lnTo>
                    <a:pt x="1007" y="318"/>
                  </a:lnTo>
                  <a:lnTo>
                    <a:pt x="1004" y="320"/>
                  </a:lnTo>
                  <a:lnTo>
                    <a:pt x="1004" y="320"/>
                  </a:lnTo>
                  <a:lnTo>
                    <a:pt x="1004" y="320"/>
                  </a:lnTo>
                  <a:lnTo>
                    <a:pt x="1002" y="323"/>
                  </a:lnTo>
                  <a:lnTo>
                    <a:pt x="1002" y="323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1002" y="320"/>
                  </a:lnTo>
                  <a:lnTo>
                    <a:pt x="999" y="318"/>
                  </a:lnTo>
                  <a:lnTo>
                    <a:pt x="999" y="318"/>
                  </a:lnTo>
                  <a:lnTo>
                    <a:pt x="996" y="318"/>
                  </a:lnTo>
                  <a:lnTo>
                    <a:pt x="996" y="318"/>
                  </a:lnTo>
                  <a:lnTo>
                    <a:pt x="996" y="318"/>
                  </a:lnTo>
                  <a:lnTo>
                    <a:pt x="996" y="320"/>
                  </a:lnTo>
                  <a:lnTo>
                    <a:pt x="996" y="320"/>
                  </a:lnTo>
                  <a:lnTo>
                    <a:pt x="994" y="320"/>
                  </a:lnTo>
                  <a:lnTo>
                    <a:pt x="994" y="320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4" y="318"/>
                  </a:lnTo>
                  <a:lnTo>
                    <a:pt x="991" y="315"/>
                  </a:lnTo>
                  <a:lnTo>
                    <a:pt x="991" y="315"/>
                  </a:lnTo>
                  <a:lnTo>
                    <a:pt x="988" y="315"/>
                  </a:lnTo>
                  <a:lnTo>
                    <a:pt x="988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6" y="315"/>
                  </a:lnTo>
                  <a:lnTo>
                    <a:pt x="983" y="315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0" y="318"/>
                  </a:lnTo>
                  <a:lnTo>
                    <a:pt x="980" y="318"/>
                  </a:lnTo>
                  <a:lnTo>
                    <a:pt x="980" y="318"/>
                  </a:lnTo>
                  <a:lnTo>
                    <a:pt x="980" y="315"/>
                  </a:lnTo>
                  <a:lnTo>
                    <a:pt x="978" y="315"/>
                  </a:lnTo>
                  <a:lnTo>
                    <a:pt x="978" y="315"/>
                  </a:lnTo>
                  <a:lnTo>
                    <a:pt x="978" y="315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8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5" y="312"/>
                  </a:lnTo>
                  <a:lnTo>
                    <a:pt x="972" y="312"/>
                  </a:lnTo>
                  <a:lnTo>
                    <a:pt x="972" y="312"/>
                  </a:lnTo>
                  <a:lnTo>
                    <a:pt x="970" y="312"/>
                  </a:lnTo>
                  <a:lnTo>
                    <a:pt x="970" y="310"/>
                  </a:lnTo>
                  <a:lnTo>
                    <a:pt x="970" y="310"/>
                  </a:lnTo>
                  <a:lnTo>
                    <a:pt x="967" y="310"/>
                  </a:lnTo>
                  <a:lnTo>
                    <a:pt x="967" y="310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7" y="312"/>
                  </a:lnTo>
                  <a:lnTo>
                    <a:pt x="964" y="312"/>
                  </a:lnTo>
                  <a:lnTo>
                    <a:pt x="964" y="312"/>
                  </a:lnTo>
                  <a:lnTo>
                    <a:pt x="964" y="312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62" y="315"/>
                  </a:lnTo>
                  <a:lnTo>
                    <a:pt x="959" y="318"/>
                  </a:lnTo>
                  <a:lnTo>
                    <a:pt x="959" y="318"/>
                  </a:lnTo>
                  <a:lnTo>
                    <a:pt x="956" y="318"/>
                  </a:lnTo>
                  <a:lnTo>
                    <a:pt x="956" y="320"/>
                  </a:lnTo>
                  <a:lnTo>
                    <a:pt x="954" y="320"/>
                  </a:lnTo>
                  <a:lnTo>
                    <a:pt x="954" y="320"/>
                  </a:lnTo>
                  <a:lnTo>
                    <a:pt x="954" y="323"/>
                  </a:lnTo>
                  <a:lnTo>
                    <a:pt x="954" y="323"/>
                  </a:lnTo>
                  <a:lnTo>
                    <a:pt x="951" y="323"/>
                  </a:lnTo>
                  <a:lnTo>
                    <a:pt x="951" y="320"/>
                  </a:lnTo>
                  <a:lnTo>
                    <a:pt x="951" y="320"/>
                  </a:lnTo>
                  <a:lnTo>
                    <a:pt x="948" y="320"/>
                  </a:lnTo>
                  <a:lnTo>
                    <a:pt x="948" y="323"/>
                  </a:lnTo>
                  <a:lnTo>
                    <a:pt x="948" y="323"/>
                  </a:lnTo>
                  <a:lnTo>
                    <a:pt x="946" y="323"/>
                  </a:lnTo>
                  <a:lnTo>
                    <a:pt x="946" y="323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6" y="326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31"/>
                  </a:lnTo>
                  <a:lnTo>
                    <a:pt x="943" y="336"/>
                  </a:lnTo>
                  <a:lnTo>
                    <a:pt x="946" y="342"/>
                  </a:lnTo>
                  <a:lnTo>
                    <a:pt x="943" y="342"/>
                  </a:lnTo>
                  <a:lnTo>
                    <a:pt x="943" y="344"/>
                  </a:lnTo>
                  <a:lnTo>
                    <a:pt x="943" y="344"/>
                  </a:lnTo>
                  <a:lnTo>
                    <a:pt x="943" y="344"/>
                  </a:lnTo>
                  <a:lnTo>
                    <a:pt x="943" y="347"/>
                  </a:lnTo>
                  <a:lnTo>
                    <a:pt x="943" y="350"/>
                  </a:lnTo>
                  <a:lnTo>
                    <a:pt x="940" y="350"/>
                  </a:lnTo>
                  <a:lnTo>
                    <a:pt x="940" y="350"/>
                  </a:lnTo>
                  <a:lnTo>
                    <a:pt x="940" y="352"/>
                  </a:lnTo>
                  <a:lnTo>
                    <a:pt x="940" y="352"/>
                  </a:lnTo>
                  <a:lnTo>
                    <a:pt x="938" y="352"/>
                  </a:lnTo>
                  <a:lnTo>
                    <a:pt x="938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5" y="352"/>
                  </a:lnTo>
                  <a:lnTo>
                    <a:pt x="932" y="352"/>
                  </a:lnTo>
                  <a:lnTo>
                    <a:pt x="932" y="352"/>
                  </a:lnTo>
                  <a:lnTo>
                    <a:pt x="932" y="352"/>
                  </a:lnTo>
                  <a:lnTo>
                    <a:pt x="930" y="355"/>
                  </a:lnTo>
                  <a:lnTo>
                    <a:pt x="930" y="355"/>
                  </a:lnTo>
                  <a:lnTo>
                    <a:pt x="930" y="355"/>
                  </a:lnTo>
                  <a:lnTo>
                    <a:pt x="927" y="358"/>
                  </a:lnTo>
                  <a:lnTo>
                    <a:pt x="927" y="358"/>
                  </a:lnTo>
                  <a:lnTo>
                    <a:pt x="927" y="358"/>
                  </a:lnTo>
                  <a:lnTo>
                    <a:pt x="927" y="360"/>
                  </a:lnTo>
                  <a:lnTo>
                    <a:pt x="927" y="360"/>
                  </a:lnTo>
                  <a:lnTo>
                    <a:pt x="927" y="360"/>
                  </a:lnTo>
                  <a:lnTo>
                    <a:pt x="924" y="363"/>
                  </a:lnTo>
                  <a:lnTo>
                    <a:pt x="924" y="363"/>
                  </a:lnTo>
                  <a:lnTo>
                    <a:pt x="924" y="363"/>
                  </a:lnTo>
                  <a:lnTo>
                    <a:pt x="924" y="366"/>
                  </a:lnTo>
                  <a:lnTo>
                    <a:pt x="924" y="366"/>
                  </a:lnTo>
                  <a:lnTo>
                    <a:pt x="924" y="366"/>
                  </a:lnTo>
                  <a:lnTo>
                    <a:pt x="922" y="368"/>
                  </a:lnTo>
                  <a:lnTo>
                    <a:pt x="924" y="368"/>
                  </a:lnTo>
                  <a:lnTo>
                    <a:pt x="924" y="368"/>
                  </a:lnTo>
                  <a:lnTo>
                    <a:pt x="922" y="371"/>
                  </a:lnTo>
                  <a:lnTo>
                    <a:pt x="922" y="371"/>
                  </a:lnTo>
                  <a:lnTo>
                    <a:pt x="922" y="374"/>
                  </a:lnTo>
                  <a:lnTo>
                    <a:pt x="922" y="374"/>
                  </a:lnTo>
                  <a:lnTo>
                    <a:pt x="922" y="374"/>
                  </a:lnTo>
                  <a:lnTo>
                    <a:pt x="924" y="376"/>
                  </a:lnTo>
                  <a:lnTo>
                    <a:pt x="924" y="374"/>
                  </a:lnTo>
                  <a:lnTo>
                    <a:pt x="924" y="374"/>
                  </a:lnTo>
                  <a:lnTo>
                    <a:pt x="927" y="374"/>
                  </a:lnTo>
                  <a:lnTo>
                    <a:pt x="927" y="376"/>
                  </a:lnTo>
                  <a:lnTo>
                    <a:pt x="927" y="376"/>
                  </a:lnTo>
                  <a:lnTo>
                    <a:pt x="927" y="379"/>
                  </a:lnTo>
                  <a:lnTo>
                    <a:pt x="924" y="379"/>
                  </a:lnTo>
                  <a:lnTo>
                    <a:pt x="924" y="379"/>
                  </a:lnTo>
                  <a:lnTo>
                    <a:pt x="924" y="379"/>
                  </a:lnTo>
                  <a:lnTo>
                    <a:pt x="922" y="382"/>
                  </a:lnTo>
                  <a:lnTo>
                    <a:pt x="922" y="382"/>
                  </a:lnTo>
                  <a:lnTo>
                    <a:pt x="922" y="382"/>
                  </a:lnTo>
                  <a:lnTo>
                    <a:pt x="919" y="384"/>
                  </a:lnTo>
                  <a:lnTo>
                    <a:pt x="919" y="384"/>
                  </a:lnTo>
                  <a:lnTo>
                    <a:pt x="919" y="387"/>
                  </a:lnTo>
                  <a:lnTo>
                    <a:pt x="919" y="387"/>
                  </a:lnTo>
                  <a:lnTo>
                    <a:pt x="919" y="387"/>
                  </a:lnTo>
                  <a:lnTo>
                    <a:pt x="916" y="387"/>
                  </a:lnTo>
                  <a:lnTo>
                    <a:pt x="916" y="390"/>
                  </a:lnTo>
                  <a:lnTo>
                    <a:pt x="916" y="390"/>
                  </a:lnTo>
                  <a:lnTo>
                    <a:pt x="916" y="392"/>
                  </a:lnTo>
                  <a:lnTo>
                    <a:pt x="914" y="392"/>
                  </a:lnTo>
                  <a:lnTo>
                    <a:pt x="914" y="392"/>
                  </a:lnTo>
                  <a:lnTo>
                    <a:pt x="914" y="395"/>
                  </a:lnTo>
                  <a:lnTo>
                    <a:pt x="914" y="395"/>
                  </a:lnTo>
                  <a:lnTo>
                    <a:pt x="914" y="395"/>
                  </a:lnTo>
                  <a:lnTo>
                    <a:pt x="914" y="398"/>
                  </a:lnTo>
                  <a:lnTo>
                    <a:pt x="914" y="398"/>
                  </a:lnTo>
                  <a:lnTo>
                    <a:pt x="914" y="398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0"/>
                  </a:lnTo>
                  <a:lnTo>
                    <a:pt x="914" y="403"/>
                  </a:lnTo>
                  <a:lnTo>
                    <a:pt x="914" y="403"/>
                  </a:lnTo>
                  <a:lnTo>
                    <a:pt x="914" y="406"/>
                  </a:lnTo>
                  <a:lnTo>
                    <a:pt x="914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11" y="406"/>
                  </a:lnTo>
                  <a:lnTo>
                    <a:pt x="908" y="406"/>
                  </a:lnTo>
                  <a:lnTo>
                    <a:pt x="908" y="406"/>
                  </a:lnTo>
                  <a:lnTo>
                    <a:pt x="908" y="406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08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6" y="411"/>
                  </a:lnTo>
                  <a:lnTo>
                    <a:pt x="903" y="411"/>
                  </a:lnTo>
                  <a:lnTo>
                    <a:pt x="903" y="411"/>
                  </a:lnTo>
                  <a:lnTo>
                    <a:pt x="903" y="414"/>
                  </a:lnTo>
                  <a:lnTo>
                    <a:pt x="903" y="414"/>
                  </a:lnTo>
                  <a:lnTo>
                    <a:pt x="900" y="414"/>
                  </a:lnTo>
                  <a:lnTo>
                    <a:pt x="900" y="414"/>
                  </a:lnTo>
                  <a:lnTo>
                    <a:pt x="900" y="416"/>
                  </a:lnTo>
                  <a:lnTo>
                    <a:pt x="898" y="416"/>
                  </a:lnTo>
                  <a:lnTo>
                    <a:pt x="900" y="416"/>
                  </a:lnTo>
                  <a:lnTo>
                    <a:pt x="900" y="416"/>
                  </a:lnTo>
                  <a:lnTo>
                    <a:pt x="898" y="416"/>
                  </a:lnTo>
                  <a:lnTo>
                    <a:pt x="898" y="419"/>
                  </a:lnTo>
                  <a:lnTo>
                    <a:pt x="898" y="419"/>
                  </a:lnTo>
                  <a:lnTo>
                    <a:pt x="898" y="422"/>
                  </a:lnTo>
                  <a:lnTo>
                    <a:pt x="898" y="422"/>
                  </a:lnTo>
                  <a:lnTo>
                    <a:pt x="895" y="422"/>
                  </a:lnTo>
                  <a:lnTo>
                    <a:pt x="895" y="422"/>
                  </a:lnTo>
                  <a:lnTo>
                    <a:pt x="892" y="424"/>
                  </a:lnTo>
                  <a:lnTo>
                    <a:pt x="892" y="424"/>
                  </a:lnTo>
                  <a:lnTo>
                    <a:pt x="892" y="424"/>
                  </a:lnTo>
                  <a:lnTo>
                    <a:pt x="890" y="424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90" y="427"/>
                  </a:lnTo>
                  <a:lnTo>
                    <a:pt x="887" y="430"/>
                  </a:lnTo>
                  <a:lnTo>
                    <a:pt x="887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0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2"/>
                  </a:lnTo>
                  <a:lnTo>
                    <a:pt x="890" y="435"/>
                  </a:lnTo>
                  <a:lnTo>
                    <a:pt x="890" y="435"/>
                  </a:lnTo>
                  <a:lnTo>
                    <a:pt x="890" y="435"/>
                  </a:lnTo>
                  <a:lnTo>
                    <a:pt x="890" y="438"/>
                  </a:lnTo>
                  <a:lnTo>
                    <a:pt x="890" y="438"/>
                  </a:lnTo>
                  <a:lnTo>
                    <a:pt x="890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7" y="441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3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6"/>
                  </a:lnTo>
                  <a:lnTo>
                    <a:pt x="884" y="449"/>
                  </a:lnTo>
                  <a:lnTo>
                    <a:pt x="884" y="449"/>
                  </a:lnTo>
                  <a:lnTo>
                    <a:pt x="884" y="451"/>
                  </a:lnTo>
                  <a:lnTo>
                    <a:pt x="884" y="451"/>
                  </a:lnTo>
                  <a:lnTo>
                    <a:pt x="884" y="451"/>
                  </a:lnTo>
                  <a:lnTo>
                    <a:pt x="887" y="451"/>
                  </a:lnTo>
                  <a:lnTo>
                    <a:pt x="887" y="451"/>
                  </a:lnTo>
                  <a:lnTo>
                    <a:pt x="887" y="451"/>
                  </a:lnTo>
                  <a:lnTo>
                    <a:pt x="890" y="451"/>
                  </a:lnTo>
                  <a:lnTo>
                    <a:pt x="890" y="454"/>
                  </a:lnTo>
                  <a:lnTo>
                    <a:pt x="890" y="454"/>
                  </a:lnTo>
                  <a:lnTo>
                    <a:pt x="890" y="454"/>
                  </a:lnTo>
                  <a:lnTo>
                    <a:pt x="887" y="457"/>
                  </a:lnTo>
                  <a:lnTo>
                    <a:pt x="887" y="457"/>
                  </a:lnTo>
                  <a:lnTo>
                    <a:pt x="887" y="457"/>
                  </a:lnTo>
                  <a:lnTo>
                    <a:pt x="887" y="459"/>
                  </a:lnTo>
                  <a:lnTo>
                    <a:pt x="887" y="459"/>
                  </a:lnTo>
                  <a:lnTo>
                    <a:pt x="890" y="459"/>
                  </a:lnTo>
                  <a:lnTo>
                    <a:pt x="890" y="459"/>
                  </a:lnTo>
                  <a:lnTo>
                    <a:pt x="890" y="459"/>
                  </a:lnTo>
                  <a:lnTo>
                    <a:pt x="890" y="462"/>
                  </a:lnTo>
                  <a:lnTo>
                    <a:pt x="890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2"/>
                  </a:lnTo>
                  <a:lnTo>
                    <a:pt x="887" y="465"/>
                  </a:lnTo>
                  <a:lnTo>
                    <a:pt x="887" y="465"/>
                  </a:lnTo>
                  <a:lnTo>
                    <a:pt x="887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4" y="467"/>
                  </a:lnTo>
                  <a:lnTo>
                    <a:pt x="882" y="467"/>
                  </a:lnTo>
                  <a:lnTo>
                    <a:pt x="882" y="470"/>
                  </a:lnTo>
                  <a:lnTo>
                    <a:pt x="882" y="470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9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6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3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4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5"/>
                  </a:lnTo>
                  <a:lnTo>
                    <a:pt x="871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8" y="478"/>
                  </a:lnTo>
                  <a:lnTo>
                    <a:pt x="865" y="478"/>
                  </a:lnTo>
                  <a:lnTo>
                    <a:pt x="863" y="478"/>
                  </a:lnTo>
                  <a:lnTo>
                    <a:pt x="863" y="481"/>
                  </a:lnTo>
                  <a:lnTo>
                    <a:pt x="863" y="481"/>
                  </a:lnTo>
                  <a:lnTo>
                    <a:pt x="863" y="481"/>
                  </a:lnTo>
                  <a:lnTo>
                    <a:pt x="863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3"/>
                  </a:lnTo>
                  <a:lnTo>
                    <a:pt x="860" y="486"/>
                  </a:lnTo>
                  <a:lnTo>
                    <a:pt x="857" y="489"/>
                  </a:lnTo>
                  <a:lnTo>
                    <a:pt x="857" y="489"/>
                  </a:lnTo>
                  <a:lnTo>
                    <a:pt x="860" y="489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7" y="491"/>
                  </a:lnTo>
                  <a:lnTo>
                    <a:pt x="855" y="491"/>
                  </a:lnTo>
                  <a:lnTo>
                    <a:pt x="855" y="491"/>
                  </a:lnTo>
                  <a:lnTo>
                    <a:pt x="855" y="494"/>
                  </a:lnTo>
                  <a:lnTo>
                    <a:pt x="852" y="494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52" y="491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9"/>
                  </a:lnTo>
                  <a:lnTo>
                    <a:pt x="849" y="486"/>
                  </a:lnTo>
                  <a:lnTo>
                    <a:pt x="849" y="486"/>
                  </a:lnTo>
                  <a:lnTo>
                    <a:pt x="849" y="489"/>
                  </a:lnTo>
                  <a:lnTo>
                    <a:pt x="849" y="497"/>
                  </a:lnTo>
                  <a:lnTo>
                    <a:pt x="849" y="499"/>
                  </a:lnTo>
                  <a:lnTo>
                    <a:pt x="847" y="499"/>
                  </a:lnTo>
                  <a:lnTo>
                    <a:pt x="847" y="502"/>
                  </a:lnTo>
                  <a:lnTo>
                    <a:pt x="847" y="502"/>
                  </a:lnTo>
                  <a:lnTo>
                    <a:pt x="847" y="502"/>
                  </a:lnTo>
                  <a:lnTo>
                    <a:pt x="849" y="505"/>
                  </a:lnTo>
                  <a:lnTo>
                    <a:pt x="847" y="505"/>
                  </a:lnTo>
                  <a:lnTo>
                    <a:pt x="847" y="505"/>
                  </a:lnTo>
                  <a:lnTo>
                    <a:pt x="847" y="507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4" y="507"/>
                  </a:lnTo>
                  <a:lnTo>
                    <a:pt x="844" y="507"/>
                  </a:lnTo>
                  <a:lnTo>
                    <a:pt x="844" y="505"/>
                  </a:lnTo>
                  <a:lnTo>
                    <a:pt x="844" y="502"/>
                  </a:lnTo>
                  <a:lnTo>
                    <a:pt x="841" y="502"/>
                  </a:lnTo>
                  <a:lnTo>
                    <a:pt x="841" y="502"/>
                  </a:lnTo>
                  <a:lnTo>
                    <a:pt x="841" y="499"/>
                  </a:lnTo>
                  <a:lnTo>
                    <a:pt x="841" y="497"/>
                  </a:lnTo>
                  <a:lnTo>
                    <a:pt x="844" y="497"/>
                  </a:lnTo>
                  <a:lnTo>
                    <a:pt x="841" y="497"/>
                  </a:lnTo>
                  <a:lnTo>
                    <a:pt x="841" y="494"/>
                  </a:lnTo>
                  <a:lnTo>
                    <a:pt x="841" y="491"/>
                  </a:lnTo>
                  <a:lnTo>
                    <a:pt x="841" y="491"/>
                  </a:lnTo>
                  <a:lnTo>
                    <a:pt x="841" y="489"/>
                  </a:lnTo>
                  <a:lnTo>
                    <a:pt x="841" y="489"/>
                  </a:lnTo>
                  <a:lnTo>
                    <a:pt x="839" y="486"/>
                  </a:lnTo>
                  <a:lnTo>
                    <a:pt x="841" y="483"/>
                  </a:lnTo>
                  <a:lnTo>
                    <a:pt x="841" y="483"/>
                  </a:lnTo>
                  <a:lnTo>
                    <a:pt x="841" y="481"/>
                  </a:lnTo>
                  <a:lnTo>
                    <a:pt x="839" y="481"/>
                  </a:lnTo>
                  <a:lnTo>
                    <a:pt x="841" y="478"/>
                  </a:lnTo>
                  <a:lnTo>
                    <a:pt x="841" y="478"/>
                  </a:lnTo>
                  <a:lnTo>
                    <a:pt x="844" y="475"/>
                  </a:lnTo>
                  <a:lnTo>
                    <a:pt x="844" y="473"/>
                  </a:lnTo>
                  <a:lnTo>
                    <a:pt x="847" y="470"/>
                  </a:lnTo>
                  <a:lnTo>
                    <a:pt x="847" y="470"/>
                  </a:lnTo>
                  <a:lnTo>
                    <a:pt x="847" y="470"/>
                  </a:lnTo>
                  <a:lnTo>
                    <a:pt x="847" y="467"/>
                  </a:lnTo>
                  <a:lnTo>
                    <a:pt x="847" y="467"/>
                  </a:lnTo>
                  <a:lnTo>
                    <a:pt x="849" y="465"/>
                  </a:lnTo>
                  <a:lnTo>
                    <a:pt x="847" y="462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1" y="462"/>
                  </a:lnTo>
                  <a:lnTo>
                    <a:pt x="839" y="465"/>
                  </a:lnTo>
                  <a:lnTo>
                    <a:pt x="839" y="465"/>
                  </a:lnTo>
                  <a:lnTo>
                    <a:pt x="836" y="465"/>
                  </a:lnTo>
                  <a:lnTo>
                    <a:pt x="836" y="465"/>
                  </a:lnTo>
                  <a:lnTo>
                    <a:pt x="836" y="465"/>
                  </a:lnTo>
                  <a:lnTo>
                    <a:pt x="833" y="465"/>
                  </a:lnTo>
                  <a:lnTo>
                    <a:pt x="833" y="467"/>
                  </a:lnTo>
                  <a:lnTo>
                    <a:pt x="833" y="467"/>
                  </a:lnTo>
                  <a:lnTo>
                    <a:pt x="831" y="467"/>
                  </a:lnTo>
                  <a:lnTo>
                    <a:pt x="831" y="467"/>
                  </a:lnTo>
                  <a:lnTo>
                    <a:pt x="831" y="465"/>
                  </a:lnTo>
                  <a:lnTo>
                    <a:pt x="831" y="465"/>
                  </a:lnTo>
                  <a:lnTo>
                    <a:pt x="831" y="462"/>
                  </a:lnTo>
                  <a:lnTo>
                    <a:pt x="831" y="462"/>
                  </a:lnTo>
                  <a:lnTo>
                    <a:pt x="828" y="462"/>
                  </a:lnTo>
                  <a:lnTo>
                    <a:pt x="828" y="459"/>
                  </a:lnTo>
                  <a:lnTo>
                    <a:pt x="828" y="459"/>
                  </a:lnTo>
                  <a:lnTo>
                    <a:pt x="828" y="457"/>
                  </a:lnTo>
                  <a:lnTo>
                    <a:pt x="828" y="454"/>
                  </a:lnTo>
                  <a:lnTo>
                    <a:pt x="828" y="454"/>
                  </a:lnTo>
                  <a:lnTo>
                    <a:pt x="828" y="451"/>
                  </a:lnTo>
                  <a:lnTo>
                    <a:pt x="825" y="451"/>
                  </a:lnTo>
                  <a:lnTo>
                    <a:pt x="825" y="449"/>
                  </a:lnTo>
                  <a:lnTo>
                    <a:pt x="825" y="449"/>
                  </a:lnTo>
                  <a:lnTo>
                    <a:pt x="825" y="446"/>
                  </a:lnTo>
                  <a:lnTo>
                    <a:pt x="825" y="449"/>
                  </a:lnTo>
                  <a:lnTo>
                    <a:pt x="823" y="449"/>
                  </a:lnTo>
                  <a:lnTo>
                    <a:pt x="823" y="451"/>
                  </a:lnTo>
                  <a:lnTo>
                    <a:pt x="820" y="454"/>
                  </a:lnTo>
                  <a:lnTo>
                    <a:pt x="820" y="454"/>
                  </a:lnTo>
                  <a:lnTo>
                    <a:pt x="817" y="454"/>
                  </a:lnTo>
                  <a:lnTo>
                    <a:pt x="817" y="457"/>
                  </a:lnTo>
                  <a:lnTo>
                    <a:pt x="817" y="457"/>
                  </a:lnTo>
                  <a:lnTo>
                    <a:pt x="817" y="459"/>
                  </a:lnTo>
                  <a:lnTo>
                    <a:pt x="817" y="459"/>
                  </a:lnTo>
                  <a:lnTo>
                    <a:pt x="817" y="459"/>
                  </a:lnTo>
                  <a:lnTo>
                    <a:pt x="817" y="462"/>
                  </a:lnTo>
                  <a:lnTo>
                    <a:pt x="817" y="462"/>
                  </a:lnTo>
                  <a:lnTo>
                    <a:pt x="817" y="465"/>
                  </a:lnTo>
                  <a:lnTo>
                    <a:pt x="817" y="465"/>
                  </a:lnTo>
                  <a:lnTo>
                    <a:pt x="815" y="465"/>
                  </a:lnTo>
                  <a:lnTo>
                    <a:pt x="815" y="467"/>
                  </a:lnTo>
                  <a:lnTo>
                    <a:pt x="815" y="467"/>
                  </a:lnTo>
                  <a:lnTo>
                    <a:pt x="812" y="470"/>
                  </a:lnTo>
                  <a:lnTo>
                    <a:pt x="815" y="470"/>
                  </a:lnTo>
                  <a:lnTo>
                    <a:pt x="815" y="473"/>
                  </a:lnTo>
                  <a:lnTo>
                    <a:pt x="815" y="473"/>
                  </a:lnTo>
                  <a:lnTo>
                    <a:pt x="815" y="475"/>
                  </a:lnTo>
                  <a:lnTo>
                    <a:pt x="812" y="475"/>
                  </a:lnTo>
                  <a:lnTo>
                    <a:pt x="812" y="475"/>
                  </a:lnTo>
                  <a:lnTo>
                    <a:pt x="812" y="475"/>
                  </a:lnTo>
                  <a:lnTo>
                    <a:pt x="809" y="475"/>
                  </a:lnTo>
                  <a:lnTo>
                    <a:pt x="807" y="475"/>
                  </a:lnTo>
                  <a:lnTo>
                    <a:pt x="807" y="475"/>
                  </a:lnTo>
                  <a:lnTo>
                    <a:pt x="807" y="475"/>
                  </a:lnTo>
                  <a:lnTo>
                    <a:pt x="804" y="478"/>
                  </a:lnTo>
                  <a:lnTo>
                    <a:pt x="804" y="478"/>
                  </a:lnTo>
                  <a:lnTo>
                    <a:pt x="801" y="478"/>
                  </a:lnTo>
                  <a:lnTo>
                    <a:pt x="801" y="481"/>
                  </a:lnTo>
                  <a:lnTo>
                    <a:pt x="799" y="483"/>
                  </a:lnTo>
                  <a:lnTo>
                    <a:pt x="799" y="483"/>
                  </a:lnTo>
                  <a:lnTo>
                    <a:pt x="799" y="483"/>
                  </a:lnTo>
                  <a:lnTo>
                    <a:pt x="796" y="483"/>
                  </a:lnTo>
                  <a:lnTo>
                    <a:pt x="796" y="483"/>
                  </a:lnTo>
                  <a:close/>
                </a:path>
              </a:pathLst>
            </a:custGeom>
            <a:grpFill/>
            <a:ln w="793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8" name="Freeform 8727">
              <a:extLst>
                <a:ext uri="{FF2B5EF4-FFF2-40B4-BE49-F238E27FC236}">
                  <a16:creationId xmlns:a16="http://schemas.microsoft.com/office/drawing/2014/main" id="{59553937-2EE3-EE4F-8A90-1D48F756A615}"/>
                </a:ext>
              </a:extLst>
            </p:cNvPr>
            <p:cNvSpPr/>
            <p:nvPr/>
          </p:nvSpPr>
          <p:spPr bwMode="auto">
            <a:xfrm>
              <a:off x="5718966" y="2924177"/>
              <a:ext cx="7938" cy="17463"/>
            </a:xfrm>
            <a:custGeom>
              <a:avLst/>
              <a:gdLst>
                <a:gd name="T0" fmla="*/ 0 w 5"/>
                <a:gd name="T1" fmla="*/ 0 h 11"/>
                <a:gd name="T2" fmla="*/ 0 w 5"/>
                <a:gd name="T3" fmla="*/ 3 h 11"/>
                <a:gd name="T4" fmla="*/ 0 w 5"/>
                <a:gd name="T5" fmla="*/ 3 h 11"/>
                <a:gd name="T6" fmla="*/ 0 w 5"/>
                <a:gd name="T7" fmla="*/ 6 h 11"/>
                <a:gd name="T8" fmla="*/ 0 w 5"/>
                <a:gd name="T9" fmla="*/ 6 h 11"/>
                <a:gd name="T10" fmla="*/ 0 w 5"/>
                <a:gd name="T11" fmla="*/ 8 h 11"/>
                <a:gd name="T12" fmla="*/ 0 w 5"/>
                <a:gd name="T13" fmla="*/ 8 h 11"/>
                <a:gd name="T14" fmla="*/ 3 w 5"/>
                <a:gd name="T15" fmla="*/ 11 h 11"/>
                <a:gd name="T16" fmla="*/ 3 w 5"/>
                <a:gd name="T17" fmla="*/ 8 h 11"/>
                <a:gd name="T18" fmla="*/ 5 w 5"/>
                <a:gd name="T19" fmla="*/ 8 h 11"/>
                <a:gd name="T20" fmla="*/ 5 w 5"/>
                <a:gd name="T21" fmla="*/ 8 h 11"/>
                <a:gd name="T22" fmla="*/ 5 w 5"/>
                <a:gd name="T23" fmla="*/ 8 h 11"/>
                <a:gd name="T24" fmla="*/ 5 w 5"/>
                <a:gd name="T25" fmla="*/ 8 h 11"/>
                <a:gd name="T26" fmla="*/ 5 w 5"/>
                <a:gd name="T27" fmla="*/ 8 h 11"/>
                <a:gd name="T28" fmla="*/ 5 w 5"/>
                <a:gd name="T29" fmla="*/ 6 h 11"/>
                <a:gd name="T30" fmla="*/ 3 w 5"/>
                <a:gd name="T31" fmla="*/ 6 h 11"/>
                <a:gd name="T32" fmla="*/ 3 w 5"/>
                <a:gd name="T33" fmla="*/ 6 h 11"/>
                <a:gd name="T34" fmla="*/ 3 w 5"/>
                <a:gd name="T35" fmla="*/ 6 h 11"/>
                <a:gd name="T36" fmla="*/ 3 w 5"/>
                <a:gd name="T37" fmla="*/ 3 h 11"/>
                <a:gd name="T38" fmla="*/ 0 w 5"/>
                <a:gd name="T39" fmla="*/ 3 h 11"/>
                <a:gd name="T40" fmla="*/ 0 w 5"/>
                <a:gd name="T41" fmla="*/ 3 h 11"/>
                <a:gd name="T42" fmla="*/ 0 w 5"/>
                <a:gd name="T43" fmla="*/ 3 h 11"/>
                <a:gd name="T44" fmla="*/ 0 w 5"/>
                <a:gd name="T45" fmla="*/ 3 h 11"/>
                <a:gd name="T46" fmla="*/ 0 w 5"/>
                <a:gd name="T47" fmla="*/ 3 h 11"/>
                <a:gd name="T48" fmla="*/ 0 w 5"/>
                <a:gd name="T4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" h="11" extrusionOk="0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89" name="Freeform 8728">
              <a:extLst>
                <a:ext uri="{FF2B5EF4-FFF2-40B4-BE49-F238E27FC236}">
                  <a16:creationId xmlns:a16="http://schemas.microsoft.com/office/drawing/2014/main" id="{FD8A9007-DDEC-4644-A476-3E7ACEB17784}"/>
                </a:ext>
              </a:extLst>
            </p:cNvPr>
            <p:cNvSpPr/>
            <p:nvPr/>
          </p:nvSpPr>
          <p:spPr bwMode="auto">
            <a:xfrm>
              <a:off x="5676104" y="2882902"/>
              <a:ext cx="22225" cy="25400"/>
            </a:xfrm>
            <a:custGeom>
              <a:avLst/>
              <a:gdLst>
                <a:gd name="T0" fmla="*/ 3 w 14"/>
                <a:gd name="T1" fmla="*/ 0 h 16"/>
                <a:gd name="T2" fmla="*/ 3 w 14"/>
                <a:gd name="T3" fmla="*/ 2 h 16"/>
                <a:gd name="T4" fmla="*/ 3 w 14"/>
                <a:gd name="T5" fmla="*/ 2 h 16"/>
                <a:gd name="T6" fmla="*/ 3 w 14"/>
                <a:gd name="T7" fmla="*/ 2 h 16"/>
                <a:gd name="T8" fmla="*/ 3 w 14"/>
                <a:gd name="T9" fmla="*/ 5 h 16"/>
                <a:gd name="T10" fmla="*/ 3 w 14"/>
                <a:gd name="T11" fmla="*/ 5 h 16"/>
                <a:gd name="T12" fmla="*/ 3 w 14"/>
                <a:gd name="T13" fmla="*/ 5 h 16"/>
                <a:gd name="T14" fmla="*/ 3 w 14"/>
                <a:gd name="T15" fmla="*/ 8 h 16"/>
                <a:gd name="T16" fmla="*/ 0 w 14"/>
                <a:gd name="T17" fmla="*/ 8 h 16"/>
                <a:gd name="T18" fmla="*/ 0 w 14"/>
                <a:gd name="T19" fmla="*/ 8 h 16"/>
                <a:gd name="T20" fmla="*/ 0 w 14"/>
                <a:gd name="T21" fmla="*/ 10 h 16"/>
                <a:gd name="T22" fmla="*/ 3 w 14"/>
                <a:gd name="T23" fmla="*/ 10 h 16"/>
                <a:gd name="T24" fmla="*/ 3 w 14"/>
                <a:gd name="T25" fmla="*/ 13 h 16"/>
                <a:gd name="T26" fmla="*/ 3 w 14"/>
                <a:gd name="T27" fmla="*/ 13 h 16"/>
                <a:gd name="T28" fmla="*/ 3 w 14"/>
                <a:gd name="T29" fmla="*/ 13 h 16"/>
                <a:gd name="T30" fmla="*/ 6 w 14"/>
                <a:gd name="T31" fmla="*/ 13 h 16"/>
                <a:gd name="T32" fmla="*/ 6 w 14"/>
                <a:gd name="T33" fmla="*/ 13 h 16"/>
                <a:gd name="T34" fmla="*/ 8 w 14"/>
                <a:gd name="T35" fmla="*/ 13 h 16"/>
                <a:gd name="T36" fmla="*/ 8 w 14"/>
                <a:gd name="T37" fmla="*/ 16 h 16"/>
                <a:gd name="T38" fmla="*/ 11 w 14"/>
                <a:gd name="T39" fmla="*/ 16 h 16"/>
                <a:gd name="T40" fmla="*/ 11 w 14"/>
                <a:gd name="T41" fmla="*/ 16 h 16"/>
                <a:gd name="T42" fmla="*/ 14 w 14"/>
                <a:gd name="T43" fmla="*/ 16 h 16"/>
                <a:gd name="T44" fmla="*/ 14 w 14"/>
                <a:gd name="T45" fmla="*/ 16 h 16"/>
                <a:gd name="T46" fmla="*/ 14 w 14"/>
                <a:gd name="T47" fmla="*/ 16 h 16"/>
                <a:gd name="T48" fmla="*/ 14 w 14"/>
                <a:gd name="T49" fmla="*/ 13 h 16"/>
                <a:gd name="T50" fmla="*/ 14 w 14"/>
                <a:gd name="T51" fmla="*/ 13 h 16"/>
                <a:gd name="T52" fmla="*/ 14 w 14"/>
                <a:gd name="T53" fmla="*/ 10 h 16"/>
                <a:gd name="T54" fmla="*/ 11 w 14"/>
                <a:gd name="T55" fmla="*/ 10 h 16"/>
                <a:gd name="T56" fmla="*/ 11 w 14"/>
                <a:gd name="T57" fmla="*/ 8 h 16"/>
                <a:gd name="T58" fmla="*/ 11 w 14"/>
                <a:gd name="T59" fmla="*/ 8 h 16"/>
                <a:gd name="T60" fmla="*/ 11 w 14"/>
                <a:gd name="T61" fmla="*/ 5 h 16"/>
                <a:gd name="T62" fmla="*/ 8 w 14"/>
                <a:gd name="T63" fmla="*/ 5 h 16"/>
                <a:gd name="T64" fmla="*/ 8 w 14"/>
                <a:gd name="T65" fmla="*/ 2 h 16"/>
                <a:gd name="T66" fmla="*/ 8 w 14"/>
                <a:gd name="T67" fmla="*/ 2 h 16"/>
                <a:gd name="T68" fmla="*/ 8 w 14"/>
                <a:gd name="T69" fmla="*/ 2 h 16"/>
                <a:gd name="T70" fmla="*/ 6 w 14"/>
                <a:gd name="T71" fmla="*/ 2 h 16"/>
                <a:gd name="T72" fmla="*/ 6 w 14"/>
                <a:gd name="T73" fmla="*/ 0 h 16"/>
                <a:gd name="T74" fmla="*/ 6 w 14"/>
                <a:gd name="T75" fmla="*/ 0 h 16"/>
                <a:gd name="T76" fmla="*/ 6 w 14"/>
                <a:gd name="T77" fmla="*/ 0 h 16"/>
                <a:gd name="T78" fmla="*/ 3 w 14"/>
                <a:gd name="T7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" h="16" extrusionOk="0">
                  <a:moveTo>
                    <a:pt x="3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0" name="Freeform 8729">
              <a:extLst>
                <a:ext uri="{FF2B5EF4-FFF2-40B4-BE49-F238E27FC236}">
                  <a16:creationId xmlns:a16="http://schemas.microsoft.com/office/drawing/2014/main" id="{EA30A94A-BB18-814D-8654-71BF9F9AE08B}"/>
                </a:ext>
              </a:extLst>
            </p:cNvPr>
            <p:cNvSpPr/>
            <p:nvPr/>
          </p:nvSpPr>
          <p:spPr bwMode="auto">
            <a:xfrm>
              <a:off x="2513805" y="2581276"/>
              <a:ext cx="4764" cy="4764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0 h 3"/>
                <a:gd name="T6" fmla="*/ 3 w 3"/>
                <a:gd name="T7" fmla="*/ 0 h 3"/>
                <a:gd name="T8" fmla="*/ 0 w 3"/>
                <a:gd name="T9" fmla="*/ 3 h 3"/>
                <a:gd name="T10" fmla="*/ 0 w 3"/>
                <a:gd name="T11" fmla="*/ 3 h 3"/>
                <a:gd name="T12" fmla="*/ 0 w 3"/>
                <a:gd name="T13" fmla="*/ 3 h 3"/>
                <a:gd name="T14" fmla="*/ 0 w 3"/>
                <a:gd name="T15" fmla="*/ 3 h 3"/>
                <a:gd name="T16" fmla="*/ 0 w 3"/>
                <a:gd name="T17" fmla="*/ 3 h 3"/>
                <a:gd name="T18" fmla="*/ 0 w 3"/>
                <a:gd name="T19" fmla="*/ 3 h 3"/>
                <a:gd name="T20" fmla="*/ 3 w 3"/>
                <a:gd name="T21" fmla="*/ 3 h 3"/>
                <a:gd name="T22" fmla="*/ 3 w 3"/>
                <a:gd name="T23" fmla="*/ 3 h 3"/>
                <a:gd name="T24" fmla="*/ 3 w 3"/>
                <a:gd name="T25" fmla="*/ 3 h 3"/>
                <a:gd name="T26" fmla="*/ 3 w 3"/>
                <a:gd name="T27" fmla="*/ 0 h 3"/>
                <a:gd name="T28" fmla="*/ 3 w 3"/>
                <a:gd name="T29" fmla="*/ 0 h 3"/>
                <a:gd name="T30" fmla="*/ 3 w 3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 extrusionOk="0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1" name="Freeform 8730">
              <a:extLst>
                <a:ext uri="{FF2B5EF4-FFF2-40B4-BE49-F238E27FC236}">
                  <a16:creationId xmlns:a16="http://schemas.microsoft.com/office/drawing/2014/main" id="{4A890568-DE68-B048-8A76-DBC4E66AD500}"/>
                </a:ext>
              </a:extLst>
            </p:cNvPr>
            <p:cNvSpPr/>
            <p:nvPr/>
          </p:nvSpPr>
          <p:spPr bwMode="auto">
            <a:xfrm>
              <a:off x="2523330" y="2551116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2 w 5"/>
                <a:gd name="T9" fmla="*/ 0 h 3"/>
                <a:gd name="T10" fmla="*/ 5 w 5"/>
                <a:gd name="T11" fmla="*/ 0 h 3"/>
                <a:gd name="T12" fmla="*/ 5 w 5"/>
                <a:gd name="T13" fmla="*/ 0 h 3"/>
                <a:gd name="T14" fmla="*/ 5 w 5"/>
                <a:gd name="T15" fmla="*/ 0 h 3"/>
                <a:gd name="T16" fmla="*/ 5 w 5"/>
                <a:gd name="T17" fmla="*/ 3 h 3"/>
                <a:gd name="T18" fmla="*/ 5 w 5"/>
                <a:gd name="T19" fmla="*/ 3 h 3"/>
                <a:gd name="T20" fmla="*/ 5 w 5"/>
                <a:gd name="T21" fmla="*/ 3 h 3"/>
                <a:gd name="T22" fmla="*/ 5 w 5"/>
                <a:gd name="T23" fmla="*/ 3 h 3"/>
                <a:gd name="T24" fmla="*/ 2 w 5"/>
                <a:gd name="T25" fmla="*/ 3 h 3"/>
                <a:gd name="T26" fmla="*/ 2 w 5"/>
                <a:gd name="T27" fmla="*/ 3 h 3"/>
                <a:gd name="T28" fmla="*/ 2 w 5"/>
                <a:gd name="T29" fmla="*/ 3 h 3"/>
                <a:gd name="T30" fmla="*/ 2 w 5"/>
                <a:gd name="T31" fmla="*/ 3 h 3"/>
                <a:gd name="T32" fmla="*/ 0 w 5"/>
                <a:gd name="T33" fmla="*/ 3 h 3"/>
                <a:gd name="T34" fmla="*/ 2 w 5"/>
                <a:gd name="T35" fmla="*/ 3 h 3"/>
                <a:gd name="T36" fmla="*/ 2 w 5"/>
                <a:gd name="T37" fmla="*/ 3 h 3"/>
                <a:gd name="T38" fmla="*/ 2 w 5"/>
                <a:gd name="T39" fmla="*/ 0 h 3"/>
                <a:gd name="T40" fmla="*/ 2 w 5"/>
                <a:gd name="T41" fmla="*/ 0 h 3"/>
                <a:gd name="T42" fmla="*/ 0 w 5"/>
                <a:gd name="T43" fmla="*/ 0 h 3"/>
                <a:gd name="T44" fmla="*/ 0 w 5"/>
                <a:gd name="T45" fmla="*/ 0 h 3"/>
                <a:gd name="T46" fmla="*/ 0 w 5"/>
                <a:gd name="T4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2" name="Freeform 8731">
              <a:extLst>
                <a:ext uri="{FF2B5EF4-FFF2-40B4-BE49-F238E27FC236}">
                  <a16:creationId xmlns:a16="http://schemas.microsoft.com/office/drawing/2014/main" id="{D348D0E3-3851-8645-BDF3-5820689E8411}"/>
                </a:ext>
              </a:extLst>
            </p:cNvPr>
            <p:cNvSpPr/>
            <p:nvPr/>
          </p:nvSpPr>
          <p:spPr bwMode="auto">
            <a:xfrm>
              <a:off x="2751930" y="2627315"/>
              <a:ext cx="7938" cy="0"/>
            </a:xfrm>
            <a:custGeom>
              <a:avLst/>
              <a:gdLst>
                <a:gd name="T0" fmla="*/ 0 w 5"/>
                <a:gd name="T1" fmla="*/ 0 w 5"/>
                <a:gd name="T2" fmla="*/ 2 w 5"/>
                <a:gd name="T3" fmla="*/ 2 w 5"/>
                <a:gd name="T4" fmla="*/ 2 w 5"/>
                <a:gd name="T5" fmla="*/ 2 w 5"/>
                <a:gd name="T6" fmla="*/ 5 w 5"/>
                <a:gd name="T7" fmla="*/ 5 w 5"/>
                <a:gd name="T8" fmla="*/ 5 w 5"/>
                <a:gd name="T9" fmla="*/ 5 w 5"/>
                <a:gd name="T10" fmla="*/ 5 w 5"/>
                <a:gd name="T11" fmla="*/ 2 w 5"/>
                <a:gd name="T12" fmla="*/ 2 w 5"/>
                <a:gd name="T13" fmla="*/ 2 w 5"/>
                <a:gd name="T14" fmla="*/ 2 w 5"/>
                <a:gd name="T15" fmla="*/ 0 w 5"/>
                <a:gd name="T16" fmla="*/ 0 w 5"/>
                <a:gd name="T17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</a:cxnLst>
              <a:rect l="0" t="0" r="r" b="b"/>
              <a:pathLst>
                <a:path w="5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3" name="Freeform 8732">
              <a:extLst>
                <a:ext uri="{FF2B5EF4-FFF2-40B4-BE49-F238E27FC236}">
                  <a16:creationId xmlns:a16="http://schemas.microsoft.com/office/drawing/2014/main" id="{2D16677C-6891-CF4D-BB42-097AB7B3C82E}"/>
                </a:ext>
              </a:extLst>
            </p:cNvPr>
            <p:cNvSpPr/>
            <p:nvPr/>
          </p:nvSpPr>
          <p:spPr bwMode="auto">
            <a:xfrm>
              <a:off x="2764630" y="2624140"/>
              <a:ext cx="7938" cy="3175"/>
            </a:xfrm>
            <a:custGeom>
              <a:avLst/>
              <a:gdLst>
                <a:gd name="T0" fmla="*/ 2 w 5"/>
                <a:gd name="T1" fmla="*/ 0 h 2"/>
                <a:gd name="T2" fmla="*/ 2 w 5"/>
                <a:gd name="T3" fmla="*/ 0 h 2"/>
                <a:gd name="T4" fmla="*/ 2 w 5"/>
                <a:gd name="T5" fmla="*/ 0 h 2"/>
                <a:gd name="T6" fmla="*/ 2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5 w 5"/>
                <a:gd name="T13" fmla="*/ 2 h 2"/>
                <a:gd name="T14" fmla="*/ 5 w 5"/>
                <a:gd name="T15" fmla="*/ 2 h 2"/>
                <a:gd name="T16" fmla="*/ 5 w 5"/>
                <a:gd name="T17" fmla="*/ 2 h 2"/>
                <a:gd name="T18" fmla="*/ 2 w 5"/>
                <a:gd name="T19" fmla="*/ 2 h 2"/>
                <a:gd name="T20" fmla="*/ 2 w 5"/>
                <a:gd name="T21" fmla="*/ 2 h 2"/>
                <a:gd name="T22" fmla="*/ 2 w 5"/>
                <a:gd name="T23" fmla="*/ 2 h 2"/>
                <a:gd name="T24" fmla="*/ 2 w 5"/>
                <a:gd name="T25" fmla="*/ 2 h 2"/>
                <a:gd name="T26" fmla="*/ 0 w 5"/>
                <a:gd name="T27" fmla="*/ 2 h 2"/>
                <a:gd name="T28" fmla="*/ 0 w 5"/>
                <a:gd name="T29" fmla="*/ 2 h 2"/>
                <a:gd name="T30" fmla="*/ 2 w 5"/>
                <a:gd name="T31" fmla="*/ 2 h 2"/>
                <a:gd name="T32" fmla="*/ 2 w 5"/>
                <a:gd name="T33" fmla="*/ 2 h 2"/>
                <a:gd name="T34" fmla="*/ 2 w 5"/>
                <a:gd name="T35" fmla="*/ 2 h 2"/>
                <a:gd name="T36" fmla="*/ 2 w 5"/>
                <a:gd name="T37" fmla="*/ 0 h 2"/>
                <a:gd name="T38" fmla="*/ 2 w 5"/>
                <a:gd name="T39" fmla="*/ 0 h 2"/>
                <a:gd name="T40" fmla="*/ 2 w 5"/>
                <a:gd name="T4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2" extrusionOk="0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4" name="Freeform 8733">
              <a:extLst>
                <a:ext uri="{FF2B5EF4-FFF2-40B4-BE49-F238E27FC236}">
                  <a16:creationId xmlns:a16="http://schemas.microsoft.com/office/drawing/2014/main" id="{5ED31AB4-9498-FD4E-92A3-B66F17BEFD05}"/>
                </a:ext>
              </a:extLst>
            </p:cNvPr>
            <p:cNvSpPr/>
            <p:nvPr/>
          </p:nvSpPr>
          <p:spPr bwMode="auto">
            <a:xfrm>
              <a:off x="2793205" y="2606677"/>
              <a:ext cx="9526" cy="17463"/>
            </a:xfrm>
            <a:custGeom>
              <a:avLst/>
              <a:gdLst>
                <a:gd name="T0" fmla="*/ 6 w 6"/>
                <a:gd name="T1" fmla="*/ 0 h 11"/>
                <a:gd name="T2" fmla="*/ 6 w 6"/>
                <a:gd name="T3" fmla="*/ 0 h 11"/>
                <a:gd name="T4" fmla="*/ 6 w 6"/>
                <a:gd name="T5" fmla="*/ 0 h 11"/>
                <a:gd name="T6" fmla="*/ 3 w 6"/>
                <a:gd name="T7" fmla="*/ 3 h 11"/>
                <a:gd name="T8" fmla="*/ 3 w 6"/>
                <a:gd name="T9" fmla="*/ 3 h 11"/>
                <a:gd name="T10" fmla="*/ 3 w 6"/>
                <a:gd name="T11" fmla="*/ 3 h 11"/>
                <a:gd name="T12" fmla="*/ 3 w 6"/>
                <a:gd name="T13" fmla="*/ 5 h 11"/>
                <a:gd name="T14" fmla="*/ 3 w 6"/>
                <a:gd name="T15" fmla="*/ 5 h 11"/>
                <a:gd name="T16" fmla="*/ 3 w 6"/>
                <a:gd name="T17" fmla="*/ 8 h 11"/>
                <a:gd name="T18" fmla="*/ 0 w 6"/>
                <a:gd name="T19" fmla="*/ 8 h 11"/>
                <a:gd name="T20" fmla="*/ 0 w 6"/>
                <a:gd name="T21" fmla="*/ 8 h 11"/>
                <a:gd name="T22" fmla="*/ 0 w 6"/>
                <a:gd name="T23" fmla="*/ 11 h 11"/>
                <a:gd name="T24" fmla="*/ 0 w 6"/>
                <a:gd name="T25" fmla="*/ 11 h 11"/>
                <a:gd name="T26" fmla="*/ 0 w 6"/>
                <a:gd name="T27" fmla="*/ 11 h 11"/>
                <a:gd name="T28" fmla="*/ 3 w 6"/>
                <a:gd name="T29" fmla="*/ 11 h 11"/>
                <a:gd name="T30" fmla="*/ 3 w 6"/>
                <a:gd name="T31" fmla="*/ 11 h 11"/>
                <a:gd name="T32" fmla="*/ 3 w 6"/>
                <a:gd name="T33" fmla="*/ 8 h 11"/>
                <a:gd name="T34" fmla="*/ 3 w 6"/>
                <a:gd name="T35" fmla="*/ 11 h 11"/>
                <a:gd name="T36" fmla="*/ 3 w 6"/>
                <a:gd name="T37" fmla="*/ 11 h 11"/>
                <a:gd name="T38" fmla="*/ 6 w 6"/>
                <a:gd name="T39" fmla="*/ 11 h 11"/>
                <a:gd name="T40" fmla="*/ 3 w 6"/>
                <a:gd name="T41" fmla="*/ 8 h 11"/>
                <a:gd name="T42" fmla="*/ 6 w 6"/>
                <a:gd name="T43" fmla="*/ 8 h 11"/>
                <a:gd name="T44" fmla="*/ 6 w 6"/>
                <a:gd name="T45" fmla="*/ 8 h 11"/>
                <a:gd name="T46" fmla="*/ 6 w 6"/>
                <a:gd name="T47" fmla="*/ 5 h 11"/>
                <a:gd name="T48" fmla="*/ 6 w 6"/>
                <a:gd name="T49" fmla="*/ 5 h 11"/>
                <a:gd name="T50" fmla="*/ 6 w 6"/>
                <a:gd name="T51" fmla="*/ 5 h 11"/>
                <a:gd name="T52" fmla="*/ 6 w 6"/>
                <a:gd name="T53" fmla="*/ 3 h 11"/>
                <a:gd name="T54" fmla="*/ 6 w 6"/>
                <a:gd name="T55" fmla="*/ 3 h 11"/>
                <a:gd name="T56" fmla="*/ 6 w 6"/>
                <a:gd name="T57" fmla="*/ 3 h 11"/>
                <a:gd name="T58" fmla="*/ 6 w 6"/>
                <a:gd name="T59" fmla="*/ 0 h 11"/>
                <a:gd name="T60" fmla="*/ 6 w 6"/>
                <a:gd name="T61" fmla="*/ 0 h 11"/>
                <a:gd name="T62" fmla="*/ 6 w 6"/>
                <a:gd name="T63" fmla="*/ 0 h 11"/>
                <a:gd name="T64" fmla="*/ 6 w 6"/>
                <a:gd name="T6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" h="11" extrusionOk="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3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6" name="Freeform 8734">
              <a:extLst>
                <a:ext uri="{FF2B5EF4-FFF2-40B4-BE49-F238E27FC236}">
                  <a16:creationId xmlns:a16="http://schemas.microsoft.com/office/drawing/2014/main" id="{A58176B0-4903-7345-9829-C982F8A741D1}"/>
                </a:ext>
              </a:extLst>
            </p:cNvPr>
            <p:cNvSpPr/>
            <p:nvPr/>
          </p:nvSpPr>
          <p:spPr bwMode="auto">
            <a:xfrm>
              <a:off x="5922166" y="2228853"/>
              <a:ext cx="30162" cy="17463"/>
            </a:xfrm>
            <a:custGeom>
              <a:avLst/>
              <a:gdLst>
                <a:gd name="T0" fmla="*/ 3 w 19"/>
                <a:gd name="T1" fmla="*/ 6 h 11"/>
                <a:gd name="T2" fmla="*/ 3 w 19"/>
                <a:gd name="T3" fmla="*/ 6 h 11"/>
                <a:gd name="T4" fmla="*/ 3 w 19"/>
                <a:gd name="T5" fmla="*/ 6 h 11"/>
                <a:gd name="T6" fmla="*/ 0 w 19"/>
                <a:gd name="T7" fmla="*/ 6 h 11"/>
                <a:gd name="T8" fmla="*/ 0 w 19"/>
                <a:gd name="T9" fmla="*/ 6 h 11"/>
                <a:gd name="T10" fmla="*/ 0 w 19"/>
                <a:gd name="T11" fmla="*/ 8 h 11"/>
                <a:gd name="T12" fmla="*/ 0 w 19"/>
                <a:gd name="T13" fmla="*/ 8 h 11"/>
                <a:gd name="T14" fmla="*/ 0 w 19"/>
                <a:gd name="T15" fmla="*/ 8 h 11"/>
                <a:gd name="T16" fmla="*/ 0 w 19"/>
                <a:gd name="T17" fmla="*/ 11 h 11"/>
                <a:gd name="T18" fmla="*/ 0 w 19"/>
                <a:gd name="T19" fmla="*/ 11 h 11"/>
                <a:gd name="T20" fmla="*/ 0 w 19"/>
                <a:gd name="T21" fmla="*/ 11 h 11"/>
                <a:gd name="T22" fmla="*/ 3 w 19"/>
                <a:gd name="T23" fmla="*/ 11 h 11"/>
                <a:gd name="T24" fmla="*/ 6 w 19"/>
                <a:gd name="T25" fmla="*/ 11 h 11"/>
                <a:gd name="T26" fmla="*/ 6 w 19"/>
                <a:gd name="T27" fmla="*/ 11 h 11"/>
                <a:gd name="T28" fmla="*/ 8 w 19"/>
                <a:gd name="T29" fmla="*/ 11 h 11"/>
                <a:gd name="T30" fmla="*/ 8 w 19"/>
                <a:gd name="T31" fmla="*/ 11 h 11"/>
                <a:gd name="T32" fmla="*/ 11 w 19"/>
                <a:gd name="T33" fmla="*/ 11 h 11"/>
                <a:gd name="T34" fmla="*/ 11 w 19"/>
                <a:gd name="T35" fmla="*/ 11 h 11"/>
                <a:gd name="T36" fmla="*/ 11 w 19"/>
                <a:gd name="T37" fmla="*/ 11 h 11"/>
                <a:gd name="T38" fmla="*/ 11 w 19"/>
                <a:gd name="T39" fmla="*/ 8 h 11"/>
                <a:gd name="T40" fmla="*/ 11 w 19"/>
                <a:gd name="T41" fmla="*/ 6 h 11"/>
                <a:gd name="T42" fmla="*/ 14 w 19"/>
                <a:gd name="T43" fmla="*/ 6 h 11"/>
                <a:gd name="T44" fmla="*/ 14 w 19"/>
                <a:gd name="T45" fmla="*/ 3 h 11"/>
                <a:gd name="T46" fmla="*/ 14 w 19"/>
                <a:gd name="T47" fmla="*/ 3 h 11"/>
                <a:gd name="T48" fmla="*/ 16 w 19"/>
                <a:gd name="T49" fmla="*/ 0 h 11"/>
                <a:gd name="T50" fmla="*/ 19 w 19"/>
                <a:gd name="T51" fmla="*/ 0 h 11"/>
                <a:gd name="T52" fmla="*/ 16 w 19"/>
                <a:gd name="T53" fmla="*/ 0 h 11"/>
                <a:gd name="T54" fmla="*/ 16 w 19"/>
                <a:gd name="T55" fmla="*/ 0 h 11"/>
                <a:gd name="T56" fmla="*/ 14 w 19"/>
                <a:gd name="T57" fmla="*/ 0 h 11"/>
                <a:gd name="T58" fmla="*/ 14 w 19"/>
                <a:gd name="T59" fmla="*/ 0 h 11"/>
                <a:gd name="T60" fmla="*/ 14 w 19"/>
                <a:gd name="T61" fmla="*/ 3 h 11"/>
                <a:gd name="T62" fmla="*/ 14 w 19"/>
                <a:gd name="T63" fmla="*/ 3 h 11"/>
                <a:gd name="T64" fmla="*/ 14 w 19"/>
                <a:gd name="T65" fmla="*/ 3 h 11"/>
                <a:gd name="T66" fmla="*/ 11 w 19"/>
                <a:gd name="T67" fmla="*/ 3 h 11"/>
                <a:gd name="T68" fmla="*/ 11 w 19"/>
                <a:gd name="T69" fmla="*/ 3 h 11"/>
                <a:gd name="T70" fmla="*/ 11 w 19"/>
                <a:gd name="T71" fmla="*/ 3 h 11"/>
                <a:gd name="T72" fmla="*/ 8 w 19"/>
                <a:gd name="T73" fmla="*/ 3 h 11"/>
                <a:gd name="T74" fmla="*/ 8 w 19"/>
                <a:gd name="T75" fmla="*/ 3 h 11"/>
                <a:gd name="T76" fmla="*/ 3 w 19"/>
                <a:gd name="T7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" h="11" extrusionOk="0"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7" name="Freeform 8735">
              <a:extLst>
                <a:ext uri="{FF2B5EF4-FFF2-40B4-BE49-F238E27FC236}">
                  <a16:creationId xmlns:a16="http://schemas.microsoft.com/office/drawing/2014/main" id="{E68208AF-EA27-2E4D-A357-0FD068B7A789}"/>
                </a:ext>
              </a:extLst>
            </p:cNvPr>
            <p:cNvSpPr/>
            <p:nvPr/>
          </p:nvSpPr>
          <p:spPr bwMode="auto">
            <a:xfrm>
              <a:off x="7130253" y="2106616"/>
              <a:ext cx="101601" cy="88901"/>
            </a:xfrm>
            <a:custGeom>
              <a:avLst/>
              <a:gdLst>
                <a:gd name="T0" fmla="*/ 48 w 64"/>
                <a:gd name="T1" fmla="*/ 32 h 56"/>
                <a:gd name="T2" fmla="*/ 48 w 64"/>
                <a:gd name="T3" fmla="*/ 29 h 56"/>
                <a:gd name="T4" fmla="*/ 51 w 64"/>
                <a:gd name="T5" fmla="*/ 29 h 56"/>
                <a:gd name="T6" fmla="*/ 54 w 64"/>
                <a:gd name="T7" fmla="*/ 26 h 56"/>
                <a:gd name="T8" fmla="*/ 56 w 64"/>
                <a:gd name="T9" fmla="*/ 26 h 56"/>
                <a:gd name="T10" fmla="*/ 59 w 64"/>
                <a:gd name="T11" fmla="*/ 24 h 56"/>
                <a:gd name="T12" fmla="*/ 56 w 64"/>
                <a:gd name="T13" fmla="*/ 18 h 56"/>
                <a:gd name="T14" fmla="*/ 51 w 64"/>
                <a:gd name="T15" fmla="*/ 13 h 56"/>
                <a:gd name="T16" fmla="*/ 54 w 64"/>
                <a:gd name="T17" fmla="*/ 8 h 56"/>
                <a:gd name="T18" fmla="*/ 56 w 64"/>
                <a:gd name="T19" fmla="*/ 8 h 56"/>
                <a:gd name="T20" fmla="*/ 59 w 64"/>
                <a:gd name="T21" fmla="*/ 8 h 56"/>
                <a:gd name="T22" fmla="*/ 59 w 64"/>
                <a:gd name="T23" fmla="*/ 5 h 56"/>
                <a:gd name="T24" fmla="*/ 64 w 64"/>
                <a:gd name="T25" fmla="*/ 2 h 56"/>
                <a:gd name="T26" fmla="*/ 62 w 64"/>
                <a:gd name="T27" fmla="*/ 0 h 56"/>
                <a:gd name="T28" fmla="*/ 59 w 64"/>
                <a:gd name="T29" fmla="*/ 0 h 56"/>
                <a:gd name="T30" fmla="*/ 56 w 64"/>
                <a:gd name="T31" fmla="*/ 0 h 56"/>
                <a:gd name="T32" fmla="*/ 54 w 64"/>
                <a:gd name="T33" fmla="*/ 2 h 56"/>
                <a:gd name="T34" fmla="*/ 48 w 64"/>
                <a:gd name="T35" fmla="*/ 5 h 56"/>
                <a:gd name="T36" fmla="*/ 48 w 64"/>
                <a:gd name="T37" fmla="*/ 10 h 56"/>
                <a:gd name="T38" fmla="*/ 51 w 64"/>
                <a:gd name="T39" fmla="*/ 16 h 56"/>
                <a:gd name="T40" fmla="*/ 48 w 64"/>
                <a:gd name="T41" fmla="*/ 18 h 56"/>
                <a:gd name="T42" fmla="*/ 46 w 64"/>
                <a:gd name="T43" fmla="*/ 18 h 56"/>
                <a:gd name="T44" fmla="*/ 43 w 64"/>
                <a:gd name="T45" fmla="*/ 18 h 56"/>
                <a:gd name="T46" fmla="*/ 38 w 64"/>
                <a:gd name="T47" fmla="*/ 16 h 56"/>
                <a:gd name="T48" fmla="*/ 35 w 64"/>
                <a:gd name="T49" fmla="*/ 16 h 56"/>
                <a:gd name="T50" fmla="*/ 32 w 64"/>
                <a:gd name="T51" fmla="*/ 13 h 56"/>
                <a:gd name="T52" fmla="*/ 27 w 64"/>
                <a:gd name="T53" fmla="*/ 10 h 56"/>
                <a:gd name="T54" fmla="*/ 22 w 64"/>
                <a:gd name="T55" fmla="*/ 10 h 56"/>
                <a:gd name="T56" fmla="*/ 19 w 64"/>
                <a:gd name="T57" fmla="*/ 10 h 56"/>
                <a:gd name="T58" fmla="*/ 16 w 64"/>
                <a:gd name="T59" fmla="*/ 13 h 56"/>
                <a:gd name="T60" fmla="*/ 11 w 64"/>
                <a:gd name="T61" fmla="*/ 16 h 56"/>
                <a:gd name="T62" fmla="*/ 11 w 64"/>
                <a:gd name="T63" fmla="*/ 18 h 56"/>
                <a:gd name="T64" fmla="*/ 11 w 64"/>
                <a:gd name="T65" fmla="*/ 26 h 56"/>
                <a:gd name="T66" fmla="*/ 8 w 64"/>
                <a:gd name="T67" fmla="*/ 32 h 56"/>
                <a:gd name="T68" fmla="*/ 3 w 64"/>
                <a:gd name="T69" fmla="*/ 34 h 56"/>
                <a:gd name="T70" fmla="*/ 0 w 64"/>
                <a:gd name="T71" fmla="*/ 37 h 56"/>
                <a:gd name="T72" fmla="*/ 3 w 64"/>
                <a:gd name="T73" fmla="*/ 48 h 56"/>
                <a:gd name="T74" fmla="*/ 8 w 64"/>
                <a:gd name="T75" fmla="*/ 53 h 56"/>
                <a:gd name="T76" fmla="*/ 14 w 64"/>
                <a:gd name="T77" fmla="*/ 53 h 56"/>
                <a:gd name="T78" fmla="*/ 11 w 64"/>
                <a:gd name="T79" fmla="*/ 50 h 56"/>
                <a:gd name="T80" fmla="*/ 11 w 64"/>
                <a:gd name="T81" fmla="*/ 50 h 56"/>
                <a:gd name="T82" fmla="*/ 16 w 64"/>
                <a:gd name="T83" fmla="*/ 48 h 56"/>
                <a:gd name="T84" fmla="*/ 19 w 64"/>
                <a:gd name="T85" fmla="*/ 48 h 56"/>
                <a:gd name="T86" fmla="*/ 24 w 64"/>
                <a:gd name="T87" fmla="*/ 48 h 56"/>
                <a:gd name="T88" fmla="*/ 27 w 64"/>
                <a:gd name="T89" fmla="*/ 48 h 56"/>
                <a:gd name="T90" fmla="*/ 32 w 64"/>
                <a:gd name="T91" fmla="*/ 42 h 56"/>
                <a:gd name="T92" fmla="*/ 35 w 64"/>
                <a:gd name="T93" fmla="*/ 40 h 56"/>
                <a:gd name="T94" fmla="*/ 38 w 64"/>
                <a:gd name="T95" fmla="*/ 37 h 56"/>
                <a:gd name="T96" fmla="*/ 38 w 64"/>
                <a:gd name="T97" fmla="*/ 34 h 56"/>
                <a:gd name="T98" fmla="*/ 43 w 64"/>
                <a:gd name="T99" fmla="*/ 34 h 56"/>
                <a:gd name="T100" fmla="*/ 46 w 64"/>
                <a:gd name="T101" fmla="*/ 37 h 56"/>
                <a:gd name="T102" fmla="*/ 46 w 64"/>
                <a:gd name="T103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4" h="56" extrusionOk="0">
                  <a:moveTo>
                    <a:pt x="46" y="34"/>
                  </a:moveTo>
                  <a:lnTo>
                    <a:pt x="48" y="32"/>
                  </a:lnTo>
                  <a:lnTo>
                    <a:pt x="48" y="32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59" y="21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1" y="13"/>
                  </a:lnTo>
                  <a:lnTo>
                    <a:pt x="51" y="10"/>
                  </a:lnTo>
                  <a:lnTo>
                    <a:pt x="54" y="8"/>
                  </a:lnTo>
                  <a:lnTo>
                    <a:pt x="54" y="5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9" y="8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4" y="2"/>
                  </a:lnTo>
                  <a:lnTo>
                    <a:pt x="51" y="2"/>
                  </a:lnTo>
                  <a:lnTo>
                    <a:pt x="48" y="5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3"/>
                  </a:lnTo>
                  <a:lnTo>
                    <a:pt x="51" y="16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6" y="21"/>
                  </a:lnTo>
                  <a:lnTo>
                    <a:pt x="46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6"/>
                  </a:lnTo>
                  <a:lnTo>
                    <a:pt x="11" y="29"/>
                  </a:lnTo>
                  <a:lnTo>
                    <a:pt x="8" y="32"/>
                  </a:lnTo>
                  <a:lnTo>
                    <a:pt x="6" y="34"/>
                  </a:lnTo>
                  <a:lnTo>
                    <a:pt x="3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6" y="50"/>
                  </a:lnTo>
                  <a:lnTo>
                    <a:pt x="8" y="53"/>
                  </a:lnTo>
                  <a:lnTo>
                    <a:pt x="11" y="56"/>
                  </a:lnTo>
                  <a:lnTo>
                    <a:pt x="14" y="53"/>
                  </a:lnTo>
                  <a:lnTo>
                    <a:pt x="11" y="53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4" y="50"/>
                  </a:lnTo>
                  <a:lnTo>
                    <a:pt x="16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7" y="48"/>
                  </a:lnTo>
                  <a:lnTo>
                    <a:pt x="30" y="45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5" y="40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4"/>
                  </a:lnTo>
                  <a:lnTo>
                    <a:pt x="43" y="34"/>
                  </a:lnTo>
                  <a:lnTo>
                    <a:pt x="46" y="34"/>
                  </a:lnTo>
                  <a:lnTo>
                    <a:pt x="46" y="37"/>
                  </a:lnTo>
                  <a:lnTo>
                    <a:pt x="46" y="34"/>
                  </a:lnTo>
                  <a:lnTo>
                    <a:pt x="46" y="3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8" name="Freeform 8736">
              <a:extLst>
                <a:ext uri="{FF2B5EF4-FFF2-40B4-BE49-F238E27FC236}">
                  <a16:creationId xmlns:a16="http://schemas.microsoft.com/office/drawing/2014/main" id="{0EA17873-B944-E947-9985-E273DAA081F0}"/>
                </a:ext>
              </a:extLst>
            </p:cNvPr>
            <p:cNvSpPr/>
            <p:nvPr/>
          </p:nvSpPr>
          <p:spPr bwMode="auto">
            <a:xfrm>
              <a:off x="8220865" y="2097090"/>
              <a:ext cx="3175" cy="4764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3 h 3"/>
                <a:gd name="T4" fmla="*/ 2 w 2"/>
                <a:gd name="T5" fmla="*/ 3 h 3"/>
                <a:gd name="T6" fmla="*/ 2 w 2"/>
                <a:gd name="T7" fmla="*/ 3 h 3"/>
                <a:gd name="T8" fmla="*/ 0 w 2"/>
                <a:gd name="T9" fmla="*/ 3 h 3"/>
                <a:gd name="T10" fmla="*/ 0 w 2"/>
                <a:gd name="T11" fmla="*/ 3 h 3"/>
                <a:gd name="T12" fmla="*/ 0 w 2"/>
                <a:gd name="T13" fmla="*/ 3 h 3"/>
                <a:gd name="T14" fmla="*/ 0 w 2"/>
                <a:gd name="T15" fmla="*/ 0 h 3"/>
                <a:gd name="T16" fmla="*/ 0 w 2"/>
                <a:gd name="T17" fmla="*/ 0 h 3"/>
                <a:gd name="T18" fmla="*/ 2 w 2"/>
                <a:gd name="T19" fmla="*/ 0 h 3"/>
                <a:gd name="T20" fmla="*/ 2 w 2"/>
                <a:gd name="T21" fmla="*/ 0 h 3"/>
                <a:gd name="T22" fmla="*/ 2 w 2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3" extrusionOk="0">
                  <a:moveTo>
                    <a:pt x="2" y="0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299" name="Freeform 8737">
              <a:extLst>
                <a:ext uri="{FF2B5EF4-FFF2-40B4-BE49-F238E27FC236}">
                  <a16:creationId xmlns:a16="http://schemas.microsoft.com/office/drawing/2014/main" id="{F79DCB3E-43C1-3C4C-B14B-A25C3502625B}"/>
                </a:ext>
              </a:extLst>
            </p:cNvPr>
            <p:cNvSpPr/>
            <p:nvPr/>
          </p:nvSpPr>
          <p:spPr bwMode="auto">
            <a:xfrm>
              <a:off x="8208166" y="2081215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2 w 2"/>
                <a:gd name="T6" fmla="*/ 2 w 2"/>
                <a:gd name="T7" fmla="*/ 2 w 2"/>
                <a:gd name="T8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2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0" name="Freeform 8738">
              <a:extLst>
                <a:ext uri="{FF2B5EF4-FFF2-40B4-BE49-F238E27FC236}">
                  <a16:creationId xmlns:a16="http://schemas.microsoft.com/office/drawing/2014/main" id="{466568CF-7AD9-0845-882A-42A462963540}"/>
                </a:ext>
              </a:extLst>
            </p:cNvPr>
            <p:cNvSpPr/>
            <p:nvPr/>
          </p:nvSpPr>
          <p:spPr bwMode="auto">
            <a:xfrm>
              <a:off x="8181179" y="2020890"/>
              <a:ext cx="4764" cy="4764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3 w 3"/>
                <a:gd name="T9" fmla="*/ 3 h 3"/>
                <a:gd name="T10" fmla="*/ 0 w 3"/>
                <a:gd name="T11" fmla="*/ 3 h 3"/>
                <a:gd name="T12" fmla="*/ 0 w 3"/>
                <a:gd name="T13" fmla="*/ 3 h 3"/>
                <a:gd name="T14" fmla="*/ 0 w 3"/>
                <a:gd name="T15" fmla="*/ 0 h 3"/>
                <a:gd name="T16" fmla="*/ 0 w 3"/>
                <a:gd name="T17" fmla="*/ 0 h 3"/>
                <a:gd name="T18" fmla="*/ 3 w 3"/>
                <a:gd name="T19" fmla="*/ 0 h 3"/>
                <a:gd name="T20" fmla="*/ 3 w 3"/>
                <a:gd name="T2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3" extrusionOk="0">
                  <a:moveTo>
                    <a:pt x="3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1" name="Freeform 8739">
              <a:extLst>
                <a:ext uri="{FF2B5EF4-FFF2-40B4-BE49-F238E27FC236}">
                  <a16:creationId xmlns:a16="http://schemas.microsoft.com/office/drawing/2014/main" id="{A662A95C-0C21-9F46-A2C6-0AAF399A0A30}"/>
                </a:ext>
              </a:extLst>
            </p:cNvPr>
            <p:cNvSpPr/>
            <p:nvPr/>
          </p:nvSpPr>
          <p:spPr bwMode="auto">
            <a:xfrm>
              <a:off x="8178003" y="201771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0 h 2"/>
                <a:gd name="T5" fmla="*/ 0 h 2"/>
                <a:gd name="T6" fmla="*/ 0 h 2"/>
                <a:gd name="T7" fmla="*/ 0 h 2"/>
                <a:gd name="T8" fmla="*/ 0 h 2"/>
                <a:gd name="T9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2" name="Freeform 8740">
              <a:extLst>
                <a:ext uri="{FF2B5EF4-FFF2-40B4-BE49-F238E27FC236}">
                  <a16:creationId xmlns:a16="http://schemas.microsoft.com/office/drawing/2014/main" id="{85AB4830-B721-2041-AF43-5DDC5363AD11}"/>
                </a:ext>
              </a:extLst>
            </p:cNvPr>
            <p:cNvSpPr/>
            <p:nvPr/>
          </p:nvSpPr>
          <p:spPr bwMode="auto">
            <a:xfrm>
              <a:off x="8185940" y="2068516"/>
              <a:ext cx="4764" cy="0"/>
            </a:xfrm>
            <a:custGeom>
              <a:avLst/>
              <a:gdLst>
                <a:gd name="T0" fmla="*/ 0 w 3"/>
                <a:gd name="T1" fmla="*/ 0 w 3"/>
                <a:gd name="T2" fmla="*/ 0 w 3"/>
                <a:gd name="T3" fmla="*/ 3 w 3"/>
                <a:gd name="T4" fmla="*/ 3 w 3"/>
                <a:gd name="T5" fmla="*/ 3 w 3"/>
                <a:gd name="T6" fmla="*/ 0 w 3"/>
                <a:gd name="T7" fmla="*/ 0 w 3"/>
                <a:gd name="T8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3" name="Freeform 8741">
              <a:extLst>
                <a:ext uri="{FF2B5EF4-FFF2-40B4-BE49-F238E27FC236}">
                  <a16:creationId xmlns:a16="http://schemas.microsoft.com/office/drawing/2014/main" id="{D4BFCA36-9887-7748-A849-64A40CD893D6}"/>
                </a:ext>
              </a:extLst>
            </p:cNvPr>
            <p:cNvSpPr/>
            <p:nvPr/>
          </p:nvSpPr>
          <p:spPr bwMode="auto">
            <a:xfrm>
              <a:off x="8211340" y="2195515"/>
              <a:ext cx="17463" cy="12699"/>
            </a:xfrm>
            <a:custGeom>
              <a:avLst/>
              <a:gdLst>
                <a:gd name="T0" fmla="*/ 0 w 11"/>
                <a:gd name="T1" fmla="*/ 0 h 8"/>
                <a:gd name="T2" fmla="*/ 0 w 11"/>
                <a:gd name="T3" fmla="*/ 0 h 8"/>
                <a:gd name="T4" fmla="*/ 3 w 11"/>
                <a:gd name="T5" fmla="*/ 3 h 8"/>
                <a:gd name="T6" fmla="*/ 6 w 11"/>
                <a:gd name="T7" fmla="*/ 3 h 8"/>
                <a:gd name="T8" fmla="*/ 6 w 11"/>
                <a:gd name="T9" fmla="*/ 3 h 8"/>
                <a:gd name="T10" fmla="*/ 8 w 11"/>
                <a:gd name="T11" fmla="*/ 3 h 8"/>
                <a:gd name="T12" fmla="*/ 8 w 11"/>
                <a:gd name="T13" fmla="*/ 3 h 8"/>
                <a:gd name="T14" fmla="*/ 8 w 11"/>
                <a:gd name="T15" fmla="*/ 5 h 8"/>
                <a:gd name="T16" fmla="*/ 8 w 11"/>
                <a:gd name="T17" fmla="*/ 5 h 8"/>
                <a:gd name="T18" fmla="*/ 8 w 11"/>
                <a:gd name="T19" fmla="*/ 5 h 8"/>
                <a:gd name="T20" fmla="*/ 11 w 11"/>
                <a:gd name="T21" fmla="*/ 8 h 8"/>
                <a:gd name="T22" fmla="*/ 11 w 11"/>
                <a:gd name="T23" fmla="*/ 8 h 8"/>
                <a:gd name="T24" fmla="*/ 8 w 11"/>
                <a:gd name="T25" fmla="*/ 8 h 8"/>
                <a:gd name="T26" fmla="*/ 6 w 11"/>
                <a:gd name="T27" fmla="*/ 8 h 8"/>
                <a:gd name="T28" fmla="*/ 3 w 11"/>
                <a:gd name="T29" fmla="*/ 8 h 8"/>
                <a:gd name="T30" fmla="*/ 3 w 11"/>
                <a:gd name="T31" fmla="*/ 5 h 8"/>
                <a:gd name="T32" fmla="*/ 0 w 11"/>
                <a:gd name="T33" fmla="*/ 5 h 8"/>
                <a:gd name="T34" fmla="*/ 0 w 11"/>
                <a:gd name="T35" fmla="*/ 3 h 8"/>
                <a:gd name="T36" fmla="*/ 0 w 11"/>
                <a:gd name="T37" fmla="*/ 3 h 8"/>
                <a:gd name="T38" fmla="*/ 0 w 11"/>
                <a:gd name="T3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4" name="Freeform 8742">
              <a:extLst>
                <a:ext uri="{FF2B5EF4-FFF2-40B4-BE49-F238E27FC236}">
                  <a16:creationId xmlns:a16="http://schemas.microsoft.com/office/drawing/2014/main" id="{7412AA9C-8E62-6C48-9118-A1C02CF653C6}"/>
                </a:ext>
              </a:extLst>
            </p:cNvPr>
            <p:cNvSpPr/>
            <p:nvPr/>
          </p:nvSpPr>
          <p:spPr bwMode="auto">
            <a:xfrm>
              <a:off x="8216104" y="2190753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3 w 8"/>
                <a:gd name="T3" fmla="*/ 0 h 3"/>
                <a:gd name="T4" fmla="*/ 5 w 8"/>
                <a:gd name="T5" fmla="*/ 0 h 3"/>
                <a:gd name="T6" fmla="*/ 5 w 8"/>
                <a:gd name="T7" fmla="*/ 3 h 3"/>
                <a:gd name="T8" fmla="*/ 8 w 8"/>
                <a:gd name="T9" fmla="*/ 3 h 3"/>
                <a:gd name="T10" fmla="*/ 8 w 8"/>
                <a:gd name="T11" fmla="*/ 3 h 3"/>
                <a:gd name="T12" fmla="*/ 8 w 8"/>
                <a:gd name="T13" fmla="*/ 3 h 3"/>
                <a:gd name="T14" fmla="*/ 8 w 8"/>
                <a:gd name="T15" fmla="*/ 3 h 3"/>
                <a:gd name="T16" fmla="*/ 5 w 8"/>
                <a:gd name="T17" fmla="*/ 3 h 3"/>
                <a:gd name="T18" fmla="*/ 5 w 8"/>
                <a:gd name="T19" fmla="*/ 3 h 3"/>
                <a:gd name="T20" fmla="*/ 3 w 8"/>
                <a:gd name="T21" fmla="*/ 3 h 3"/>
                <a:gd name="T22" fmla="*/ 3 w 8"/>
                <a:gd name="T23" fmla="*/ 3 h 3"/>
                <a:gd name="T24" fmla="*/ 0 w 8"/>
                <a:gd name="T25" fmla="*/ 0 h 3"/>
                <a:gd name="T26" fmla="*/ 0 w 8"/>
                <a:gd name="T27" fmla="*/ 0 h 3"/>
                <a:gd name="T28" fmla="*/ 0 w 8"/>
                <a:gd name="T2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5" name="Freeform 8743">
              <a:extLst>
                <a:ext uri="{FF2B5EF4-FFF2-40B4-BE49-F238E27FC236}">
                  <a16:creationId xmlns:a16="http://schemas.microsoft.com/office/drawing/2014/main" id="{F8040C4C-6CDE-F14C-8452-5FA092AC4FB1}"/>
                </a:ext>
              </a:extLst>
            </p:cNvPr>
            <p:cNvSpPr/>
            <p:nvPr/>
          </p:nvSpPr>
          <p:spPr bwMode="auto">
            <a:xfrm>
              <a:off x="8220865" y="2185991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0 w 8"/>
                <a:gd name="T3" fmla="*/ 0 h 3"/>
                <a:gd name="T4" fmla="*/ 2 w 8"/>
                <a:gd name="T5" fmla="*/ 0 h 3"/>
                <a:gd name="T6" fmla="*/ 5 w 8"/>
                <a:gd name="T7" fmla="*/ 0 h 3"/>
                <a:gd name="T8" fmla="*/ 5 w 8"/>
                <a:gd name="T9" fmla="*/ 0 h 3"/>
                <a:gd name="T10" fmla="*/ 8 w 8"/>
                <a:gd name="T11" fmla="*/ 0 h 3"/>
                <a:gd name="T12" fmla="*/ 8 w 8"/>
                <a:gd name="T13" fmla="*/ 3 h 3"/>
                <a:gd name="T14" fmla="*/ 8 w 8"/>
                <a:gd name="T15" fmla="*/ 3 h 3"/>
                <a:gd name="T16" fmla="*/ 8 w 8"/>
                <a:gd name="T17" fmla="*/ 3 h 3"/>
                <a:gd name="T18" fmla="*/ 5 w 8"/>
                <a:gd name="T19" fmla="*/ 3 h 3"/>
                <a:gd name="T20" fmla="*/ 5 w 8"/>
                <a:gd name="T21" fmla="*/ 3 h 3"/>
                <a:gd name="T22" fmla="*/ 5 w 8"/>
                <a:gd name="T23" fmla="*/ 3 h 3"/>
                <a:gd name="T24" fmla="*/ 2 w 8"/>
                <a:gd name="T25" fmla="*/ 3 h 3"/>
                <a:gd name="T26" fmla="*/ 2 w 8"/>
                <a:gd name="T27" fmla="*/ 3 h 3"/>
                <a:gd name="T28" fmla="*/ 0 w 8"/>
                <a:gd name="T29" fmla="*/ 0 h 3"/>
                <a:gd name="T30" fmla="*/ 0 w 8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6" name="Freeform 8744">
              <a:extLst>
                <a:ext uri="{FF2B5EF4-FFF2-40B4-BE49-F238E27FC236}">
                  <a16:creationId xmlns:a16="http://schemas.microsoft.com/office/drawing/2014/main" id="{E2FF281C-69D9-3B40-A513-1F2025E8DA81}"/>
                </a:ext>
              </a:extLst>
            </p:cNvPr>
            <p:cNvSpPr/>
            <p:nvPr/>
          </p:nvSpPr>
          <p:spPr bwMode="auto">
            <a:xfrm>
              <a:off x="8203404" y="2093915"/>
              <a:ext cx="4764" cy="3175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0 h 2"/>
                <a:gd name="T4" fmla="*/ 0 w 3"/>
                <a:gd name="T5" fmla="*/ 0 h 2"/>
                <a:gd name="T6" fmla="*/ 3 w 3"/>
                <a:gd name="T7" fmla="*/ 0 h 2"/>
                <a:gd name="T8" fmla="*/ 3 w 3"/>
                <a:gd name="T9" fmla="*/ 0 h 2"/>
                <a:gd name="T10" fmla="*/ 3 w 3"/>
                <a:gd name="T11" fmla="*/ 0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2 h 2"/>
                <a:gd name="T18" fmla="*/ 0 w 3"/>
                <a:gd name="T19" fmla="*/ 2 h 2"/>
                <a:gd name="T20" fmla="*/ 0 w 3"/>
                <a:gd name="T21" fmla="*/ 2 h 2"/>
                <a:gd name="T22" fmla="*/ 0 w 3"/>
                <a:gd name="T2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7" name="Freeform 8745">
              <a:extLst>
                <a:ext uri="{FF2B5EF4-FFF2-40B4-BE49-F238E27FC236}">
                  <a16:creationId xmlns:a16="http://schemas.microsoft.com/office/drawing/2014/main" id="{D898E0BB-11D3-4A4F-80AF-0E4947DF02A3}"/>
                </a:ext>
              </a:extLst>
            </p:cNvPr>
            <p:cNvSpPr/>
            <p:nvPr/>
          </p:nvSpPr>
          <p:spPr bwMode="auto">
            <a:xfrm>
              <a:off x="8224041" y="2081215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 h 5"/>
                <a:gd name="T4" fmla="*/ 3 w 3"/>
                <a:gd name="T5" fmla="*/ 2 h 5"/>
                <a:gd name="T6" fmla="*/ 0 w 3"/>
                <a:gd name="T7" fmla="*/ 2 h 5"/>
                <a:gd name="T8" fmla="*/ 0 w 3"/>
                <a:gd name="T9" fmla="*/ 5 h 5"/>
                <a:gd name="T10" fmla="*/ 0 w 3"/>
                <a:gd name="T11" fmla="*/ 2 h 5"/>
                <a:gd name="T12" fmla="*/ 0 w 3"/>
                <a:gd name="T13" fmla="*/ 2 h 5"/>
                <a:gd name="T14" fmla="*/ 0 w 3"/>
                <a:gd name="T15" fmla="*/ 2 h 5"/>
                <a:gd name="T16" fmla="*/ 0 w 3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8" name="Freeform 8746">
              <a:extLst>
                <a:ext uri="{FF2B5EF4-FFF2-40B4-BE49-F238E27FC236}">
                  <a16:creationId xmlns:a16="http://schemas.microsoft.com/office/drawing/2014/main" id="{9CAB14FF-FBDA-4A4E-BD21-A6D3E4751905}"/>
                </a:ext>
              </a:extLst>
            </p:cNvPr>
            <p:cNvSpPr/>
            <p:nvPr/>
          </p:nvSpPr>
          <p:spPr bwMode="auto">
            <a:xfrm>
              <a:off x="8720927" y="1982790"/>
              <a:ext cx="7938" cy="9526"/>
            </a:xfrm>
            <a:custGeom>
              <a:avLst/>
              <a:gdLst>
                <a:gd name="T0" fmla="*/ 5 w 5"/>
                <a:gd name="T1" fmla="*/ 0 h 6"/>
                <a:gd name="T2" fmla="*/ 5 w 5"/>
                <a:gd name="T3" fmla="*/ 0 h 6"/>
                <a:gd name="T4" fmla="*/ 5 w 5"/>
                <a:gd name="T5" fmla="*/ 3 h 6"/>
                <a:gd name="T6" fmla="*/ 5 w 5"/>
                <a:gd name="T7" fmla="*/ 3 h 6"/>
                <a:gd name="T8" fmla="*/ 5 w 5"/>
                <a:gd name="T9" fmla="*/ 3 h 6"/>
                <a:gd name="T10" fmla="*/ 5 w 5"/>
                <a:gd name="T11" fmla="*/ 3 h 6"/>
                <a:gd name="T12" fmla="*/ 5 w 5"/>
                <a:gd name="T13" fmla="*/ 6 h 6"/>
                <a:gd name="T14" fmla="*/ 2 w 5"/>
                <a:gd name="T15" fmla="*/ 6 h 6"/>
                <a:gd name="T16" fmla="*/ 2 w 5"/>
                <a:gd name="T17" fmla="*/ 6 h 6"/>
                <a:gd name="T18" fmla="*/ 0 w 5"/>
                <a:gd name="T19" fmla="*/ 6 h 6"/>
                <a:gd name="T20" fmla="*/ 0 w 5"/>
                <a:gd name="T21" fmla="*/ 6 h 6"/>
                <a:gd name="T22" fmla="*/ 0 w 5"/>
                <a:gd name="T23" fmla="*/ 6 h 6"/>
                <a:gd name="T24" fmla="*/ 0 w 5"/>
                <a:gd name="T25" fmla="*/ 6 h 6"/>
                <a:gd name="T26" fmla="*/ 0 w 5"/>
                <a:gd name="T27" fmla="*/ 3 h 6"/>
                <a:gd name="T28" fmla="*/ 0 w 5"/>
                <a:gd name="T29" fmla="*/ 3 h 6"/>
                <a:gd name="T30" fmla="*/ 0 w 5"/>
                <a:gd name="T31" fmla="*/ 3 h 6"/>
                <a:gd name="T32" fmla="*/ 0 w 5"/>
                <a:gd name="T33" fmla="*/ 3 h 6"/>
                <a:gd name="T34" fmla="*/ 2 w 5"/>
                <a:gd name="T35" fmla="*/ 3 h 6"/>
                <a:gd name="T36" fmla="*/ 2 w 5"/>
                <a:gd name="T37" fmla="*/ 0 h 6"/>
                <a:gd name="T38" fmla="*/ 2 w 5"/>
                <a:gd name="T39" fmla="*/ 0 h 6"/>
                <a:gd name="T40" fmla="*/ 2 w 5"/>
                <a:gd name="T41" fmla="*/ 0 h 6"/>
                <a:gd name="T42" fmla="*/ 2 w 5"/>
                <a:gd name="T43" fmla="*/ 0 h 6"/>
                <a:gd name="T44" fmla="*/ 5 w 5"/>
                <a:gd name="T45" fmla="*/ 0 h 6"/>
                <a:gd name="T46" fmla="*/ 5 w 5"/>
                <a:gd name="T47" fmla="*/ 0 h 6"/>
                <a:gd name="T48" fmla="*/ 5 w 5"/>
                <a:gd name="T49" fmla="*/ 0 h 6"/>
                <a:gd name="T50" fmla="*/ 5 w 5"/>
                <a:gd name="T5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" h="6" extrusionOk="0">
                  <a:moveTo>
                    <a:pt x="5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09" name="Freeform 8747">
              <a:extLst>
                <a:ext uri="{FF2B5EF4-FFF2-40B4-BE49-F238E27FC236}">
                  <a16:creationId xmlns:a16="http://schemas.microsoft.com/office/drawing/2014/main" id="{E585D01D-F26F-B845-962C-1384F0559CCA}"/>
                </a:ext>
              </a:extLst>
            </p:cNvPr>
            <p:cNvSpPr/>
            <p:nvPr/>
          </p:nvSpPr>
          <p:spPr bwMode="auto">
            <a:xfrm>
              <a:off x="8741565" y="2005016"/>
              <a:ext cx="12700" cy="15875"/>
            </a:xfrm>
            <a:custGeom>
              <a:avLst/>
              <a:gdLst>
                <a:gd name="T0" fmla="*/ 8 w 8"/>
                <a:gd name="T1" fmla="*/ 0 h 10"/>
                <a:gd name="T2" fmla="*/ 8 w 8"/>
                <a:gd name="T3" fmla="*/ 2 h 10"/>
                <a:gd name="T4" fmla="*/ 8 w 8"/>
                <a:gd name="T5" fmla="*/ 2 h 10"/>
                <a:gd name="T6" fmla="*/ 8 w 8"/>
                <a:gd name="T7" fmla="*/ 5 h 10"/>
                <a:gd name="T8" fmla="*/ 5 w 8"/>
                <a:gd name="T9" fmla="*/ 5 h 10"/>
                <a:gd name="T10" fmla="*/ 5 w 8"/>
                <a:gd name="T11" fmla="*/ 8 h 10"/>
                <a:gd name="T12" fmla="*/ 5 w 8"/>
                <a:gd name="T13" fmla="*/ 8 h 10"/>
                <a:gd name="T14" fmla="*/ 5 w 8"/>
                <a:gd name="T15" fmla="*/ 8 h 10"/>
                <a:gd name="T16" fmla="*/ 3 w 8"/>
                <a:gd name="T17" fmla="*/ 8 h 10"/>
                <a:gd name="T18" fmla="*/ 3 w 8"/>
                <a:gd name="T19" fmla="*/ 8 h 10"/>
                <a:gd name="T20" fmla="*/ 3 w 8"/>
                <a:gd name="T21" fmla="*/ 10 h 10"/>
                <a:gd name="T22" fmla="*/ 0 w 8"/>
                <a:gd name="T23" fmla="*/ 8 h 10"/>
                <a:gd name="T24" fmla="*/ 0 w 8"/>
                <a:gd name="T25" fmla="*/ 8 h 10"/>
                <a:gd name="T26" fmla="*/ 0 w 8"/>
                <a:gd name="T27" fmla="*/ 8 h 10"/>
                <a:gd name="T28" fmla="*/ 0 w 8"/>
                <a:gd name="T29" fmla="*/ 8 h 10"/>
                <a:gd name="T30" fmla="*/ 0 w 8"/>
                <a:gd name="T31" fmla="*/ 8 h 10"/>
                <a:gd name="T32" fmla="*/ 0 w 8"/>
                <a:gd name="T33" fmla="*/ 5 h 10"/>
                <a:gd name="T34" fmla="*/ 0 w 8"/>
                <a:gd name="T35" fmla="*/ 5 h 10"/>
                <a:gd name="T36" fmla="*/ 0 w 8"/>
                <a:gd name="T37" fmla="*/ 5 h 10"/>
                <a:gd name="T38" fmla="*/ 0 w 8"/>
                <a:gd name="T39" fmla="*/ 5 h 10"/>
                <a:gd name="T40" fmla="*/ 3 w 8"/>
                <a:gd name="T41" fmla="*/ 2 h 10"/>
                <a:gd name="T42" fmla="*/ 3 w 8"/>
                <a:gd name="T43" fmla="*/ 2 h 10"/>
                <a:gd name="T44" fmla="*/ 5 w 8"/>
                <a:gd name="T45" fmla="*/ 2 h 10"/>
                <a:gd name="T46" fmla="*/ 5 w 8"/>
                <a:gd name="T47" fmla="*/ 2 h 10"/>
                <a:gd name="T48" fmla="*/ 5 w 8"/>
                <a:gd name="T49" fmla="*/ 2 h 10"/>
                <a:gd name="T50" fmla="*/ 5 w 8"/>
                <a:gd name="T51" fmla="*/ 0 h 10"/>
                <a:gd name="T52" fmla="*/ 8 w 8"/>
                <a:gd name="T53" fmla="*/ 0 h 10"/>
                <a:gd name="T54" fmla="*/ 8 w 8"/>
                <a:gd name="T5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" h="10" extrusionOk="0">
                  <a:moveTo>
                    <a:pt x="8" y="0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0" name="Freeform 8748">
              <a:extLst>
                <a:ext uri="{FF2B5EF4-FFF2-40B4-BE49-F238E27FC236}">
                  <a16:creationId xmlns:a16="http://schemas.microsoft.com/office/drawing/2014/main" id="{43F61305-99BC-AF43-92BA-90883FEB7904}"/>
                </a:ext>
              </a:extLst>
            </p:cNvPr>
            <p:cNvSpPr/>
            <p:nvPr/>
          </p:nvSpPr>
          <p:spPr bwMode="auto">
            <a:xfrm>
              <a:off x="8733628" y="2017715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2 h 2"/>
                <a:gd name="T4" fmla="*/ 0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 extrusionOk="0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1" name="Freeform 8749">
              <a:extLst>
                <a:ext uri="{FF2B5EF4-FFF2-40B4-BE49-F238E27FC236}">
                  <a16:creationId xmlns:a16="http://schemas.microsoft.com/office/drawing/2014/main" id="{E8F8F92B-E2A8-2541-96A8-A094613E0B35}"/>
                </a:ext>
              </a:extLst>
            </p:cNvPr>
            <p:cNvSpPr/>
            <p:nvPr/>
          </p:nvSpPr>
          <p:spPr bwMode="auto">
            <a:xfrm>
              <a:off x="8258966" y="1409702"/>
              <a:ext cx="50800" cy="90487"/>
            </a:xfrm>
            <a:custGeom>
              <a:avLst/>
              <a:gdLst>
                <a:gd name="T0" fmla="*/ 2 w 32"/>
                <a:gd name="T1" fmla="*/ 0 h 57"/>
                <a:gd name="T2" fmla="*/ 2 w 32"/>
                <a:gd name="T3" fmla="*/ 3 h 57"/>
                <a:gd name="T4" fmla="*/ 5 w 32"/>
                <a:gd name="T5" fmla="*/ 3 h 57"/>
                <a:gd name="T6" fmla="*/ 5 w 32"/>
                <a:gd name="T7" fmla="*/ 6 h 57"/>
                <a:gd name="T8" fmla="*/ 8 w 32"/>
                <a:gd name="T9" fmla="*/ 6 h 57"/>
                <a:gd name="T10" fmla="*/ 8 w 32"/>
                <a:gd name="T11" fmla="*/ 6 h 57"/>
                <a:gd name="T12" fmla="*/ 8 w 32"/>
                <a:gd name="T13" fmla="*/ 8 h 57"/>
                <a:gd name="T14" fmla="*/ 10 w 32"/>
                <a:gd name="T15" fmla="*/ 11 h 57"/>
                <a:gd name="T16" fmla="*/ 10 w 32"/>
                <a:gd name="T17" fmla="*/ 11 h 57"/>
                <a:gd name="T18" fmla="*/ 13 w 32"/>
                <a:gd name="T19" fmla="*/ 14 h 57"/>
                <a:gd name="T20" fmla="*/ 16 w 32"/>
                <a:gd name="T21" fmla="*/ 17 h 57"/>
                <a:gd name="T22" fmla="*/ 18 w 32"/>
                <a:gd name="T23" fmla="*/ 19 h 57"/>
                <a:gd name="T24" fmla="*/ 21 w 32"/>
                <a:gd name="T25" fmla="*/ 19 h 57"/>
                <a:gd name="T26" fmla="*/ 24 w 32"/>
                <a:gd name="T27" fmla="*/ 19 h 57"/>
                <a:gd name="T28" fmla="*/ 26 w 32"/>
                <a:gd name="T29" fmla="*/ 22 h 57"/>
                <a:gd name="T30" fmla="*/ 26 w 32"/>
                <a:gd name="T31" fmla="*/ 22 h 57"/>
                <a:gd name="T32" fmla="*/ 26 w 32"/>
                <a:gd name="T33" fmla="*/ 25 h 57"/>
                <a:gd name="T34" fmla="*/ 26 w 32"/>
                <a:gd name="T35" fmla="*/ 27 h 57"/>
                <a:gd name="T36" fmla="*/ 29 w 32"/>
                <a:gd name="T37" fmla="*/ 30 h 57"/>
                <a:gd name="T38" fmla="*/ 26 w 32"/>
                <a:gd name="T39" fmla="*/ 30 h 57"/>
                <a:gd name="T40" fmla="*/ 26 w 32"/>
                <a:gd name="T41" fmla="*/ 33 h 57"/>
                <a:gd name="T42" fmla="*/ 26 w 32"/>
                <a:gd name="T43" fmla="*/ 35 h 57"/>
                <a:gd name="T44" fmla="*/ 29 w 32"/>
                <a:gd name="T45" fmla="*/ 38 h 57"/>
                <a:gd name="T46" fmla="*/ 29 w 32"/>
                <a:gd name="T47" fmla="*/ 41 h 57"/>
                <a:gd name="T48" fmla="*/ 32 w 32"/>
                <a:gd name="T49" fmla="*/ 41 h 57"/>
                <a:gd name="T50" fmla="*/ 32 w 32"/>
                <a:gd name="T51" fmla="*/ 43 h 57"/>
                <a:gd name="T52" fmla="*/ 32 w 32"/>
                <a:gd name="T53" fmla="*/ 43 h 57"/>
                <a:gd name="T54" fmla="*/ 32 w 32"/>
                <a:gd name="T55" fmla="*/ 43 h 57"/>
                <a:gd name="T56" fmla="*/ 32 w 32"/>
                <a:gd name="T57" fmla="*/ 46 h 57"/>
                <a:gd name="T58" fmla="*/ 32 w 32"/>
                <a:gd name="T59" fmla="*/ 49 h 57"/>
                <a:gd name="T60" fmla="*/ 32 w 32"/>
                <a:gd name="T61" fmla="*/ 51 h 57"/>
                <a:gd name="T62" fmla="*/ 29 w 32"/>
                <a:gd name="T63" fmla="*/ 51 h 57"/>
                <a:gd name="T64" fmla="*/ 29 w 32"/>
                <a:gd name="T65" fmla="*/ 54 h 57"/>
                <a:gd name="T66" fmla="*/ 26 w 32"/>
                <a:gd name="T67" fmla="*/ 54 h 57"/>
                <a:gd name="T68" fmla="*/ 24 w 32"/>
                <a:gd name="T69" fmla="*/ 57 h 57"/>
                <a:gd name="T70" fmla="*/ 21 w 32"/>
                <a:gd name="T71" fmla="*/ 54 h 57"/>
                <a:gd name="T72" fmla="*/ 21 w 32"/>
                <a:gd name="T73" fmla="*/ 54 h 57"/>
                <a:gd name="T74" fmla="*/ 18 w 32"/>
                <a:gd name="T75" fmla="*/ 51 h 57"/>
                <a:gd name="T76" fmla="*/ 18 w 32"/>
                <a:gd name="T77" fmla="*/ 51 h 57"/>
                <a:gd name="T78" fmla="*/ 18 w 32"/>
                <a:gd name="T79" fmla="*/ 49 h 57"/>
                <a:gd name="T80" fmla="*/ 18 w 32"/>
                <a:gd name="T81" fmla="*/ 43 h 57"/>
                <a:gd name="T82" fmla="*/ 16 w 32"/>
                <a:gd name="T83" fmla="*/ 38 h 57"/>
                <a:gd name="T84" fmla="*/ 16 w 32"/>
                <a:gd name="T85" fmla="*/ 38 h 57"/>
                <a:gd name="T86" fmla="*/ 16 w 32"/>
                <a:gd name="T87" fmla="*/ 35 h 57"/>
                <a:gd name="T88" fmla="*/ 13 w 32"/>
                <a:gd name="T89" fmla="*/ 33 h 57"/>
                <a:gd name="T90" fmla="*/ 13 w 32"/>
                <a:gd name="T91" fmla="*/ 30 h 57"/>
                <a:gd name="T92" fmla="*/ 10 w 32"/>
                <a:gd name="T93" fmla="*/ 30 h 57"/>
                <a:gd name="T94" fmla="*/ 10 w 32"/>
                <a:gd name="T95" fmla="*/ 27 h 57"/>
                <a:gd name="T96" fmla="*/ 8 w 32"/>
                <a:gd name="T97" fmla="*/ 25 h 57"/>
                <a:gd name="T98" fmla="*/ 8 w 32"/>
                <a:gd name="T99" fmla="*/ 22 h 57"/>
                <a:gd name="T100" fmla="*/ 8 w 32"/>
                <a:gd name="T101" fmla="*/ 22 h 57"/>
                <a:gd name="T102" fmla="*/ 8 w 32"/>
                <a:gd name="T103" fmla="*/ 19 h 57"/>
                <a:gd name="T104" fmla="*/ 5 w 32"/>
                <a:gd name="T105" fmla="*/ 17 h 57"/>
                <a:gd name="T106" fmla="*/ 5 w 32"/>
                <a:gd name="T107" fmla="*/ 14 h 57"/>
                <a:gd name="T108" fmla="*/ 5 w 32"/>
                <a:gd name="T109" fmla="*/ 11 h 57"/>
                <a:gd name="T110" fmla="*/ 5 w 32"/>
                <a:gd name="T111" fmla="*/ 11 h 57"/>
                <a:gd name="T112" fmla="*/ 5 w 32"/>
                <a:gd name="T113" fmla="*/ 8 h 57"/>
                <a:gd name="T114" fmla="*/ 2 w 32"/>
                <a:gd name="T115" fmla="*/ 6 h 57"/>
                <a:gd name="T116" fmla="*/ 0 w 32"/>
                <a:gd name="T117" fmla="*/ 3 h 57"/>
                <a:gd name="T118" fmla="*/ 2 w 32"/>
                <a:gd name="T119" fmla="*/ 3 h 57"/>
                <a:gd name="T120" fmla="*/ 2 w 32"/>
                <a:gd name="T12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" h="57" extrusionOk="0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8" y="17"/>
                  </a:lnTo>
                  <a:lnTo>
                    <a:pt x="18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6" y="19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9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9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9" y="33"/>
                  </a:lnTo>
                  <a:lnTo>
                    <a:pt x="26" y="33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1" y="57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5" y="19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2" name="Freeform 8750">
              <a:extLst>
                <a:ext uri="{FF2B5EF4-FFF2-40B4-BE49-F238E27FC236}">
                  <a16:creationId xmlns:a16="http://schemas.microsoft.com/office/drawing/2014/main" id="{4326D03A-82BB-E143-8075-FE2956D6E109}"/>
                </a:ext>
              </a:extLst>
            </p:cNvPr>
            <p:cNvSpPr/>
            <p:nvPr/>
          </p:nvSpPr>
          <p:spPr bwMode="auto">
            <a:xfrm>
              <a:off x="8381204" y="1685928"/>
              <a:ext cx="68263" cy="42863"/>
            </a:xfrm>
            <a:custGeom>
              <a:avLst/>
              <a:gdLst>
                <a:gd name="T0" fmla="*/ 0 w 43"/>
                <a:gd name="T1" fmla="*/ 0 h 27"/>
                <a:gd name="T2" fmla="*/ 0 w 43"/>
                <a:gd name="T3" fmla="*/ 0 h 27"/>
                <a:gd name="T4" fmla="*/ 3 w 43"/>
                <a:gd name="T5" fmla="*/ 0 h 27"/>
                <a:gd name="T6" fmla="*/ 3 w 43"/>
                <a:gd name="T7" fmla="*/ 0 h 27"/>
                <a:gd name="T8" fmla="*/ 5 w 43"/>
                <a:gd name="T9" fmla="*/ 0 h 27"/>
                <a:gd name="T10" fmla="*/ 8 w 43"/>
                <a:gd name="T11" fmla="*/ 0 h 27"/>
                <a:gd name="T12" fmla="*/ 11 w 43"/>
                <a:gd name="T13" fmla="*/ 3 h 27"/>
                <a:gd name="T14" fmla="*/ 11 w 43"/>
                <a:gd name="T15" fmla="*/ 3 h 27"/>
                <a:gd name="T16" fmla="*/ 13 w 43"/>
                <a:gd name="T17" fmla="*/ 3 h 27"/>
                <a:gd name="T18" fmla="*/ 16 w 43"/>
                <a:gd name="T19" fmla="*/ 6 h 27"/>
                <a:gd name="T20" fmla="*/ 19 w 43"/>
                <a:gd name="T21" fmla="*/ 6 h 27"/>
                <a:gd name="T22" fmla="*/ 21 w 43"/>
                <a:gd name="T23" fmla="*/ 6 h 27"/>
                <a:gd name="T24" fmla="*/ 24 w 43"/>
                <a:gd name="T25" fmla="*/ 6 h 27"/>
                <a:gd name="T26" fmla="*/ 27 w 43"/>
                <a:gd name="T27" fmla="*/ 8 h 27"/>
                <a:gd name="T28" fmla="*/ 27 w 43"/>
                <a:gd name="T29" fmla="*/ 8 h 27"/>
                <a:gd name="T30" fmla="*/ 27 w 43"/>
                <a:gd name="T31" fmla="*/ 8 h 27"/>
                <a:gd name="T32" fmla="*/ 29 w 43"/>
                <a:gd name="T33" fmla="*/ 8 h 27"/>
                <a:gd name="T34" fmla="*/ 29 w 43"/>
                <a:gd name="T35" fmla="*/ 11 h 27"/>
                <a:gd name="T36" fmla="*/ 32 w 43"/>
                <a:gd name="T37" fmla="*/ 14 h 27"/>
                <a:gd name="T38" fmla="*/ 35 w 43"/>
                <a:gd name="T39" fmla="*/ 14 h 27"/>
                <a:gd name="T40" fmla="*/ 37 w 43"/>
                <a:gd name="T41" fmla="*/ 14 h 27"/>
                <a:gd name="T42" fmla="*/ 37 w 43"/>
                <a:gd name="T43" fmla="*/ 14 h 27"/>
                <a:gd name="T44" fmla="*/ 40 w 43"/>
                <a:gd name="T45" fmla="*/ 16 h 27"/>
                <a:gd name="T46" fmla="*/ 40 w 43"/>
                <a:gd name="T47" fmla="*/ 19 h 27"/>
                <a:gd name="T48" fmla="*/ 40 w 43"/>
                <a:gd name="T49" fmla="*/ 19 h 27"/>
                <a:gd name="T50" fmla="*/ 40 w 43"/>
                <a:gd name="T51" fmla="*/ 22 h 27"/>
                <a:gd name="T52" fmla="*/ 43 w 43"/>
                <a:gd name="T53" fmla="*/ 24 h 27"/>
                <a:gd name="T54" fmla="*/ 43 w 43"/>
                <a:gd name="T55" fmla="*/ 24 h 27"/>
                <a:gd name="T56" fmla="*/ 40 w 43"/>
                <a:gd name="T57" fmla="*/ 27 h 27"/>
                <a:gd name="T58" fmla="*/ 40 w 43"/>
                <a:gd name="T59" fmla="*/ 27 h 27"/>
                <a:gd name="T60" fmla="*/ 40 w 43"/>
                <a:gd name="T61" fmla="*/ 27 h 27"/>
                <a:gd name="T62" fmla="*/ 37 w 43"/>
                <a:gd name="T63" fmla="*/ 27 h 27"/>
                <a:gd name="T64" fmla="*/ 37 w 43"/>
                <a:gd name="T65" fmla="*/ 27 h 27"/>
                <a:gd name="T66" fmla="*/ 35 w 43"/>
                <a:gd name="T67" fmla="*/ 27 h 27"/>
                <a:gd name="T68" fmla="*/ 35 w 43"/>
                <a:gd name="T69" fmla="*/ 24 h 27"/>
                <a:gd name="T70" fmla="*/ 32 w 43"/>
                <a:gd name="T71" fmla="*/ 24 h 27"/>
                <a:gd name="T72" fmla="*/ 32 w 43"/>
                <a:gd name="T73" fmla="*/ 22 h 27"/>
                <a:gd name="T74" fmla="*/ 29 w 43"/>
                <a:gd name="T75" fmla="*/ 22 h 27"/>
                <a:gd name="T76" fmla="*/ 24 w 43"/>
                <a:gd name="T77" fmla="*/ 19 h 27"/>
                <a:gd name="T78" fmla="*/ 24 w 43"/>
                <a:gd name="T79" fmla="*/ 19 h 27"/>
                <a:gd name="T80" fmla="*/ 21 w 43"/>
                <a:gd name="T81" fmla="*/ 19 h 27"/>
                <a:gd name="T82" fmla="*/ 19 w 43"/>
                <a:gd name="T83" fmla="*/ 16 h 27"/>
                <a:gd name="T84" fmla="*/ 19 w 43"/>
                <a:gd name="T85" fmla="*/ 16 h 27"/>
                <a:gd name="T86" fmla="*/ 16 w 43"/>
                <a:gd name="T87" fmla="*/ 14 h 27"/>
                <a:gd name="T88" fmla="*/ 16 w 43"/>
                <a:gd name="T89" fmla="*/ 14 h 27"/>
                <a:gd name="T90" fmla="*/ 16 w 43"/>
                <a:gd name="T91" fmla="*/ 11 h 27"/>
                <a:gd name="T92" fmla="*/ 13 w 43"/>
                <a:gd name="T93" fmla="*/ 11 h 27"/>
                <a:gd name="T94" fmla="*/ 13 w 43"/>
                <a:gd name="T95" fmla="*/ 11 h 27"/>
                <a:gd name="T96" fmla="*/ 11 w 43"/>
                <a:gd name="T97" fmla="*/ 8 h 27"/>
                <a:gd name="T98" fmla="*/ 8 w 43"/>
                <a:gd name="T99" fmla="*/ 8 h 27"/>
                <a:gd name="T100" fmla="*/ 8 w 43"/>
                <a:gd name="T101" fmla="*/ 8 h 27"/>
                <a:gd name="T102" fmla="*/ 8 w 43"/>
                <a:gd name="T103" fmla="*/ 8 h 27"/>
                <a:gd name="T104" fmla="*/ 5 w 43"/>
                <a:gd name="T105" fmla="*/ 8 h 27"/>
                <a:gd name="T106" fmla="*/ 3 w 43"/>
                <a:gd name="T107" fmla="*/ 6 h 27"/>
                <a:gd name="T108" fmla="*/ 3 w 43"/>
                <a:gd name="T109" fmla="*/ 6 h 27"/>
                <a:gd name="T110" fmla="*/ 3 w 43"/>
                <a:gd name="T111" fmla="*/ 3 h 27"/>
                <a:gd name="T112" fmla="*/ 3 w 43"/>
                <a:gd name="T113" fmla="*/ 3 h 27"/>
                <a:gd name="T114" fmla="*/ 0 w 43"/>
                <a:gd name="T115" fmla="*/ 3 h 27"/>
                <a:gd name="T116" fmla="*/ 0 w 43"/>
                <a:gd name="T117" fmla="*/ 3 h 27"/>
                <a:gd name="T118" fmla="*/ 0 w 43"/>
                <a:gd name="T11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" h="27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6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22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29" y="22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3" name="Freeform 8751">
              <a:extLst>
                <a:ext uri="{FF2B5EF4-FFF2-40B4-BE49-F238E27FC236}">
                  <a16:creationId xmlns:a16="http://schemas.microsoft.com/office/drawing/2014/main" id="{57145914-CBFE-594D-80C6-DE21D2167D5C}"/>
                </a:ext>
              </a:extLst>
            </p:cNvPr>
            <p:cNvSpPr/>
            <p:nvPr/>
          </p:nvSpPr>
          <p:spPr bwMode="auto">
            <a:xfrm>
              <a:off x="8678065" y="2046291"/>
              <a:ext cx="50800" cy="38100"/>
            </a:xfrm>
            <a:custGeom>
              <a:avLst/>
              <a:gdLst>
                <a:gd name="T0" fmla="*/ 29 w 32"/>
                <a:gd name="T1" fmla="*/ 0 h 24"/>
                <a:gd name="T2" fmla="*/ 29 w 32"/>
                <a:gd name="T3" fmla="*/ 3 h 24"/>
                <a:gd name="T4" fmla="*/ 32 w 32"/>
                <a:gd name="T5" fmla="*/ 3 h 24"/>
                <a:gd name="T6" fmla="*/ 32 w 32"/>
                <a:gd name="T7" fmla="*/ 6 h 24"/>
                <a:gd name="T8" fmla="*/ 32 w 32"/>
                <a:gd name="T9" fmla="*/ 8 h 24"/>
                <a:gd name="T10" fmla="*/ 32 w 32"/>
                <a:gd name="T11" fmla="*/ 11 h 24"/>
                <a:gd name="T12" fmla="*/ 32 w 32"/>
                <a:gd name="T13" fmla="*/ 14 h 24"/>
                <a:gd name="T14" fmla="*/ 32 w 32"/>
                <a:gd name="T15" fmla="*/ 16 h 24"/>
                <a:gd name="T16" fmla="*/ 32 w 32"/>
                <a:gd name="T17" fmla="*/ 16 h 24"/>
                <a:gd name="T18" fmla="*/ 29 w 32"/>
                <a:gd name="T19" fmla="*/ 19 h 24"/>
                <a:gd name="T20" fmla="*/ 29 w 32"/>
                <a:gd name="T21" fmla="*/ 22 h 24"/>
                <a:gd name="T22" fmla="*/ 27 w 32"/>
                <a:gd name="T23" fmla="*/ 19 h 24"/>
                <a:gd name="T24" fmla="*/ 24 w 32"/>
                <a:gd name="T25" fmla="*/ 19 h 24"/>
                <a:gd name="T26" fmla="*/ 24 w 32"/>
                <a:gd name="T27" fmla="*/ 19 h 24"/>
                <a:gd name="T28" fmla="*/ 21 w 32"/>
                <a:gd name="T29" fmla="*/ 16 h 24"/>
                <a:gd name="T30" fmla="*/ 19 w 32"/>
                <a:gd name="T31" fmla="*/ 19 h 24"/>
                <a:gd name="T32" fmla="*/ 16 w 32"/>
                <a:gd name="T33" fmla="*/ 19 h 24"/>
                <a:gd name="T34" fmla="*/ 13 w 32"/>
                <a:gd name="T35" fmla="*/ 19 h 24"/>
                <a:gd name="T36" fmla="*/ 13 w 32"/>
                <a:gd name="T37" fmla="*/ 19 h 24"/>
                <a:gd name="T38" fmla="*/ 13 w 32"/>
                <a:gd name="T39" fmla="*/ 22 h 24"/>
                <a:gd name="T40" fmla="*/ 19 w 32"/>
                <a:gd name="T41" fmla="*/ 19 h 24"/>
                <a:gd name="T42" fmla="*/ 19 w 32"/>
                <a:gd name="T43" fmla="*/ 22 h 24"/>
                <a:gd name="T44" fmla="*/ 19 w 32"/>
                <a:gd name="T45" fmla="*/ 24 h 24"/>
                <a:gd name="T46" fmla="*/ 16 w 32"/>
                <a:gd name="T47" fmla="*/ 24 h 24"/>
                <a:gd name="T48" fmla="*/ 13 w 32"/>
                <a:gd name="T49" fmla="*/ 24 h 24"/>
                <a:gd name="T50" fmla="*/ 11 w 32"/>
                <a:gd name="T51" fmla="*/ 24 h 24"/>
                <a:gd name="T52" fmla="*/ 8 w 32"/>
                <a:gd name="T53" fmla="*/ 24 h 24"/>
                <a:gd name="T54" fmla="*/ 5 w 32"/>
                <a:gd name="T55" fmla="*/ 22 h 24"/>
                <a:gd name="T56" fmla="*/ 3 w 32"/>
                <a:gd name="T57" fmla="*/ 22 h 24"/>
                <a:gd name="T58" fmla="*/ 3 w 32"/>
                <a:gd name="T59" fmla="*/ 22 h 24"/>
                <a:gd name="T60" fmla="*/ 0 w 32"/>
                <a:gd name="T61" fmla="*/ 22 h 24"/>
                <a:gd name="T62" fmla="*/ 3 w 32"/>
                <a:gd name="T63" fmla="*/ 19 h 24"/>
                <a:gd name="T64" fmla="*/ 3 w 32"/>
                <a:gd name="T65" fmla="*/ 16 h 24"/>
                <a:gd name="T66" fmla="*/ 5 w 32"/>
                <a:gd name="T67" fmla="*/ 14 h 24"/>
                <a:gd name="T68" fmla="*/ 5 w 32"/>
                <a:gd name="T69" fmla="*/ 14 h 24"/>
                <a:gd name="T70" fmla="*/ 8 w 32"/>
                <a:gd name="T71" fmla="*/ 11 h 24"/>
                <a:gd name="T72" fmla="*/ 11 w 32"/>
                <a:gd name="T73" fmla="*/ 8 h 24"/>
                <a:gd name="T74" fmla="*/ 16 w 32"/>
                <a:gd name="T75" fmla="*/ 6 h 24"/>
                <a:gd name="T76" fmla="*/ 16 w 32"/>
                <a:gd name="T77" fmla="*/ 6 h 24"/>
                <a:gd name="T78" fmla="*/ 19 w 32"/>
                <a:gd name="T79" fmla="*/ 6 h 24"/>
                <a:gd name="T80" fmla="*/ 19 w 32"/>
                <a:gd name="T81" fmla="*/ 3 h 24"/>
                <a:gd name="T82" fmla="*/ 21 w 32"/>
                <a:gd name="T83" fmla="*/ 3 h 24"/>
                <a:gd name="T84" fmla="*/ 24 w 32"/>
                <a:gd name="T85" fmla="*/ 3 h 24"/>
                <a:gd name="T86" fmla="*/ 27 w 32"/>
                <a:gd name="T8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24" extrusionOk="0">
                  <a:moveTo>
                    <a:pt x="27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4" name="Freeform 8752">
              <a:extLst>
                <a:ext uri="{FF2B5EF4-FFF2-40B4-BE49-F238E27FC236}">
                  <a16:creationId xmlns:a16="http://schemas.microsoft.com/office/drawing/2014/main" id="{F64CB808-C9B8-F84A-9845-6614B2B66144}"/>
                </a:ext>
              </a:extLst>
            </p:cNvPr>
            <p:cNvSpPr/>
            <p:nvPr/>
          </p:nvSpPr>
          <p:spPr bwMode="auto">
            <a:xfrm>
              <a:off x="7855740" y="1995490"/>
              <a:ext cx="7938" cy="9526"/>
            </a:xfrm>
            <a:custGeom>
              <a:avLst/>
              <a:gdLst>
                <a:gd name="T0" fmla="*/ 3 w 5"/>
                <a:gd name="T1" fmla="*/ 0 h 6"/>
                <a:gd name="T2" fmla="*/ 5 w 5"/>
                <a:gd name="T3" fmla="*/ 0 h 6"/>
                <a:gd name="T4" fmla="*/ 5 w 5"/>
                <a:gd name="T5" fmla="*/ 3 h 6"/>
                <a:gd name="T6" fmla="*/ 5 w 5"/>
                <a:gd name="T7" fmla="*/ 3 h 6"/>
                <a:gd name="T8" fmla="*/ 5 w 5"/>
                <a:gd name="T9" fmla="*/ 3 h 6"/>
                <a:gd name="T10" fmla="*/ 3 w 5"/>
                <a:gd name="T11" fmla="*/ 3 h 6"/>
                <a:gd name="T12" fmla="*/ 3 w 5"/>
                <a:gd name="T13" fmla="*/ 3 h 6"/>
                <a:gd name="T14" fmla="*/ 3 w 5"/>
                <a:gd name="T15" fmla="*/ 3 h 6"/>
                <a:gd name="T16" fmla="*/ 3 w 5"/>
                <a:gd name="T17" fmla="*/ 6 h 6"/>
                <a:gd name="T18" fmla="*/ 0 w 5"/>
                <a:gd name="T19" fmla="*/ 6 h 6"/>
                <a:gd name="T20" fmla="*/ 0 w 5"/>
                <a:gd name="T21" fmla="*/ 3 h 6"/>
                <a:gd name="T22" fmla="*/ 0 w 5"/>
                <a:gd name="T23" fmla="*/ 3 h 6"/>
                <a:gd name="T24" fmla="*/ 0 w 5"/>
                <a:gd name="T25" fmla="*/ 3 h 6"/>
                <a:gd name="T26" fmla="*/ 0 w 5"/>
                <a:gd name="T27" fmla="*/ 3 h 6"/>
                <a:gd name="T28" fmla="*/ 0 w 5"/>
                <a:gd name="T29" fmla="*/ 0 h 6"/>
                <a:gd name="T30" fmla="*/ 3 w 5"/>
                <a:gd name="T31" fmla="*/ 0 h 6"/>
                <a:gd name="T32" fmla="*/ 3 w 5"/>
                <a:gd name="T33" fmla="*/ 0 h 6"/>
                <a:gd name="T34" fmla="*/ 3 w 5"/>
                <a:gd name="T3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6" extrusionOk="0">
                  <a:moveTo>
                    <a:pt x="3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5" name="Freeform 8753">
              <a:extLst>
                <a:ext uri="{FF2B5EF4-FFF2-40B4-BE49-F238E27FC236}">
                  <a16:creationId xmlns:a16="http://schemas.microsoft.com/office/drawing/2014/main" id="{44C539A3-6634-AD47-BD6A-AB71E7D5763E}"/>
                </a:ext>
              </a:extLst>
            </p:cNvPr>
            <p:cNvSpPr/>
            <p:nvPr/>
          </p:nvSpPr>
          <p:spPr bwMode="auto">
            <a:xfrm>
              <a:off x="7881141" y="1954215"/>
              <a:ext cx="17463" cy="20638"/>
            </a:xfrm>
            <a:custGeom>
              <a:avLst/>
              <a:gdLst>
                <a:gd name="T0" fmla="*/ 5 w 11"/>
                <a:gd name="T1" fmla="*/ 13 h 13"/>
                <a:gd name="T2" fmla="*/ 5 w 11"/>
                <a:gd name="T3" fmla="*/ 10 h 13"/>
                <a:gd name="T4" fmla="*/ 5 w 11"/>
                <a:gd name="T5" fmla="*/ 10 h 13"/>
                <a:gd name="T6" fmla="*/ 5 w 11"/>
                <a:gd name="T7" fmla="*/ 13 h 13"/>
                <a:gd name="T8" fmla="*/ 8 w 11"/>
                <a:gd name="T9" fmla="*/ 10 h 13"/>
                <a:gd name="T10" fmla="*/ 8 w 11"/>
                <a:gd name="T11" fmla="*/ 10 h 13"/>
                <a:gd name="T12" fmla="*/ 8 w 11"/>
                <a:gd name="T13" fmla="*/ 10 h 13"/>
                <a:gd name="T14" fmla="*/ 11 w 11"/>
                <a:gd name="T15" fmla="*/ 8 h 13"/>
                <a:gd name="T16" fmla="*/ 11 w 11"/>
                <a:gd name="T17" fmla="*/ 8 h 13"/>
                <a:gd name="T18" fmla="*/ 11 w 11"/>
                <a:gd name="T19" fmla="*/ 5 h 13"/>
                <a:gd name="T20" fmla="*/ 11 w 11"/>
                <a:gd name="T21" fmla="*/ 5 h 13"/>
                <a:gd name="T22" fmla="*/ 11 w 11"/>
                <a:gd name="T23" fmla="*/ 5 h 13"/>
                <a:gd name="T24" fmla="*/ 11 w 11"/>
                <a:gd name="T25" fmla="*/ 2 h 13"/>
                <a:gd name="T26" fmla="*/ 11 w 11"/>
                <a:gd name="T27" fmla="*/ 2 h 13"/>
                <a:gd name="T28" fmla="*/ 11 w 11"/>
                <a:gd name="T29" fmla="*/ 0 h 13"/>
                <a:gd name="T30" fmla="*/ 11 w 11"/>
                <a:gd name="T31" fmla="*/ 2 h 13"/>
                <a:gd name="T32" fmla="*/ 8 w 11"/>
                <a:gd name="T33" fmla="*/ 2 h 13"/>
                <a:gd name="T34" fmla="*/ 8 w 11"/>
                <a:gd name="T35" fmla="*/ 2 h 13"/>
                <a:gd name="T36" fmla="*/ 5 w 11"/>
                <a:gd name="T37" fmla="*/ 2 h 13"/>
                <a:gd name="T38" fmla="*/ 5 w 11"/>
                <a:gd name="T39" fmla="*/ 2 h 13"/>
                <a:gd name="T40" fmla="*/ 5 w 11"/>
                <a:gd name="T41" fmla="*/ 2 h 13"/>
                <a:gd name="T42" fmla="*/ 5 w 11"/>
                <a:gd name="T43" fmla="*/ 0 h 13"/>
                <a:gd name="T44" fmla="*/ 5 w 11"/>
                <a:gd name="T45" fmla="*/ 0 h 13"/>
                <a:gd name="T46" fmla="*/ 3 w 11"/>
                <a:gd name="T47" fmla="*/ 0 h 13"/>
                <a:gd name="T48" fmla="*/ 3 w 11"/>
                <a:gd name="T49" fmla="*/ 2 h 13"/>
                <a:gd name="T50" fmla="*/ 3 w 11"/>
                <a:gd name="T51" fmla="*/ 2 h 13"/>
                <a:gd name="T52" fmla="*/ 3 w 11"/>
                <a:gd name="T53" fmla="*/ 2 h 13"/>
                <a:gd name="T54" fmla="*/ 3 w 11"/>
                <a:gd name="T55" fmla="*/ 5 h 13"/>
                <a:gd name="T56" fmla="*/ 3 w 11"/>
                <a:gd name="T57" fmla="*/ 5 h 13"/>
                <a:gd name="T58" fmla="*/ 0 w 11"/>
                <a:gd name="T59" fmla="*/ 8 h 13"/>
                <a:gd name="T60" fmla="*/ 0 w 11"/>
                <a:gd name="T61" fmla="*/ 8 h 13"/>
                <a:gd name="T62" fmla="*/ 3 w 11"/>
                <a:gd name="T63" fmla="*/ 8 h 13"/>
                <a:gd name="T64" fmla="*/ 3 w 11"/>
                <a:gd name="T65" fmla="*/ 10 h 13"/>
                <a:gd name="T66" fmla="*/ 3 w 11"/>
                <a:gd name="T67" fmla="*/ 10 h 13"/>
                <a:gd name="T68" fmla="*/ 3 w 11"/>
                <a:gd name="T69" fmla="*/ 10 h 13"/>
                <a:gd name="T70" fmla="*/ 3 w 11"/>
                <a:gd name="T71" fmla="*/ 10 h 13"/>
                <a:gd name="T72" fmla="*/ 5 w 11"/>
                <a:gd name="T73" fmla="*/ 10 h 13"/>
                <a:gd name="T74" fmla="*/ 5 w 11"/>
                <a:gd name="T7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" h="13" extrusionOk="0">
                  <a:moveTo>
                    <a:pt x="5" y="13"/>
                  </a:moveTo>
                  <a:lnTo>
                    <a:pt x="5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6" name="Freeform 8754">
              <a:extLst>
                <a:ext uri="{FF2B5EF4-FFF2-40B4-BE49-F238E27FC236}">
                  <a16:creationId xmlns:a16="http://schemas.microsoft.com/office/drawing/2014/main" id="{816C73A7-B195-9341-BBCB-AD18E61167DF}"/>
                </a:ext>
              </a:extLst>
            </p:cNvPr>
            <p:cNvSpPr/>
            <p:nvPr/>
          </p:nvSpPr>
          <p:spPr bwMode="auto">
            <a:xfrm>
              <a:off x="7685878" y="2157415"/>
              <a:ext cx="33338" cy="28576"/>
            </a:xfrm>
            <a:custGeom>
              <a:avLst/>
              <a:gdLst>
                <a:gd name="T0" fmla="*/ 0 w 21"/>
                <a:gd name="T1" fmla="*/ 8 h 18"/>
                <a:gd name="T2" fmla="*/ 3 w 21"/>
                <a:gd name="T3" fmla="*/ 8 h 18"/>
                <a:gd name="T4" fmla="*/ 3 w 21"/>
                <a:gd name="T5" fmla="*/ 8 h 18"/>
                <a:gd name="T6" fmla="*/ 3 w 21"/>
                <a:gd name="T7" fmla="*/ 8 h 18"/>
                <a:gd name="T8" fmla="*/ 3 w 21"/>
                <a:gd name="T9" fmla="*/ 5 h 18"/>
                <a:gd name="T10" fmla="*/ 3 w 21"/>
                <a:gd name="T11" fmla="*/ 5 h 18"/>
                <a:gd name="T12" fmla="*/ 5 w 21"/>
                <a:gd name="T13" fmla="*/ 2 h 18"/>
                <a:gd name="T14" fmla="*/ 11 w 21"/>
                <a:gd name="T15" fmla="*/ 2 h 18"/>
                <a:gd name="T16" fmla="*/ 13 w 21"/>
                <a:gd name="T17" fmla="*/ 0 h 18"/>
                <a:gd name="T18" fmla="*/ 16 w 21"/>
                <a:gd name="T19" fmla="*/ 0 h 18"/>
                <a:gd name="T20" fmla="*/ 19 w 21"/>
                <a:gd name="T21" fmla="*/ 2 h 18"/>
                <a:gd name="T22" fmla="*/ 21 w 21"/>
                <a:gd name="T23" fmla="*/ 2 h 18"/>
                <a:gd name="T24" fmla="*/ 21 w 21"/>
                <a:gd name="T25" fmla="*/ 5 h 18"/>
                <a:gd name="T26" fmla="*/ 21 w 21"/>
                <a:gd name="T27" fmla="*/ 8 h 18"/>
                <a:gd name="T28" fmla="*/ 21 w 21"/>
                <a:gd name="T29" fmla="*/ 8 h 18"/>
                <a:gd name="T30" fmla="*/ 21 w 21"/>
                <a:gd name="T31" fmla="*/ 13 h 18"/>
                <a:gd name="T32" fmla="*/ 21 w 21"/>
                <a:gd name="T33" fmla="*/ 16 h 18"/>
                <a:gd name="T34" fmla="*/ 19 w 21"/>
                <a:gd name="T35" fmla="*/ 16 h 18"/>
                <a:gd name="T36" fmla="*/ 13 w 21"/>
                <a:gd name="T37" fmla="*/ 16 h 18"/>
                <a:gd name="T38" fmla="*/ 11 w 21"/>
                <a:gd name="T39" fmla="*/ 16 h 18"/>
                <a:gd name="T40" fmla="*/ 11 w 21"/>
                <a:gd name="T41" fmla="*/ 16 h 18"/>
                <a:gd name="T42" fmla="*/ 8 w 21"/>
                <a:gd name="T43" fmla="*/ 16 h 18"/>
                <a:gd name="T44" fmla="*/ 8 w 21"/>
                <a:gd name="T45" fmla="*/ 18 h 18"/>
                <a:gd name="T46" fmla="*/ 5 w 21"/>
                <a:gd name="T47" fmla="*/ 16 h 18"/>
                <a:gd name="T48" fmla="*/ 5 w 21"/>
                <a:gd name="T49" fmla="*/ 16 h 18"/>
                <a:gd name="T50" fmla="*/ 5 w 21"/>
                <a:gd name="T51" fmla="*/ 16 h 18"/>
                <a:gd name="T52" fmla="*/ 5 w 21"/>
                <a:gd name="T53" fmla="*/ 13 h 18"/>
                <a:gd name="T54" fmla="*/ 3 w 21"/>
                <a:gd name="T55" fmla="*/ 13 h 18"/>
                <a:gd name="T56" fmla="*/ 3 w 21"/>
                <a:gd name="T57" fmla="*/ 10 h 18"/>
                <a:gd name="T58" fmla="*/ 0 w 21"/>
                <a:gd name="T59" fmla="*/ 10 h 18"/>
                <a:gd name="T60" fmla="*/ 0 w 21"/>
                <a:gd name="T61" fmla="*/ 8 h 18"/>
                <a:gd name="T62" fmla="*/ 3 w 21"/>
                <a:gd name="T63" fmla="*/ 8 h 18"/>
                <a:gd name="T64" fmla="*/ 3 w 21"/>
                <a:gd name="T65" fmla="*/ 8 h 18"/>
                <a:gd name="T66" fmla="*/ 3 w 21"/>
                <a:gd name="T67" fmla="*/ 5 h 18"/>
                <a:gd name="T68" fmla="*/ 3 w 21"/>
                <a:gd name="T69" fmla="*/ 5 h 18"/>
                <a:gd name="T70" fmla="*/ 0 w 21"/>
                <a:gd name="T7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" h="18" extrusionOk="0">
                  <a:moveTo>
                    <a:pt x="0" y="8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2"/>
                  </a:lnTo>
                  <a:lnTo>
                    <a:pt x="11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13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7" name="Freeform 8755">
              <a:extLst>
                <a:ext uri="{FF2B5EF4-FFF2-40B4-BE49-F238E27FC236}">
                  <a16:creationId xmlns:a16="http://schemas.microsoft.com/office/drawing/2014/main" id="{DA351CBB-ED61-6F47-B008-80F56C9F641F}"/>
                </a:ext>
              </a:extLst>
            </p:cNvPr>
            <p:cNvSpPr/>
            <p:nvPr/>
          </p:nvSpPr>
          <p:spPr bwMode="auto">
            <a:xfrm>
              <a:off x="7685878" y="2178052"/>
              <a:ext cx="7938" cy="12699"/>
            </a:xfrm>
            <a:custGeom>
              <a:avLst/>
              <a:gdLst>
                <a:gd name="T0" fmla="*/ 0 w 5"/>
                <a:gd name="T1" fmla="*/ 0 h 8"/>
                <a:gd name="T2" fmla="*/ 0 w 5"/>
                <a:gd name="T3" fmla="*/ 0 h 8"/>
                <a:gd name="T4" fmla="*/ 3 w 5"/>
                <a:gd name="T5" fmla="*/ 0 h 8"/>
                <a:gd name="T6" fmla="*/ 3 w 5"/>
                <a:gd name="T7" fmla="*/ 0 h 8"/>
                <a:gd name="T8" fmla="*/ 5 w 5"/>
                <a:gd name="T9" fmla="*/ 3 h 8"/>
                <a:gd name="T10" fmla="*/ 5 w 5"/>
                <a:gd name="T11" fmla="*/ 3 h 8"/>
                <a:gd name="T12" fmla="*/ 5 w 5"/>
                <a:gd name="T13" fmla="*/ 3 h 8"/>
                <a:gd name="T14" fmla="*/ 5 w 5"/>
                <a:gd name="T15" fmla="*/ 5 h 8"/>
                <a:gd name="T16" fmla="*/ 5 w 5"/>
                <a:gd name="T17" fmla="*/ 5 h 8"/>
                <a:gd name="T18" fmla="*/ 5 w 5"/>
                <a:gd name="T19" fmla="*/ 8 h 8"/>
                <a:gd name="T20" fmla="*/ 3 w 5"/>
                <a:gd name="T21" fmla="*/ 8 h 8"/>
                <a:gd name="T22" fmla="*/ 3 w 5"/>
                <a:gd name="T23" fmla="*/ 5 h 8"/>
                <a:gd name="T24" fmla="*/ 3 w 5"/>
                <a:gd name="T25" fmla="*/ 5 h 8"/>
                <a:gd name="T26" fmla="*/ 0 w 5"/>
                <a:gd name="T27" fmla="*/ 3 h 8"/>
                <a:gd name="T28" fmla="*/ 0 w 5"/>
                <a:gd name="T29" fmla="*/ 3 h 8"/>
                <a:gd name="T30" fmla="*/ 0 w 5"/>
                <a:gd name="T31" fmla="*/ 0 h 8"/>
                <a:gd name="T32" fmla="*/ 0 w 5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8" name="Freeform 8756">
              <a:extLst>
                <a:ext uri="{FF2B5EF4-FFF2-40B4-BE49-F238E27FC236}">
                  <a16:creationId xmlns:a16="http://schemas.microsoft.com/office/drawing/2014/main" id="{9F678D19-444B-6E44-917B-0DA1F9AA9C90}"/>
                </a:ext>
              </a:extLst>
            </p:cNvPr>
            <p:cNvSpPr/>
            <p:nvPr/>
          </p:nvSpPr>
          <p:spPr bwMode="auto">
            <a:xfrm>
              <a:off x="7665241" y="2178052"/>
              <a:ext cx="7938" cy="4764"/>
            </a:xfrm>
            <a:custGeom>
              <a:avLst/>
              <a:gdLst>
                <a:gd name="T0" fmla="*/ 0 w 5"/>
                <a:gd name="T1" fmla="*/ 3 h 3"/>
                <a:gd name="T2" fmla="*/ 2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5 w 5"/>
                <a:gd name="T9" fmla="*/ 0 h 3"/>
                <a:gd name="T10" fmla="*/ 5 w 5"/>
                <a:gd name="T11" fmla="*/ 3 h 3"/>
                <a:gd name="T12" fmla="*/ 5 w 5"/>
                <a:gd name="T13" fmla="*/ 3 h 3"/>
                <a:gd name="T14" fmla="*/ 5 w 5"/>
                <a:gd name="T15" fmla="*/ 3 h 3"/>
                <a:gd name="T16" fmla="*/ 5 w 5"/>
                <a:gd name="T17" fmla="*/ 3 h 3"/>
                <a:gd name="T18" fmla="*/ 5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3" extrusionOk="0">
                  <a:moveTo>
                    <a:pt x="0" y="3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19" name="Freeform 8757">
              <a:extLst>
                <a:ext uri="{FF2B5EF4-FFF2-40B4-BE49-F238E27FC236}">
                  <a16:creationId xmlns:a16="http://schemas.microsoft.com/office/drawing/2014/main" id="{C947F7B9-330D-1B46-AD6E-EBB7E23276D9}"/>
                </a:ext>
              </a:extLst>
            </p:cNvPr>
            <p:cNvSpPr/>
            <p:nvPr/>
          </p:nvSpPr>
          <p:spPr bwMode="auto">
            <a:xfrm>
              <a:off x="5934866" y="1992315"/>
              <a:ext cx="47626" cy="33338"/>
            </a:xfrm>
            <a:custGeom>
              <a:avLst/>
              <a:gdLst>
                <a:gd name="T0" fmla="*/ 11 w 30"/>
                <a:gd name="T1" fmla="*/ 2 h 21"/>
                <a:gd name="T2" fmla="*/ 11 w 30"/>
                <a:gd name="T3" fmla="*/ 2 h 21"/>
                <a:gd name="T4" fmla="*/ 11 w 30"/>
                <a:gd name="T5" fmla="*/ 5 h 21"/>
                <a:gd name="T6" fmla="*/ 8 w 30"/>
                <a:gd name="T7" fmla="*/ 8 h 21"/>
                <a:gd name="T8" fmla="*/ 11 w 30"/>
                <a:gd name="T9" fmla="*/ 8 h 21"/>
                <a:gd name="T10" fmla="*/ 14 w 30"/>
                <a:gd name="T11" fmla="*/ 10 h 21"/>
                <a:gd name="T12" fmla="*/ 11 w 30"/>
                <a:gd name="T13" fmla="*/ 10 h 21"/>
                <a:gd name="T14" fmla="*/ 8 w 30"/>
                <a:gd name="T15" fmla="*/ 10 h 21"/>
                <a:gd name="T16" fmla="*/ 6 w 30"/>
                <a:gd name="T17" fmla="*/ 10 h 21"/>
                <a:gd name="T18" fmla="*/ 3 w 30"/>
                <a:gd name="T19" fmla="*/ 8 h 21"/>
                <a:gd name="T20" fmla="*/ 3 w 30"/>
                <a:gd name="T21" fmla="*/ 5 h 21"/>
                <a:gd name="T22" fmla="*/ 0 w 30"/>
                <a:gd name="T23" fmla="*/ 8 h 21"/>
                <a:gd name="T24" fmla="*/ 0 w 30"/>
                <a:gd name="T25" fmla="*/ 10 h 21"/>
                <a:gd name="T26" fmla="*/ 0 w 30"/>
                <a:gd name="T27" fmla="*/ 13 h 21"/>
                <a:gd name="T28" fmla="*/ 3 w 30"/>
                <a:gd name="T29" fmla="*/ 16 h 21"/>
                <a:gd name="T30" fmla="*/ 3 w 30"/>
                <a:gd name="T31" fmla="*/ 16 h 21"/>
                <a:gd name="T32" fmla="*/ 6 w 30"/>
                <a:gd name="T33" fmla="*/ 16 h 21"/>
                <a:gd name="T34" fmla="*/ 8 w 30"/>
                <a:gd name="T35" fmla="*/ 16 h 21"/>
                <a:gd name="T36" fmla="*/ 8 w 30"/>
                <a:gd name="T37" fmla="*/ 16 h 21"/>
                <a:gd name="T38" fmla="*/ 11 w 30"/>
                <a:gd name="T39" fmla="*/ 16 h 21"/>
                <a:gd name="T40" fmla="*/ 14 w 30"/>
                <a:gd name="T41" fmla="*/ 18 h 21"/>
                <a:gd name="T42" fmla="*/ 16 w 30"/>
                <a:gd name="T43" fmla="*/ 18 h 21"/>
                <a:gd name="T44" fmla="*/ 19 w 30"/>
                <a:gd name="T45" fmla="*/ 21 h 21"/>
                <a:gd name="T46" fmla="*/ 22 w 30"/>
                <a:gd name="T47" fmla="*/ 21 h 21"/>
                <a:gd name="T48" fmla="*/ 22 w 30"/>
                <a:gd name="T49" fmla="*/ 21 h 21"/>
                <a:gd name="T50" fmla="*/ 24 w 30"/>
                <a:gd name="T51" fmla="*/ 18 h 21"/>
                <a:gd name="T52" fmla="*/ 19 w 30"/>
                <a:gd name="T53" fmla="*/ 18 h 21"/>
                <a:gd name="T54" fmla="*/ 19 w 30"/>
                <a:gd name="T55" fmla="*/ 16 h 21"/>
                <a:gd name="T56" fmla="*/ 16 w 30"/>
                <a:gd name="T57" fmla="*/ 13 h 21"/>
                <a:gd name="T58" fmla="*/ 14 w 30"/>
                <a:gd name="T59" fmla="*/ 13 h 21"/>
                <a:gd name="T60" fmla="*/ 14 w 30"/>
                <a:gd name="T61" fmla="*/ 10 h 21"/>
                <a:gd name="T62" fmla="*/ 16 w 30"/>
                <a:gd name="T63" fmla="*/ 10 h 21"/>
                <a:gd name="T64" fmla="*/ 19 w 30"/>
                <a:gd name="T65" fmla="*/ 10 h 21"/>
                <a:gd name="T66" fmla="*/ 22 w 30"/>
                <a:gd name="T67" fmla="*/ 10 h 21"/>
                <a:gd name="T68" fmla="*/ 22 w 30"/>
                <a:gd name="T69" fmla="*/ 13 h 21"/>
                <a:gd name="T70" fmla="*/ 24 w 30"/>
                <a:gd name="T71" fmla="*/ 13 h 21"/>
                <a:gd name="T72" fmla="*/ 27 w 30"/>
                <a:gd name="T73" fmla="*/ 13 h 21"/>
                <a:gd name="T74" fmla="*/ 30 w 30"/>
                <a:gd name="T75" fmla="*/ 10 h 21"/>
                <a:gd name="T76" fmla="*/ 30 w 30"/>
                <a:gd name="T77" fmla="*/ 8 h 21"/>
                <a:gd name="T78" fmla="*/ 30 w 30"/>
                <a:gd name="T79" fmla="*/ 5 h 21"/>
                <a:gd name="T80" fmla="*/ 27 w 30"/>
                <a:gd name="T81" fmla="*/ 5 h 21"/>
                <a:gd name="T82" fmla="*/ 27 w 30"/>
                <a:gd name="T83" fmla="*/ 2 h 21"/>
                <a:gd name="T84" fmla="*/ 27 w 30"/>
                <a:gd name="T85" fmla="*/ 2 h 21"/>
                <a:gd name="T86" fmla="*/ 24 w 30"/>
                <a:gd name="T87" fmla="*/ 2 h 21"/>
                <a:gd name="T88" fmla="*/ 22 w 30"/>
                <a:gd name="T89" fmla="*/ 2 h 21"/>
                <a:gd name="T90" fmla="*/ 19 w 30"/>
                <a:gd name="T91" fmla="*/ 2 h 21"/>
                <a:gd name="T92" fmla="*/ 16 w 30"/>
                <a:gd name="T93" fmla="*/ 5 h 21"/>
                <a:gd name="T94" fmla="*/ 16 w 30"/>
                <a:gd name="T95" fmla="*/ 5 h 21"/>
                <a:gd name="T96" fmla="*/ 14 w 30"/>
                <a:gd name="T97" fmla="*/ 5 h 21"/>
                <a:gd name="T98" fmla="*/ 14 w 30"/>
                <a:gd name="T99" fmla="*/ 5 h 21"/>
                <a:gd name="T100" fmla="*/ 14 w 30"/>
                <a:gd name="T101" fmla="*/ 2 h 21"/>
                <a:gd name="T102" fmla="*/ 14 w 30"/>
                <a:gd name="T103" fmla="*/ 2 h 21"/>
                <a:gd name="T104" fmla="*/ 11 w 30"/>
                <a:gd name="T10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0" h="21" extrusionOk="0">
                  <a:moveTo>
                    <a:pt x="11" y="0"/>
                  </a:moveTo>
                  <a:lnTo>
                    <a:pt x="11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0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0" name="Freeform 8758">
              <a:extLst>
                <a:ext uri="{FF2B5EF4-FFF2-40B4-BE49-F238E27FC236}">
                  <a16:creationId xmlns:a16="http://schemas.microsoft.com/office/drawing/2014/main" id="{9CF6BC7C-FD50-8E4C-98E6-965B6C1DF26C}"/>
                </a:ext>
              </a:extLst>
            </p:cNvPr>
            <p:cNvSpPr/>
            <p:nvPr/>
          </p:nvSpPr>
          <p:spPr bwMode="auto">
            <a:xfrm>
              <a:off x="6358729" y="1695452"/>
              <a:ext cx="4764" cy="3175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2 h 2"/>
                <a:gd name="T8" fmla="*/ 3 w 3"/>
                <a:gd name="T9" fmla="*/ 2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0 h 2"/>
                <a:gd name="T18" fmla="*/ 0 w 3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2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1" name="Freeform 8759">
              <a:extLst>
                <a:ext uri="{FF2B5EF4-FFF2-40B4-BE49-F238E27FC236}">
                  <a16:creationId xmlns:a16="http://schemas.microsoft.com/office/drawing/2014/main" id="{A7891246-9F1E-9840-A38A-05B67B039A6E}"/>
                </a:ext>
              </a:extLst>
            </p:cNvPr>
            <p:cNvSpPr/>
            <p:nvPr/>
          </p:nvSpPr>
          <p:spPr bwMode="auto">
            <a:xfrm>
              <a:off x="7215978" y="2008191"/>
              <a:ext cx="96838" cy="80963"/>
            </a:xfrm>
            <a:custGeom>
              <a:avLst/>
              <a:gdLst>
                <a:gd name="T0" fmla="*/ 13 w 61"/>
                <a:gd name="T1" fmla="*/ 3 h 51"/>
                <a:gd name="T2" fmla="*/ 10 w 61"/>
                <a:gd name="T3" fmla="*/ 6 h 51"/>
                <a:gd name="T4" fmla="*/ 10 w 61"/>
                <a:gd name="T5" fmla="*/ 11 h 51"/>
                <a:gd name="T6" fmla="*/ 13 w 61"/>
                <a:gd name="T7" fmla="*/ 14 h 51"/>
                <a:gd name="T8" fmla="*/ 16 w 61"/>
                <a:gd name="T9" fmla="*/ 14 h 51"/>
                <a:gd name="T10" fmla="*/ 16 w 61"/>
                <a:gd name="T11" fmla="*/ 16 h 51"/>
                <a:gd name="T12" fmla="*/ 16 w 61"/>
                <a:gd name="T13" fmla="*/ 19 h 51"/>
                <a:gd name="T14" fmla="*/ 16 w 61"/>
                <a:gd name="T15" fmla="*/ 22 h 51"/>
                <a:gd name="T16" fmla="*/ 13 w 61"/>
                <a:gd name="T17" fmla="*/ 24 h 51"/>
                <a:gd name="T18" fmla="*/ 13 w 61"/>
                <a:gd name="T19" fmla="*/ 27 h 51"/>
                <a:gd name="T20" fmla="*/ 10 w 61"/>
                <a:gd name="T21" fmla="*/ 27 h 51"/>
                <a:gd name="T22" fmla="*/ 8 w 61"/>
                <a:gd name="T23" fmla="*/ 24 h 51"/>
                <a:gd name="T24" fmla="*/ 5 w 61"/>
                <a:gd name="T25" fmla="*/ 24 h 51"/>
                <a:gd name="T26" fmla="*/ 2 w 61"/>
                <a:gd name="T27" fmla="*/ 27 h 51"/>
                <a:gd name="T28" fmla="*/ 0 w 61"/>
                <a:gd name="T29" fmla="*/ 30 h 51"/>
                <a:gd name="T30" fmla="*/ 0 w 61"/>
                <a:gd name="T31" fmla="*/ 32 h 51"/>
                <a:gd name="T32" fmla="*/ 2 w 61"/>
                <a:gd name="T33" fmla="*/ 35 h 51"/>
                <a:gd name="T34" fmla="*/ 8 w 61"/>
                <a:gd name="T35" fmla="*/ 38 h 51"/>
                <a:gd name="T36" fmla="*/ 13 w 61"/>
                <a:gd name="T37" fmla="*/ 38 h 51"/>
                <a:gd name="T38" fmla="*/ 16 w 61"/>
                <a:gd name="T39" fmla="*/ 40 h 51"/>
                <a:gd name="T40" fmla="*/ 21 w 61"/>
                <a:gd name="T41" fmla="*/ 43 h 51"/>
                <a:gd name="T42" fmla="*/ 24 w 61"/>
                <a:gd name="T43" fmla="*/ 46 h 51"/>
                <a:gd name="T44" fmla="*/ 26 w 61"/>
                <a:gd name="T45" fmla="*/ 48 h 51"/>
                <a:gd name="T46" fmla="*/ 29 w 61"/>
                <a:gd name="T47" fmla="*/ 46 h 51"/>
                <a:gd name="T48" fmla="*/ 32 w 61"/>
                <a:gd name="T49" fmla="*/ 48 h 51"/>
                <a:gd name="T50" fmla="*/ 37 w 61"/>
                <a:gd name="T51" fmla="*/ 48 h 51"/>
                <a:gd name="T52" fmla="*/ 42 w 61"/>
                <a:gd name="T53" fmla="*/ 51 h 51"/>
                <a:gd name="T54" fmla="*/ 42 w 61"/>
                <a:gd name="T55" fmla="*/ 48 h 51"/>
                <a:gd name="T56" fmla="*/ 48 w 61"/>
                <a:gd name="T57" fmla="*/ 48 h 51"/>
                <a:gd name="T58" fmla="*/ 48 w 61"/>
                <a:gd name="T59" fmla="*/ 48 h 51"/>
                <a:gd name="T60" fmla="*/ 48 w 61"/>
                <a:gd name="T61" fmla="*/ 43 h 51"/>
                <a:gd name="T62" fmla="*/ 50 w 61"/>
                <a:gd name="T63" fmla="*/ 40 h 51"/>
                <a:gd name="T64" fmla="*/ 50 w 61"/>
                <a:gd name="T65" fmla="*/ 38 h 51"/>
                <a:gd name="T66" fmla="*/ 53 w 61"/>
                <a:gd name="T67" fmla="*/ 35 h 51"/>
                <a:gd name="T68" fmla="*/ 56 w 61"/>
                <a:gd name="T69" fmla="*/ 32 h 51"/>
                <a:gd name="T70" fmla="*/ 56 w 61"/>
                <a:gd name="T71" fmla="*/ 32 h 51"/>
                <a:gd name="T72" fmla="*/ 56 w 61"/>
                <a:gd name="T73" fmla="*/ 30 h 51"/>
                <a:gd name="T74" fmla="*/ 56 w 61"/>
                <a:gd name="T75" fmla="*/ 27 h 51"/>
                <a:gd name="T76" fmla="*/ 58 w 61"/>
                <a:gd name="T77" fmla="*/ 24 h 51"/>
                <a:gd name="T78" fmla="*/ 56 w 61"/>
                <a:gd name="T79" fmla="*/ 24 h 51"/>
                <a:gd name="T80" fmla="*/ 56 w 61"/>
                <a:gd name="T81" fmla="*/ 22 h 51"/>
                <a:gd name="T82" fmla="*/ 58 w 61"/>
                <a:gd name="T83" fmla="*/ 19 h 51"/>
                <a:gd name="T84" fmla="*/ 58 w 61"/>
                <a:gd name="T85" fmla="*/ 16 h 51"/>
                <a:gd name="T86" fmla="*/ 58 w 61"/>
                <a:gd name="T87" fmla="*/ 14 h 51"/>
                <a:gd name="T88" fmla="*/ 58 w 61"/>
                <a:gd name="T89" fmla="*/ 14 h 51"/>
                <a:gd name="T90" fmla="*/ 58 w 61"/>
                <a:gd name="T91" fmla="*/ 11 h 51"/>
                <a:gd name="T92" fmla="*/ 61 w 61"/>
                <a:gd name="T93" fmla="*/ 11 h 51"/>
                <a:gd name="T94" fmla="*/ 61 w 61"/>
                <a:gd name="T95" fmla="*/ 8 h 51"/>
                <a:gd name="T96" fmla="*/ 58 w 61"/>
                <a:gd name="T97" fmla="*/ 6 h 51"/>
                <a:gd name="T98" fmla="*/ 56 w 61"/>
                <a:gd name="T99" fmla="*/ 3 h 51"/>
                <a:gd name="T100" fmla="*/ 50 w 61"/>
                <a:gd name="T101" fmla="*/ 0 h 51"/>
                <a:gd name="T102" fmla="*/ 45 w 61"/>
                <a:gd name="T103" fmla="*/ 0 h 51"/>
                <a:gd name="T104" fmla="*/ 42 w 61"/>
                <a:gd name="T105" fmla="*/ 3 h 51"/>
                <a:gd name="T106" fmla="*/ 37 w 61"/>
                <a:gd name="T107" fmla="*/ 3 h 51"/>
                <a:gd name="T108" fmla="*/ 32 w 61"/>
                <a:gd name="T109" fmla="*/ 3 h 51"/>
                <a:gd name="T110" fmla="*/ 24 w 61"/>
                <a:gd name="T111" fmla="*/ 3 h 51"/>
                <a:gd name="T112" fmla="*/ 18 w 61"/>
                <a:gd name="T113" fmla="*/ 3 h 51"/>
                <a:gd name="T114" fmla="*/ 13 w 61"/>
                <a:gd name="T1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" h="51" extrusionOk="0"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5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3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4" y="46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7" y="48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48"/>
                  </a:lnTo>
                  <a:lnTo>
                    <a:pt x="45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6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61" y="14"/>
                  </a:lnTo>
                  <a:lnTo>
                    <a:pt x="58" y="14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2" y="3"/>
                  </a:lnTo>
                  <a:lnTo>
                    <a:pt x="26" y="3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2" name="Freeform 8760">
              <a:extLst>
                <a:ext uri="{FF2B5EF4-FFF2-40B4-BE49-F238E27FC236}">
                  <a16:creationId xmlns:a16="http://schemas.microsoft.com/office/drawing/2014/main" id="{56D5AD93-1333-6B45-BA2E-B72655933452}"/>
                </a:ext>
              </a:extLst>
            </p:cNvPr>
            <p:cNvSpPr/>
            <p:nvPr/>
          </p:nvSpPr>
          <p:spPr bwMode="auto">
            <a:xfrm>
              <a:off x="7147716" y="1635127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0 h 5"/>
                <a:gd name="T4" fmla="*/ 0 w 3"/>
                <a:gd name="T5" fmla="*/ 0 h 5"/>
                <a:gd name="T6" fmla="*/ 0 w 3"/>
                <a:gd name="T7" fmla="*/ 0 h 5"/>
                <a:gd name="T8" fmla="*/ 3 w 3"/>
                <a:gd name="T9" fmla="*/ 3 h 5"/>
                <a:gd name="T10" fmla="*/ 3 w 3"/>
                <a:gd name="T11" fmla="*/ 3 h 5"/>
                <a:gd name="T12" fmla="*/ 3 w 3"/>
                <a:gd name="T13" fmla="*/ 3 h 5"/>
                <a:gd name="T14" fmla="*/ 3 w 3"/>
                <a:gd name="T15" fmla="*/ 5 h 5"/>
                <a:gd name="T16" fmla="*/ 0 w 3"/>
                <a:gd name="T17" fmla="*/ 5 h 5"/>
                <a:gd name="T18" fmla="*/ 0 w 3"/>
                <a:gd name="T19" fmla="*/ 5 h 5"/>
                <a:gd name="T20" fmla="*/ 0 w 3"/>
                <a:gd name="T21" fmla="*/ 5 h 5"/>
                <a:gd name="T22" fmla="*/ 0 w 3"/>
                <a:gd name="T23" fmla="*/ 3 h 5"/>
                <a:gd name="T24" fmla="*/ 0 w 3"/>
                <a:gd name="T25" fmla="*/ 3 h 5"/>
                <a:gd name="T26" fmla="*/ 0 w 3"/>
                <a:gd name="T27" fmla="*/ 3 h 5"/>
                <a:gd name="T28" fmla="*/ 0 w 3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3" name="Freeform 8761">
              <a:extLst>
                <a:ext uri="{FF2B5EF4-FFF2-40B4-BE49-F238E27FC236}">
                  <a16:creationId xmlns:a16="http://schemas.microsoft.com/office/drawing/2014/main" id="{077AF282-B6ED-6147-8BA5-6019A235B2F8}"/>
                </a:ext>
              </a:extLst>
            </p:cNvPr>
            <p:cNvSpPr/>
            <p:nvPr/>
          </p:nvSpPr>
          <p:spPr bwMode="auto">
            <a:xfrm>
              <a:off x="7219153" y="1655765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3 w 8"/>
                <a:gd name="T3" fmla="*/ 0 h 3"/>
                <a:gd name="T4" fmla="*/ 3 w 8"/>
                <a:gd name="T5" fmla="*/ 0 h 3"/>
                <a:gd name="T6" fmla="*/ 6 w 8"/>
                <a:gd name="T7" fmla="*/ 0 h 3"/>
                <a:gd name="T8" fmla="*/ 6 w 8"/>
                <a:gd name="T9" fmla="*/ 0 h 3"/>
                <a:gd name="T10" fmla="*/ 8 w 8"/>
                <a:gd name="T11" fmla="*/ 0 h 3"/>
                <a:gd name="T12" fmla="*/ 8 w 8"/>
                <a:gd name="T13" fmla="*/ 0 h 3"/>
                <a:gd name="T14" fmla="*/ 8 w 8"/>
                <a:gd name="T15" fmla="*/ 3 h 3"/>
                <a:gd name="T16" fmla="*/ 8 w 8"/>
                <a:gd name="T17" fmla="*/ 3 h 3"/>
                <a:gd name="T18" fmla="*/ 6 w 8"/>
                <a:gd name="T19" fmla="*/ 3 h 3"/>
                <a:gd name="T20" fmla="*/ 6 w 8"/>
                <a:gd name="T21" fmla="*/ 3 h 3"/>
                <a:gd name="T22" fmla="*/ 6 w 8"/>
                <a:gd name="T23" fmla="*/ 3 h 3"/>
                <a:gd name="T24" fmla="*/ 6 w 8"/>
                <a:gd name="T25" fmla="*/ 3 h 3"/>
                <a:gd name="T26" fmla="*/ 3 w 8"/>
                <a:gd name="T27" fmla="*/ 3 h 3"/>
                <a:gd name="T28" fmla="*/ 3 w 8"/>
                <a:gd name="T29" fmla="*/ 3 h 3"/>
                <a:gd name="T30" fmla="*/ 0 w 8"/>
                <a:gd name="T31" fmla="*/ 3 h 3"/>
                <a:gd name="T32" fmla="*/ 0 w 8"/>
                <a:gd name="T3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4" name="Freeform 8762">
              <a:extLst>
                <a:ext uri="{FF2B5EF4-FFF2-40B4-BE49-F238E27FC236}">
                  <a16:creationId xmlns:a16="http://schemas.microsoft.com/office/drawing/2014/main" id="{39FDD292-F351-C14E-8931-187A48CF1DAA}"/>
                </a:ext>
              </a:extLst>
            </p:cNvPr>
            <p:cNvSpPr/>
            <p:nvPr/>
          </p:nvSpPr>
          <p:spPr bwMode="auto">
            <a:xfrm>
              <a:off x="7231854" y="1665291"/>
              <a:ext cx="17463" cy="12699"/>
            </a:xfrm>
            <a:custGeom>
              <a:avLst/>
              <a:gdLst>
                <a:gd name="T0" fmla="*/ 3 w 11"/>
                <a:gd name="T1" fmla="*/ 0 h 8"/>
                <a:gd name="T2" fmla="*/ 3 w 11"/>
                <a:gd name="T3" fmla="*/ 0 h 8"/>
                <a:gd name="T4" fmla="*/ 3 w 11"/>
                <a:gd name="T5" fmla="*/ 2 h 8"/>
                <a:gd name="T6" fmla="*/ 3 w 11"/>
                <a:gd name="T7" fmla="*/ 2 h 8"/>
                <a:gd name="T8" fmla="*/ 3 w 11"/>
                <a:gd name="T9" fmla="*/ 2 h 8"/>
                <a:gd name="T10" fmla="*/ 6 w 11"/>
                <a:gd name="T11" fmla="*/ 2 h 8"/>
                <a:gd name="T12" fmla="*/ 8 w 11"/>
                <a:gd name="T13" fmla="*/ 5 h 8"/>
                <a:gd name="T14" fmla="*/ 11 w 11"/>
                <a:gd name="T15" fmla="*/ 8 h 8"/>
                <a:gd name="T16" fmla="*/ 8 w 11"/>
                <a:gd name="T17" fmla="*/ 8 h 8"/>
                <a:gd name="T18" fmla="*/ 6 w 11"/>
                <a:gd name="T19" fmla="*/ 8 h 8"/>
                <a:gd name="T20" fmla="*/ 3 w 11"/>
                <a:gd name="T21" fmla="*/ 8 h 8"/>
                <a:gd name="T22" fmla="*/ 3 w 11"/>
                <a:gd name="T23" fmla="*/ 8 h 8"/>
                <a:gd name="T24" fmla="*/ 0 w 11"/>
                <a:gd name="T25" fmla="*/ 8 h 8"/>
                <a:gd name="T26" fmla="*/ 0 w 11"/>
                <a:gd name="T27" fmla="*/ 5 h 8"/>
                <a:gd name="T28" fmla="*/ 0 w 11"/>
                <a:gd name="T29" fmla="*/ 5 h 8"/>
                <a:gd name="T30" fmla="*/ 0 w 11"/>
                <a:gd name="T31" fmla="*/ 2 h 8"/>
                <a:gd name="T32" fmla="*/ 0 w 11"/>
                <a:gd name="T33" fmla="*/ 0 h 8"/>
                <a:gd name="T34" fmla="*/ 3 w 11"/>
                <a:gd name="T35" fmla="*/ 0 h 8"/>
                <a:gd name="T36" fmla="*/ 3 w 11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8" extrusionOk="0">
                  <a:moveTo>
                    <a:pt x="3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8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5" name="Freeform 8763">
              <a:extLst>
                <a:ext uri="{FF2B5EF4-FFF2-40B4-BE49-F238E27FC236}">
                  <a16:creationId xmlns:a16="http://schemas.microsoft.com/office/drawing/2014/main" id="{385E5AEE-5398-F340-8B78-DE773F48E867}"/>
                </a:ext>
              </a:extLst>
            </p:cNvPr>
            <p:cNvSpPr/>
            <p:nvPr/>
          </p:nvSpPr>
          <p:spPr bwMode="auto">
            <a:xfrm>
              <a:off x="6477791" y="1685928"/>
              <a:ext cx="20637" cy="9526"/>
            </a:xfrm>
            <a:custGeom>
              <a:avLst/>
              <a:gdLst>
                <a:gd name="T0" fmla="*/ 0 w 13"/>
                <a:gd name="T1" fmla="*/ 3 h 6"/>
                <a:gd name="T2" fmla="*/ 3 w 13"/>
                <a:gd name="T3" fmla="*/ 3 h 6"/>
                <a:gd name="T4" fmla="*/ 3 w 13"/>
                <a:gd name="T5" fmla="*/ 3 h 6"/>
                <a:gd name="T6" fmla="*/ 5 w 13"/>
                <a:gd name="T7" fmla="*/ 0 h 6"/>
                <a:gd name="T8" fmla="*/ 8 w 13"/>
                <a:gd name="T9" fmla="*/ 0 h 6"/>
                <a:gd name="T10" fmla="*/ 11 w 13"/>
                <a:gd name="T11" fmla="*/ 0 h 6"/>
                <a:gd name="T12" fmla="*/ 11 w 13"/>
                <a:gd name="T13" fmla="*/ 0 h 6"/>
                <a:gd name="T14" fmla="*/ 13 w 13"/>
                <a:gd name="T15" fmla="*/ 3 h 6"/>
                <a:gd name="T16" fmla="*/ 13 w 13"/>
                <a:gd name="T17" fmla="*/ 3 h 6"/>
                <a:gd name="T18" fmla="*/ 13 w 13"/>
                <a:gd name="T19" fmla="*/ 3 h 6"/>
                <a:gd name="T20" fmla="*/ 13 w 13"/>
                <a:gd name="T21" fmla="*/ 3 h 6"/>
                <a:gd name="T22" fmla="*/ 11 w 13"/>
                <a:gd name="T23" fmla="*/ 3 h 6"/>
                <a:gd name="T24" fmla="*/ 11 w 13"/>
                <a:gd name="T25" fmla="*/ 6 h 6"/>
                <a:gd name="T26" fmla="*/ 11 w 13"/>
                <a:gd name="T27" fmla="*/ 6 h 6"/>
                <a:gd name="T28" fmla="*/ 8 w 13"/>
                <a:gd name="T29" fmla="*/ 6 h 6"/>
                <a:gd name="T30" fmla="*/ 8 w 13"/>
                <a:gd name="T31" fmla="*/ 6 h 6"/>
                <a:gd name="T32" fmla="*/ 5 w 13"/>
                <a:gd name="T33" fmla="*/ 6 h 6"/>
                <a:gd name="T34" fmla="*/ 5 w 13"/>
                <a:gd name="T35" fmla="*/ 6 h 6"/>
                <a:gd name="T36" fmla="*/ 3 w 13"/>
                <a:gd name="T37" fmla="*/ 6 h 6"/>
                <a:gd name="T38" fmla="*/ 3 w 13"/>
                <a:gd name="T39" fmla="*/ 3 h 6"/>
                <a:gd name="T40" fmla="*/ 0 w 13"/>
                <a:gd name="T4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6" extrusionOk="0">
                  <a:moveTo>
                    <a:pt x="0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6" name="Freeform 8764">
              <a:extLst>
                <a:ext uri="{FF2B5EF4-FFF2-40B4-BE49-F238E27FC236}">
                  <a16:creationId xmlns:a16="http://schemas.microsoft.com/office/drawing/2014/main" id="{A40A28BF-E0C2-9349-A6FA-091A6A982E3C}"/>
                </a:ext>
              </a:extLst>
            </p:cNvPr>
            <p:cNvSpPr/>
            <p:nvPr/>
          </p:nvSpPr>
          <p:spPr bwMode="auto">
            <a:xfrm>
              <a:off x="6495253" y="1698627"/>
              <a:ext cx="12700" cy="22225"/>
            </a:xfrm>
            <a:custGeom>
              <a:avLst/>
              <a:gdLst>
                <a:gd name="T0" fmla="*/ 2 w 8"/>
                <a:gd name="T1" fmla="*/ 0 h 14"/>
                <a:gd name="T2" fmla="*/ 2 w 8"/>
                <a:gd name="T3" fmla="*/ 3 h 14"/>
                <a:gd name="T4" fmla="*/ 2 w 8"/>
                <a:gd name="T5" fmla="*/ 3 h 14"/>
                <a:gd name="T6" fmla="*/ 2 w 8"/>
                <a:gd name="T7" fmla="*/ 3 h 14"/>
                <a:gd name="T8" fmla="*/ 2 w 8"/>
                <a:gd name="T9" fmla="*/ 6 h 14"/>
                <a:gd name="T10" fmla="*/ 5 w 8"/>
                <a:gd name="T11" fmla="*/ 8 h 14"/>
                <a:gd name="T12" fmla="*/ 5 w 8"/>
                <a:gd name="T13" fmla="*/ 8 h 14"/>
                <a:gd name="T14" fmla="*/ 5 w 8"/>
                <a:gd name="T15" fmla="*/ 11 h 14"/>
                <a:gd name="T16" fmla="*/ 8 w 8"/>
                <a:gd name="T17" fmla="*/ 11 h 14"/>
                <a:gd name="T18" fmla="*/ 8 w 8"/>
                <a:gd name="T19" fmla="*/ 14 h 14"/>
                <a:gd name="T20" fmla="*/ 8 w 8"/>
                <a:gd name="T21" fmla="*/ 14 h 14"/>
                <a:gd name="T22" fmla="*/ 8 w 8"/>
                <a:gd name="T23" fmla="*/ 14 h 14"/>
                <a:gd name="T24" fmla="*/ 5 w 8"/>
                <a:gd name="T25" fmla="*/ 14 h 14"/>
                <a:gd name="T26" fmla="*/ 5 w 8"/>
                <a:gd name="T27" fmla="*/ 14 h 14"/>
                <a:gd name="T28" fmla="*/ 2 w 8"/>
                <a:gd name="T29" fmla="*/ 14 h 14"/>
                <a:gd name="T30" fmla="*/ 2 w 8"/>
                <a:gd name="T31" fmla="*/ 14 h 14"/>
                <a:gd name="T32" fmla="*/ 0 w 8"/>
                <a:gd name="T33" fmla="*/ 14 h 14"/>
                <a:gd name="T34" fmla="*/ 0 w 8"/>
                <a:gd name="T35" fmla="*/ 11 h 14"/>
                <a:gd name="T36" fmla="*/ 2 w 8"/>
                <a:gd name="T37" fmla="*/ 11 h 14"/>
                <a:gd name="T38" fmla="*/ 2 w 8"/>
                <a:gd name="T39" fmla="*/ 11 h 14"/>
                <a:gd name="T40" fmla="*/ 2 w 8"/>
                <a:gd name="T41" fmla="*/ 8 h 14"/>
                <a:gd name="T42" fmla="*/ 2 w 8"/>
                <a:gd name="T43" fmla="*/ 8 h 14"/>
                <a:gd name="T44" fmla="*/ 2 w 8"/>
                <a:gd name="T45" fmla="*/ 6 h 14"/>
                <a:gd name="T46" fmla="*/ 0 w 8"/>
                <a:gd name="T47" fmla="*/ 6 h 14"/>
                <a:gd name="T48" fmla="*/ 0 w 8"/>
                <a:gd name="T49" fmla="*/ 6 h 14"/>
                <a:gd name="T50" fmla="*/ 0 w 8"/>
                <a:gd name="T51" fmla="*/ 3 h 14"/>
                <a:gd name="T52" fmla="*/ 0 w 8"/>
                <a:gd name="T53" fmla="*/ 0 h 14"/>
                <a:gd name="T54" fmla="*/ 2 w 8"/>
                <a:gd name="T55" fmla="*/ 0 h 14"/>
                <a:gd name="T56" fmla="*/ 2 w 8"/>
                <a:gd name="T5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4" extrusionOk="0">
                  <a:moveTo>
                    <a:pt x="2" y="0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8" y="11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7" name="Freeform 8765">
              <a:extLst>
                <a:ext uri="{FF2B5EF4-FFF2-40B4-BE49-F238E27FC236}">
                  <a16:creationId xmlns:a16="http://schemas.microsoft.com/office/drawing/2014/main" id="{5B76186E-53BB-D64D-93CC-9A7B1E3561F9}"/>
                </a:ext>
              </a:extLst>
            </p:cNvPr>
            <p:cNvSpPr/>
            <p:nvPr/>
          </p:nvSpPr>
          <p:spPr bwMode="auto">
            <a:xfrm>
              <a:off x="6422229" y="1695452"/>
              <a:ext cx="4764" cy="7937"/>
            </a:xfrm>
            <a:custGeom>
              <a:avLst/>
              <a:gdLst>
                <a:gd name="T0" fmla="*/ 0 w 3"/>
                <a:gd name="T1" fmla="*/ 0 h 5"/>
                <a:gd name="T2" fmla="*/ 3 w 3"/>
                <a:gd name="T3" fmla="*/ 0 h 5"/>
                <a:gd name="T4" fmla="*/ 3 w 3"/>
                <a:gd name="T5" fmla="*/ 0 h 5"/>
                <a:gd name="T6" fmla="*/ 3 w 3"/>
                <a:gd name="T7" fmla="*/ 0 h 5"/>
                <a:gd name="T8" fmla="*/ 3 w 3"/>
                <a:gd name="T9" fmla="*/ 2 h 5"/>
                <a:gd name="T10" fmla="*/ 0 w 3"/>
                <a:gd name="T11" fmla="*/ 2 h 5"/>
                <a:gd name="T12" fmla="*/ 0 w 3"/>
                <a:gd name="T13" fmla="*/ 5 h 5"/>
                <a:gd name="T14" fmla="*/ 0 w 3"/>
                <a:gd name="T15" fmla="*/ 2 h 5"/>
                <a:gd name="T16" fmla="*/ 0 w 3"/>
                <a:gd name="T17" fmla="*/ 2 h 5"/>
                <a:gd name="T18" fmla="*/ 0 w 3"/>
                <a:gd name="T19" fmla="*/ 2 h 5"/>
                <a:gd name="T20" fmla="*/ 0 w 3"/>
                <a:gd name="T21" fmla="*/ 0 h 5"/>
                <a:gd name="T22" fmla="*/ 0 w 3"/>
                <a:gd name="T23" fmla="*/ 0 h 5"/>
                <a:gd name="T24" fmla="*/ 0 w 3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5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8" name="Freeform 8766">
              <a:extLst>
                <a:ext uri="{FF2B5EF4-FFF2-40B4-BE49-F238E27FC236}">
                  <a16:creationId xmlns:a16="http://schemas.microsoft.com/office/drawing/2014/main" id="{4131E486-D5F2-D443-8710-F86BE5A4F62D}"/>
                </a:ext>
              </a:extLst>
            </p:cNvPr>
            <p:cNvSpPr/>
            <p:nvPr/>
          </p:nvSpPr>
          <p:spPr bwMode="auto">
            <a:xfrm>
              <a:off x="6409530" y="1690690"/>
              <a:ext cx="4764" cy="4764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0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3 h 3"/>
                <a:gd name="T12" fmla="*/ 3 w 3"/>
                <a:gd name="T13" fmla="*/ 3 h 3"/>
                <a:gd name="T14" fmla="*/ 3 w 3"/>
                <a:gd name="T15" fmla="*/ 3 h 3"/>
                <a:gd name="T16" fmla="*/ 0 w 3"/>
                <a:gd name="T17" fmla="*/ 3 h 3"/>
                <a:gd name="T18" fmla="*/ 0 w 3"/>
                <a:gd name="T19" fmla="*/ 3 h 3"/>
                <a:gd name="T20" fmla="*/ 0 w 3"/>
                <a:gd name="T21" fmla="*/ 3 h 3"/>
                <a:gd name="T22" fmla="*/ 0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29" name="Freeform 8767">
              <a:extLst>
                <a:ext uri="{FF2B5EF4-FFF2-40B4-BE49-F238E27FC236}">
                  <a16:creationId xmlns:a16="http://schemas.microsoft.com/office/drawing/2014/main" id="{5F30C861-E484-2246-9BB2-0BEB17887267}"/>
                </a:ext>
              </a:extLst>
            </p:cNvPr>
            <p:cNvSpPr/>
            <p:nvPr/>
          </p:nvSpPr>
          <p:spPr bwMode="auto">
            <a:xfrm>
              <a:off x="6396829" y="1698627"/>
              <a:ext cx="17463" cy="12699"/>
            </a:xfrm>
            <a:custGeom>
              <a:avLst/>
              <a:gdLst>
                <a:gd name="T0" fmla="*/ 3 w 11"/>
                <a:gd name="T1" fmla="*/ 0 h 8"/>
                <a:gd name="T2" fmla="*/ 3 w 11"/>
                <a:gd name="T3" fmla="*/ 3 h 8"/>
                <a:gd name="T4" fmla="*/ 6 w 11"/>
                <a:gd name="T5" fmla="*/ 3 h 8"/>
                <a:gd name="T6" fmla="*/ 8 w 11"/>
                <a:gd name="T7" fmla="*/ 3 h 8"/>
                <a:gd name="T8" fmla="*/ 8 w 11"/>
                <a:gd name="T9" fmla="*/ 3 h 8"/>
                <a:gd name="T10" fmla="*/ 11 w 11"/>
                <a:gd name="T11" fmla="*/ 3 h 8"/>
                <a:gd name="T12" fmla="*/ 11 w 11"/>
                <a:gd name="T13" fmla="*/ 6 h 8"/>
                <a:gd name="T14" fmla="*/ 8 w 11"/>
                <a:gd name="T15" fmla="*/ 8 h 8"/>
                <a:gd name="T16" fmla="*/ 6 w 11"/>
                <a:gd name="T17" fmla="*/ 8 h 8"/>
                <a:gd name="T18" fmla="*/ 3 w 11"/>
                <a:gd name="T19" fmla="*/ 8 h 8"/>
                <a:gd name="T20" fmla="*/ 0 w 11"/>
                <a:gd name="T21" fmla="*/ 6 h 8"/>
                <a:gd name="T22" fmla="*/ 0 w 11"/>
                <a:gd name="T23" fmla="*/ 6 h 8"/>
                <a:gd name="T24" fmla="*/ 0 w 11"/>
                <a:gd name="T25" fmla="*/ 3 h 8"/>
                <a:gd name="T26" fmla="*/ 0 w 11"/>
                <a:gd name="T27" fmla="*/ 3 h 8"/>
                <a:gd name="T28" fmla="*/ 0 w 11"/>
                <a:gd name="T29" fmla="*/ 3 h 8"/>
                <a:gd name="T30" fmla="*/ 3 w 11"/>
                <a:gd name="T31" fmla="*/ 0 h 8"/>
                <a:gd name="T32" fmla="*/ 3 w 11"/>
                <a:gd name="T3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8" extrusionOk="0">
                  <a:moveTo>
                    <a:pt x="3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0" name="Freeform 8768">
              <a:extLst>
                <a:ext uri="{FF2B5EF4-FFF2-40B4-BE49-F238E27FC236}">
                  <a16:creationId xmlns:a16="http://schemas.microsoft.com/office/drawing/2014/main" id="{8A816552-D395-354E-B248-11F08014EF24}"/>
                </a:ext>
              </a:extLst>
            </p:cNvPr>
            <p:cNvSpPr/>
            <p:nvPr/>
          </p:nvSpPr>
          <p:spPr bwMode="auto">
            <a:xfrm>
              <a:off x="6338091" y="1724027"/>
              <a:ext cx="20637" cy="4764"/>
            </a:xfrm>
            <a:custGeom>
              <a:avLst/>
              <a:gdLst>
                <a:gd name="T0" fmla="*/ 3 w 13"/>
                <a:gd name="T1" fmla="*/ 0 h 3"/>
                <a:gd name="T2" fmla="*/ 3 w 13"/>
                <a:gd name="T3" fmla="*/ 0 h 3"/>
                <a:gd name="T4" fmla="*/ 5 w 13"/>
                <a:gd name="T5" fmla="*/ 0 h 3"/>
                <a:gd name="T6" fmla="*/ 5 w 13"/>
                <a:gd name="T7" fmla="*/ 0 h 3"/>
                <a:gd name="T8" fmla="*/ 8 w 13"/>
                <a:gd name="T9" fmla="*/ 0 h 3"/>
                <a:gd name="T10" fmla="*/ 8 w 13"/>
                <a:gd name="T11" fmla="*/ 0 h 3"/>
                <a:gd name="T12" fmla="*/ 11 w 13"/>
                <a:gd name="T13" fmla="*/ 0 h 3"/>
                <a:gd name="T14" fmla="*/ 11 w 13"/>
                <a:gd name="T15" fmla="*/ 0 h 3"/>
                <a:gd name="T16" fmla="*/ 13 w 13"/>
                <a:gd name="T17" fmla="*/ 3 h 3"/>
                <a:gd name="T18" fmla="*/ 11 w 13"/>
                <a:gd name="T19" fmla="*/ 3 h 3"/>
                <a:gd name="T20" fmla="*/ 8 w 13"/>
                <a:gd name="T21" fmla="*/ 3 h 3"/>
                <a:gd name="T22" fmla="*/ 8 w 13"/>
                <a:gd name="T23" fmla="*/ 3 h 3"/>
                <a:gd name="T24" fmla="*/ 5 w 13"/>
                <a:gd name="T25" fmla="*/ 3 h 3"/>
                <a:gd name="T26" fmla="*/ 5 w 13"/>
                <a:gd name="T27" fmla="*/ 3 h 3"/>
                <a:gd name="T28" fmla="*/ 3 w 13"/>
                <a:gd name="T29" fmla="*/ 3 h 3"/>
                <a:gd name="T30" fmla="*/ 3 w 13"/>
                <a:gd name="T31" fmla="*/ 3 h 3"/>
                <a:gd name="T32" fmla="*/ 0 w 13"/>
                <a:gd name="T33" fmla="*/ 0 h 3"/>
                <a:gd name="T34" fmla="*/ 0 w 13"/>
                <a:gd name="T35" fmla="*/ 0 h 3"/>
                <a:gd name="T36" fmla="*/ 0 w 13"/>
                <a:gd name="T37" fmla="*/ 0 h 3"/>
                <a:gd name="T38" fmla="*/ 3 w 13"/>
                <a:gd name="T39" fmla="*/ 0 h 3"/>
                <a:gd name="T40" fmla="*/ 3 w 13"/>
                <a:gd name="T4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3" extrusionOk="0">
                  <a:moveTo>
                    <a:pt x="3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2" name="Freeform 8769">
              <a:extLst>
                <a:ext uri="{FF2B5EF4-FFF2-40B4-BE49-F238E27FC236}">
                  <a16:creationId xmlns:a16="http://schemas.microsoft.com/office/drawing/2014/main" id="{5BA949A5-16AB-1A49-AD60-5D16030A7934}"/>
                </a:ext>
              </a:extLst>
            </p:cNvPr>
            <p:cNvSpPr/>
            <p:nvPr/>
          </p:nvSpPr>
          <p:spPr bwMode="auto">
            <a:xfrm>
              <a:off x="5650705" y="2682877"/>
              <a:ext cx="9526" cy="7937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0 h 5"/>
                <a:gd name="T4" fmla="*/ 0 w 6"/>
                <a:gd name="T5" fmla="*/ 0 h 5"/>
                <a:gd name="T6" fmla="*/ 3 w 6"/>
                <a:gd name="T7" fmla="*/ 0 h 5"/>
                <a:gd name="T8" fmla="*/ 3 w 6"/>
                <a:gd name="T9" fmla="*/ 0 h 5"/>
                <a:gd name="T10" fmla="*/ 6 w 6"/>
                <a:gd name="T11" fmla="*/ 0 h 5"/>
                <a:gd name="T12" fmla="*/ 6 w 6"/>
                <a:gd name="T13" fmla="*/ 3 h 5"/>
                <a:gd name="T14" fmla="*/ 3 w 6"/>
                <a:gd name="T15" fmla="*/ 3 h 5"/>
                <a:gd name="T16" fmla="*/ 3 w 6"/>
                <a:gd name="T17" fmla="*/ 3 h 5"/>
                <a:gd name="T18" fmla="*/ 3 w 6"/>
                <a:gd name="T19" fmla="*/ 3 h 5"/>
                <a:gd name="T20" fmla="*/ 3 w 6"/>
                <a:gd name="T21" fmla="*/ 5 h 5"/>
                <a:gd name="T22" fmla="*/ 0 w 6"/>
                <a:gd name="T23" fmla="*/ 5 h 5"/>
                <a:gd name="T24" fmla="*/ 0 w 6"/>
                <a:gd name="T25" fmla="*/ 5 h 5"/>
                <a:gd name="T26" fmla="*/ 0 w 6"/>
                <a:gd name="T27" fmla="*/ 5 h 5"/>
                <a:gd name="T28" fmla="*/ 0 w 6"/>
                <a:gd name="T29" fmla="*/ 5 h 5"/>
                <a:gd name="T30" fmla="*/ 0 w 6"/>
                <a:gd name="T31" fmla="*/ 5 h 5"/>
                <a:gd name="T32" fmla="*/ 0 w 6"/>
                <a:gd name="T33" fmla="*/ 5 h 5"/>
                <a:gd name="T34" fmla="*/ 0 w 6"/>
                <a:gd name="T35" fmla="*/ 3 h 5"/>
                <a:gd name="T36" fmla="*/ 0 w 6"/>
                <a:gd name="T37" fmla="*/ 3 h 5"/>
                <a:gd name="T38" fmla="*/ 0 w 6"/>
                <a:gd name="T39" fmla="*/ 3 h 5"/>
                <a:gd name="T40" fmla="*/ 0 w 6"/>
                <a:gd name="T41" fmla="*/ 0 h 5"/>
                <a:gd name="T42" fmla="*/ 0 w 6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33" name="Freeform 8770">
              <a:extLst>
                <a:ext uri="{FF2B5EF4-FFF2-40B4-BE49-F238E27FC236}">
                  <a16:creationId xmlns:a16="http://schemas.microsoft.com/office/drawing/2014/main" id="{2CABD974-4B82-0A4D-8D53-B858F565E957}"/>
                </a:ext>
              </a:extLst>
            </p:cNvPr>
            <p:cNvSpPr/>
            <p:nvPr/>
          </p:nvSpPr>
          <p:spPr bwMode="auto">
            <a:xfrm>
              <a:off x="5642767" y="2705102"/>
              <a:ext cx="4764" cy="3175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0 w 3"/>
                <a:gd name="T9" fmla="*/ 0 h 2"/>
                <a:gd name="T10" fmla="*/ 0 w 3"/>
                <a:gd name="T11" fmla="*/ 0 h 2"/>
                <a:gd name="T12" fmla="*/ 0 w 3"/>
                <a:gd name="T13" fmla="*/ 2 h 2"/>
                <a:gd name="T14" fmla="*/ 0 w 3"/>
                <a:gd name="T15" fmla="*/ 2 h 2"/>
                <a:gd name="T16" fmla="*/ 0 w 3"/>
                <a:gd name="T17" fmla="*/ 2 h 2"/>
                <a:gd name="T18" fmla="*/ 0 w 3"/>
                <a:gd name="T19" fmla="*/ 2 h 2"/>
                <a:gd name="T20" fmla="*/ 0 w 3"/>
                <a:gd name="T21" fmla="*/ 2 h 2"/>
                <a:gd name="T22" fmla="*/ 0 w 3"/>
                <a:gd name="T23" fmla="*/ 2 h 2"/>
                <a:gd name="T24" fmla="*/ 0 w 3"/>
                <a:gd name="T25" fmla="*/ 2 h 2"/>
                <a:gd name="T26" fmla="*/ 0 w 3"/>
                <a:gd name="T27" fmla="*/ 2 h 2"/>
                <a:gd name="T28" fmla="*/ 3 w 3"/>
                <a:gd name="T29" fmla="*/ 2 h 2"/>
                <a:gd name="T30" fmla="*/ 3 w 3"/>
                <a:gd name="T31" fmla="*/ 0 h 2"/>
                <a:gd name="T32" fmla="*/ 3 w 3"/>
                <a:gd name="T33" fmla="*/ 0 h 2"/>
                <a:gd name="T34" fmla="*/ 3 w 3"/>
                <a:gd name="T3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2" extrusionOk="0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2" name="Freeform 8771">
              <a:extLst>
                <a:ext uri="{FF2B5EF4-FFF2-40B4-BE49-F238E27FC236}">
                  <a16:creationId xmlns:a16="http://schemas.microsoft.com/office/drawing/2014/main" id="{BEE42B0F-42F6-4142-BE85-10F20B318AD3}"/>
                </a:ext>
              </a:extLst>
            </p:cNvPr>
            <p:cNvSpPr/>
            <p:nvPr/>
          </p:nvSpPr>
          <p:spPr bwMode="auto">
            <a:xfrm>
              <a:off x="5672929" y="2682877"/>
              <a:ext cx="3175" cy="22225"/>
            </a:xfrm>
            <a:custGeom>
              <a:avLst/>
              <a:gdLst>
                <a:gd name="T0" fmla="*/ 2 w 2"/>
                <a:gd name="T1" fmla="*/ 0 h 14"/>
                <a:gd name="T2" fmla="*/ 2 w 2"/>
                <a:gd name="T3" fmla="*/ 0 h 14"/>
                <a:gd name="T4" fmla="*/ 2 w 2"/>
                <a:gd name="T5" fmla="*/ 3 h 14"/>
                <a:gd name="T6" fmla="*/ 2 w 2"/>
                <a:gd name="T7" fmla="*/ 3 h 14"/>
                <a:gd name="T8" fmla="*/ 2 w 2"/>
                <a:gd name="T9" fmla="*/ 5 h 14"/>
                <a:gd name="T10" fmla="*/ 2 w 2"/>
                <a:gd name="T11" fmla="*/ 5 h 14"/>
                <a:gd name="T12" fmla="*/ 2 w 2"/>
                <a:gd name="T13" fmla="*/ 5 h 14"/>
                <a:gd name="T14" fmla="*/ 2 w 2"/>
                <a:gd name="T15" fmla="*/ 8 h 14"/>
                <a:gd name="T16" fmla="*/ 2 w 2"/>
                <a:gd name="T17" fmla="*/ 8 h 14"/>
                <a:gd name="T18" fmla="*/ 2 w 2"/>
                <a:gd name="T19" fmla="*/ 11 h 14"/>
                <a:gd name="T20" fmla="*/ 2 w 2"/>
                <a:gd name="T21" fmla="*/ 11 h 14"/>
                <a:gd name="T22" fmla="*/ 2 w 2"/>
                <a:gd name="T23" fmla="*/ 11 h 14"/>
                <a:gd name="T24" fmla="*/ 2 w 2"/>
                <a:gd name="T25" fmla="*/ 14 h 14"/>
                <a:gd name="T26" fmla="*/ 2 w 2"/>
                <a:gd name="T27" fmla="*/ 11 h 14"/>
                <a:gd name="T28" fmla="*/ 2 w 2"/>
                <a:gd name="T29" fmla="*/ 11 h 14"/>
                <a:gd name="T30" fmla="*/ 2 w 2"/>
                <a:gd name="T31" fmla="*/ 11 h 14"/>
                <a:gd name="T32" fmla="*/ 2 w 2"/>
                <a:gd name="T33" fmla="*/ 11 h 14"/>
                <a:gd name="T34" fmla="*/ 2 w 2"/>
                <a:gd name="T35" fmla="*/ 8 h 14"/>
                <a:gd name="T36" fmla="*/ 0 w 2"/>
                <a:gd name="T37" fmla="*/ 8 h 14"/>
                <a:gd name="T38" fmla="*/ 0 w 2"/>
                <a:gd name="T39" fmla="*/ 8 h 14"/>
                <a:gd name="T40" fmla="*/ 0 w 2"/>
                <a:gd name="T41" fmla="*/ 5 h 14"/>
                <a:gd name="T42" fmla="*/ 0 w 2"/>
                <a:gd name="T43" fmla="*/ 5 h 14"/>
                <a:gd name="T44" fmla="*/ 0 w 2"/>
                <a:gd name="T45" fmla="*/ 3 h 14"/>
                <a:gd name="T46" fmla="*/ 2 w 2"/>
                <a:gd name="T47" fmla="*/ 3 h 14"/>
                <a:gd name="T48" fmla="*/ 2 w 2"/>
                <a:gd name="T49" fmla="*/ 3 h 14"/>
                <a:gd name="T50" fmla="*/ 2 w 2"/>
                <a:gd name="T5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" h="14" extrusionOk="0">
                  <a:moveTo>
                    <a:pt x="2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5" name="Freeform 8772">
              <a:extLst>
                <a:ext uri="{FF2B5EF4-FFF2-40B4-BE49-F238E27FC236}">
                  <a16:creationId xmlns:a16="http://schemas.microsoft.com/office/drawing/2014/main" id="{96FE1C02-4FF2-CF4B-BEA1-CC208FE241D5}"/>
                </a:ext>
              </a:extLst>
            </p:cNvPr>
            <p:cNvSpPr/>
            <p:nvPr/>
          </p:nvSpPr>
          <p:spPr bwMode="auto">
            <a:xfrm>
              <a:off x="5680865" y="2687640"/>
              <a:ext cx="7938" cy="25400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2 h 16"/>
                <a:gd name="T4" fmla="*/ 0 w 5"/>
                <a:gd name="T5" fmla="*/ 2 h 16"/>
                <a:gd name="T6" fmla="*/ 3 w 5"/>
                <a:gd name="T7" fmla="*/ 5 h 16"/>
                <a:gd name="T8" fmla="*/ 3 w 5"/>
                <a:gd name="T9" fmla="*/ 5 h 16"/>
                <a:gd name="T10" fmla="*/ 5 w 5"/>
                <a:gd name="T11" fmla="*/ 5 h 16"/>
                <a:gd name="T12" fmla="*/ 5 w 5"/>
                <a:gd name="T13" fmla="*/ 5 h 16"/>
                <a:gd name="T14" fmla="*/ 5 w 5"/>
                <a:gd name="T15" fmla="*/ 8 h 16"/>
                <a:gd name="T16" fmla="*/ 5 w 5"/>
                <a:gd name="T17" fmla="*/ 11 h 16"/>
                <a:gd name="T18" fmla="*/ 5 w 5"/>
                <a:gd name="T19" fmla="*/ 11 h 16"/>
                <a:gd name="T20" fmla="*/ 5 w 5"/>
                <a:gd name="T21" fmla="*/ 13 h 16"/>
                <a:gd name="T22" fmla="*/ 5 w 5"/>
                <a:gd name="T23" fmla="*/ 13 h 16"/>
                <a:gd name="T24" fmla="*/ 3 w 5"/>
                <a:gd name="T25" fmla="*/ 13 h 16"/>
                <a:gd name="T26" fmla="*/ 3 w 5"/>
                <a:gd name="T27" fmla="*/ 16 h 16"/>
                <a:gd name="T28" fmla="*/ 3 w 5"/>
                <a:gd name="T29" fmla="*/ 16 h 16"/>
                <a:gd name="T30" fmla="*/ 3 w 5"/>
                <a:gd name="T31" fmla="*/ 16 h 16"/>
                <a:gd name="T32" fmla="*/ 3 w 5"/>
                <a:gd name="T33" fmla="*/ 13 h 16"/>
                <a:gd name="T34" fmla="*/ 3 w 5"/>
                <a:gd name="T35" fmla="*/ 11 h 16"/>
                <a:gd name="T36" fmla="*/ 0 w 5"/>
                <a:gd name="T37" fmla="*/ 11 h 16"/>
                <a:gd name="T38" fmla="*/ 0 w 5"/>
                <a:gd name="T39" fmla="*/ 11 h 16"/>
                <a:gd name="T40" fmla="*/ 0 w 5"/>
                <a:gd name="T41" fmla="*/ 8 h 16"/>
                <a:gd name="T42" fmla="*/ 0 w 5"/>
                <a:gd name="T43" fmla="*/ 8 h 16"/>
                <a:gd name="T44" fmla="*/ 0 w 5"/>
                <a:gd name="T45" fmla="*/ 8 h 16"/>
                <a:gd name="T46" fmla="*/ 0 w 5"/>
                <a:gd name="T47" fmla="*/ 5 h 16"/>
                <a:gd name="T48" fmla="*/ 0 w 5"/>
                <a:gd name="T49" fmla="*/ 5 h 16"/>
                <a:gd name="T50" fmla="*/ 0 w 5"/>
                <a:gd name="T51" fmla="*/ 5 h 16"/>
                <a:gd name="T52" fmla="*/ 0 w 5"/>
                <a:gd name="T53" fmla="*/ 5 h 16"/>
                <a:gd name="T54" fmla="*/ 0 w 5"/>
                <a:gd name="T55" fmla="*/ 5 h 16"/>
                <a:gd name="T56" fmla="*/ 0 w 5"/>
                <a:gd name="T57" fmla="*/ 2 h 16"/>
                <a:gd name="T58" fmla="*/ 0 w 5"/>
                <a:gd name="T59" fmla="*/ 2 h 16"/>
                <a:gd name="T60" fmla="*/ 0 w 5"/>
                <a:gd name="T61" fmla="*/ 2 h 16"/>
                <a:gd name="T62" fmla="*/ 0 w 5"/>
                <a:gd name="T63" fmla="*/ 2 h 16"/>
                <a:gd name="T64" fmla="*/ 0 w 5"/>
                <a:gd name="T6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" h="16" extrusionOk="0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6" name="Freeform 8773">
              <a:extLst>
                <a:ext uri="{FF2B5EF4-FFF2-40B4-BE49-F238E27FC236}">
                  <a16:creationId xmlns:a16="http://schemas.microsoft.com/office/drawing/2014/main" id="{A12C0277-FB5E-294E-B69E-108497AE435C}"/>
                </a:ext>
              </a:extLst>
            </p:cNvPr>
            <p:cNvSpPr/>
            <p:nvPr/>
          </p:nvSpPr>
          <p:spPr bwMode="auto">
            <a:xfrm>
              <a:off x="5655466" y="2814639"/>
              <a:ext cx="7938" cy="25400"/>
            </a:xfrm>
            <a:custGeom>
              <a:avLst/>
              <a:gdLst>
                <a:gd name="T0" fmla="*/ 0 w 5"/>
                <a:gd name="T1" fmla="*/ 0 h 16"/>
                <a:gd name="T2" fmla="*/ 0 w 5"/>
                <a:gd name="T3" fmla="*/ 0 h 16"/>
                <a:gd name="T4" fmla="*/ 0 w 5"/>
                <a:gd name="T5" fmla="*/ 3 h 16"/>
                <a:gd name="T6" fmla="*/ 0 w 5"/>
                <a:gd name="T7" fmla="*/ 3 h 16"/>
                <a:gd name="T8" fmla="*/ 0 w 5"/>
                <a:gd name="T9" fmla="*/ 3 h 16"/>
                <a:gd name="T10" fmla="*/ 0 w 5"/>
                <a:gd name="T11" fmla="*/ 5 h 16"/>
                <a:gd name="T12" fmla="*/ 0 w 5"/>
                <a:gd name="T13" fmla="*/ 5 h 16"/>
                <a:gd name="T14" fmla="*/ 0 w 5"/>
                <a:gd name="T15" fmla="*/ 5 h 16"/>
                <a:gd name="T16" fmla="*/ 0 w 5"/>
                <a:gd name="T17" fmla="*/ 5 h 16"/>
                <a:gd name="T18" fmla="*/ 0 w 5"/>
                <a:gd name="T19" fmla="*/ 8 h 16"/>
                <a:gd name="T20" fmla="*/ 0 w 5"/>
                <a:gd name="T21" fmla="*/ 8 h 16"/>
                <a:gd name="T22" fmla="*/ 0 w 5"/>
                <a:gd name="T23" fmla="*/ 8 h 16"/>
                <a:gd name="T24" fmla="*/ 0 w 5"/>
                <a:gd name="T25" fmla="*/ 11 h 16"/>
                <a:gd name="T26" fmla="*/ 0 w 5"/>
                <a:gd name="T27" fmla="*/ 11 h 16"/>
                <a:gd name="T28" fmla="*/ 0 w 5"/>
                <a:gd name="T29" fmla="*/ 11 h 16"/>
                <a:gd name="T30" fmla="*/ 0 w 5"/>
                <a:gd name="T31" fmla="*/ 13 h 16"/>
                <a:gd name="T32" fmla="*/ 0 w 5"/>
                <a:gd name="T33" fmla="*/ 13 h 16"/>
                <a:gd name="T34" fmla="*/ 0 w 5"/>
                <a:gd name="T35" fmla="*/ 13 h 16"/>
                <a:gd name="T36" fmla="*/ 0 w 5"/>
                <a:gd name="T37" fmla="*/ 13 h 16"/>
                <a:gd name="T38" fmla="*/ 0 w 5"/>
                <a:gd name="T39" fmla="*/ 16 h 16"/>
                <a:gd name="T40" fmla="*/ 3 w 5"/>
                <a:gd name="T41" fmla="*/ 16 h 16"/>
                <a:gd name="T42" fmla="*/ 3 w 5"/>
                <a:gd name="T43" fmla="*/ 16 h 16"/>
                <a:gd name="T44" fmla="*/ 3 w 5"/>
                <a:gd name="T45" fmla="*/ 16 h 16"/>
                <a:gd name="T46" fmla="*/ 3 w 5"/>
                <a:gd name="T47" fmla="*/ 16 h 16"/>
                <a:gd name="T48" fmla="*/ 5 w 5"/>
                <a:gd name="T49" fmla="*/ 16 h 16"/>
                <a:gd name="T50" fmla="*/ 5 w 5"/>
                <a:gd name="T51" fmla="*/ 16 h 16"/>
                <a:gd name="T52" fmla="*/ 5 w 5"/>
                <a:gd name="T53" fmla="*/ 13 h 16"/>
                <a:gd name="T54" fmla="*/ 5 w 5"/>
                <a:gd name="T55" fmla="*/ 13 h 16"/>
                <a:gd name="T56" fmla="*/ 5 w 5"/>
                <a:gd name="T57" fmla="*/ 13 h 16"/>
                <a:gd name="T58" fmla="*/ 5 w 5"/>
                <a:gd name="T59" fmla="*/ 13 h 16"/>
                <a:gd name="T60" fmla="*/ 5 w 5"/>
                <a:gd name="T61" fmla="*/ 13 h 16"/>
                <a:gd name="T62" fmla="*/ 5 w 5"/>
                <a:gd name="T63" fmla="*/ 11 h 16"/>
                <a:gd name="T64" fmla="*/ 5 w 5"/>
                <a:gd name="T65" fmla="*/ 11 h 16"/>
                <a:gd name="T66" fmla="*/ 5 w 5"/>
                <a:gd name="T67" fmla="*/ 8 h 16"/>
                <a:gd name="T68" fmla="*/ 5 w 5"/>
                <a:gd name="T69" fmla="*/ 8 h 16"/>
                <a:gd name="T70" fmla="*/ 5 w 5"/>
                <a:gd name="T71" fmla="*/ 8 h 16"/>
                <a:gd name="T72" fmla="*/ 5 w 5"/>
                <a:gd name="T73" fmla="*/ 5 h 16"/>
                <a:gd name="T74" fmla="*/ 5 w 5"/>
                <a:gd name="T75" fmla="*/ 5 h 16"/>
                <a:gd name="T76" fmla="*/ 3 w 5"/>
                <a:gd name="T77" fmla="*/ 3 h 16"/>
                <a:gd name="T78" fmla="*/ 3 w 5"/>
                <a:gd name="T79" fmla="*/ 3 h 16"/>
                <a:gd name="T80" fmla="*/ 3 w 5"/>
                <a:gd name="T81" fmla="*/ 3 h 16"/>
                <a:gd name="T82" fmla="*/ 3 w 5"/>
                <a:gd name="T83" fmla="*/ 3 h 16"/>
                <a:gd name="T84" fmla="*/ 0 w 5"/>
                <a:gd name="T85" fmla="*/ 3 h 16"/>
                <a:gd name="T86" fmla="*/ 0 w 5"/>
                <a:gd name="T87" fmla="*/ 3 h 16"/>
                <a:gd name="T88" fmla="*/ 0 w 5"/>
                <a:gd name="T89" fmla="*/ 3 h 16"/>
                <a:gd name="T90" fmla="*/ 0 w 5"/>
                <a:gd name="T91" fmla="*/ 0 h 16"/>
                <a:gd name="T92" fmla="*/ 0 w 5"/>
                <a:gd name="T9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" h="16" extrusionOk="0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7" name="Freeform 8774">
              <a:extLst>
                <a:ext uri="{FF2B5EF4-FFF2-40B4-BE49-F238E27FC236}">
                  <a16:creationId xmlns:a16="http://schemas.microsoft.com/office/drawing/2014/main" id="{0A0A6DD2-768C-4042-8780-D0FD0919A95D}"/>
                </a:ext>
              </a:extLst>
            </p:cNvPr>
            <p:cNvSpPr/>
            <p:nvPr/>
          </p:nvSpPr>
          <p:spPr bwMode="auto">
            <a:xfrm>
              <a:off x="5647529" y="2814639"/>
              <a:ext cx="7938" cy="17463"/>
            </a:xfrm>
            <a:custGeom>
              <a:avLst/>
              <a:gdLst>
                <a:gd name="T0" fmla="*/ 2 w 5"/>
                <a:gd name="T1" fmla="*/ 0 h 11"/>
                <a:gd name="T2" fmla="*/ 2 w 5"/>
                <a:gd name="T3" fmla="*/ 0 h 11"/>
                <a:gd name="T4" fmla="*/ 0 w 5"/>
                <a:gd name="T5" fmla="*/ 0 h 11"/>
                <a:gd name="T6" fmla="*/ 0 w 5"/>
                <a:gd name="T7" fmla="*/ 0 h 11"/>
                <a:gd name="T8" fmla="*/ 0 w 5"/>
                <a:gd name="T9" fmla="*/ 3 h 11"/>
                <a:gd name="T10" fmla="*/ 0 w 5"/>
                <a:gd name="T11" fmla="*/ 3 h 11"/>
                <a:gd name="T12" fmla="*/ 0 w 5"/>
                <a:gd name="T13" fmla="*/ 3 h 11"/>
                <a:gd name="T14" fmla="*/ 0 w 5"/>
                <a:gd name="T15" fmla="*/ 3 h 11"/>
                <a:gd name="T16" fmla="*/ 0 w 5"/>
                <a:gd name="T17" fmla="*/ 5 h 11"/>
                <a:gd name="T18" fmla="*/ 0 w 5"/>
                <a:gd name="T19" fmla="*/ 5 h 11"/>
                <a:gd name="T20" fmla="*/ 0 w 5"/>
                <a:gd name="T21" fmla="*/ 8 h 11"/>
                <a:gd name="T22" fmla="*/ 0 w 5"/>
                <a:gd name="T23" fmla="*/ 8 h 11"/>
                <a:gd name="T24" fmla="*/ 2 w 5"/>
                <a:gd name="T25" fmla="*/ 8 h 11"/>
                <a:gd name="T26" fmla="*/ 2 w 5"/>
                <a:gd name="T27" fmla="*/ 11 h 11"/>
                <a:gd name="T28" fmla="*/ 2 w 5"/>
                <a:gd name="T29" fmla="*/ 11 h 11"/>
                <a:gd name="T30" fmla="*/ 2 w 5"/>
                <a:gd name="T31" fmla="*/ 11 h 11"/>
                <a:gd name="T32" fmla="*/ 2 w 5"/>
                <a:gd name="T33" fmla="*/ 11 h 11"/>
                <a:gd name="T34" fmla="*/ 2 w 5"/>
                <a:gd name="T35" fmla="*/ 11 h 11"/>
                <a:gd name="T36" fmla="*/ 2 w 5"/>
                <a:gd name="T37" fmla="*/ 11 h 11"/>
                <a:gd name="T38" fmla="*/ 2 w 5"/>
                <a:gd name="T39" fmla="*/ 11 h 11"/>
                <a:gd name="T40" fmla="*/ 2 w 5"/>
                <a:gd name="T41" fmla="*/ 11 h 11"/>
                <a:gd name="T42" fmla="*/ 2 w 5"/>
                <a:gd name="T43" fmla="*/ 8 h 11"/>
                <a:gd name="T44" fmla="*/ 2 w 5"/>
                <a:gd name="T45" fmla="*/ 8 h 11"/>
                <a:gd name="T46" fmla="*/ 2 w 5"/>
                <a:gd name="T47" fmla="*/ 8 h 11"/>
                <a:gd name="T48" fmla="*/ 2 w 5"/>
                <a:gd name="T49" fmla="*/ 5 h 11"/>
                <a:gd name="T50" fmla="*/ 2 w 5"/>
                <a:gd name="T51" fmla="*/ 5 h 11"/>
                <a:gd name="T52" fmla="*/ 2 w 5"/>
                <a:gd name="T53" fmla="*/ 5 h 11"/>
                <a:gd name="T54" fmla="*/ 5 w 5"/>
                <a:gd name="T55" fmla="*/ 3 h 11"/>
                <a:gd name="T56" fmla="*/ 5 w 5"/>
                <a:gd name="T57" fmla="*/ 3 h 11"/>
                <a:gd name="T58" fmla="*/ 5 w 5"/>
                <a:gd name="T59" fmla="*/ 3 h 11"/>
                <a:gd name="T60" fmla="*/ 5 w 5"/>
                <a:gd name="T61" fmla="*/ 3 h 11"/>
                <a:gd name="T62" fmla="*/ 2 w 5"/>
                <a:gd name="T63" fmla="*/ 0 h 11"/>
                <a:gd name="T64" fmla="*/ 2 w 5"/>
                <a:gd name="T65" fmla="*/ 0 h 11"/>
                <a:gd name="T66" fmla="*/ 2 w 5"/>
                <a:gd name="T67" fmla="*/ 0 h 11"/>
                <a:gd name="T68" fmla="*/ 2 w 5"/>
                <a:gd name="T69" fmla="*/ 0 h 11"/>
                <a:gd name="T70" fmla="*/ 2 w 5"/>
                <a:gd name="T7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11" extrusionOk="0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58" name="Freeform 8775">
              <a:extLst>
                <a:ext uri="{FF2B5EF4-FFF2-40B4-BE49-F238E27FC236}">
                  <a16:creationId xmlns:a16="http://schemas.microsoft.com/office/drawing/2014/main" id="{1FBD274C-418B-F449-950B-09B1F82FAC9C}"/>
                </a:ext>
              </a:extLst>
            </p:cNvPr>
            <p:cNvSpPr/>
            <p:nvPr/>
          </p:nvSpPr>
          <p:spPr bwMode="auto">
            <a:xfrm>
              <a:off x="5685628" y="2784477"/>
              <a:ext cx="15875" cy="12699"/>
            </a:xfrm>
            <a:custGeom>
              <a:avLst/>
              <a:gdLst>
                <a:gd name="T0" fmla="*/ 10 w 10"/>
                <a:gd name="T1" fmla="*/ 0 h 8"/>
                <a:gd name="T2" fmla="*/ 10 w 10"/>
                <a:gd name="T3" fmla="*/ 0 h 8"/>
                <a:gd name="T4" fmla="*/ 10 w 10"/>
                <a:gd name="T5" fmla="*/ 0 h 8"/>
                <a:gd name="T6" fmla="*/ 8 w 10"/>
                <a:gd name="T7" fmla="*/ 0 h 8"/>
                <a:gd name="T8" fmla="*/ 8 w 10"/>
                <a:gd name="T9" fmla="*/ 0 h 8"/>
                <a:gd name="T10" fmla="*/ 8 w 10"/>
                <a:gd name="T11" fmla="*/ 3 h 8"/>
                <a:gd name="T12" fmla="*/ 8 w 10"/>
                <a:gd name="T13" fmla="*/ 3 h 8"/>
                <a:gd name="T14" fmla="*/ 5 w 10"/>
                <a:gd name="T15" fmla="*/ 3 h 8"/>
                <a:gd name="T16" fmla="*/ 5 w 10"/>
                <a:gd name="T17" fmla="*/ 3 h 8"/>
                <a:gd name="T18" fmla="*/ 5 w 10"/>
                <a:gd name="T19" fmla="*/ 3 h 8"/>
                <a:gd name="T20" fmla="*/ 5 w 10"/>
                <a:gd name="T21" fmla="*/ 3 h 8"/>
                <a:gd name="T22" fmla="*/ 5 w 10"/>
                <a:gd name="T23" fmla="*/ 6 h 8"/>
                <a:gd name="T24" fmla="*/ 2 w 10"/>
                <a:gd name="T25" fmla="*/ 6 h 8"/>
                <a:gd name="T26" fmla="*/ 2 w 10"/>
                <a:gd name="T27" fmla="*/ 6 h 8"/>
                <a:gd name="T28" fmla="*/ 2 w 10"/>
                <a:gd name="T29" fmla="*/ 6 h 8"/>
                <a:gd name="T30" fmla="*/ 0 w 10"/>
                <a:gd name="T31" fmla="*/ 8 h 8"/>
                <a:gd name="T32" fmla="*/ 0 w 10"/>
                <a:gd name="T33" fmla="*/ 8 h 8"/>
                <a:gd name="T34" fmla="*/ 2 w 10"/>
                <a:gd name="T35" fmla="*/ 8 h 8"/>
                <a:gd name="T36" fmla="*/ 2 w 10"/>
                <a:gd name="T37" fmla="*/ 8 h 8"/>
                <a:gd name="T38" fmla="*/ 5 w 10"/>
                <a:gd name="T39" fmla="*/ 8 h 8"/>
                <a:gd name="T40" fmla="*/ 5 w 10"/>
                <a:gd name="T41" fmla="*/ 8 h 8"/>
                <a:gd name="T42" fmla="*/ 5 w 10"/>
                <a:gd name="T43" fmla="*/ 8 h 8"/>
                <a:gd name="T44" fmla="*/ 8 w 10"/>
                <a:gd name="T45" fmla="*/ 6 h 8"/>
                <a:gd name="T46" fmla="*/ 8 w 10"/>
                <a:gd name="T47" fmla="*/ 6 h 8"/>
                <a:gd name="T48" fmla="*/ 8 w 10"/>
                <a:gd name="T49" fmla="*/ 6 h 8"/>
                <a:gd name="T50" fmla="*/ 8 w 10"/>
                <a:gd name="T51" fmla="*/ 3 h 8"/>
                <a:gd name="T52" fmla="*/ 8 w 10"/>
                <a:gd name="T53" fmla="*/ 3 h 8"/>
                <a:gd name="T54" fmla="*/ 10 w 10"/>
                <a:gd name="T55" fmla="*/ 3 h 8"/>
                <a:gd name="T56" fmla="*/ 10 w 10"/>
                <a:gd name="T57" fmla="*/ 3 h 8"/>
                <a:gd name="T58" fmla="*/ 10 w 10"/>
                <a:gd name="T59" fmla="*/ 0 h 8"/>
                <a:gd name="T60" fmla="*/ 10 w 10"/>
                <a:gd name="T61" fmla="*/ 0 h 8"/>
                <a:gd name="T62" fmla="*/ 10 w 10"/>
                <a:gd name="T6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" h="8" extrusionOk="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1" name="Freeform 8776">
              <a:extLst>
                <a:ext uri="{FF2B5EF4-FFF2-40B4-BE49-F238E27FC236}">
                  <a16:creationId xmlns:a16="http://schemas.microsoft.com/office/drawing/2014/main" id="{E5C937F9-C68C-8F4D-89B5-1DA856DF4F90}"/>
                </a:ext>
              </a:extLst>
            </p:cNvPr>
            <p:cNvSpPr/>
            <p:nvPr/>
          </p:nvSpPr>
          <p:spPr bwMode="auto">
            <a:xfrm>
              <a:off x="5688805" y="2771777"/>
              <a:ext cx="12700" cy="17463"/>
            </a:xfrm>
            <a:custGeom>
              <a:avLst/>
              <a:gdLst>
                <a:gd name="T0" fmla="*/ 8 w 8"/>
                <a:gd name="T1" fmla="*/ 0 h 11"/>
                <a:gd name="T2" fmla="*/ 8 w 8"/>
                <a:gd name="T3" fmla="*/ 0 h 11"/>
                <a:gd name="T4" fmla="*/ 6 w 8"/>
                <a:gd name="T5" fmla="*/ 0 h 11"/>
                <a:gd name="T6" fmla="*/ 6 w 8"/>
                <a:gd name="T7" fmla="*/ 0 h 11"/>
                <a:gd name="T8" fmla="*/ 6 w 8"/>
                <a:gd name="T9" fmla="*/ 0 h 11"/>
                <a:gd name="T10" fmla="*/ 6 w 8"/>
                <a:gd name="T11" fmla="*/ 3 h 11"/>
                <a:gd name="T12" fmla="*/ 6 w 8"/>
                <a:gd name="T13" fmla="*/ 3 h 11"/>
                <a:gd name="T14" fmla="*/ 6 w 8"/>
                <a:gd name="T15" fmla="*/ 6 h 11"/>
                <a:gd name="T16" fmla="*/ 6 w 8"/>
                <a:gd name="T17" fmla="*/ 6 h 11"/>
                <a:gd name="T18" fmla="*/ 3 w 8"/>
                <a:gd name="T19" fmla="*/ 6 h 11"/>
                <a:gd name="T20" fmla="*/ 3 w 8"/>
                <a:gd name="T21" fmla="*/ 8 h 11"/>
                <a:gd name="T22" fmla="*/ 3 w 8"/>
                <a:gd name="T23" fmla="*/ 8 h 11"/>
                <a:gd name="T24" fmla="*/ 0 w 8"/>
                <a:gd name="T25" fmla="*/ 8 h 11"/>
                <a:gd name="T26" fmla="*/ 0 w 8"/>
                <a:gd name="T27" fmla="*/ 8 h 11"/>
                <a:gd name="T28" fmla="*/ 0 w 8"/>
                <a:gd name="T29" fmla="*/ 11 h 11"/>
                <a:gd name="T30" fmla="*/ 0 w 8"/>
                <a:gd name="T31" fmla="*/ 11 h 11"/>
                <a:gd name="T32" fmla="*/ 0 w 8"/>
                <a:gd name="T33" fmla="*/ 11 h 11"/>
                <a:gd name="T34" fmla="*/ 0 w 8"/>
                <a:gd name="T35" fmla="*/ 11 h 11"/>
                <a:gd name="T36" fmla="*/ 0 w 8"/>
                <a:gd name="T37" fmla="*/ 11 h 11"/>
                <a:gd name="T38" fmla="*/ 0 w 8"/>
                <a:gd name="T39" fmla="*/ 11 h 11"/>
                <a:gd name="T40" fmla="*/ 3 w 8"/>
                <a:gd name="T41" fmla="*/ 8 h 11"/>
                <a:gd name="T42" fmla="*/ 3 w 8"/>
                <a:gd name="T43" fmla="*/ 8 h 11"/>
                <a:gd name="T44" fmla="*/ 3 w 8"/>
                <a:gd name="T45" fmla="*/ 8 h 11"/>
                <a:gd name="T46" fmla="*/ 6 w 8"/>
                <a:gd name="T47" fmla="*/ 8 h 11"/>
                <a:gd name="T48" fmla="*/ 6 w 8"/>
                <a:gd name="T49" fmla="*/ 8 h 11"/>
                <a:gd name="T50" fmla="*/ 8 w 8"/>
                <a:gd name="T51" fmla="*/ 6 h 11"/>
                <a:gd name="T52" fmla="*/ 8 w 8"/>
                <a:gd name="T53" fmla="*/ 3 h 11"/>
                <a:gd name="T54" fmla="*/ 8 w 8"/>
                <a:gd name="T55" fmla="*/ 3 h 11"/>
                <a:gd name="T56" fmla="*/ 8 w 8"/>
                <a:gd name="T57" fmla="*/ 3 h 11"/>
                <a:gd name="T58" fmla="*/ 8 w 8"/>
                <a:gd name="T59" fmla="*/ 0 h 11"/>
                <a:gd name="T60" fmla="*/ 8 w 8"/>
                <a:gd name="T61" fmla="*/ 0 h 11"/>
                <a:gd name="T62" fmla="*/ 8 w 8"/>
                <a:gd name="T63" fmla="*/ 0 h 11"/>
                <a:gd name="T64" fmla="*/ 8 w 8"/>
                <a:gd name="T6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6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2" name="Freeform 8777">
              <a:extLst>
                <a:ext uri="{FF2B5EF4-FFF2-40B4-BE49-F238E27FC236}">
                  <a16:creationId xmlns:a16="http://schemas.microsoft.com/office/drawing/2014/main" id="{3C4C0B05-A104-DC48-858B-88BFCD3788A4}"/>
                </a:ext>
              </a:extLst>
            </p:cNvPr>
            <p:cNvSpPr/>
            <p:nvPr/>
          </p:nvSpPr>
          <p:spPr bwMode="auto">
            <a:xfrm>
              <a:off x="5688805" y="2763839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0 h 11"/>
                <a:gd name="T4" fmla="*/ 3 w 8"/>
                <a:gd name="T5" fmla="*/ 0 h 11"/>
                <a:gd name="T6" fmla="*/ 3 w 8"/>
                <a:gd name="T7" fmla="*/ 0 h 11"/>
                <a:gd name="T8" fmla="*/ 3 w 8"/>
                <a:gd name="T9" fmla="*/ 3 h 11"/>
                <a:gd name="T10" fmla="*/ 3 w 8"/>
                <a:gd name="T11" fmla="*/ 3 h 11"/>
                <a:gd name="T12" fmla="*/ 3 w 8"/>
                <a:gd name="T13" fmla="*/ 0 h 11"/>
                <a:gd name="T14" fmla="*/ 6 w 8"/>
                <a:gd name="T15" fmla="*/ 0 h 11"/>
                <a:gd name="T16" fmla="*/ 6 w 8"/>
                <a:gd name="T17" fmla="*/ 0 h 11"/>
                <a:gd name="T18" fmla="*/ 6 w 8"/>
                <a:gd name="T19" fmla="*/ 0 h 11"/>
                <a:gd name="T20" fmla="*/ 8 w 8"/>
                <a:gd name="T21" fmla="*/ 0 h 11"/>
                <a:gd name="T22" fmla="*/ 8 w 8"/>
                <a:gd name="T23" fmla="*/ 0 h 11"/>
                <a:gd name="T24" fmla="*/ 6 w 8"/>
                <a:gd name="T25" fmla="*/ 3 h 11"/>
                <a:gd name="T26" fmla="*/ 6 w 8"/>
                <a:gd name="T27" fmla="*/ 3 h 11"/>
                <a:gd name="T28" fmla="*/ 6 w 8"/>
                <a:gd name="T29" fmla="*/ 3 h 11"/>
                <a:gd name="T30" fmla="*/ 6 w 8"/>
                <a:gd name="T31" fmla="*/ 5 h 11"/>
                <a:gd name="T32" fmla="*/ 6 w 8"/>
                <a:gd name="T33" fmla="*/ 5 h 11"/>
                <a:gd name="T34" fmla="*/ 6 w 8"/>
                <a:gd name="T35" fmla="*/ 5 h 11"/>
                <a:gd name="T36" fmla="*/ 3 w 8"/>
                <a:gd name="T37" fmla="*/ 5 h 11"/>
                <a:gd name="T38" fmla="*/ 6 w 8"/>
                <a:gd name="T39" fmla="*/ 8 h 11"/>
                <a:gd name="T40" fmla="*/ 6 w 8"/>
                <a:gd name="T41" fmla="*/ 8 h 11"/>
                <a:gd name="T42" fmla="*/ 6 w 8"/>
                <a:gd name="T43" fmla="*/ 8 h 11"/>
                <a:gd name="T44" fmla="*/ 3 w 8"/>
                <a:gd name="T45" fmla="*/ 11 h 11"/>
                <a:gd name="T46" fmla="*/ 3 w 8"/>
                <a:gd name="T47" fmla="*/ 11 h 11"/>
                <a:gd name="T48" fmla="*/ 3 w 8"/>
                <a:gd name="T49" fmla="*/ 11 h 11"/>
                <a:gd name="T50" fmla="*/ 0 w 8"/>
                <a:gd name="T51" fmla="*/ 8 h 11"/>
                <a:gd name="T52" fmla="*/ 0 w 8"/>
                <a:gd name="T53" fmla="*/ 8 h 11"/>
                <a:gd name="T54" fmla="*/ 0 w 8"/>
                <a:gd name="T55" fmla="*/ 8 h 11"/>
                <a:gd name="T56" fmla="*/ 0 w 8"/>
                <a:gd name="T57" fmla="*/ 5 h 11"/>
                <a:gd name="T58" fmla="*/ 0 w 8"/>
                <a:gd name="T59" fmla="*/ 5 h 11"/>
                <a:gd name="T60" fmla="*/ 0 w 8"/>
                <a:gd name="T61" fmla="*/ 3 h 11"/>
                <a:gd name="T62" fmla="*/ 0 w 8"/>
                <a:gd name="T63" fmla="*/ 3 h 11"/>
                <a:gd name="T64" fmla="*/ 0 w 8"/>
                <a:gd name="T65" fmla="*/ 3 h 11"/>
                <a:gd name="T66" fmla="*/ 0 w 8"/>
                <a:gd name="T67" fmla="*/ 0 h 11"/>
                <a:gd name="T68" fmla="*/ 0 w 8"/>
                <a:gd name="T69" fmla="*/ 0 h 11"/>
                <a:gd name="T70" fmla="*/ 0 w 8"/>
                <a:gd name="T71" fmla="*/ 0 h 11"/>
                <a:gd name="T72" fmla="*/ 0 w 8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3" name="Freeform 8778">
              <a:extLst>
                <a:ext uri="{FF2B5EF4-FFF2-40B4-BE49-F238E27FC236}">
                  <a16:creationId xmlns:a16="http://schemas.microsoft.com/office/drawing/2014/main" id="{6ACF84CA-520D-A243-828A-D0CAA04ADAE1}"/>
                </a:ext>
              </a:extLst>
            </p:cNvPr>
            <p:cNvSpPr/>
            <p:nvPr/>
          </p:nvSpPr>
          <p:spPr bwMode="auto">
            <a:xfrm>
              <a:off x="5685628" y="2746377"/>
              <a:ext cx="7938" cy="12699"/>
            </a:xfrm>
            <a:custGeom>
              <a:avLst/>
              <a:gdLst>
                <a:gd name="T0" fmla="*/ 2 w 5"/>
                <a:gd name="T1" fmla="*/ 0 h 8"/>
                <a:gd name="T2" fmla="*/ 5 w 5"/>
                <a:gd name="T3" fmla="*/ 0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6 h 8"/>
                <a:gd name="T10" fmla="*/ 5 w 5"/>
                <a:gd name="T11" fmla="*/ 6 h 8"/>
                <a:gd name="T12" fmla="*/ 2 w 5"/>
                <a:gd name="T13" fmla="*/ 6 h 8"/>
                <a:gd name="T14" fmla="*/ 2 w 5"/>
                <a:gd name="T15" fmla="*/ 8 h 8"/>
                <a:gd name="T16" fmla="*/ 2 w 5"/>
                <a:gd name="T17" fmla="*/ 8 h 8"/>
                <a:gd name="T18" fmla="*/ 0 w 5"/>
                <a:gd name="T19" fmla="*/ 8 h 8"/>
                <a:gd name="T20" fmla="*/ 0 w 5"/>
                <a:gd name="T21" fmla="*/ 6 h 8"/>
                <a:gd name="T22" fmla="*/ 0 w 5"/>
                <a:gd name="T23" fmla="*/ 6 h 8"/>
                <a:gd name="T24" fmla="*/ 2 w 5"/>
                <a:gd name="T25" fmla="*/ 6 h 8"/>
                <a:gd name="T26" fmla="*/ 2 w 5"/>
                <a:gd name="T27" fmla="*/ 3 h 8"/>
                <a:gd name="T28" fmla="*/ 2 w 5"/>
                <a:gd name="T29" fmla="*/ 3 h 8"/>
                <a:gd name="T30" fmla="*/ 2 w 5"/>
                <a:gd name="T31" fmla="*/ 3 h 8"/>
                <a:gd name="T32" fmla="*/ 2 w 5"/>
                <a:gd name="T33" fmla="*/ 0 h 8"/>
                <a:gd name="T34" fmla="*/ 2 w 5"/>
                <a:gd name="T35" fmla="*/ 0 h 8"/>
                <a:gd name="T36" fmla="*/ 2 w 5"/>
                <a:gd name="T3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8" extrusionOk="0">
                  <a:moveTo>
                    <a:pt x="2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4" name="Freeform 8779">
              <a:extLst>
                <a:ext uri="{FF2B5EF4-FFF2-40B4-BE49-F238E27FC236}">
                  <a16:creationId xmlns:a16="http://schemas.microsoft.com/office/drawing/2014/main" id="{CDD1458F-0705-9A4F-899A-4A21B81B4F6C}"/>
                </a:ext>
              </a:extLst>
            </p:cNvPr>
            <p:cNvSpPr/>
            <p:nvPr/>
          </p:nvSpPr>
          <p:spPr bwMode="auto">
            <a:xfrm>
              <a:off x="6457154" y="1804991"/>
              <a:ext cx="28576" cy="25400"/>
            </a:xfrm>
            <a:custGeom>
              <a:avLst/>
              <a:gdLst>
                <a:gd name="T0" fmla="*/ 18 w 18"/>
                <a:gd name="T1" fmla="*/ 0 h 16"/>
                <a:gd name="T2" fmla="*/ 18 w 18"/>
                <a:gd name="T3" fmla="*/ 0 h 16"/>
                <a:gd name="T4" fmla="*/ 18 w 18"/>
                <a:gd name="T5" fmla="*/ 3 h 16"/>
                <a:gd name="T6" fmla="*/ 16 w 18"/>
                <a:gd name="T7" fmla="*/ 3 h 16"/>
                <a:gd name="T8" fmla="*/ 16 w 18"/>
                <a:gd name="T9" fmla="*/ 3 h 16"/>
                <a:gd name="T10" fmla="*/ 16 w 18"/>
                <a:gd name="T11" fmla="*/ 3 h 16"/>
                <a:gd name="T12" fmla="*/ 13 w 18"/>
                <a:gd name="T13" fmla="*/ 3 h 16"/>
                <a:gd name="T14" fmla="*/ 13 w 18"/>
                <a:gd name="T15" fmla="*/ 3 h 16"/>
                <a:gd name="T16" fmla="*/ 13 w 18"/>
                <a:gd name="T17" fmla="*/ 3 h 16"/>
                <a:gd name="T18" fmla="*/ 10 w 18"/>
                <a:gd name="T19" fmla="*/ 3 h 16"/>
                <a:gd name="T20" fmla="*/ 10 w 18"/>
                <a:gd name="T21" fmla="*/ 3 h 16"/>
                <a:gd name="T22" fmla="*/ 10 w 18"/>
                <a:gd name="T23" fmla="*/ 5 h 16"/>
                <a:gd name="T24" fmla="*/ 8 w 18"/>
                <a:gd name="T25" fmla="*/ 5 h 16"/>
                <a:gd name="T26" fmla="*/ 8 w 18"/>
                <a:gd name="T27" fmla="*/ 8 h 16"/>
                <a:gd name="T28" fmla="*/ 8 w 18"/>
                <a:gd name="T29" fmla="*/ 8 h 16"/>
                <a:gd name="T30" fmla="*/ 5 w 18"/>
                <a:gd name="T31" fmla="*/ 8 h 16"/>
                <a:gd name="T32" fmla="*/ 2 w 18"/>
                <a:gd name="T33" fmla="*/ 8 h 16"/>
                <a:gd name="T34" fmla="*/ 2 w 18"/>
                <a:gd name="T35" fmla="*/ 11 h 16"/>
                <a:gd name="T36" fmla="*/ 2 w 18"/>
                <a:gd name="T37" fmla="*/ 11 h 16"/>
                <a:gd name="T38" fmla="*/ 0 w 18"/>
                <a:gd name="T39" fmla="*/ 11 h 16"/>
                <a:gd name="T40" fmla="*/ 0 w 18"/>
                <a:gd name="T41" fmla="*/ 11 h 16"/>
                <a:gd name="T42" fmla="*/ 0 w 18"/>
                <a:gd name="T43" fmla="*/ 13 h 16"/>
                <a:gd name="T44" fmla="*/ 0 w 18"/>
                <a:gd name="T45" fmla="*/ 13 h 16"/>
                <a:gd name="T46" fmla="*/ 0 w 18"/>
                <a:gd name="T47" fmla="*/ 16 h 16"/>
                <a:gd name="T48" fmla="*/ 0 w 18"/>
                <a:gd name="T49" fmla="*/ 16 h 16"/>
                <a:gd name="T50" fmla="*/ 0 w 18"/>
                <a:gd name="T51" fmla="*/ 16 h 16"/>
                <a:gd name="T52" fmla="*/ 2 w 18"/>
                <a:gd name="T53" fmla="*/ 16 h 16"/>
                <a:gd name="T54" fmla="*/ 2 w 18"/>
                <a:gd name="T55" fmla="*/ 16 h 16"/>
                <a:gd name="T56" fmla="*/ 5 w 18"/>
                <a:gd name="T57" fmla="*/ 13 h 16"/>
                <a:gd name="T58" fmla="*/ 8 w 18"/>
                <a:gd name="T59" fmla="*/ 13 h 16"/>
                <a:gd name="T60" fmla="*/ 8 w 18"/>
                <a:gd name="T61" fmla="*/ 13 h 16"/>
                <a:gd name="T62" fmla="*/ 10 w 18"/>
                <a:gd name="T63" fmla="*/ 13 h 16"/>
                <a:gd name="T64" fmla="*/ 10 w 18"/>
                <a:gd name="T65" fmla="*/ 13 h 16"/>
                <a:gd name="T66" fmla="*/ 10 w 18"/>
                <a:gd name="T67" fmla="*/ 11 h 16"/>
                <a:gd name="T68" fmla="*/ 13 w 18"/>
                <a:gd name="T69" fmla="*/ 11 h 16"/>
                <a:gd name="T70" fmla="*/ 13 w 18"/>
                <a:gd name="T71" fmla="*/ 8 h 16"/>
                <a:gd name="T72" fmla="*/ 13 w 18"/>
                <a:gd name="T73" fmla="*/ 8 h 16"/>
                <a:gd name="T74" fmla="*/ 13 w 18"/>
                <a:gd name="T75" fmla="*/ 5 h 16"/>
                <a:gd name="T76" fmla="*/ 16 w 18"/>
                <a:gd name="T77" fmla="*/ 5 h 16"/>
                <a:gd name="T78" fmla="*/ 16 w 18"/>
                <a:gd name="T79" fmla="*/ 5 h 16"/>
                <a:gd name="T80" fmla="*/ 18 w 18"/>
                <a:gd name="T81" fmla="*/ 3 h 16"/>
                <a:gd name="T82" fmla="*/ 18 w 18"/>
                <a:gd name="T83" fmla="*/ 3 h 16"/>
                <a:gd name="T84" fmla="*/ 18 w 18"/>
                <a:gd name="T85" fmla="*/ 0 h 16"/>
                <a:gd name="T86" fmla="*/ 18 w 18"/>
                <a:gd name="T87" fmla="*/ 0 h 16"/>
                <a:gd name="T88" fmla="*/ 18 w 18"/>
                <a:gd name="T8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" h="16" extrusionOk="0">
                  <a:moveTo>
                    <a:pt x="18" y="0"/>
                  </a:moveTo>
                  <a:lnTo>
                    <a:pt x="18" y="0"/>
                  </a:lnTo>
                  <a:lnTo>
                    <a:pt x="18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5" name="Freeform 8780">
              <a:extLst>
                <a:ext uri="{FF2B5EF4-FFF2-40B4-BE49-F238E27FC236}">
                  <a16:creationId xmlns:a16="http://schemas.microsoft.com/office/drawing/2014/main" id="{2D6BAFA7-4404-E848-8F16-6B01CE6743CF}"/>
                </a:ext>
              </a:extLst>
            </p:cNvPr>
            <p:cNvSpPr/>
            <p:nvPr/>
          </p:nvSpPr>
          <p:spPr bwMode="auto">
            <a:xfrm>
              <a:off x="6414290" y="1703391"/>
              <a:ext cx="25399" cy="17463"/>
            </a:xfrm>
            <a:custGeom>
              <a:avLst/>
              <a:gdLst>
                <a:gd name="T0" fmla="*/ 0 w 16"/>
                <a:gd name="T1" fmla="*/ 11 h 11"/>
                <a:gd name="T2" fmla="*/ 0 w 16"/>
                <a:gd name="T3" fmla="*/ 11 h 11"/>
                <a:gd name="T4" fmla="*/ 0 w 16"/>
                <a:gd name="T5" fmla="*/ 11 h 11"/>
                <a:gd name="T6" fmla="*/ 0 w 16"/>
                <a:gd name="T7" fmla="*/ 11 h 11"/>
                <a:gd name="T8" fmla="*/ 0 w 16"/>
                <a:gd name="T9" fmla="*/ 11 h 11"/>
                <a:gd name="T10" fmla="*/ 0 w 16"/>
                <a:gd name="T11" fmla="*/ 8 h 11"/>
                <a:gd name="T12" fmla="*/ 0 w 16"/>
                <a:gd name="T13" fmla="*/ 8 h 11"/>
                <a:gd name="T14" fmla="*/ 0 w 16"/>
                <a:gd name="T15" fmla="*/ 5 h 11"/>
                <a:gd name="T16" fmla="*/ 0 w 16"/>
                <a:gd name="T17" fmla="*/ 5 h 11"/>
                <a:gd name="T18" fmla="*/ 3 w 16"/>
                <a:gd name="T19" fmla="*/ 5 h 11"/>
                <a:gd name="T20" fmla="*/ 3 w 16"/>
                <a:gd name="T21" fmla="*/ 3 h 11"/>
                <a:gd name="T22" fmla="*/ 5 w 16"/>
                <a:gd name="T23" fmla="*/ 5 h 11"/>
                <a:gd name="T24" fmla="*/ 5 w 16"/>
                <a:gd name="T25" fmla="*/ 5 h 11"/>
                <a:gd name="T26" fmla="*/ 8 w 16"/>
                <a:gd name="T27" fmla="*/ 5 h 11"/>
                <a:gd name="T28" fmla="*/ 8 w 16"/>
                <a:gd name="T29" fmla="*/ 3 h 11"/>
                <a:gd name="T30" fmla="*/ 8 w 16"/>
                <a:gd name="T31" fmla="*/ 3 h 11"/>
                <a:gd name="T32" fmla="*/ 8 w 16"/>
                <a:gd name="T33" fmla="*/ 3 h 11"/>
                <a:gd name="T34" fmla="*/ 8 w 16"/>
                <a:gd name="T35" fmla="*/ 0 h 11"/>
                <a:gd name="T36" fmla="*/ 11 w 16"/>
                <a:gd name="T37" fmla="*/ 0 h 11"/>
                <a:gd name="T38" fmla="*/ 11 w 16"/>
                <a:gd name="T39" fmla="*/ 0 h 11"/>
                <a:gd name="T40" fmla="*/ 13 w 16"/>
                <a:gd name="T41" fmla="*/ 0 h 11"/>
                <a:gd name="T42" fmla="*/ 13 w 16"/>
                <a:gd name="T43" fmla="*/ 0 h 11"/>
                <a:gd name="T44" fmla="*/ 13 w 16"/>
                <a:gd name="T45" fmla="*/ 0 h 11"/>
                <a:gd name="T46" fmla="*/ 16 w 16"/>
                <a:gd name="T47" fmla="*/ 0 h 11"/>
                <a:gd name="T48" fmla="*/ 16 w 16"/>
                <a:gd name="T49" fmla="*/ 0 h 11"/>
                <a:gd name="T50" fmla="*/ 16 w 16"/>
                <a:gd name="T51" fmla="*/ 3 h 11"/>
                <a:gd name="T52" fmla="*/ 13 w 16"/>
                <a:gd name="T53" fmla="*/ 3 h 11"/>
                <a:gd name="T54" fmla="*/ 13 w 16"/>
                <a:gd name="T55" fmla="*/ 3 h 11"/>
                <a:gd name="T56" fmla="*/ 13 w 16"/>
                <a:gd name="T57" fmla="*/ 5 h 11"/>
                <a:gd name="T58" fmla="*/ 13 w 16"/>
                <a:gd name="T59" fmla="*/ 5 h 11"/>
                <a:gd name="T60" fmla="*/ 13 w 16"/>
                <a:gd name="T61" fmla="*/ 5 h 11"/>
                <a:gd name="T62" fmla="*/ 13 w 16"/>
                <a:gd name="T63" fmla="*/ 5 h 11"/>
                <a:gd name="T64" fmla="*/ 13 w 16"/>
                <a:gd name="T65" fmla="*/ 8 h 11"/>
                <a:gd name="T66" fmla="*/ 13 w 16"/>
                <a:gd name="T67" fmla="*/ 8 h 11"/>
                <a:gd name="T68" fmla="*/ 11 w 16"/>
                <a:gd name="T69" fmla="*/ 8 h 11"/>
                <a:gd name="T70" fmla="*/ 11 w 16"/>
                <a:gd name="T71" fmla="*/ 11 h 11"/>
                <a:gd name="T72" fmla="*/ 11 w 16"/>
                <a:gd name="T73" fmla="*/ 11 h 11"/>
                <a:gd name="T74" fmla="*/ 11 w 16"/>
                <a:gd name="T75" fmla="*/ 11 h 11"/>
                <a:gd name="T76" fmla="*/ 11 w 16"/>
                <a:gd name="T77" fmla="*/ 11 h 11"/>
                <a:gd name="T78" fmla="*/ 11 w 16"/>
                <a:gd name="T79" fmla="*/ 11 h 11"/>
                <a:gd name="T80" fmla="*/ 8 w 16"/>
                <a:gd name="T81" fmla="*/ 11 h 11"/>
                <a:gd name="T82" fmla="*/ 8 w 16"/>
                <a:gd name="T83" fmla="*/ 11 h 11"/>
                <a:gd name="T84" fmla="*/ 8 w 16"/>
                <a:gd name="T85" fmla="*/ 11 h 11"/>
                <a:gd name="T86" fmla="*/ 5 w 16"/>
                <a:gd name="T87" fmla="*/ 11 h 11"/>
                <a:gd name="T88" fmla="*/ 5 w 16"/>
                <a:gd name="T89" fmla="*/ 11 h 11"/>
                <a:gd name="T90" fmla="*/ 5 w 16"/>
                <a:gd name="T91" fmla="*/ 8 h 11"/>
                <a:gd name="T92" fmla="*/ 5 w 16"/>
                <a:gd name="T93" fmla="*/ 11 h 11"/>
                <a:gd name="T94" fmla="*/ 3 w 16"/>
                <a:gd name="T95" fmla="*/ 11 h 11"/>
                <a:gd name="T96" fmla="*/ 3 w 16"/>
                <a:gd name="T97" fmla="*/ 11 h 11"/>
                <a:gd name="T98" fmla="*/ 3 w 16"/>
                <a:gd name="T99" fmla="*/ 11 h 11"/>
                <a:gd name="T100" fmla="*/ 3 w 16"/>
                <a:gd name="T101" fmla="*/ 11 h 11"/>
                <a:gd name="T102" fmla="*/ 0 w 16"/>
                <a:gd name="T10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11" extrusionOk="0"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6" name="Freeform 8781">
              <a:extLst>
                <a:ext uri="{FF2B5EF4-FFF2-40B4-BE49-F238E27FC236}">
                  <a16:creationId xmlns:a16="http://schemas.microsoft.com/office/drawing/2014/main" id="{672656B6-F0FB-BA4D-8E17-52D9FC6B860B}"/>
                </a:ext>
              </a:extLst>
            </p:cNvPr>
            <p:cNvSpPr/>
            <p:nvPr/>
          </p:nvSpPr>
          <p:spPr bwMode="auto">
            <a:xfrm>
              <a:off x="6384129" y="1609727"/>
              <a:ext cx="60324" cy="50799"/>
            </a:xfrm>
            <a:custGeom>
              <a:avLst/>
              <a:gdLst>
                <a:gd name="T0" fmla="*/ 3 w 38"/>
                <a:gd name="T1" fmla="*/ 24 h 32"/>
                <a:gd name="T2" fmla="*/ 3 w 38"/>
                <a:gd name="T3" fmla="*/ 24 h 32"/>
                <a:gd name="T4" fmla="*/ 3 w 38"/>
                <a:gd name="T5" fmla="*/ 21 h 32"/>
                <a:gd name="T6" fmla="*/ 6 w 38"/>
                <a:gd name="T7" fmla="*/ 19 h 32"/>
                <a:gd name="T8" fmla="*/ 8 w 38"/>
                <a:gd name="T9" fmla="*/ 16 h 32"/>
                <a:gd name="T10" fmla="*/ 8 w 38"/>
                <a:gd name="T11" fmla="*/ 16 h 32"/>
                <a:gd name="T12" fmla="*/ 11 w 38"/>
                <a:gd name="T13" fmla="*/ 13 h 32"/>
                <a:gd name="T14" fmla="*/ 14 w 38"/>
                <a:gd name="T15" fmla="*/ 13 h 32"/>
                <a:gd name="T16" fmla="*/ 16 w 38"/>
                <a:gd name="T17" fmla="*/ 13 h 32"/>
                <a:gd name="T18" fmla="*/ 22 w 38"/>
                <a:gd name="T19" fmla="*/ 11 h 32"/>
                <a:gd name="T20" fmla="*/ 27 w 38"/>
                <a:gd name="T21" fmla="*/ 8 h 32"/>
                <a:gd name="T22" fmla="*/ 27 w 38"/>
                <a:gd name="T23" fmla="*/ 5 h 32"/>
                <a:gd name="T24" fmla="*/ 30 w 38"/>
                <a:gd name="T25" fmla="*/ 3 h 32"/>
                <a:gd name="T26" fmla="*/ 35 w 38"/>
                <a:gd name="T27" fmla="*/ 0 h 32"/>
                <a:gd name="T28" fmla="*/ 38 w 38"/>
                <a:gd name="T29" fmla="*/ 3 h 32"/>
                <a:gd name="T30" fmla="*/ 38 w 38"/>
                <a:gd name="T31" fmla="*/ 3 h 32"/>
                <a:gd name="T32" fmla="*/ 38 w 38"/>
                <a:gd name="T33" fmla="*/ 5 h 32"/>
                <a:gd name="T34" fmla="*/ 38 w 38"/>
                <a:gd name="T35" fmla="*/ 8 h 32"/>
                <a:gd name="T36" fmla="*/ 38 w 38"/>
                <a:gd name="T37" fmla="*/ 11 h 32"/>
                <a:gd name="T38" fmla="*/ 38 w 38"/>
                <a:gd name="T39" fmla="*/ 13 h 32"/>
                <a:gd name="T40" fmla="*/ 35 w 38"/>
                <a:gd name="T41" fmla="*/ 13 h 32"/>
                <a:gd name="T42" fmla="*/ 35 w 38"/>
                <a:gd name="T43" fmla="*/ 13 h 32"/>
                <a:gd name="T44" fmla="*/ 32 w 38"/>
                <a:gd name="T45" fmla="*/ 16 h 32"/>
                <a:gd name="T46" fmla="*/ 30 w 38"/>
                <a:gd name="T47" fmla="*/ 19 h 32"/>
                <a:gd name="T48" fmla="*/ 30 w 38"/>
                <a:gd name="T49" fmla="*/ 19 h 32"/>
                <a:gd name="T50" fmla="*/ 30 w 38"/>
                <a:gd name="T51" fmla="*/ 21 h 32"/>
                <a:gd name="T52" fmla="*/ 30 w 38"/>
                <a:gd name="T53" fmla="*/ 21 h 32"/>
                <a:gd name="T54" fmla="*/ 27 w 38"/>
                <a:gd name="T55" fmla="*/ 24 h 32"/>
                <a:gd name="T56" fmla="*/ 27 w 38"/>
                <a:gd name="T57" fmla="*/ 24 h 32"/>
                <a:gd name="T58" fmla="*/ 24 w 38"/>
                <a:gd name="T59" fmla="*/ 24 h 32"/>
                <a:gd name="T60" fmla="*/ 22 w 38"/>
                <a:gd name="T61" fmla="*/ 27 h 32"/>
                <a:gd name="T62" fmla="*/ 19 w 38"/>
                <a:gd name="T63" fmla="*/ 27 h 32"/>
                <a:gd name="T64" fmla="*/ 19 w 38"/>
                <a:gd name="T65" fmla="*/ 27 h 32"/>
                <a:gd name="T66" fmla="*/ 16 w 38"/>
                <a:gd name="T67" fmla="*/ 29 h 32"/>
                <a:gd name="T68" fmla="*/ 14 w 38"/>
                <a:gd name="T69" fmla="*/ 32 h 32"/>
                <a:gd name="T70" fmla="*/ 14 w 38"/>
                <a:gd name="T71" fmla="*/ 29 h 32"/>
                <a:gd name="T72" fmla="*/ 14 w 38"/>
                <a:gd name="T73" fmla="*/ 29 h 32"/>
                <a:gd name="T74" fmla="*/ 16 w 38"/>
                <a:gd name="T75" fmla="*/ 27 h 32"/>
                <a:gd name="T76" fmla="*/ 19 w 38"/>
                <a:gd name="T77" fmla="*/ 24 h 32"/>
                <a:gd name="T78" fmla="*/ 22 w 38"/>
                <a:gd name="T79" fmla="*/ 21 h 32"/>
                <a:gd name="T80" fmla="*/ 19 w 38"/>
                <a:gd name="T81" fmla="*/ 21 h 32"/>
                <a:gd name="T82" fmla="*/ 19 w 38"/>
                <a:gd name="T83" fmla="*/ 21 h 32"/>
                <a:gd name="T84" fmla="*/ 16 w 38"/>
                <a:gd name="T85" fmla="*/ 24 h 32"/>
                <a:gd name="T86" fmla="*/ 14 w 38"/>
                <a:gd name="T87" fmla="*/ 24 h 32"/>
                <a:gd name="T88" fmla="*/ 14 w 38"/>
                <a:gd name="T89" fmla="*/ 24 h 32"/>
                <a:gd name="T90" fmla="*/ 11 w 38"/>
                <a:gd name="T91" fmla="*/ 24 h 32"/>
                <a:gd name="T92" fmla="*/ 11 w 38"/>
                <a:gd name="T93" fmla="*/ 24 h 32"/>
                <a:gd name="T94" fmla="*/ 8 w 38"/>
                <a:gd name="T95" fmla="*/ 24 h 32"/>
                <a:gd name="T96" fmla="*/ 8 w 38"/>
                <a:gd name="T97" fmla="*/ 24 h 32"/>
                <a:gd name="T98" fmla="*/ 6 w 38"/>
                <a:gd name="T99" fmla="*/ 21 h 32"/>
                <a:gd name="T100" fmla="*/ 3 w 38"/>
                <a:gd name="T101" fmla="*/ 24 h 32"/>
                <a:gd name="T102" fmla="*/ 3 w 38"/>
                <a:gd name="T103" fmla="*/ 24 h 32"/>
                <a:gd name="T104" fmla="*/ 0 w 38"/>
                <a:gd name="T105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" h="32" extrusionOk="0">
                  <a:moveTo>
                    <a:pt x="0" y="24"/>
                  </a:move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2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32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4"/>
                  </a:lnTo>
                  <a:lnTo>
                    <a:pt x="22" y="24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6" y="21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6" y="24"/>
                  </a:lnTo>
                  <a:lnTo>
                    <a:pt x="6" y="21"/>
                  </a:lnTo>
                  <a:lnTo>
                    <a:pt x="6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7" name="Freeform 8782">
              <a:extLst>
                <a:ext uri="{FF2B5EF4-FFF2-40B4-BE49-F238E27FC236}">
                  <a16:creationId xmlns:a16="http://schemas.microsoft.com/office/drawing/2014/main" id="{E3029EE1-4736-5447-8814-21F8B24BF600}"/>
                </a:ext>
              </a:extLst>
            </p:cNvPr>
            <p:cNvSpPr/>
            <p:nvPr/>
          </p:nvSpPr>
          <p:spPr bwMode="auto">
            <a:xfrm>
              <a:off x="7155654" y="1639891"/>
              <a:ext cx="42863" cy="28576"/>
            </a:xfrm>
            <a:custGeom>
              <a:avLst/>
              <a:gdLst>
                <a:gd name="T0" fmla="*/ 3 w 27"/>
                <a:gd name="T1" fmla="*/ 2 h 18"/>
                <a:gd name="T2" fmla="*/ 3 w 27"/>
                <a:gd name="T3" fmla="*/ 2 h 18"/>
                <a:gd name="T4" fmla="*/ 3 w 27"/>
                <a:gd name="T5" fmla="*/ 0 h 18"/>
                <a:gd name="T6" fmla="*/ 6 w 27"/>
                <a:gd name="T7" fmla="*/ 0 h 18"/>
                <a:gd name="T8" fmla="*/ 8 w 27"/>
                <a:gd name="T9" fmla="*/ 0 h 18"/>
                <a:gd name="T10" fmla="*/ 8 w 27"/>
                <a:gd name="T11" fmla="*/ 0 h 18"/>
                <a:gd name="T12" fmla="*/ 11 w 27"/>
                <a:gd name="T13" fmla="*/ 0 h 18"/>
                <a:gd name="T14" fmla="*/ 14 w 27"/>
                <a:gd name="T15" fmla="*/ 0 h 18"/>
                <a:gd name="T16" fmla="*/ 16 w 27"/>
                <a:gd name="T17" fmla="*/ 0 h 18"/>
                <a:gd name="T18" fmla="*/ 16 w 27"/>
                <a:gd name="T19" fmla="*/ 0 h 18"/>
                <a:gd name="T20" fmla="*/ 19 w 27"/>
                <a:gd name="T21" fmla="*/ 2 h 18"/>
                <a:gd name="T22" fmla="*/ 19 w 27"/>
                <a:gd name="T23" fmla="*/ 5 h 18"/>
                <a:gd name="T24" fmla="*/ 19 w 27"/>
                <a:gd name="T25" fmla="*/ 5 h 18"/>
                <a:gd name="T26" fmla="*/ 19 w 27"/>
                <a:gd name="T27" fmla="*/ 8 h 18"/>
                <a:gd name="T28" fmla="*/ 19 w 27"/>
                <a:gd name="T29" fmla="*/ 8 h 18"/>
                <a:gd name="T30" fmla="*/ 24 w 27"/>
                <a:gd name="T31" fmla="*/ 8 h 18"/>
                <a:gd name="T32" fmla="*/ 27 w 27"/>
                <a:gd name="T33" fmla="*/ 8 h 18"/>
                <a:gd name="T34" fmla="*/ 24 w 27"/>
                <a:gd name="T35" fmla="*/ 10 h 18"/>
                <a:gd name="T36" fmla="*/ 22 w 27"/>
                <a:gd name="T37" fmla="*/ 10 h 18"/>
                <a:gd name="T38" fmla="*/ 22 w 27"/>
                <a:gd name="T39" fmla="*/ 13 h 18"/>
                <a:gd name="T40" fmla="*/ 24 w 27"/>
                <a:gd name="T41" fmla="*/ 13 h 18"/>
                <a:gd name="T42" fmla="*/ 24 w 27"/>
                <a:gd name="T43" fmla="*/ 16 h 18"/>
                <a:gd name="T44" fmla="*/ 22 w 27"/>
                <a:gd name="T45" fmla="*/ 18 h 18"/>
                <a:gd name="T46" fmla="*/ 19 w 27"/>
                <a:gd name="T47" fmla="*/ 18 h 18"/>
                <a:gd name="T48" fmla="*/ 19 w 27"/>
                <a:gd name="T49" fmla="*/ 16 h 18"/>
                <a:gd name="T50" fmla="*/ 19 w 27"/>
                <a:gd name="T51" fmla="*/ 16 h 18"/>
                <a:gd name="T52" fmla="*/ 14 w 27"/>
                <a:gd name="T53" fmla="*/ 10 h 18"/>
                <a:gd name="T54" fmla="*/ 14 w 27"/>
                <a:gd name="T55" fmla="*/ 10 h 18"/>
                <a:gd name="T56" fmla="*/ 11 w 27"/>
                <a:gd name="T57" fmla="*/ 10 h 18"/>
                <a:gd name="T58" fmla="*/ 8 w 27"/>
                <a:gd name="T59" fmla="*/ 10 h 18"/>
                <a:gd name="T60" fmla="*/ 8 w 27"/>
                <a:gd name="T61" fmla="*/ 10 h 18"/>
                <a:gd name="T62" fmla="*/ 6 w 27"/>
                <a:gd name="T63" fmla="*/ 8 h 18"/>
                <a:gd name="T64" fmla="*/ 6 w 27"/>
                <a:gd name="T65" fmla="*/ 8 h 18"/>
                <a:gd name="T66" fmla="*/ 3 w 27"/>
                <a:gd name="T67" fmla="*/ 5 h 18"/>
                <a:gd name="T68" fmla="*/ 3 w 27"/>
                <a:gd name="T69" fmla="*/ 5 h 18"/>
                <a:gd name="T70" fmla="*/ 0 w 27"/>
                <a:gd name="T7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7" h="18" extrusionOk="0">
                  <a:moveTo>
                    <a:pt x="0" y="2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8" name="Freeform 8783">
              <a:extLst>
                <a:ext uri="{FF2B5EF4-FFF2-40B4-BE49-F238E27FC236}">
                  <a16:creationId xmlns:a16="http://schemas.microsoft.com/office/drawing/2014/main" id="{70AC2A54-0E69-D84B-AC68-9075DABB527A}"/>
                </a:ext>
              </a:extLst>
            </p:cNvPr>
            <p:cNvSpPr/>
            <p:nvPr/>
          </p:nvSpPr>
          <p:spPr bwMode="auto">
            <a:xfrm>
              <a:off x="6927053" y="1538291"/>
              <a:ext cx="20637" cy="25400"/>
            </a:xfrm>
            <a:custGeom>
              <a:avLst/>
              <a:gdLst>
                <a:gd name="T0" fmla="*/ 0 w 13"/>
                <a:gd name="T1" fmla="*/ 0 h 16"/>
                <a:gd name="T2" fmla="*/ 3 w 13"/>
                <a:gd name="T3" fmla="*/ 0 h 16"/>
                <a:gd name="T4" fmla="*/ 3 w 13"/>
                <a:gd name="T5" fmla="*/ 2 h 16"/>
                <a:gd name="T6" fmla="*/ 5 w 13"/>
                <a:gd name="T7" fmla="*/ 2 h 16"/>
                <a:gd name="T8" fmla="*/ 5 w 13"/>
                <a:gd name="T9" fmla="*/ 2 h 16"/>
                <a:gd name="T10" fmla="*/ 5 w 13"/>
                <a:gd name="T11" fmla="*/ 2 h 16"/>
                <a:gd name="T12" fmla="*/ 8 w 13"/>
                <a:gd name="T13" fmla="*/ 2 h 16"/>
                <a:gd name="T14" fmla="*/ 8 w 13"/>
                <a:gd name="T15" fmla="*/ 2 h 16"/>
                <a:gd name="T16" fmla="*/ 8 w 13"/>
                <a:gd name="T17" fmla="*/ 2 h 16"/>
                <a:gd name="T18" fmla="*/ 8 w 13"/>
                <a:gd name="T19" fmla="*/ 2 h 16"/>
                <a:gd name="T20" fmla="*/ 11 w 13"/>
                <a:gd name="T21" fmla="*/ 2 h 16"/>
                <a:gd name="T22" fmla="*/ 11 w 13"/>
                <a:gd name="T23" fmla="*/ 2 h 16"/>
                <a:gd name="T24" fmla="*/ 11 w 13"/>
                <a:gd name="T25" fmla="*/ 2 h 16"/>
                <a:gd name="T26" fmla="*/ 11 w 13"/>
                <a:gd name="T27" fmla="*/ 2 h 16"/>
                <a:gd name="T28" fmla="*/ 11 w 13"/>
                <a:gd name="T29" fmla="*/ 2 h 16"/>
                <a:gd name="T30" fmla="*/ 11 w 13"/>
                <a:gd name="T31" fmla="*/ 5 h 16"/>
                <a:gd name="T32" fmla="*/ 11 w 13"/>
                <a:gd name="T33" fmla="*/ 5 h 16"/>
                <a:gd name="T34" fmla="*/ 11 w 13"/>
                <a:gd name="T35" fmla="*/ 8 h 16"/>
                <a:gd name="T36" fmla="*/ 13 w 13"/>
                <a:gd name="T37" fmla="*/ 8 h 16"/>
                <a:gd name="T38" fmla="*/ 11 w 13"/>
                <a:gd name="T39" fmla="*/ 10 h 16"/>
                <a:gd name="T40" fmla="*/ 11 w 13"/>
                <a:gd name="T41" fmla="*/ 10 h 16"/>
                <a:gd name="T42" fmla="*/ 8 w 13"/>
                <a:gd name="T43" fmla="*/ 10 h 16"/>
                <a:gd name="T44" fmla="*/ 8 w 13"/>
                <a:gd name="T45" fmla="*/ 10 h 16"/>
                <a:gd name="T46" fmla="*/ 8 w 13"/>
                <a:gd name="T47" fmla="*/ 13 h 16"/>
                <a:gd name="T48" fmla="*/ 5 w 13"/>
                <a:gd name="T49" fmla="*/ 13 h 16"/>
                <a:gd name="T50" fmla="*/ 5 w 13"/>
                <a:gd name="T51" fmla="*/ 13 h 16"/>
                <a:gd name="T52" fmla="*/ 3 w 13"/>
                <a:gd name="T53" fmla="*/ 16 h 16"/>
                <a:gd name="T54" fmla="*/ 3 w 13"/>
                <a:gd name="T55" fmla="*/ 16 h 16"/>
                <a:gd name="T56" fmla="*/ 0 w 13"/>
                <a:gd name="T57" fmla="*/ 16 h 16"/>
                <a:gd name="T58" fmla="*/ 0 w 13"/>
                <a:gd name="T59" fmla="*/ 16 h 16"/>
                <a:gd name="T60" fmla="*/ 0 w 13"/>
                <a:gd name="T61" fmla="*/ 16 h 16"/>
                <a:gd name="T62" fmla="*/ 0 w 13"/>
                <a:gd name="T63" fmla="*/ 16 h 16"/>
                <a:gd name="T64" fmla="*/ 0 w 13"/>
                <a:gd name="T65" fmla="*/ 13 h 16"/>
                <a:gd name="T66" fmla="*/ 0 w 13"/>
                <a:gd name="T67" fmla="*/ 13 h 16"/>
                <a:gd name="T68" fmla="*/ 3 w 13"/>
                <a:gd name="T69" fmla="*/ 13 h 16"/>
                <a:gd name="T70" fmla="*/ 3 w 13"/>
                <a:gd name="T71" fmla="*/ 13 h 16"/>
                <a:gd name="T72" fmla="*/ 3 w 13"/>
                <a:gd name="T73" fmla="*/ 10 h 16"/>
                <a:gd name="T74" fmla="*/ 3 w 13"/>
                <a:gd name="T75" fmla="*/ 10 h 16"/>
                <a:gd name="T76" fmla="*/ 3 w 13"/>
                <a:gd name="T77" fmla="*/ 10 h 16"/>
                <a:gd name="T78" fmla="*/ 3 w 13"/>
                <a:gd name="T79" fmla="*/ 10 h 16"/>
                <a:gd name="T80" fmla="*/ 3 w 13"/>
                <a:gd name="T81" fmla="*/ 10 h 16"/>
                <a:gd name="T82" fmla="*/ 0 w 13"/>
                <a:gd name="T83" fmla="*/ 8 h 16"/>
                <a:gd name="T84" fmla="*/ 0 w 13"/>
                <a:gd name="T85" fmla="*/ 8 h 16"/>
                <a:gd name="T86" fmla="*/ 0 w 13"/>
                <a:gd name="T87" fmla="*/ 8 h 16"/>
                <a:gd name="T88" fmla="*/ 0 w 13"/>
                <a:gd name="T89" fmla="*/ 8 h 16"/>
                <a:gd name="T90" fmla="*/ 0 w 13"/>
                <a:gd name="T91" fmla="*/ 5 h 16"/>
                <a:gd name="T92" fmla="*/ 0 w 13"/>
                <a:gd name="T93" fmla="*/ 5 h 16"/>
                <a:gd name="T94" fmla="*/ 0 w 13"/>
                <a:gd name="T95" fmla="*/ 5 h 16"/>
                <a:gd name="T96" fmla="*/ 0 w 13"/>
                <a:gd name="T97" fmla="*/ 2 h 16"/>
                <a:gd name="T98" fmla="*/ 3 w 13"/>
                <a:gd name="T99" fmla="*/ 2 h 16"/>
                <a:gd name="T100" fmla="*/ 0 w 13"/>
                <a:gd name="T10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" h="16" extrusionOk="0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69" name="Freeform 8784">
              <a:extLst>
                <a:ext uri="{FF2B5EF4-FFF2-40B4-BE49-F238E27FC236}">
                  <a16:creationId xmlns:a16="http://schemas.microsoft.com/office/drawing/2014/main" id="{F08B5307-EA44-194F-810C-241ABE516F3E}"/>
                </a:ext>
              </a:extLst>
            </p:cNvPr>
            <p:cNvSpPr/>
            <p:nvPr/>
          </p:nvSpPr>
          <p:spPr bwMode="auto">
            <a:xfrm>
              <a:off x="6893716" y="1520828"/>
              <a:ext cx="12700" cy="17463"/>
            </a:xfrm>
            <a:custGeom>
              <a:avLst/>
              <a:gdLst>
                <a:gd name="T0" fmla="*/ 8 w 8"/>
                <a:gd name="T1" fmla="*/ 0 h 11"/>
                <a:gd name="T2" fmla="*/ 8 w 8"/>
                <a:gd name="T3" fmla="*/ 0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3 h 11"/>
                <a:gd name="T14" fmla="*/ 8 w 8"/>
                <a:gd name="T15" fmla="*/ 5 h 11"/>
                <a:gd name="T16" fmla="*/ 8 w 8"/>
                <a:gd name="T17" fmla="*/ 5 h 11"/>
                <a:gd name="T18" fmla="*/ 8 w 8"/>
                <a:gd name="T19" fmla="*/ 5 h 11"/>
                <a:gd name="T20" fmla="*/ 5 w 8"/>
                <a:gd name="T21" fmla="*/ 5 h 11"/>
                <a:gd name="T22" fmla="*/ 5 w 8"/>
                <a:gd name="T23" fmla="*/ 5 h 11"/>
                <a:gd name="T24" fmla="*/ 5 w 8"/>
                <a:gd name="T25" fmla="*/ 5 h 11"/>
                <a:gd name="T26" fmla="*/ 5 w 8"/>
                <a:gd name="T27" fmla="*/ 8 h 11"/>
                <a:gd name="T28" fmla="*/ 5 w 8"/>
                <a:gd name="T29" fmla="*/ 8 h 11"/>
                <a:gd name="T30" fmla="*/ 2 w 8"/>
                <a:gd name="T31" fmla="*/ 8 h 11"/>
                <a:gd name="T32" fmla="*/ 5 w 8"/>
                <a:gd name="T33" fmla="*/ 8 h 11"/>
                <a:gd name="T34" fmla="*/ 2 w 8"/>
                <a:gd name="T35" fmla="*/ 11 h 11"/>
                <a:gd name="T36" fmla="*/ 2 w 8"/>
                <a:gd name="T37" fmla="*/ 11 h 11"/>
                <a:gd name="T38" fmla="*/ 0 w 8"/>
                <a:gd name="T39" fmla="*/ 11 h 11"/>
                <a:gd name="T40" fmla="*/ 0 w 8"/>
                <a:gd name="T41" fmla="*/ 11 h 11"/>
                <a:gd name="T42" fmla="*/ 0 w 8"/>
                <a:gd name="T43" fmla="*/ 8 h 11"/>
                <a:gd name="T44" fmla="*/ 0 w 8"/>
                <a:gd name="T45" fmla="*/ 8 h 11"/>
                <a:gd name="T46" fmla="*/ 0 w 8"/>
                <a:gd name="T47" fmla="*/ 5 h 11"/>
                <a:gd name="T48" fmla="*/ 0 w 8"/>
                <a:gd name="T49" fmla="*/ 5 h 11"/>
                <a:gd name="T50" fmla="*/ 0 w 8"/>
                <a:gd name="T51" fmla="*/ 5 h 11"/>
                <a:gd name="T52" fmla="*/ 0 w 8"/>
                <a:gd name="T53" fmla="*/ 3 h 11"/>
                <a:gd name="T54" fmla="*/ 0 w 8"/>
                <a:gd name="T55" fmla="*/ 3 h 11"/>
                <a:gd name="T56" fmla="*/ 2 w 8"/>
                <a:gd name="T57" fmla="*/ 3 h 11"/>
                <a:gd name="T58" fmla="*/ 2 w 8"/>
                <a:gd name="T59" fmla="*/ 0 h 11"/>
                <a:gd name="T60" fmla="*/ 2 w 8"/>
                <a:gd name="T61" fmla="*/ 0 h 11"/>
                <a:gd name="T62" fmla="*/ 5 w 8"/>
                <a:gd name="T63" fmla="*/ 0 h 11"/>
                <a:gd name="T64" fmla="*/ 5 w 8"/>
                <a:gd name="T65" fmla="*/ 0 h 11"/>
                <a:gd name="T66" fmla="*/ 5 w 8"/>
                <a:gd name="T67" fmla="*/ 0 h 11"/>
                <a:gd name="T68" fmla="*/ 8 w 8"/>
                <a:gd name="T69" fmla="*/ 0 h 11"/>
                <a:gd name="T70" fmla="*/ 8 w 8"/>
                <a:gd name="T7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11" extrusionOk="0">
                  <a:moveTo>
                    <a:pt x="8" y="0"/>
                  </a:move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8"/>
                  </a:lnTo>
                  <a:lnTo>
                    <a:pt x="5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0" name="Freeform 8785">
              <a:extLst>
                <a:ext uri="{FF2B5EF4-FFF2-40B4-BE49-F238E27FC236}">
                  <a16:creationId xmlns:a16="http://schemas.microsoft.com/office/drawing/2014/main" id="{DDE44348-57B0-FD4E-85DB-57D27AFBBE6F}"/>
                </a:ext>
              </a:extLst>
            </p:cNvPr>
            <p:cNvSpPr/>
            <p:nvPr/>
          </p:nvSpPr>
          <p:spPr bwMode="auto">
            <a:xfrm>
              <a:off x="6868316" y="1376366"/>
              <a:ext cx="53974" cy="30162"/>
            </a:xfrm>
            <a:custGeom>
              <a:avLst/>
              <a:gdLst>
                <a:gd name="T0" fmla="*/ 2 w 34"/>
                <a:gd name="T1" fmla="*/ 13 h 19"/>
                <a:gd name="T2" fmla="*/ 2 w 34"/>
                <a:gd name="T3" fmla="*/ 11 h 19"/>
                <a:gd name="T4" fmla="*/ 5 w 34"/>
                <a:gd name="T5" fmla="*/ 8 h 19"/>
                <a:gd name="T6" fmla="*/ 8 w 34"/>
                <a:gd name="T7" fmla="*/ 8 h 19"/>
                <a:gd name="T8" fmla="*/ 10 w 34"/>
                <a:gd name="T9" fmla="*/ 5 h 19"/>
                <a:gd name="T10" fmla="*/ 16 w 34"/>
                <a:gd name="T11" fmla="*/ 5 h 19"/>
                <a:gd name="T12" fmla="*/ 18 w 34"/>
                <a:gd name="T13" fmla="*/ 5 h 19"/>
                <a:gd name="T14" fmla="*/ 24 w 34"/>
                <a:gd name="T15" fmla="*/ 5 h 19"/>
                <a:gd name="T16" fmla="*/ 29 w 34"/>
                <a:gd name="T17" fmla="*/ 0 h 19"/>
                <a:gd name="T18" fmla="*/ 32 w 34"/>
                <a:gd name="T19" fmla="*/ 3 h 19"/>
                <a:gd name="T20" fmla="*/ 34 w 34"/>
                <a:gd name="T21" fmla="*/ 5 h 19"/>
                <a:gd name="T22" fmla="*/ 34 w 34"/>
                <a:gd name="T23" fmla="*/ 8 h 19"/>
                <a:gd name="T24" fmla="*/ 34 w 34"/>
                <a:gd name="T25" fmla="*/ 11 h 19"/>
                <a:gd name="T26" fmla="*/ 34 w 34"/>
                <a:gd name="T27" fmla="*/ 13 h 19"/>
                <a:gd name="T28" fmla="*/ 34 w 34"/>
                <a:gd name="T29" fmla="*/ 13 h 19"/>
                <a:gd name="T30" fmla="*/ 32 w 34"/>
                <a:gd name="T31" fmla="*/ 16 h 19"/>
                <a:gd name="T32" fmla="*/ 32 w 34"/>
                <a:gd name="T33" fmla="*/ 19 h 19"/>
                <a:gd name="T34" fmla="*/ 29 w 34"/>
                <a:gd name="T35" fmla="*/ 19 h 19"/>
                <a:gd name="T36" fmla="*/ 26 w 34"/>
                <a:gd name="T37" fmla="*/ 16 h 19"/>
                <a:gd name="T38" fmla="*/ 29 w 34"/>
                <a:gd name="T39" fmla="*/ 16 h 19"/>
                <a:gd name="T40" fmla="*/ 26 w 34"/>
                <a:gd name="T41" fmla="*/ 13 h 19"/>
                <a:gd name="T42" fmla="*/ 26 w 34"/>
                <a:gd name="T43" fmla="*/ 16 h 19"/>
                <a:gd name="T44" fmla="*/ 24 w 34"/>
                <a:gd name="T45" fmla="*/ 16 h 19"/>
                <a:gd name="T46" fmla="*/ 21 w 34"/>
                <a:gd name="T47" fmla="*/ 16 h 19"/>
                <a:gd name="T48" fmla="*/ 21 w 34"/>
                <a:gd name="T49" fmla="*/ 16 h 19"/>
                <a:gd name="T50" fmla="*/ 18 w 34"/>
                <a:gd name="T51" fmla="*/ 16 h 19"/>
                <a:gd name="T52" fmla="*/ 18 w 34"/>
                <a:gd name="T53" fmla="*/ 16 h 19"/>
                <a:gd name="T54" fmla="*/ 16 w 34"/>
                <a:gd name="T55" fmla="*/ 16 h 19"/>
                <a:gd name="T56" fmla="*/ 16 w 34"/>
                <a:gd name="T57" fmla="*/ 16 h 19"/>
                <a:gd name="T58" fmla="*/ 13 w 34"/>
                <a:gd name="T59" fmla="*/ 16 h 19"/>
                <a:gd name="T60" fmla="*/ 13 w 34"/>
                <a:gd name="T61" fmla="*/ 16 h 19"/>
                <a:gd name="T62" fmla="*/ 10 w 34"/>
                <a:gd name="T63" fmla="*/ 16 h 19"/>
                <a:gd name="T64" fmla="*/ 8 w 34"/>
                <a:gd name="T65" fmla="*/ 16 h 19"/>
                <a:gd name="T66" fmla="*/ 8 w 34"/>
                <a:gd name="T67" fmla="*/ 13 h 19"/>
                <a:gd name="T68" fmla="*/ 5 w 34"/>
                <a:gd name="T69" fmla="*/ 13 h 19"/>
                <a:gd name="T70" fmla="*/ 2 w 34"/>
                <a:gd name="T71" fmla="*/ 13 h 19"/>
                <a:gd name="T72" fmla="*/ 0 w 34"/>
                <a:gd name="T73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" h="19" extrusionOk="0">
                  <a:moveTo>
                    <a:pt x="0" y="13"/>
                  </a:move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9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2" y="13"/>
                  </a:lnTo>
                  <a:lnTo>
                    <a:pt x="34" y="13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6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1" name="Freeform 8786">
              <a:extLst>
                <a:ext uri="{FF2B5EF4-FFF2-40B4-BE49-F238E27FC236}">
                  <a16:creationId xmlns:a16="http://schemas.microsoft.com/office/drawing/2014/main" id="{607EA24D-FDCA-F04D-BF61-0ADD3184416D}"/>
                </a:ext>
              </a:extLst>
            </p:cNvPr>
            <p:cNvSpPr/>
            <p:nvPr/>
          </p:nvSpPr>
          <p:spPr bwMode="auto">
            <a:xfrm>
              <a:off x="6850854" y="1355727"/>
              <a:ext cx="25399" cy="28576"/>
            </a:xfrm>
            <a:custGeom>
              <a:avLst/>
              <a:gdLst>
                <a:gd name="T0" fmla="*/ 11 w 16"/>
                <a:gd name="T1" fmla="*/ 0 h 18"/>
                <a:gd name="T2" fmla="*/ 11 w 16"/>
                <a:gd name="T3" fmla="*/ 0 h 18"/>
                <a:gd name="T4" fmla="*/ 13 w 16"/>
                <a:gd name="T5" fmla="*/ 0 h 18"/>
                <a:gd name="T6" fmla="*/ 13 w 16"/>
                <a:gd name="T7" fmla="*/ 0 h 18"/>
                <a:gd name="T8" fmla="*/ 13 w 16"/>
                <a:gd name="T9" fmla="*/ 0 h 18"/>
                <a:gd name="T10" fmla="*/ 13 w 16"/>
                <a:gd name="T11" fmla="*/ 0 h 18"/>
                <a:gd name="T12" fmla="*/ 13 w 16"/>
                <a:gd name="T13" fmla="*/ 2 h 18"/>
                <a:gd name="T14" fmla="*/ 16 w 16"/>
                <a:gd name="T15" fmla="*/ 2 h 18"/>
                <a:gd name="T16" fmla="*/ 16 w 16"/>
                <a:gd name="T17" fmla="*/ 2 h 18"/>
                <a:gd name="T18" fmla="*/ 16 w 16"/>
                <a:gd name="T19" fmla="*/ 5 h 18"/>
                <a:gd name="T20" fmla="*/ 16 w 16"/>
                <a:gd name="T21" fmla="*/ 8 h 18"/>
                <a:gd name="T22" fmla="*/ 16 w 16"/>
                <a:gd name="T23" fmla="*/ 8 h 18"/>
                <a:gd name="T24" fmla="*/ 16 w 16"/>
                <a:gd name="T25" fmla="*/ 8 h 18"/>
                <a:gd name="T26" fmla="*/ 16 w 16"/>
                <a:gd name="T27" fmla="*/ 8 h 18"/>
                <a:gd name="T28" fmla="*/ 16 w 16"/>
                <a:gd name="T29" fmla="*/ 8 h 18"/>
                <a:gd name="T30" fmla="*/ 13 w 16"/>
                <a:gd name="T31" fmla="*/ 8 h 18"/>
                <a:gd name="T32" fmla="*/ 13 w 16"/>
                <a:gd name="T33" fmla="*/ 8 h 18"/>
                <a:gd name="T34" fmla="*/ 13 w 16"/>
                <a:gd name="T35" fmla="*/ 8 h 18"/>
                <a:gd name="T36" fmla="*/ 13 w 16"/>
                <a:gd name="T37" fmla="*/ 8 h 18"/>
                <a:gd name="T38" fmla="*/ 11 w 16"/>
                <a:gd name="T39" fmla="*/ 8 h 18"/>
                <a:gd name="T40" fmla="*/ 11 w 16"/>
                <a:gd name="T41" fmla="*/ 10 h 18"/>
                <a:gd name="T42" fmla="*/ 11 w 16"/>
                <a:gd name="T43" fmla="*/ 10 h 18"/>
                <a:gd name="T44" fmla="*/ 11 w 16"/>
                <a:gd name="T45" fmla="*/ 10 h 18"/>
                <a:gd name="T46" fmla="*/ 11 w 16"/>
                <a:gd name="T47" fmla="*/ 10 h 18"/>
                <a:gd name="T48" fmla="*/ 11 w 16"/>
                <a:gd name="T49" fmla="*/ 13 h 18"/>
                <a:gd name="T50" fmla="*/ 11 w 16"/>
                <a:gd name="T51" fmla="*/ 16 h 18"/>
                <a:gd name="T52" fmla="*/ 8 w 16"/>
                <a:gd name="T53" fmla="*/ 16 h 18"/>
                <a:gd name="T54" fmla="*/ 8 w 16"/>
                <a:gd name="T55" fmla="*/ 16 h 18"/>
                <a:gd name="T56" fmla="*/ 5 w 16"/>
                <a:gd name="T57" fmla="*/ 18 h 18"/>
                <a:gd name="T58" fmla="*/ 3 w 16"/>
                <a:gd name="T59" fmla="*/ 18 h 18"/>
                <a:gd name="T60" fmla="*/ 3 w 16"/>
                <a:gd name="T61" fmla="*/ 18 h 18"/>
                <a:gd name="T62" fmla="*/ 3 w 16"/>
                <a:gd name="T63" fmla="*/ 18 h 18"/>
                <a:gd name="T64" fmla="*/ 0 w 16"/>
                <a:gd name="T65" fmla="*/ 18 h 18"/>
                <a:gd name="T66" fmla="*/ 0 w 16"/>
                <a:gd name="T67" fmla="*/ 16 h 18"/>
                <a:gd name="T68" fmla="*/ 0 w 16"/>
                <a:gd name="T69" fmla="*/ 16 h 18"/>
                <a:gd name="T70" fmla="*/ 0 w 16"/>
                <a:gd name="T71" fmla="*/ 13 h 18"/>
                <a:gd name="T72" fmla="*/ 0 w 16"/>
                <a:gd name="T73" fmla="*/ 13 h 18"/>
                <a:gd name="T74" fmla="*/ 0 w 16"/>
                <a:gd name="T75" fmla="*/ 10 h 18"/>
                <a:gd name="T76" fmla="*/ 3 w 16"/>
                <a:gd name="T77" fmla="*/ 10 h 18"/>
                <a:gd name="T78" fmla="*/ 3 w 16"/>
                <a:gd name="T79" fmla="*/ 10 h 18"/>
                <a:gd name="T80" fmla="*/ 5 w 16"/>
                <a:gd name="T81" fmla="*/ 10 h 18"/>
                <a:gd name="T82" fmla="*/ 5 w 16"/>
                <a:gd name="T83" fmla="*/ 10 h 18"/>
                <a:gd name="T84" fmla="*/ 8 w 16"/>
                <a:gd name="T85" fmla="*/ 10 h 18"/>
                <a:gd name="T86" fmla="*/ 8 w 16"/>
                <a:gd name="T87" fmla="*/ 8 h 18"/>
                <a:gd name="T88" fmla="*/ 8 w 16"/>
                <a:gd name="T89" fmla="*/ 8 h 18"/>
                <a:gd name="T90" fmla="*/ 8 w 16"/>
                <a:gd name="T91" fmla="*/ 5 h 18"/>
                <a:gd name="T92" fmla="*/ 8 w 16"/>
                <a:gd name="T93" fmla="*/ 5 h 18"/>
                <a:gd name="T94" fmla="*/ 8 w 16"/>
                <a:gd name="T95" fmla="*/ 2 h 18"/>
                <a:gd name="T96" fmla="*/ 11 w 16"/>
                <a:gd name="T97" fmla="*/ 2 h 18"/>
                <a:gd name="T98" fmla="*/ 11 w 16"/>
                <a:gd name="T99" fmla="*/ 2 h 18"/>
                <a:gd name="T100" fmla="*/ 11 w 16"/>
                <a:gd name="T10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" h="18" extrusionOk="0">
                  <a:moveTo>
                    <a:pt x="11" y="0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5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2" name="Freeform 8787">
              <a:extLst>
                <a:ext uri="{FF2B5EF4-FFF2-40B4-BE49-F238E27FC236}">
                  <a16:creationId xmlns:a16="http://schemas.microsoft.com/office/drawing/2014/main" id="{A02C3FCA-3391-D947-AB11-01064681F59C}"/>
                </a:ext>
              </a:extLst>
            </p:cNvPr>
            <p:cNvSpPr/>
            <p:nvPr/>
          </p:nvSpPr>
          <p:spPr bwMode="auto">
            <a:xfrm>
              <a:off x="6566691" y="1168402"/>
              <a:ext cx="246063" cy="293688"/>
            </a:xfrm>
            <a:custGeom>
              <a:avLst/>
              <a:gdLst>
                <a:gd name="T0" fmla="*/ 80 w 155"/>
                <a:gd name="T1" fmla="*/ 67 h 185"/>
                <a:gd name="T2" fmla="*/ 83 w 155"/>
                <a:gd name="T3" fmla="*/ 56 h 185"/>
                <a:gd name="T4" fmla="*/ 83 w 155"/>
                <a:gd name="T5" fmla="*/ 46 h 185"/>
                <a:gd name="T6" fmla="*/ 96 w 155"/>
                <a:gd name="T7" fmla="*/ 38 h 185"/>
                <a:gd name="T8" fmla="*/ 102 w 155"/>
                <a:gd name="T9" fmla="*/ 30 h 185"/>
                <a:gd name="T10" fmla="*/ 112 w 155"/>
                <a:gd name="T11" fmla="*/ 30 h 185"/>
                <a:gd name="T12" fmla="*/ 112 w 155"/>
                <a:gd name="T13" fmla="*/ 40 h 185"/>
                <a:gd name="T14" fmla="*/ 120 w 155"/>
                <a:gd name="T15" fmla="*/ 46 h 185"/>
                <a:gd name="T16" fmla="*/ 128 w 155"/>
                <a:gd name="T17" fmla="*/ 54 h 185"/>
                <a:gd name="T18" fmla="*/ 126 w 155"/>
                <a:gd name="T19" fmla="*/ 62 h 185"/>
                <a:gd name="T20" fmla="*/ 134 w 155"/>
                <a:gd name="T21" fmla="*/ 70 h 185"/>
                <a:gd name="T22" fmla="*/ 136 w 155"/>
                <a:gd name="T23" fmla="*/ 64 h 185"/>
                <a:gd name="T24" fmla="*/ 150 w 155"/>
                <a:gd name="T25" fmla="*/ 72 h 185"/>
                <a:gd name="T26" fmla="*/ 152 w 155"/>
                <a:gd name="T27" fmla="*/ 86 h 185"/>
                <a:gd name="T28" fmla="*/ 155 w 155"/>
                <a:gd name="T29" fmla="*/ 99 h 185"/>
                <a:gd name="T30" fmla="*/ 150 w 155"/>
                <a:gd name="T31" fmla="*/ 112 h 185"/>
                <a:gd name="T32" fmla="*/ 144 w 155"/>
                <a:gd name="T33" fmla="*/ 123 h 185"/>
                <a:gd name="T34" fmla="*/ 139 w 155"/>
                <a:gd name="T35" fmla="*/ 126 h 185"/>
                <a:gd name="T36" fmla="*/ 128 w 155"/>
                <a:gd name="T37" fmla="*/ 128 h 185"/>
                <a:gd name="T38" fmla="*/ 120 w 155"/>
                <a:gd name="T39" fmla="*/ 136 h 185"/>
                <a:gd name="T40" fmla="*/ 110 w 155"/>
                <a:gd name="T41" fmla="*/ 139 h 185"/>
                <a:gd name="T42" fmla="*/ 102 w 155"/>
                <a:gd name="T43" fmla="*/ 142 h 185"/>
                <a:gd name="T44" fmla="*/ 94 w 155"/>
                <a:gd name="T45" fmla="*/ 144 h 185"/>
                <a:gd name="T46" fmla="*/ 86 w 155"/>
                <a:gd name="T47" fmla="*/ 147 h 185"/>
                <a:gd name="T48" fmla="*/ 78 w 155"/>
                <a:gd name="T49" fmla="*/ 147 h 185"/>
                <a:gd name="T50" fmla="*/ 69 w 155"/>
                <a:gd name="T51" fmla="*/ 150 h 185"/>
                <a:gd name="T52" fmla="*/ 64 w 155"/>
                <a:gd name="T53" fmla="*/ 150 h 185"/>
                <a:gd name="T54" fmla="*/ 51 w 155"/>
                <a:gd name="T55" fmla="*/ 150 h 185"/>
                <a:gd name="T56" fmla="*/ 40 w 155"/>
                <a:gd name="T57" fmla="*/ 160 h 185"/>
                <a:gd name="T58" fmla="*/ 29 w 155"/>
                <a:gd name="T59" fmla="*/ 174 h 185"/>
                <a:gd name="T60" fmla="*/ 19 w 155"/>
                <a:gd name="T61" fmla="*/ 179 h 185"/>
                <a:gd name="T62" fmla="*/ 11 w 155"/>
                <a:gd name="T63" fmla="*/ 182 h 185"/>
                <a:gd name="T64" fmla="*/ 8 w 155"/>
                <a:gd name="T65" fmla="*/ 182 h 185"/>
                <a:gd name="T66" fmla="*/ 3 w 155"/>
                <a:gd name="T67" fmla="*/ 179 h 185"/>
                <a:gd name="T68" fmla="*/ 0 w 155"/>
                <a:gd name="T69" fmla="*/ 169 h 185"/>
                <a:gd name="T70" fmla="*/ 5 w 155"/>
                <a:gd name="T71" fmla="*/ 155 h 185"/>
                <a:gd name="T72" fmla="*/ 11 w 155"/>
                <a:gd name="T73" fmla="*/ 144 h 185"/>
                <a:gd name="T74" fmla="*/ 16 w 155"/>
                <a:gd name="T75" fmla="*/ 136 h 185"/>
                <a:gd name="T76" fmla="*/ 16 w 155"/>
                <a:gd name="T77" fmla="*/ 128 h 185"/>
                <a:gd name="T78" fmla="*/ 21 w 155"/>
                <a:gd name="T79" fmla="*/ 112 h 185"/>
                <a:gd name="T80" fmla="*/ 21 w 155"/>
                <a:gd name="T81" fmla="*/ 102 h 185"/>
                <a:gd name="T82" fmla="*/ 21 w 155"/>
                <a:gd name="T83" fmla="*/ 88 h 185"/>
                <a:gd name="T84" fmla="*/ 29 w 155"/>
                <a:gd name="T85" fmla="*/ 80 h 185"/>
                <a:gd name="T86" fmla="*/ 43 w 155"/>
                <a:gd name="T87" fmla="*/ 83 h 185"/>
                <a:gd name="T88" fmla="*/ 35 w 155"/>
                <a:gd name="T89" fmla="*/ 75 h 185"/>
                <a:gd name="T90" fmla="*/ 32 w 155"/>
                <a:gd name="T91" fmla="*/ 62 h 185"/>
                <a:gd name="T92" fmla="*/ 40 w 155"/>
                <a:gd name="T93" fmla="*/ 51 h 185"/>
                <a:gd name="T94" fmla="*/ 48 w 155"/>
                <a:gd name="T95" fmla="*/ 56 h 185"/>
                <a:gd name="T96" fmla="*/ 35 w 155"/>
                <a:gd name="T97" fmla="*/ 43 h 185"/>
                <a:gd name="T98" fmla="*/ 40 w 155"/>
                <a:gd name="T99" fmla="*/ 32 h 185"/>
                <a:gd name="T100" fmla="*/ 48 w 155"/>
                <a:gd name="T101" fmla="*/ 19 h 185"/>
                <a:gd name="T102" fmla="*/ 53 w 155"/>
                <a:gd name="T103" fmla="*/ 8 h 185"/>
                <a:gd name="T104" fmla="*/ 61 w 155"/>
                <a:gd name="T105" fmla="*/ 22 h 185"/>
                <a:gd name="T106" fmla="*/ 64 w 155"/>
                <a:gd name="T107" fmla="*/ 11 h 185"/>
                <a:gd name="T108" fmla="*/ 69 w 155"/>
                <a:gd name="T109" fmla="*/ 0 h 185"/>
                <a:gd name="T110" fmla="*/ 83 w 155"/>
                <a:gd name="T111" fmla="*/ 5 h 185"/>
                <a:gd name="T112" fmla="*/ 83 w 155"/>
                <a:gd name="T113" fmla="*/ 19 h 185"/>
                <a:gd name="T114" fmla="*/ 80 w 155"/>
                <a:gd name="T115" fmla="*/ 32 h 185"/>
                <a:gd name="T116" fmla="*/ 80 w 155"/>
                <a:gd name="T117" fmla="*/ 43 h 185"/>
                <a:gd name="T118" fmla="*/ 80 w 155"/>
                <a:gd name="T119" fmla="*/ 54 h 185"/>
                <a:gd name="T120" fmla="*/ 78 w 155"/>
                <a:gd name="T121" fmla="*/ 64 h 185"/>
                <a:gd name="T122" fmla="*/ 75 w 155"/>
                <a:gd name="T123" fmla="*/ 75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" h="185" extrusionOk="0">
                  <a:moveTo>
                    <a:pt x="75" y="75"/>
                  </a:move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0"/>
                  </a:lnTo>
                  <a:lnTo>
                    <a:pt x="78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4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83" y="62"/>
                  </a:lnTo>
                  <a:lnTo>
                    <a:pt x="83" y="59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4"/>
                  </a:lnTo>
                  <a:lnTo>
                    <a:pt x="86" y="54"/>
                  </a:lnTo>
                  <a:lnTo>
                    <a:pt x="86" y="51"/>
                  </a:lnTo>
                  <a:lnTo>
                    <a:pt x="86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6" y="46"/>
                  </a:lnTo>
                  <a:lnTo>
                    <a:pt x="86" y="43"/>
                  </a:lnTo>
                  <a:lnTo>
                    <a:pt x="88" y="43"/>
                  </a:lnTo>
                  <a:lnTo>
                    <a:pt x="91" y="43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6" y="38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9" y="35"/>
                  </a:lnTo>
                  <a:lnTo>
                    <a:pt x="99" y="32"/>
                  </a:lnTo>
                  <a:lnTo>
                    <a:pt x="102" y="30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2" y="30"/>
                  </a:lnTo>
                  <a:lnTo>
                    <a:pt x="104" y="30"/>
                  </a:lnTo>
                  <a:lnTo>
                    <a:pt x="107" y="27"/>
                  </a:lnTo>
                  <a:lnTo>
                    <a:pt x="110" y="30"/>
                  </a:lnTo>
                  <a:lnTo>
                    <a:pt x="112" y="30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5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5" y="40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20" y="46"/>
                  </a:lnTo>
                  <a:lnTo>
                    <a:pt x="123" y="48"/>
                  </a:lnTo>
                  <a:lnTo>
                    <a:pt x="126" y="48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4"/>
                  </a:lnTo>
                  <a:lnTo>
                    <a:pt x="128" y="54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6" y="6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31" y="64"/>
                  </a:lnTo>
                  <a:lnTo>
                    <a:pt x="134" y="67"/>
                  </a:lnTo>
                  <a:lnTo>
                    <a:pt x="131" y="67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34" y="72"/>
                  </a:lnTo>
                  <a:lnTo>
                    <a:pt x="134" y="72"/>
                  </a:lnTo>
                  <a:lnTo>
                    <a:pt x="136" y="70"/>
                  </a:lnTo>
                  <a:lnTo>
                    <a:pt x="136" y="70"/>
                  </a:lnTo>
                  <a:lnTo>
                    <a:pt x="136" y="67"/>
                  </a:lnTo>
                  <a:lnTo>
                    <a:pt x="136" y="67"/>
                  </a:lnTo>
                  <a:lnTo>
                    <a:pt x="136" y="64"/>
                  </a:lnTo>
                  <a:lnTo>
                    <a:pt x="139" y="62"/>
                  </a:lnTo>
                  <a:lnTo>
                    <a:pt x="142" y="64"/>
                  </a:lnTo>
                  <a:lnTo>
                    <a:pt x="144" y="64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50" y="70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2" y="80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52" y="91"/>
                  </a:lnTo>
                  <a:lnTo>
                    <a:pt x="155" y="91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2" y="110"/>
                  </a:lnTo>
                  <a:lnTo>
                    <a:pt x="152" y="110"/>
                  </a:lnTo>
                  <a:lnTo>
                    <a:pt x="150" y="112"/>
                  </a:lnTo>
                  <a:lnTo>
                    <a:pt x="150" y="112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8"/>
                  </a:lnTo>
                  <a:lnTo>
                    <a:pt x="147" y="120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6" y="126"/>
                  </a:lnTo>
                  <a:lnTo>
                    <a:pt x="136" y="126"/>
                  </a:lnTo>
                  <a:lnTo>
                    <a:pt x="134" y="128"/>
                  </a:lnTo>
                  <a:lnTo>
                    <a:pt x="131" y="126"/>
                  </a:lnTo>
                  <a:lnTo>
                    <a:pt x="131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3" y="131"/>
                  </a:lnTo>
                  <a:lnTo>
                    <a:pt x="123" y="134"/>
                  </a:lnTo>
                  <a:lnTo>
                    <a:pt x="120" y="134"/>
                  </a:lnTo>
                  <a:lnTo>
                    <a:pt x="120" y="136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96" y="142"/>
                  </a:lnTo>
                  <a:lnTo>
                    <a:pt x="96" y="142"/>
                  </a:lnTo>
                  <a:lnTo>
                    <a:pt x="94" y="144"/>
                  </a:lnTo>
                  <a:lnTo>
                    <a:pt x="94" y="144"/>
                  </a:lnTo>
                  <a:lnTo>
                    <a:pt x="94" y="147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88" y="150"/>
                  </a:lnTo>
                  <a:lnTo>
                    <a:pt x="88" y="147"/>
                  </a:lnTo>
                  <a:lnTo>
                    <a:pt x="86" y="147"/>
                  </a:lnTo>
                  <a:lnTo>
                    <a:pt x="86" y="144"/>
                  </a:lnTo>
                  <a:lnTo>
                    <a:pt x="83" y="147"/>
                  </a:lnTo>
                  <a:lnTo>
                    <a:pt x="83" y="144"/>
                  </a:lnTo>
                  <a:lnTo>
                    <a:pt x="80" y="144"/>
                  </a:lnTo>
                  <a:lnTo>
                    <a:pt x="78" y="144"/>
                  </a:lnTo>
                  <a:lnTo>
                    <a:pt x="78" y="147"/>
                  </a:lnTo>
                  <a:lnTo>
                    <a:pt x="78" y="147"/>
                  </a:lnTo>
                  <a:lnTo>
                    <a:pt x="75" y="147"/>
                  </a:lnTo>
                  <a:lnTo>
                    <a:pt x="72" y="147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1" y="150"/>
                  </a:lnTo>
                  <a:lnTo>
                    <a:pt x="61" y="150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6" y="150"/>
                  </a:lnTo>
                  <a:lnTo>
                    <a:pt x="51" y="150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5" y="155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3" y="160"/>
                  </a:lnTo>
                  <a:lnTo>
                    <a:pt x="40" y="160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7" y="166"/>
                  </a:lnTo>
                  <a:lnTo>
                    <a:pt x="35" y="169"/>
                  </a:lnTo>
                  <a:lnTo>
                    <a:pt x="32" y="169"/>
                  </a:lnTo>
                  <a:lnTo>
                    <a:pt x="29" y="171"/>
                  </a:lnTo>
                  <a:lnTo>
                    <a:pt x="29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7"/>
                  </a:lnTo>
                  <a:lnTo>
                    <a:pt x="24" y="177"/>
                  </a:lnTo>
                  <a:lnTo>
                    <a:pt x="24" y="177"/>
                  </a:lnTo>
                  <a:lnTo>
                    <a:pt x="21" y="179"/>
                  </a:lnTo>
                  <a:lnTo>
                    <a:pt x="19" y="179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3" y="185"/>
                  </a:lnTo>
                  <a:lnTo>
                    <a:pt x="3" y="182"/>
                  </a:lnTo>
                  <a:lnTo>
                    <a:pt x="3" y="179"/>
                  </a:lnTo>
                  <a:lnTo>
                    <a:pt x="3" y="179"/>
                  </a:lnTo>
                  <a:lnTo>
                    <a:pt x="0" y="177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0" y="169"/>
                  </a:lnTo>
                  <a:lnTo>
                    <a:pt x="0" y="166"/>
                  </a:lnTo>
                  <a:lnTo>
                    <a:pt x="3" y="166"/>
                  </a:lnTo>
                  <a:lnTo>
                    <a:pt x="3" y="163"/>
                  </a:lnTo>
                  <a:lnTo>
                    <a:pt x="3" y="160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2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7"/>
                  </a:lnTo>
                  <a:lnTo>
                    <a:pt x="11" y="147"/>
                  </a:lnTo>
                  <a:lnTo>
                    <a:pt x="11" y="144"/>
                  </a:lnTo>
                  <a:lnTo>
                    <a:pt x="11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6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9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1"/>
                  </a:lnTo>
                  <a:lnTo>
                    <a:pt x="21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3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2" y="80"/>
                  </a:lnTo>
                  <a:lnTo>
                    <a:pt x="35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40" y="86"/>
                  </a:lnTo>
                  <a:lnTo>
                    <a:pt x="43" y="86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0" y="83"/>
                  </a:lnTo>
                  <a:lnTo>
                    <a:pt x="37" y="80"/>
                  </a:lnTo>
                  <a:lnTo>
                    <a:pt x="35" y="80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0"/>
                  </a:lnTo>
                  <a:lnTo>
                    <a:pt x="32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5" y="59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40" y="51"/>
                  </a:lnTo>
                  <a:lnTo>
                    <a:pt x="40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5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48" y="56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3" y="51"/>
                  </a:lnTo>
                  <a:lnTo>
                    <a:pt x="40" y="48"/>
                  </a:lnTo>
                  <a:lnTo>
                    <a:pt x="37" y="48"/>
                  </a:lnTo>
                  <a:lnTo>
                    <a:pt x="35" y="46"/>
                  </a:lnTo>
                  <a:lnTo>
                    <a:pt x="35" y="43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40" y="38"/>
                  </a:lnTo>
                  <a:lnTo>
                    <a:pt x="43" y="38"/>
                  </a:lnTo>
                  <a:lnTo>
                    <a:pt x="40" y="38"/>
                  </a:lnTo>
                  <a:lnTo>
                    <a:pt x="40" y="35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3" y="27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1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6" y="19"/>
                  </a:lnTo>
                  <a:lnTo>
                    <a:pt x="59" y="22"/>
                  </a:lnTo>
                  <a:lnTo>
                    <a:pt x="61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19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4" y="11"/>
                  </a:lnTo>
                  <a:lnTo>
                    <a:pt x="64" y="8"/>
                  </a:lnTo>
                  <a:lnTo>
                    <a:pt x="64" y="5"/>
                  </a:lnTo>
                  <a:lnTo>
                    <a:pt x="64" y="3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5"/>
                  </a:lnTo>
                  <a:lnTo>
                    <a:pt x="83" y="5"/>
                  </a:lnTo>
                  <a:lnTo>
                    <a:pt x="83" y="8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8" y="14"/>
                  </a:lnTo>
                  <a:lnTo>
                    <a:pt x="88" y="16"/>
                  </a:lnTo>
                  <a:lnTo>
                    <a:pt x="86" y="16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5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3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9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4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70"/>
                  </a:lnTo>
                  <a:lnTo>
                    <a:pt x="75" y="72"/>
                  </a:lnTo>
                  <a:lnTo>
                    <a:pt x="75" y="72"/>
                  </a:lnTo>
                  <a:lnTo>
                    <a:pt x="75" y="75"/>
                  </a:lnTo>
                  <a:lnTo>
                    <a:pt x="75" y="7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3" name="Freeform 8788">
              <a:extLst>
                <a:ext uri="{FF2B5EF4-FFF2-40B4-BE49-F238E27FC236}">
                  <a16:creationId xmlns:a16="http://schemas.microsoft.com/office/drawing/2014/main" id="{93A386D2-F1F3-8A44-853C-E731FF1C5091}"/>
                </a:ext>
              </a:extLst>
            </p:cNvPr>
            <p:cNvSpPr/>
            <p:nvPr/>
          </p:nvSpPr>
          <p:spPr bwMode="auto">
            <a:xfrm>
              <a:off x="6457154" y="1758952"/>
              <a:ext cx="15875" cy="33338"/>
            </a:xfrm>
            <a:custGeom>
              <a:avLst/>
              <a:gdLst>
                <a:gd name="T0" fmla="*/ 2 w 10"/>
                <a:gd name="T1" fmla="*/ 0 h 21"/>
                <a:gd name="T2" fmla="*/ 2 w 10"/>
                <a:gd name="T3" fmla="*/ 0 h 21"/>
                <a:gd name="T4" fmla="*/ 5 w 10"/>
                <a:gd name="T5" fmla="*/ 2 h 21"/>
                <a:gd name="T6" fmla="*/ 2 w 10"/>
                <a:gd name="T7" fmla="*/ 5 h 21"/>
                <a:gd name="T8" fmla="*/ 2 w 10"/>
                <a:gd name="T9" fmla="*/ 8 h 21"/>
                <a:gd name="T10" fmla="*/ 0 w 10"/>
                <a:gd name="T11" fmla="*/ 10 h 21"/>
                <a:gd name="T12" fmla="*/ 0 w 10"/>
                <a:gd name="T13" fmla="*/ 13 h 21"/>
                <a:gd name="T14" fmla="*/ 0 w 10"/>
                <a:gd name="T15" fmla="*/ 16 h 21"/>
                <a:gd name="T16" fmla="*/ 0 w 10"/>
                <a:gd name="T17" fmla="*/ 18 h 21"/>
                <a:gd name="T18" fmla="*/ 0 w 10"/>
                <a:gd name="T19" fmla="*/ 21 h 21"/>
                <a:gd name="T20" fmla="*/ 2 w 10"/>
                <a:gd name="T21" fmla="*/ 21 h 21"/>
                <a:gd name="T22" fmla="*/ 5 w 10"/>
                <a:gd name="T23" fmla="*/ 18 h 21"/>
                <a:gd name="T24" fmla="*/ 5 w 10"/>
                <a:gd name="T25" fmla="*/ 16 h 21"/>
                <a:gd name="T26" fmla="*/ 8 w 10"/>
                <a:gd name="T27" fmla="*/ 16 h 21"/>
                <a:gd name="T28" fmla="*/ 10 w 10"/>
                <a:gd name="T29" fmla="*/ 13 h 21"/>
                <a:gd name="T30" fmla="*/ 8 w 10"/>
                <a:gd name="T31" fmla="*/ 13 h 21"/>
                <a:gd name="T32" fmla="*/ 5 w 10"/>
                <a:gd name="T33" fmla="*/ 10 h 21"/>
                <a:gd name="T34" fmla="*/ 5 w 10"/>
                <a:gd name="T35" fmla="*/ 13 h 21"/>
                <a:gd name="T36" fmla="*/ 2 w 10"/>
                <a:gd name="T37" fmla="*/ 16 h 21"/>
                <a:gd name="T38" fmla="*/ 2 w 10"/>
                <a:gd name="T39" fmla="*/ 18 h 21"/>
                <a:gd name="T40" fmla="*/ 2 w 10"/>
                <a:gd name="T41" fmla="*/ 16 h 21"/>
                <a:gd name="T42" fmla="*/ 2 w 10"/>
                <a:gd name="T43" fmla="*/ 10 h 21"/>
                <a:gd name="T44" fmla="*/ 2 w 10"/>
                <a:gd name="T45" fmla="*/ 8 h 21"/>
                <a:gd name="T46" fmla="*/ 5 w 10"/>
                <a:gd name="T47" fmla="*/ 8 h 21"/>
                <a:gd name="T48" fmla="*/ 8 w 10"/>
                <a:gd name="T49" fmla="*/ 8 h 21"/>
                <a:gd name="T50" fmla="*/ 8 w 10"/>
                <a:gd name="T51" fmla="*/ 8 h 21"/>
                <a:gd name="T52" fmla="*/ 10 w 10"/>
                <a:gd name="T53" fmla="*/ 8 h 21"/>
                <a:gd name="T54" fmla="*/ 10 w 10"/>
                <a:gd name="T55" fmla="*/ 5 h 21"/>
                <a:gd name="T56" fmla="*/ 8 w 10"/>
                <a:gd name="T57" fmla="*/ 2 h 21"/>
                <a:gd name="T58" fmla="*/ 8 w 10"/>
                <a:gd name="T59" fmla="*/ 0 h 21"/>
                <a:gd name="T60" fmla="*/ 8 w 10"/>
                <a:gd name="T61" fmla="*/ 0 h 21"/>
                <a:gd name="T62" fmla="*/ 5 w 10"/>
                <a:gd name="T63" fmla="*/ 2 h 21"/>
                <a:gd name="T64" fmla="*/ 5 w 10"/>
                <a:gd name="T65" fmla="*/ 2 h 21"/>
                <a:gd name="T66" fmla="*/ 5 w 10"/>
                <a:gd name="T6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" h="21" extrusionOk="0">
                  <a:moveTo>
                    <a:pt x="5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2" y="13"/>
                  </a:lnTo>
                  <a:lnTo>
                    <a:pt x="2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4" name="Freeform 8789">
              <a:extLst>
                <a:ext uri="{FF2B5EF4-FFF2-40B4-BE49-F238E27FC236}">
                  <a16:creationId xmlns:a16="http://schemas.microsoft.com/office/drawing/2014/main" id="{328F5867-50D5-EF4F-991C-BD418A8E85E9}"/>
                </a:ext>
              </a:extLst>
            </p:cNvPr>
            <p:cNvSpPr/>
            <p:nvPr/>
          </p:nvSpPr>
          <p:spPr bwMode="auto">
            <a:xfrm>
              <a:off x="6388891" y="1766891"/>
              <a:ext cx="63501" cy="42863"/>
            </a:xfrm>
            <a:custGeom>
              <a:avLst/>
              <a:gdLst>
                <a:gd name="T0" fmla="*/ 0 w 40"/>
                <a:gd name="T1" fmla="*/ 5 h 27"/>
                <a:gd name="T2" fmla="*/ 3 w 40"/>
                <a:gd name="T3" fmla="*/ 8 h 27"/>
                <a:gd name="T4" fmla="*/ 0 w 40"/>
                <a:gd name="T5" fmla="*/ 11 h 27"/>
                <a:gd name="T6" fmla="*/ 3 w 40"/>
                <a:gd name="T7" fmla="*/ 13 h 27"/>
                <a:gd name="T8" fmla="*/ 8 w 40"/>
                <a:gd name="T9" fmla="*/ 13 h 27"/>
                <a:gd name="T10" fmla="*/ 11 w 40"/>
                <a:gd name="T11" fmla="*/ 13 h 27"/>
                <a:gd name="T12" fmla="*/ 13 w 40"/>
                <a:gd name="T13" fmla="*/ 13 h 27"/>
                <a:gd name="T14" fmla="*/ 13 w 40"/>
                <a:gd name="T15" fmla="*/ 16 h 27"/>
                <a:gd name="T16" fmla="*/ 19 w 40"/>
                <a:gd name="T17" fmla="*/ 19 h 27"/>
                <a:gd name="T18" fmla="*/ 24 w 40"/>
                <a:gd name="T19" fmla="*/ 19 h 27"/>
                <a:gd name="T20" fmla="*/ 27 w 40"/>
                <a:gd name="T21" fmla="*/ 19 h 27"/>
                <a:gd name="T22" fmla="*/ 29 w 40"/>
                <a:gd name="T23" fmla="*/ 24 h 27"/>
                <a:gd name="T24" fmla="*/ 32 w 40"/>
                <a:gd name="T25" fmla="*/ 27 h 27"/>
                <a:gd name="T26" fmla="*/ 32 w 40"/>
                <a:gd name="T27" fmla="*/ 21 h 27"/>
                <a:gd name="T28" fmla="*/ 35 w 40"/>
                <a:gd name="T29" fmla="*/ 21 h 27"/>
                <a:gd name="T30" fmla="*/ 35 w 40"/>
                <a:gd name="T31" fmla="*/ 16 h 27"/>
                <a:gd name="T32" fmla="*/ 29 w 40"/>
                <a:gd name="T33" fmla="*/ 13 h 27"/>
                <a:gd name="T34" fmla="*/ 27 w 40"/>
                <a:gd name="T35" fmla="*/ 11 h 27"/>
                <a:gd name="T36" fmla="*/ 32 w 40"/>
                <a:gd name="T37" fmla="*/ 11 h 27"/>
                <a:gd name="T38" fmla="*/ 32 w 40"/>
                <a:gd name="T39" fmla="*/ 11 h 27"/>
                <a:gd name="T40" fmla="*/ 32 w 40"/>
                <a:gd name="T41" fmla="*/ 5 h 27"/>
                <a:gd name="T42" fmla="*/ 35 w 40"/>
                <a:gd name="T43" fmla="*/ 5 h 27"/>
                <a:gd name="T44" fmla="*/ 37 w 40"/>
                <a:gd name="T45" fmla="*/ 11 h 27"/>
                <a:gd name="T46" fmla="*/ 37 w 40"/>
                <a:gd name="T47" fmla="*/ 16 h 27"/>
                <a:gd name="T48" fmla="*/ 37 w 40"/>
                <a:gd name="T49" fmla="*/ 21 h 27"/>
                <a:gd name="T50" fmla="*/ 40 w 40"/>
                <a:gd name="T51" fmla="*/ 16 h 27"/>
                <a:gd name="T52" fmla="*/ 37 w 40"/>
                <a:gd name="T53" fmla="*/ 11 h 27"/>
                <a:gd name="T54" fmla="*/ 40 w 40"/>
                <a:gd name="T55" fmla="*/ 5 h 27"/>
                <a:gd name="T56" fmla="*/ 37 w 40"/>
                <a:gd name="T57" fmla="*/ 3 h 27"/>
                <a:gd name="T58" fmla="*/ 35 w 40"/>
                <a:gd name="T59" fmla="*/ 3 h 27"/>
                <a:gd name="T60" fmla="*/ 29 w 40"/>
                <a:gd name="T61" fmla="*/ 0 h 27"/>
                <a:gd name="T62" fmla="*/ 27 w 40"/>
                <a:gd name="T63" fmla="*/ 5 h 27"/>
                <a:gd name="T64" fmla="*/ 27 w 40"/>
                <a:gd name="T65" fmla="*/ 8 h 27"/>
                <a:gd name="T66" fmla="*/ 24 w 40"/>
                <a:gd name="T67" fmla="*/ 11 h 27"/>
                <a:gd name="T68" fmla="*/ 21 w 40"/>
                <a:gd name="T69" fmla="*/ 8 h 27"/>
                <a:gd name="T70" fmla="*/ 24 w 40"/>
                <a:gd name="T71" fmla="*/ 3 h 27"/>
                <a:gd name="T72" fmla="*/ 19 w 40"/>
                <a:gd name="T73" fmla="*/ 3 h 27"/>
                <a:gd name="T74" fmla="*/ 16 w 40"/>
                <a:gd name="T75" fmla="*/ 5 h 27"/>
                <a:gd name="T76" fmla="*/ 16 w 40"/>
                <a:gd name="T77" fmla="*/ 3 h 27"/>
                <a:gd name="T78" fmla="*/ 13 w 40"/>
                <a:gd name="T79" fmla="*/ 3 h 27"/>
                <a:gd name="T80" fmla="*/ 11 w 40"/>
                <a:gd name="T81" fmla="*/ 5 h 27"/>
                <a:gd name="T82" fmla="*/ 8 w 40"/>
                <a:gd name="T83" fmla="*/ 8 h 27"/>
                <a:gd name="T84" fmla="*/ 8 w 40"/>
                <a:gd name="T85" fmla="*/ 8 h 27"/>
                <a:gd name="T86" fmla="*/ 5 w 40"/>
                <a:gd name="T87" fmla="*/ 5 h 27"/>
                <a:gd name="T88" fmla="*/ 5 w 40"/>
                <a:gd name="T89" fmla="*/ 3 h 27"/>
                <a:gd name="T90" fmla="*/ 5 w 40"/>
                <a:gd name="T91" fmla="*/ 3 h 27"/>
                <a:gd name="T92" fmla="*/ 0 w 40"/>
                <a:gd name="T9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" h="27" extrusionOk="0">
                  <a:moveTo>
                    <a:pt x="0" y="3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21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7"/>
                  </a:lnTo>
                  <a:lnTo>
                    <a:pt x="32" y="27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2" y="11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5" y="5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7" y="11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6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0" y="13"/>
                  </a:lnTo>
                  <a:lnTo>
                    <a:pt x="37" y="13"/>
                  </a:lnTo>
                  <a:lnTo>
                    <a:pt x="37" y="11"/>
                  </a:lnTo>
                  <a:lnTo>
                    <a:pt x="40" y="11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7" y="3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5" name="Freeform 8790">
              <a:extLst>
                <a:ext uri="{FF2B5EF4-FFF2-40B4-BE49-F238E27FC236}">
                  <a16:creationId xmlns:a16="http://schemas.microsoft.com/office/drawing/2014/main" id="{6E29F71A-99F9-BA47-A3FA-5F4EB22E8297}"/>
                </a:ext>
              </a:extLst>
            </p:cNvPr>
            <p:cNvSpPr/>
            <p:nvPr/>
          </p:nvSpPr>
          <p:spPr bwMode="auto">
            <a:xfrm>
              <a:off x="5117304" y="2139952"/>
              <a:ext cx="12700" cy="17463"/>
            </a:xfrm>
            <a:custGeom>
              <a:avLst/>
              <a:gdLst>
                <a:gd name="T0" fmla="*/ 5 w 8"/>
                <a:gd name="T1" fmla="*/ 0 h 11"/>
                <a:gd name="T2" fmla="*/ 8 w 8"/>
                <a:gd name="T3" fmla="*/ 0 h 11"/>
                <a:gd name="T4" fmla="*/ 8 w 8"/>
                <a:gd name="T5" fmla="*/ 0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5 h 11"/>
                <a:gd name="T14" fmla="*/ 5 w 8"/>
                <a:gd name="T15" fmla="*/ 5 h 11"/>
                <a:gd name="T16" fmla="*/ 5 w 8"/>
                <a:gd name="T17" fmla="*/ 5 h 11"/>
                <a:gd name="T18" fmla="*/ 5 w 8"/>
                <a:gd name="T19" fmla="*/ 8 h 11"/>
                <a:gd name="T20" fmla="*/ 8 w 8"/>
                <a:gd name="T21" fmla="*/ 8 h 11"/>
                <a:gd name="T22" fmla="*/ 5 w 8"/>
                <a:gd name="T23" fmla="*/ 8 h 11"/>
                <a:gd name="T24" fmla="*/ 5 w 8"/>
                <a:gd name="T25" fmla="*/ 8 h 11"/>
                <a:gd name="T26" fmla="*/ 5 w 8"/>
                <a:gd name="T27" fmla="*/ 11 h 11"/>
                <a:gd name="T28" fmla="*/ 2 w 8"/>
                <a:gd name="T29" fmla="*/ 11 h 11"/>
                <a:gd name="T30" fmla="*/ 2 w 8"/>
                <a:gd name="T31" fmla="*/ 11 h 11"/>
                <a:gd name="T32" fmla="*/ 2 w 8"/>
                <a:gd name="T33" fmla="*/ 11 h 11"/>
                <a:gd name="T34" fmla="*/ 2 w 8"/>
                <a:gd name="T35" fmla="*/ 11 h 11"/>
                <a:gd name="T36" fmla="*/ 2 w 8"/>
                <a:gd name="T37" fmla="*/ 11 h 11"/>
                <a:gd name="T38" fmla="*/ 0 w 8"/>
                <a:gd name="T39" fmla="*/ 11 h 11"/>
                <a:gd name="T40" fmla="*/ 0 w 8"/>
                <a:gd name="T41" fmla="*/ 11 h 11"/>
                <a:gd name="T42" fmla="*/ 0 w 8"/>
                <a:gd name="T43" fmla="*/ 11 h 11"/>
                <a:gd name="T44" fmla="*/ 0 w 8"/>
                <a:gd name="T45" fmla="*/ 11 h 11"/>
                <a:gd name="T46" fmla="*/ 0 w 8"/>
                <a:gd name="T47" fmla="*/ 8 h 11"/>
                <a:gd name="T48" fmla="*/ 0 w 8"/>
                <a:gd name="T49" fmla="*/ 8 h 11"/>
                <a:gd name="T50" fmla="*/ 0 w 8"/>
                <a:gd name="T51" fmla="*/ 8 h 11"/>
                <a:gd name="T52" fmla="*/ 0 w 8"/>
                <a:gd name="T53" fmla="*/ 5 h 11"/>
                <a:gd name="T54" fmla="*/ 0 w 8"/>
                <a:gd name="T55" fmla="*/ 5 h 11"/>
                <a:gd name="T56" fmla="*/ 0 w 8"/>
                <a:gd name="T57" fmla="*/ 3 h 11"/>
                <a:gd name="T58" fmla="*/ 2 w 8"/>
                <a:gd name="T59" fmla="*/ 3 h 11"/>
                <a:gd name="T60" fmla="*/ 2 w 8"/>
                <a:gd name="T61" fmla="*/ 3 h 11"/>
                <a:gd name="T62" fmla="*/ 2 w 8"/>
                <a:gd name="T63" fmla="*/ 0 h 11"/>
                <a:gd name="T64" fmla="*/ 2 w 8"/>
                <a:gd name="T65" fmla="*/ 0 h 11"/>
                <a:gd name="T66" fmla="*/ 5 w 8"/>
                <a:gd name="T67" fmla="*/ 0 h 11"/>
                <a:gd name="T68" fmla="*/ 5 w 8"/>
                <a:gd name="T69" fmla="*/ 0 h 11"/>
                <a:gd name="T70" fmla="*/ 5 w 8"/>
                <a:gd name="T71" fmla="*/ 0 h 11"/>
                <a:gd name="T72" fmla="*/ 5 w 8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" h="11" extrusionOk="0">
                  <a:moveTo>
                    <a:pt x="5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6" name="Freeform 8791">
              <a:extLst>
                <a:ext uri="{FF2B5EF4-FFF2-40B4-BE49-F238E27FC236}">
                  <a16:creationId xmlns:a16="http://schemas.microsoft.com/office/drawing/2014/main" id="{E9DB3848-0216-AC43-8B06-D1C0887BC0D3}"/>
                </a:ext>
              </a:extLst>
            </p:cNvPr>
            <p:cNvSpPr/>
            <p:nvPr/>
          </p:nvSpPr>
          <p:spPr bwMode="auto">
            <a:xfrm>
              <a:off x="5041105" y="2114552"/>
              <a:ext cx="96838" cy="76200"/>
            </a:xfrm>
            <a:custGeom>
              <a:avLst/>
              <a:gdLst>
                <a:gd name="T0" fmla="*/ 56 w 61"/>
                <a:gd name="T1" fmla="*/ 43 h 48"/>
                <a:gd name="T2" fmla="*/ 50 w 61"/>
                <a:gd name="T3" fmla="*/ 43 h 48"/>
                <a:gd name="T4" fmla="*/ 45 w 61"/>
                <a:gd name="T5" fmla="*/ 45 h 48"/>
                <a:gd name="T6" fmla="*/ 40 w 61"/>
                <a:gd name="T7" fmla="*/ 45 h 48"/>
                <a:gd name="T8" fmla="*/ 34 w 61"/>
                <a:gd name="T9" fmla="*/ 43 h 48"/>
                <a:gd name="T10" fmla="*/ 26 w 61"/>
                <a:gd name="T11" fmla="*/ 45 h 48"/>
                <a:gd name="T12" fmla="*/ 18 w 61"/>
                <a:gd name="T13" fmla="*/ 45 h 48"/>
                <a:gd name="T14" fmla="*/ 16 w 61"/>
                <a:gd name="T15" fmla="*/ 48 h 48"/>
                <a:gd name="T16" fmla="*/ 10 w 61"/>
                <a:gd name="T17" fmla="*/ 48 h 48"/>
                <a:gd name="T18" fmla="*/ 8 w 61"/>
                <a:gd name="T19" fmla="*/ 45 h 48"/>
                <a:gd name="T20" fmla="*/ 8 w 61"/>
                <a:gd name="T21" fmla="*/ 40 h 48"/>
                <a:gd name="T22" fmla="*/ 5 w 61"/>
                <a:gd name="T23" fmla="*/ 37 h 48"/>
                <a:gd name="T24" fmla="*/ 2 w 61"/>
                <a:gd name="T25" fmla="*/ 40 h 48"/>
                <a:gd name="T26" fmla="*/ 5 w 61"/>
                <a:gd name="T27" fmla="*/ 45 h 48"/>
                <a:gd name="T28" fmla="*/ 2 w 61"/>
                <a:gd name="T29" fmla="*/ 48 h 48"/>
                <a:gd name="T30" fmla="*/ 2 w 61"/>
                <a:gd name="T31" fmla="*/ 45 h 48"/>
                <a:gd name="T32" fmla="*/ 0 w 61"/>
                <a:gd name="T33" fmla="*/ 45 h 48"/>
                <a:gd name="T34" fmla="*/ 2 w 61"/>
                <a:gd name="T35" fmla="*/ 35 h 48"/>
                <a:gd name="T36" fmla="*/ 5 w 61"/>
                <a:gd name="T37" fmla="*/ 29 h 48"/>
                <a:gd name="T38" fmla="*/ 10 w 61"/>
                <a:gd name="T39" fmla="*/ 21 h 48"/>
                <a:gd name="T40" fmla="*/ 13 w 61"/>
                <a:gd name="T41" fmla="*/ 11 h 48"/>
                <a:gd name="T42" fmla="*/ 13 w 61"/>
                <a:gd name="T43" fmla="*/ 8 h 48"/>
                <a:gd name="T44" fmla="*/ 13 w 61"/>
                <a:gd name="T45" fmla="*/ 5 h 48"/>
                <a:gd name="T46" fmla="*/ 16 w 61"/>
                <a:gd name="T47" fmla="*/ 5 h 48"/>
                <a:gd name="T48" fmla="*/ 21 w 61"/>
                <a:gd name="T49" fmla="*/ 3 h 48"/>
                <a:gd name="T50" fmla="*/ 26 w 61"/>
                <a:gd name="T51" fmla="*/ 0 h 48"/>
                <a:gd name="T52" fmla="*/ 32 w 61"/>
                <a:gd name="T53" fmla="*/ 0 h 48"/>
                <a:gd name="T54" fmla="*/ 32 w 61"/>
                <a:gd name="T55" fmla="*/ 3 h 48"/>
                <a:gd name="T56" fmla="*/ 37 w 61"/>
                <a:gd name="T57" fmla="*/ 3 h 48"/>
                <a:gd name="T58" fmla="*/ 40 w 61"/>
                <a:gd name="T59" fmla="*/ 3 h 48"/>
                <a:gd name="T60" fmla="*/ 42 w 61"/>
                <a:gd name="T61" fmla="*/ 3 h 48"/>
                <a:gd name="T62" fmla="*/ 48 w 61"/>
                <a:gd name="T63" fmla="*/ 3 h 48"/>
                <a:gd name="T64" fmla="*/ 50 w 61"/>
                <a:gd name="T65" fmla="*/ 8 h 48"/>
                <a:gd name="T66" fmla="*/ 53 w 61"/>
                <a:gd name="T67" fmla="*/ 11 h 48"/>
                <a:gd name="T68" fmla="*/ 53 w 61"/>
                <a:gd name="T69" fmla="*/ 13 h 48"/>
                <a:gd name="T70" fmla="*/ 53 w 61"/>
                <a:gd name="T71" fmla="*/ 13 h 48"/>
                <a:gd name="T72" fmla="*/ 50 w 61"/>
                <a:gd name="T73" fmla="*/ 11 h 48"/>
                <a:gd name="T74" fmla="*/ 48 w 61"/>
                <a:gd name="T75" fmla="*/ 13 h 48"/>
                <a:gd name="T76" fmla="*/ 48 w 61"/>
                <a:gd name="T77" fmla="*/ 19 h 48"/>
                <a:gd name="T78" fmla="*/ 45 w 61"/>
                <a:gd name="T79" fmla="*/ 19 h 48"/>
                <a:gd name="T80" fmla="*/ 45 w 61"/>
                <a:gd name="T81" fmla="*/ 24 h 48"/>
                <a:gd name="T82" fmla="*/ 45 w 61"/>
                <a:gd name="T83" fmla="*/ 27 h 48"/>
                <a:gd name="T84" fmla="*/ 42 w 61"/>
                <a:gd name="T85" fmla="*/ 27 h 48"/>
                <a:gd name="T86" fmla="*/ 40 w 61"/>
                <a:gd name="T87" fmla="*/ 27 h 48"/>
                <a:gd name="T88" fmla="*/ 42 w 61"/>
                <a:gd name="T89" fmla="*/ 29 h 48"/>
                <a:gd name="T90" fmla="*/ 45 w 61"/>
                <a:gd name="T91" fmla="*/ 29 h 48"/>
                <a:gd name="T92" fmla="*/ 48 w 61"/>
                <a:gd name="T93" fmla="*/ 29 h 48"/>
                <a:gd name="T94" fmla="*/ 50 w 61"/>
                <a:gd name="T95" fmla="*/ 32 h 48"/>
                <a:gd name="T96" fmla="*/ 50 w 61"/>
                <a:gd name="T97" fmla="*/ 32 h 48"/>
                <a:gd name="T98" fmla="*/ 50 w 61"/>
                <a:gd name="T99" fmla="*/ 29 h 48"/>
                <a:gd name="T100" fmla="*/ 53 w 61"/>
                <a:gd name="T101" fmla="*/ 27 h 48"/>
                <a:gd name="T102" fmla="*/ 56 w 61"/>
                <a:gd name="T103" fmla="*/ 24 h 48"/>
                <a:gd name="T104" fmla="*/ 58 w 61"/>
                <a:gd name="T105" fmla="*/ 24 h 48"/>
                <a:gd name="T106" fmla="*/ 58 w 61"/>
                <a:gd name="T107" fmla="*/ 29 h 48"/>
                <a:gd name="T108" fmla="*/ 61 w 61"/>
                <a:gd name="T109" fmla="*/ 35 h 48"/>
                <a:gd name="T110" fmla="*/ 61 w 61"/>
                <a:gd name="T111" fmla="*/ 40 h 48"/>
                <a:gd name="T112" fmla="*/ 58 w 61"/>
                <a:gd name="T113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1" h="48" extrusionOk="0">
                  <a:moveTo>
                    <a:pt x="58" y="43"/>
                  </a:moveTo>
                  <a:lnTo>
                    <a:pt x="58" y="43"/>
                  </a:lnTo>
                  <a:lnTo>
                    <a:pt x="56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0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5" y="45"/>
                  </a:lnTo>
                  <a:lnTo>
                    <a:pt x="42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2" y="43"/>
                  </a:lnTo>
                  <a:lnTo>
                    <a:pt x="29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1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5" y="40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5" y="45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2" y="48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10" y="21"/>
                  </a:lnTo>
                  <a:lnTo>
                    <a:pt x="10" y="16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6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7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0"/>
                  </a:lnTo>
                  <a:lnTo>
                    <a:pt x="45" y="3"/>
                  </a:lnTo>
                  <a:lnTo>
                    <a:pt x="48" y="3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3"/>
                  </a:lnTo>
                  <a:lnTo>
                    <a:pt x="48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50" y="35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6" y="27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2"/>
                  </a:lnTo>
                  <a:lnTo>
                    <a:pt x="61" y="32"/>
                  </a:lnTo>
                  <a:lnTo>
                    <a:pt x="61" y="35"/>
                  </a:lnTo>
                  <a:lnTo>
                    <a:pt x="61" y="37"/>
                  </a:lnTo>
                  <a:lnTo>
                    <a:pt x="61" y="37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58" y="40"/>
                  </a:lnTo>
                  <a:lnTo>
                    <a:pt x="58" y="43"/>
                  </a:lnTo>
                  <a:lnTo>
                    <a:pt x="58" y="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7" name="Freeform 8792">
              <a:extLst>
                <a:ext uri="{FF2B5EF4-FFF2-40B4-BE49-F238E27FC236}">
                  <a16:creationId xmlns:a16="http://schemas.microsoft.com/office/drawing/2014/main" id="{4B6E010E-9DD3-2547-BDA0-7951AA2FD75D}"/>
                </a:ext>
              </a:extLst>
            </p:cNvPr>
            <p:cNvSpPr/>
            <p:nvPr/>
          </p:nvSpPr>
          <p:spPr bwMode="auto">
            <a:xfrm>
              <a:off x="4668042" y="2840040"/>
              <a:ext cx="12700" cy="12699"/>
            </a:xfrm>
            <a:custGeom>
              <a:avLst/>
              <a:gdLst>
                <a:gd name="T0" fmla="*/ 0 w 8"/>
                <a:gd name="T1" fmla="*/ 0 h 8"/>
                <a:gd name="T2" fmla="*/ 0 w 8"/>
                <a:gd name="T3" fmla="*/ 0 h 8"/>
                <a:gd name="T4" fmla="*/ 2 w 8"/>
                <a:gd name="T5" fmla="*/ 0 h 8"/>
                <a:gd name="T6" fmla="*/ 2 w 8"/>
                <a:gd name="T7" fmla="*/ 0 h 8"/>
                <a:gd name="T8" fmla="*/ 2 w 8"/>
                <a:gd name="T9" fmla="*/ 0 h 8"/>
                <a:gd name="T10" fmla="*/ 5 w 8"/>
                <a:gd name="T11" fmla="*/ 0 h 8"/>
                <a:gd name="T12" fmla="*/ 5 w 8"/>
                <a:gd name="T13" fmla="*/ 3 h 8"/>
                <a:gd name="T14" fmla="*/ 8 w 8"/>
                <a:gd name="T15" fmla="*/ 3 h 8"/>
                <a:gd name="T16" fmla="*/ 8 w 8"/>
                <a:gd name="T17" fmla="*/ 3 h 8"/>
                <a:gd name="T18" fmla="*/ 8 w 8"/>
                <a:gd name="T19" fmla="*/ 5 h 8"/>
                <a:gd name="T20" fmla="*/ 8 w 8"/>
                <a:gd name="T21" fmla="*/ 5 h 8"/>
                <a:gd name="T22" fmla="*/ 8 w 8"/>
                <a:gd name="T23" fmla="*/ 8 h 8"/>
                <a:gd name="T24" fmla="*/ 8 w 8"/>
                <a:gd name="T25" fmla="*/ 8 h 8"/>
                <a:gd name="T26" fmla="*/ 8 w 8"/>
                <a:gd name="T27" fmla="*/ 8 h 8"/>
                <a:gd name="T28" fmla="*/ 5 w 8"/>
                <a:gd name="T29" fmla="*/ 8 h 8"/>
                <a:gd name="T30" fmla="*/ 5 w 8"/>
                <a:gd name="T31" fmla="*/ 8 h 8"/>
                <a:gd name="T32" fmla="*/ 2 w 8"/>
                <a:gd name="T33" fmla="*/ 5 h 8"/>
                <a:gd name="T34" fmla="*/ 2 w 8"/>
                <a:gd name="T35" fmla="*/ 5 h 8"/>
                <a:gd name="T36" fmla="*/ 2 w 8"/>
                <a:gd name="T37" fmla="*/ 3 h 8"/>
                <a:gd name="T38" fmla="*/ 0 w 8"/>
                <a:gd name="T39" fmla="*/ 3 h 8"/>
                <a:gd name="T40" fmla="*/ 0 w 8"/>
                <a:gd name="T41" fmla="*/ 3 h 8"/>
                <a:gd name="T42" fmla="*/ 0 w 8"/>
                <a:gd name="T43" fmla="*/ 0 h 8"/>
                <a:gd name="T44" fmla="*/ 0 w 8"/>
                <a:gd name="T4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" h="8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8" name="Freeform 8793">
              <a:extLst>
                <a:ext uri="{FF2B5EF4-FFF2-40B4-BE49-F238E27FC236}">
                  <a16:creationId xmlns:a16="http://schemas.microsoft.com/office/drawing/2014/main" id="{9166BEF3-6EA0-2842-B038-BBC95C00EB86}"/>
                </a:ext>
              </a:extLst>
            </p:cNvPr>
            <p:cNvSpPr/>
            <p:nvPr/>
          </p:nvSpPr>
          <p:spPr bwMode="auto">
            <a:xfrm>
              <a:off x="4612479" y="2771777"/>
              <a:ext cx="25399" cy="38100"/>
            </a:xfrm>
            <a:custGeom>
              <a:avLst/>
              <a:gdLst>
                <a:gd name="T0" fmla="*/ 0 w 16"/>
                <a:gd name="T1" fmla="*/ 0 h 24"/>
                <a:gd name="T2" fmla="*/ 0 w 16"/>
                <a:gd name="T3" fmla="*/ 0 h 24"/>
                <a:gd name="T4" fmla="*/ 3 w 16"/>
                <a:gd name="T5" fmla="*/ 0 h 24"/>
                <a:gd name="T6" fmla="*/ 3 w 16"/>
                <a:gd name="T7" fmla="*/ 0 h 24"/>
                <a:gd name="T8" fmla="*/ 5 w 16"/>
                <a:gd name="T9" fmla="*/ 0 h 24"/>
                <a:gd name="T10" fmla="*/ 5 w 16"/>
                <a:gd name="T11" fmla="*/ 0 h 24"/>
                <a:gd name="T12" fmla="*/ 8 w 16"/>
                <a:gd name="T13" fmla="*/ 3 h 24"/>
                <a:gd name="T14" fmla="*/ 11 w 16"/>
                <a:gd name="T15" fmla="*/ 6 h 24"/>
                <a:gd name="T16" fmla="*/ 11 w 16"/>
                <a:gd name="T17" fmla="*/ 8 h 24"/>
                <a:gd name="T18" fmla="*/ 13 w 16"/>
                <a:gd name="T19" fmla="*/ 11 h 24"/>
                <a:gd name="T20" fmla="*/ 13 w 16"/>
                <a:gd name="T21" fmla="*/ 11 h 24"/>
                <a:gd name="T22" fmla="*/ 13 w 16"/>
                <a:gd name="T23" fmla="*/ 14 h 24"/>
                <a:gd name="T24" fmla="*/ 16 w 16"/>
                <a:gd name="T25" fmla="*/ 16 h 24"/>
                <a:gd name="T26" fmla="*/ 16 w 16"/>
                <a:gd name="T27" fmla="*/ 19 h 24"/>
                <a:gd name="T28" fmla="*/ 16 w 16"/>
                <a:gd name="T29" fmla="*/ 22 h 24"/>
                <a:gd name="T30" fmla="*/ 16 w 16"/>
                <a:gd name="T31" fmla="*/ 22 h 24"/>
                <a:gd name="T32" fmla="*/ 16 w 16"/>
                <a:gd name="T33" fmla="*/ 24 h 24"/>
                <a:gd name="T34" fmla="*/ 16 w 16"/>
                <a:gd name="T35" fmla="*/ 24 h 24"/>
                <a:gd name="T36" fmla="*/ 16 w 16"/>
                <a:gd name="T37" fmla="*/ 24 h 24"/>
                <a:gd name="T38" fmla="*/ 13 w 16"/>
                <a:gd name="T39" fmla="*/ 22 h 24"/>
                <a:gd name="T40" fmla="*/ 13 w 16"/>
                <a:gd name="T41" fmla="*/ 19 h 24"/>
                <a:gd name="T42" fmla="*/ 13 w 16"/>
                <a:gd name="T43" fmla="*/ 19 h 24"/>
                <a:gd name="T44" fmla="*/ 13 w 16"/>
                <a:gd name="T45" fmla="*/ 19 h 24"/>
                <a:gd name="T46" fmla="*/ 13 w 16"/>
                <a:gd name="T47" fmla="*/ 16 h 24"/>
                <a:gd name="T48" fmla="*/ 13 w 16"/>
                <a:gd name="T49" fmla="*/ 14 h 24"/>
                <a:gd name="T50" fmla="*/ 11 w 16"/>
                <a:gd name="T51" fmla="*/ 14 h 24"/>
                <a:gd name="T52" fmla="*/ 11 w 16"/>
                <a:gd name="T53" fmla="*/ 11 h 24"/>
                <a:gd name="T54" fmla="*/ 8 w 16"/>
                <a:gd name="T55" fmla="*/ 11 h 24"/>
                <a:gd name="T56" fmla="*/ 8 w 16"/>
                <a:gd name="T57" fmla="*/ 8 h 24"/>
                <a:gd name="T58" fmla="*/ 8 w 16"/>
                <a:gd name="T59" fmla="*/ 6 h 24"/>
                <a:gd name="T60" fmla="*/ 5 w 16"/>
                <a:gd name="T61" fmla="*/ 6 h 24"/>
                <a:gd name="T62" fmla="*/ 5 w 16"/>
                <a:gd name="T63" fmla="*/ 3 h 24"/>
                <a:gd name="T64" fmla="*/ 5 w 16"/>
                <a:gd name="T65" fmla="*/ 3 h 24"/>
                <a:gd name="T66" fmla="*/ 3 w 16"/>
                <a:gd name="T67" fmla="*/ 3 h 24"/>
                <a:gd name="T68" fmla="*/ 3 w 16"/>
                <a:gd name="T69" fmla="*/ 3 h 24"/>
                <a:gd name="T70" fmla="*/ 0 w 16"/>
                <a:gd name="T71" fmla="*/ 0 h 24"/>
                <a:gd name="T72" fmla="*/ 0 w 16"/>
                <a:gd name="T73" fmla="*/ 0 h 24"/>
                <a:gd name="T74" fmla="*/ 0 w 16"/>
                <a:gd name="T7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24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1" y="8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4"/>
                  </a:lnTo>
                  <a:lnTo>
                    <a:pt x="16" y="16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2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6"/>
                  </a:lnTo>
                  <a:lnTo>
                    <a:pt x="5" y="6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79" name="Freeform 8794">
              <a:extLst>
                <a:ext uri="{FF2B5EF4-FFF2-40B4-BE49-F238E27FC236}">
                  <a16:creationId xmlns:a16="http://schemas.microsoft.com/office/drawing/2014/main" id="{5E18AB95-7E73-1A4B-9EAE-CAEE730411BF}"/>
                </a:ext>
              </a:extLst>
            </p:cNvPr>
            <p:cNvSpPr/>
            <p:nvPr/>
          </p:nvSpPr>
          <p:spPr bwMode="auto">
            <a:xfrm>
              <a:off x="5663404" y="2713039"/>
              <a:ext cx="34925" cy="80963"/>
            </a:xfrm>
            <a:custGeom>
              <a:avLst/>
              <a:gdLst>
                <a:gd name="T0" fmla="*/ 16 w 22"/>
                <a:gd name="T1" fmla="*/ 0 h 51"/>
                <a:gd name="T2" fmla="*/ 16 w 22"/>
                <a:gd name="T3" fmla="*/ 3 h 51"/>
                <a:gd name="T4" fmla="*/ 16 w 22"/>
                <a:gd name="T5" fmla="*/ 5 h 51"/>
                <a:gd name="T6" fmla="*/ 19 w 22"/>
                <a:gd name="T7" fmla="*/ 3 h 51"/>
                <a:gd name="T8" fmla="*/ 19 w 22"/>
                <a:gd name="T9" fmla="*/ 5 h 51"/>
                <a:gd name="T10" fmla="*/ 19 w 22"/>
                <a:gd name="T11" fmla="*/ 8 h 51"/>
                <a:gd name="T12" fmla="*/ 22 w 22"/>
                <a:gd name="T13" fmla="*/ 13 h 51"/>
                <a:gd name="T14" fmla="*/ 22 w 22"/>
                <a:gd name="T15" fmla="*/ 13 h 51"/>
                <a:gd name="T16" fmla="*/ 19 w 22"/>
                <a:gd name="T17" fmla="*/ 16 h 51"/>
                <a:gd name="T18" fmla="*/ 19 w 22"/>
                <a:gd name="T19" fmla="*/ 19 h 51"/>
                <a:gd name="T20" fmla="*/ 19 w 22"/>
                <a:gd name="T21" fmla="*/ 19 h 51"/>
                <a:gd name="T22" fmla="*/ 16 w 22"/>
                <a:gd name="T23" fmla="*/ 19 h 51"/>
                <a:gd name="T24" fmla="*/ 16 w 22"/>
                <a:gd name="T25" fmla="*/ 19 h 51"/>
                <a:gd name="T26" fmla="*/ 14 w 22"/>
                <a:gd name="T27" fmla="*/ 24 h 51"/>
                <a:gd name="T28" fmla="*/ 14 w 22"/>
                <a:gd name="T29" fmla="*/ 27 h 51"/>
                <a:gd name="T30" fmla="*/ 11 w 22"/>
                <a:gd name="T31" fmla="*/ 32 h 51"/>
                <a:gd name="T32" fmla="*/ 11 w 22"/>
                <a:gd name="T33" fmla="*/ 35 h 51"/>
                <a:gd name="T34" fmla="*/ 8 w 22"/>
                <a:gd name="T35" fmla="*/ 37 h 51"/>
                <a:gd name="T36" fmla="*/ 11 w 22"/>
                <a:gd name="T37" fmla="*/ 37 h 51"/>
                <a:gd name="T38" fmla="*/ 14 w 22"/>
                <a:gd name="T39" fmla="*/ 40 h 51"/>
                <a:gd name="T40" fmla="*/ 11 w 22"/>
                <a:gd name="T41" fmla="*/ 43 h 51"/>
                <a:gd name="T42" fmla="*/ 11 w 22"/>
                <a:gd name="T43" fmla="*/ 45 h 51"/>
                <a:gd name="T44" fmla="*/ 8 w 22"/>
                <a:gd name="T45" fmla="*/ 45 h 51"/>
                <a:gd name="T46" fmla="*/ 8 w 22"/>
                <a:gd name="T47" fmla="*/ 48 h 51"/>
                <a:gd name="T48" fmla="*/ 8 w 22"/>
                <a:gd name="T49" fmla="*/ 48 h 51"/>
                <a:gd name="T50" fmla="*/ 6 w 22"/>
                <a:gd name="T51" fmla="*/ 51 h 51"/>
                <a:gd name="T52" fmla="*/ 3 w 22"/>
                <a:gd name="T53" fmla="*/ 51 h 51"/>
                <a:gd name="T54" fmla="*/ 0 w 22"/>
                <a:gd name="T55" fmla="*/ 48 h 51"/>
                <a:gd name="T56" fmla="*/ 3 w 22"/>
                <a:gd name="T57" fmla="*/ 45 h 51"/>
                <a:gd name="T58" fmla="*/ 6 w 22"/>
                <a:gd name="T59" fmla="*/ 40 h 51"/>
                <a:gd name="T60" fmla="*/ 6 w 22"/>
                <a:gd name="T61" fmla="*/ 35 h 51"/>
                <a:gd name="T62" fmla="*/ 6 w 22"/>
                <a:gd name="T63" fmla="*/ 29 h 51"/>
                <a:gd name="T64" fmla="*/ 8 w 22"/>
                <a:gd name="T65" fmla="*/ 27 h 51"/>
                <a:gd name="T66" fmla="*/ 8 w 22"/>
                <a:gd name="T67" fmla="*/ 24 h 51"/>
                <a:gd name="T68" fmla="*/ 8 w 22"/>
                <a:gd name="T69" fmla="*/ 21 h 51"/>
                <a:gd name="T70" fmla="*/ 8 w 22"/>
                <a:gd name="T71" fmla="*/ 16 h 51"/>
                <a:gd name="T72" fmla="*/ 11 w 22"/>
                <a:gd name="T73" fmla="*/ 13 h 51"/>
                <a:gd name="T74" fmla="*/ 11 w 22"/>
                <a:gd name="T75" fmla="*/ 11 h 51"/>
                <a:gd name="T76" fmla="*/ 11 w 22"/>
                <a:gd name="T77" fmla="*/ 8 h 51"/>
                <a:gd name="T78" fmla="*/ 14 w 22"/>
                <a:gd name="T79" fmla="*/ 5 h 51"/>
                <a:gd name="T80" fmla="*/ 14 w 22"/>
                <a:gd name="T81" fmla="*/ 3 h 51"/>
                <a:gd name="T82" fmla="*/ 14 w 22"/>
                <a:gd name="T83" fmla="*/ 3 h 51"/>
                <a:gd name="T84" fmla="*/ 14 w 22"/>
                <a:gd name="T85" fmla="*/ 3 h 51"/>
                <a:gd name="T86" fmla="*/ 16 w 22"/>
                <a:gd name="T8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" h="51" extrusionOk="0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5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1"/>
                  </a:lnTo>
                  <a:lnTo>
                    <a:pt x="14" y="24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11" y="35"/>
                  </a:lnTo>
                  <a:lnTo>
                    <a:pt x="11" y="37"/>
                  </a:lnTo>
                  <a:lnTo>
                    <a:pt x="11" y="40"/>
                  </a:lnTo>
                  <a:lnTo>
                    <a:pt x="14" y="40"/>
                  </a:lnTo>
                  <a:lnTo>
                    <a:pt x="14" y="43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6" y="40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0" name="Freeform 8795">
              <a:extLst>
                <a:ext uri="{FF2B5EF4-FFF2-40B4-BE49-F238E27FC236}">
                  <a16:creationId xmlns:a16="http://schemas.microsoft.com/office/drawing/2014/main" id="{55CF68AF-31A3-F04A-AD53-E421AC18D6C8}"/>
                </a:ext>
              </a:extLst>
            </p:cNvPr>
            <p:cNvSpPr/>
            <p:nvPr/>
          </p:nvSpPr>
          <p:spPr bwMode="auto">
            <a:xfrm>
              <a:off x="6346029" y="1771652"/>
              <a:ext cx="30162" cy="20638"/>
            </a:xfrm>
            <a:custGeom>
              <a:avLst/>
              <a:gdLst>
                <a:gd name="T0" fmla="*/ 16 w 19"/>
                <a:gd name="T1" fmla="*/ 0 h 13"/>
                <a:gd name="T2" fmla="*/ 16 w 19"/>
                <a:gd name="T3" fmla="*/ 2 h 13"/>
                <a:gd name="T4" fmla="*/ 14 w 19"/>
                <a:gd name="T5" fmla="*/ 2 h 13"/>
                <a:gd name="T6" fmla="*/ 11 w 19"/>
                <a:gd name="T7" fmla="*/ 2 h 13"/>
                <a:gd name="T8" fmla="*/ 11 w 19"/>
                <a:gd name="T9" fmla="*/ 5 h 13"/>
                <a:gd name="T10" fmla="*/ 11 w 19"/>
                <a:gd name="T11" fmla="*/ 8 h 13"/>
                <a:gd name="T12" fmla="*/ 14 w 19"/>
                <a:gd name="T13" fmla="*/ 8 h 13"/>
                <a:gd name="T14" fmla="*/ 11 w 19"/>
                <a:gd name="T15" fmla="*/ 10 h 13"/>
                <a:gd name="T16" fmla="*/ 11 w 19"/>
                <a:gd name="T17" fmla="*/ 10 h 13"/>
                <a:gd name="T18" fmla="*/ 8 w 19"/>
                <a:gd name="T19" fmla="*/ 8 h 13"/>
                <a:gd name="T20" fmla="*/ 6 w 19"/>
                <a:gd name="T21" fmla="*/ 8 h 13"/>
                <a:gd name="T22" fmla="*/ 6 w 19"/>
                <a:gd name="T23" fmla="*/ 8 h 13"/>
                <a:gd name="T24" fmla="*/ 3 w 19"/>
                <a:gd name="T25" fmla="*/ 8 h 13"/>
                <a:gd name="T26" fmla="*/ 3 w 19"/>
                <a:gd name="T27" fmla="*/ 5 h 13"/>
                <a:gd name="T28" fmla="*/ 0 w 19"/>
                <a:gd name="T29" fmla="*/ 8 h 13"/>
                <a:gd name="T30" fmla="*/ 0 w 19"/>
                <a:gd name="T31" fmla="*/ 10 h 13"/>
                <a:gd name="T32" fmla="*/ 3 w 19"/>
                <a:gd name="T33" fmla="*/ 13 h 13"/>
                <a:gd name="T34" fmla="*/ 6 w 19"/>
                <a:gd name="T35" fmla="*/ 10 h 13"/>
                <a:gd name="T36" fmla="*/ 6 w 19"/>
                <a:gd name="T37" fmla="*/ 10 h 13"/>
                <a:gd name="T38" fmla="*/ 8 w 19"/>
                <a:gd name="T39" fmla="*/ 13 h 13"/>
                <a:gd name="T40" fmla="*/ 11 w 19"/>
                <a:gd name="T41" fmla="*/ 13 h 13"/>
                <a:gd name="T42" fmla="*/ 14 w 19"/>
                <a:gd name="T43" fmla="*/ 13 h 13"/>
                <a:gd name="T44" fmla="*/ 16 w 19"/>
                <a:gd name="T45" fmla="*/ 13 h 13"/>
                <a:gd name="T46" fmla="*/ 16 w 19"/>
                <a:gd name="T47" fmla="*/ 13 h 13"/>
                <a:gd name="T48" fmla="*/ 16 w 19"/>
                <a:gd name="T49" fmla="*/ 10 h 13"/>
                <a:gd name="T50" fmla="*/ 16 w 19"/>
                <a:gd name="T51" fmla="*/ 8 h 13"/>
                <a:gd name="T52" fmla="*/ 14 w 19"/>
                <a:gd name="T53" fmla="*/ 8 h 13"/>
                <a:gd name="T54" fmla="*/ 14 w 19"/>
                <a:gd name="T55" fmla="*/ 5 h 13"/>
                <a:gd name="T56" fmla="*/ 16 w 19"/>
                <a:gd name="T57" fmla="*/ 5 h 13"/>
                <a:gd name="T58" fmla="*/ 19 w 19"/>
                <a:gd name="T59" fmla="*/ 2 h 13"/>
                <a:gd name="T60" fmla="*/ 19 w 19"/>
                <a:gd name="T61" fmla="*/ 2 h 13"/>
                <a:gd name="T62" fmla="*/ 19 w 19"/>
                <a:gd name="T63" fmla="*/ 0 h 13"/>
                <a:gd name="T64" fmla="*/ 16 w 19"/>
                <a:gd name="T6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" h="13" extrusionOk="0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1" name="Freeform 8796">
              <a:extLst>
                <a:ext uri="{FF2B5EF4-FFF2-40B4-BE49-F238E27FC236}">
                  <a16:creationId xmlns:a16="http://schemas.microsoft.com/office/drawing/2014/main" id="{0BEDB4FE-F6FC-6548-8026-936A235A7E1C}"/>
                </a:ext>
              </a:extLst>
            </p:cNvPr>
            <p:cNvSpPr/>
            <p:nvPr/>
          </p:nvSpPr>
          <p:spPr bwMode="auto">
            <a:xfrm>
              <a:off x="5634830" y="2682877"/>
              <a:ext cx="12700" cy="22225"/>
            </a:xfrm>
            <a:custGeom>
              <a:avLst/>
              <a:gdLst>
                <a:gd name="T0" fmla="*/ 2 w 8"/>
                <a:gd name="T1" fmla="*/ 0 h 14"/>
                <a:gd name="T2" fmla="*/ 5 w 8"/>
                <a:gd name="T3" fmla="*/ 0 h 14"/>
                <a:gd name="T4" fmla="*/ 5 w 8"/>
                <a:gd name="T5" fmla="*/ 0 h 14"/>
                <a:gd name="T6" fmla="*/ 5 w 8"/>
                <a:gd name="T7" fmla="*/ 0 h 14"/>
                <a:gd name="T8" fmla="*/ 5 w 8"/>
                <a:gd name="T9" fmla="*/ 0 h 14"/>
                <a:gd name="T10" fmla="*/ 5 w 8"/>
                <a:gd name="T11" fmla="*/ 3 h 14"/>
                <a:gd name="T12" fmla="*/ 8 w 8"/>
                <a:gd name="T13" fmla="*/ 3 h 14"/>
                <a:gd name="T14" fmla="*/ 8 w 8"/>
                <a:gd name="T15" fmla="*/ 3 h 14"/>
                <a:gd name="T16" fmla="*/ 8 w 8"/>
                <a:gd name="T17" fmla="*/ 3 h 14"/>
                <a:gd name="T18" fmla="*/ 8 w 8"/>
                <a:gd name="T19" fmla="*/ 5 h 14"/>
                <a:gd name="T20" fmla="*/ 8 w 8"/>
                <a:gd name="T21" fmla="*/ 5 h 14"/>
                <a:gd name="T22" fmla="*/ 8 w 8"/>
                <a:gd name="T23" fmla="*/ 8 h 14"/>
                <a:gd name="T24" fmla="*/ 5 w 8"/>
                <a:gd name="T25" fmla="*/ 8 h 14"/>
                <a:gd name="T26" fmla="*/ 5 w 8"/>
                <a:gd name="T27" fmla="*/ 11 h 14"/>
                <a:gd name="T28" fmla="*/ 5 w 8"/>
                <a:gd name="T29" fmla="*/ 11 h 14"/>
                <a:gd name="T30" fmla="*/ 5 w 8"/>
                <a:gd name="T31" fmla="*/ 14 h 14"/>
                <a:gd name="T32" fmla="*/ 2 w 8"/>
                <a:gd name="T33" fmla="*/ 11 h 14"/>
                <a:gd name="T34" fmla="*/ 2 w 8"/>
                <a:gd name="T35" fmla="*/ 11 h 14"/>
                <a:gd name="T36" fmla="*/ 2 w 8"/>
                <a:gd name="T37" fmla="*/ 8 h 14"/>
                <a:gd name="T38" fmla="*/ 2 w 8"/>
                <a:gd name="T39" fmla="*/ 5 h 14"/>
                <a:gd name="T40" fmla="*/ 0 w 8"/>
                <a:gd name="T41" fmla="*/ 5 h 14"/>
                <a:gd name="T42" fmla="*/ 0 w 8"/>
                <a:gd name="T43" fmla="*/ 5 h 14"/>
                <a:gd name="T44" fmla="*/ 2 w 8"/>
                <a:gd name="T45" fmla="*/ 5 h 14"/>
                <a:gd name="T46" fmla="*/ 2 w 8"/>
                <a:gd name="T47" fmla="*/ 3 h 14"/>
                <a:gd name="T48" fmla="*/ 2 w 8"/>
                <a:gd name="T49" fmla="*/ 3 h 14"/>
                <a:gd name="T50" fmla="*/ 2 w 8"/>
                <a:gd name="T51" fmla="*/ 3 h 14"/>
                <a:gd name="T52" fmla="*/ 2 w 8"/>
                <a:gd name="T53" fmla="*/ 0 h 14"/>
                <a:gd name="T54" fmla="*/ 2 w 8"/>
                <a:gd name="T55" fmla="*/ 0 h 14"/>
                <a:gd name="T56" fmla="*/ 2 w 8"/>
                <a:gd name="T5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" h="14" extrusionOk="0">
                  <a:moveTo>
                    <a:pt x="2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2" name="Freeform 8797">
              <a:extLst>
                <a:ext uri="{FF2B5EF4-FFF2-40B4-BE49-F238E27FC236}">
                  <a16:creationId xmlns:a16="http://schemas.microsoft.com/office/drawing/2014/main" id="{49E21821-A71D-5D4E-8B35-3FDBD4C1B9EB}"/>
                </a:ext>
              </a:extLst>
            </p:cNvPr>
            <p:cNvSpPr/>
            <p:nvPr/>
          </p:nvSpPr>
          <p:spPr bwMode="auto">
            <a:xfrm>
              <a:off x="5761830" y="2135190"/>
              <a:ext cx="41275" cy="22225"/>
            </a:xfrm>
            <a:custGeom>
              <a:avLst/>
              <a:gdLst>
                <a:gd name="T0" fmla="*/ 2 w 26"/>
                <a:gd name="T1" fmla="*/ 6 h 14"/>
                <a:gd name="T2" fmla="*/ 5 w 26"/>
                <a:gd name="T3" fmla="*/ 3 h 14"/>
                <a:gd name="T4" fmla="*/ 8 w 26"/>
                <a:gd name="T5" fmla="*/ 3 h 14"/>
                <a:gd name="T6" fmla="*/ 10 w 26"/>
                <a:gd name="T7" fmla="*/ 0 h 14"/>
                <a:gd name="T8" fmla="*/ 16 w 26"/>
                <a:gd name="T9" fmla="*/ 0 h 14"/>
                <a:gd name="T10" fmla="*/ 18 w 26"/>
                <a:gd name="T11" fmla="*/ 0 h 14"/>
                <a:gd name="T12" fmla="*/ 21 w 26"/>
                <a:gd name="T13" fmla="*/ 0 h 14"/>
                <a:gd name="T14" fmla="*/ 24 w 26"/>
                <a:gd name="T15" fmla="*/ 3 h 14"/>
                <a:gd name="T16" fmla="*/ 24 w 26"/>
                <a:gd name="T17" fmla="*/ 3 h 14"/>
                <a:gd name="T18" fmla="*/ 24 w 26"/>
                <a:gd name="T19" fmla="*/ 6 h 14"/>
                <a:gd name="T20" fmla="*/ 26 w 26"/>
                <a:gd name="T21" fmla="*/ 8 h 14"/>
                <a:gd name="T22" fmla="*/ 24 w 26"/>
                <a:gd name="T23" fmla="*/ 8 h 14"/>
                <a:gd name="T24" fmla="*/ 21 w 26"/>
                <a:gd name="T25" fmla="*/ 6 h 14"/>
                <a:gd name="T26" fmla="*/ 18 w 26"/>
                <a:gd name="T27" fmla="*/ 8 h 14"/>
                <a:gd name="T28" fmla="*/ 18 w 26"/>
                <a:gd name="T29" fmla="*/ 8 h 14"/>
                <a:gd name="T30" fmla="*/ 18 w 26"/>
                <a:gd name="T31" fmla="*/ 8 h 14"/>
                <a:gd name="T32" fmla="*/ 18 w 26"/>
                <a:gd name="T33" fmla="*/ 11 h 14"/>
                <a:gd name="T34" fmla="*/ 16 w 26"/>
                <a:gd name="T35" fmla="*/ 14 h 14"/>
                <a:gd name="T36" fmla="*/ 16 w 26"/>
                <a:gd name="T37" fmla="*/ 11 h 14"/>
                <a:gd name="T38" fmla="*/ 13 w 26"/>
                <a:gd name="T39" fmla="*/ 8 h 14"/>
                <a:gd name="T40" fmla="*/ 10 w 26"/>
                <a:gd name="T41" fmla="*/ 8 h 14"/>
                <a:gd name="T42" fmla="*/ 8 w 26"/>
                <a:gd name="T43" fmla="*/ 8 h 14"/>
                <a:gd name="T44" fmla="*/ 2 w 26"/>
                <a:gd name="T45" fmla="*/ 8 h 14"/>
                <a:gd name="T46" fmla="*/ 2 w 26"/>
                <a:gd name="T47" fmla="*/ 8 h 14"/>
                <a:gd name="T48" fmla="*/ 0 w 26"/>
                <a:gd name="T49" fmla="*/ 6 h 14"/>
                <a:gd name="T50" fmla="*/ 2 w 26"/>
                <a:gd name="T5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" h="14" extrusionOk="0">
                  <a:moveTo>
                    <a:pt x="2" y="6"/>
                  </a:moveTo>
                  <a:lnTo>
                    <a:pt x="5" y="3"/>
                  </a:lnTo>
                  <a:lnTo>
                    <a:pt x="8" y="3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1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1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3" name="Freeform 8798">
              <a:extLst>
                <a:ext uri="{FF2B5EF4-FFF2-40B4-BE49-F238E27FC236}">
                  <a16:creationId xmlns:a16="http://schemas.microsoft.com/office/drawing/2014/main" id="{DFEBEAD6-7A00-444A-B66B-CC7CEA26A71C}"/>
                </a:ext>
              </a:extLst>
            </p:cNvPr>
            <p:cNvSpPr/>
            <p:nvPr/>
          </p:nvSpPr>
          <p:spPr bwMode="auto">
            <a:xfrm>
              <a:off x="5723730" y="2127253"/>
              <a:ext cx="20637" cy="17463"/>
            </a:xfrm>
            <a:custGeom>
              <a:avLst/>
              <a:gdLst>
                <a:gd name="T0" fmla="*/ 13 w 13"/>
                <a:gd name="T1" fmla="*/ 5 h 11"/>
                <a:gd name="T2" fmla="*/ 10 w 13"/>
                <a:gd name="T3" fmla="*/ 5 h 11"/>
                <a:gd name="T4" fmla="*/ 10 w 13"/>
                <a:gd name="T5" fmla="*/ 8 h 11"/>
                <a:gd name="T6" fmla="*/ 10 w 13"/>
                <a:gd name="T7" fmla="*/ 8 h 11"/>
                <a:gd name="T8" fmla="*/ 10 w 13"/>
                <a:gd name="T9" fmla="*/ 8 h 11"/>
                <a:gd name="T10" fmla="*/ 8 w 13"/>
                <a:gd name="T11" fmla="*/ 8 h 11"/>
                <a:gd name="T12" fmla="*/ 8 w 13"/>
                <a:gd name="T13" fmla="*/ 11 h 11"/>
                <a:gd name="T14" fmla="*/ 5 w 13"/>
                <a:gd name="T15" fmla="*/ 11 h 11"/>
                <a:gd name="T16" fmla="*/ 5 w 13"/>
                <a:gd name="T17" fmla="*/ 11 h 11"/>
                <a:gd name="T18" fmla="*/ 5 w 13"/>
                <a:gd name="T19" fmla="*/ 11 h 11"/>
                <a:gd name="T20" fmla="*/ 2 w 13"/>
                <a:gd name="T21" fmla="*/ 11 h 11"/>
                <a:gd name="T22" fmla="*/ 2 w 13"/>
                <a:gd name="T23" fmla="*/ 8 h 11"/>
                <a:gd name="T24" fmla="*/ 0 w 13"/>
                <a:gd name="T25" fmla="*/ 8 h 11"/>
                <a:gd name="T26" fmla="*/ 0 w 13"/>
                <a:gd name="T27" fmla="*/ 5 h 11"/>
                <a:gd name="T28" fmla="*/ 0 w 13"/>
                <a:gd name="T29" fmla="*/ 5 h 11"/>
                <a:gd name="T30" fmla="*/ 0 w 13"/>
                <a:gd name="T31" fmla="*/ 3 h 11"/>
                <a:gd name="T32" fmla="*/ 0 w 13"/>
                <a:gd name="T33" fmla="*/ 3 h 11"/>
                <a:gd name="T34" fmla="*/ 0 w 13"/>
                <a:gd name="T35" fmla="*/ 0 h 11"/>
                <a:gd name="T36" fmla="*/ 2 w 13"/>
                <a:gd name="T37" fmla="*/ 0 h 11"/>
                <a:gd name="T38" fmla="*/ 2 w 13"/>
                <a:gd name="T39" fmla="*/ 0 h 11"/>
                <a:gd name="T40" fmla="*/ 5 w 13"/>
                <a:gd name="T41" fmla="*/ 0 h 11"/>
                <a:gd name="T42" fmla="*/ 5 w 13"/>
                <a:gd name="T43" fmla="*/ 0 h 11"/>
                <a:gd name="T44" fmla="*/ 8 w 13"/>
                <a:gd name="T45" fmla="*/ 3 h 11"/>
                <a:gd name="T46" fmla="*/ 8 w 13"/>
                <a:gd name="T47" fmla="*/ 3 h 11"/>
                <a:gd name="T48" fmla="*/ 10 w 13"/>
                <a:gd name="T49" fmla="*/ 3 h 11"/>
                <a:gd name="T50" fmla="*/ 10 w 13"/>
                <a:gd name="T51" fmla="*/ 3 h 11"/>
                <a:gd name="T52" fmla="*/ 10 w 13"/>
                <a:gd name="T53" fmla="*/ 5 h 11"/>
                <a:gd name="T54" fmla="*/ 10 w 13"/>
                <a:gd name="T55" fmla="*/ 5 h 11"/>
                <a:gd name="T56" fmla="*/ 10 w 13"/>
                <a:gd name="T57" fmla="*/ 5 h 11"/>
                <a:gd name="T58" fmla="*/ 13 w 13"/>
                <a:gd name="T5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" h="11" extrusionOk="0">
                  <a:moveTo>
                    <a:pt x="13" y="5"/>
                  </a:moveTo>
                  <a:lnTo>
                    <a:pt x="10" y="5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4" name="Freeform 8799">
              <a:extLst>
                <a:ext uri="{FF2B5EF4-FFF2-40B4-BE49-F238E27FC236}">
                  <a16:creationId xmlns:a16="http://schemas.microsoft.com/office/drawing/2014/main" id="{2447A237-2643-D745-9795-8473D0D18E24}"/>
                </a:ext>
              </a:extLst>
            </p:cNvPr>
            <p:cNvSpPr/>
            <p:nvPr/>
          </p:nvSpPr>
          <p:spPr bwMode="auto">
            <a:xfrm>
              <a:off x="5944390" y="2208216"/>
              <a:ext cx="25399" cy="33338"/>
            </a:xfrm>
            <a:custGeom>
              <a:avLst/>
              <a:gdLst>
                <a:gd name="T0" fmla="*/ 13 w 16"/>
                <a:gd name="T1" fmla="*/ 3 h 21"/>
                <a:gd name="T2" fmla="*/ 16 w 16"/>
                <a:gd name="T3" fmla="*/ 0 h 21"/>
                <a:gd name="T4" fmla="*/ 16 w 16"/>
                <a:gd name="T5" fmla="*/ 0 h 21"/>
                <a:gd name="T6" fmla="*/ 13 w 16"/>
                <a:gd name="T7" fmla="*/ 0 h 21"/>
                <a:gd name="T8" fmla="*/ 13 w 16"/>
                <a:gd name="T9" fmla="*/ 0 h 21"/>
                <a:gd name="T10" fmla="*/ 13 w 16"/>
                <a:gd name="T11" fmla="*/ 3 h 21"/>
                <a:gd name="T12" fmla="*/ 10 w 16"/>
                <a:gd name="T13" fmla="*/ 3 h 21"/>
                <a:gd name="T14" fmla="*/ 10 w 16"/>
                <a:gd name="T15" fmla="*/ 8 h 21"/>
                <a:gd name="T16" fmla="*/ 10 w 16"/>
                <a:gd name="T17" fmla="*/ 8 h 21"/>
                <a:gd name="T18" fmla="*/ 10 w 16"/>
                <a:gd name="T19" fmla="*/ 11 h 21"/>
                <a:gd name="T20" fmla="*/ 8 w 16"/>
                <a:gd name="T21" fmla="*/ 13 h 21"/>
                <a:gd name="T22" fmla="*/ 5 w 16"/>
                <a:gd name="T23" fmla="*/ 13 h 21"/>
                <a:gd name="T24" fmla="*/ 5 w 16"/>
                <a:gd name="T25" fmla="*/ 13 h 21"/>
                <a:gd name="T26" fmla="*/ 2 w 16"/>
                <a:gd name="T27" fmla="*/ 16 h 21"/>
                <a:gd name="T28" fmla="*/ 2 w 16"/>
                <a:gd name="T29" fmla="*/ 16 h 21"/>
                <a:gd name="T30" fmla="*/ 0 w 16"/>
                <a:gd name="T31" fmla="*/ 19 h 21"/>
                <a:gd name="T32" fmla="*/ 0 w 16"/>
                <a:gd name="T33" fmla="*/ 19 h 21"/>
                <a:gd name="T34" fmla="*/ 0 w 16"/>
                <a:gd name="T35" fmla="*/ 19 h 21"/>
                <a:gd name="T36" fmla="*/ 0 w 16"/>
                <a:gd name="T37" fmla="*/ 21 h 21"/>
                <a:gd name="T38" fmla="*/ 2 w 16"/>
                <a:gd name="T39" fmla="*/ 19 h 21"/>
                <a:gd name="T40" fmla="*/ 2 w 16"/>
                <a:gd name="T41" fmla="*/ 19 h 21"/>
                <a:gd name="T42" fmla="*/ 5 w 16"/>
                <a:gd name="T43" fmla="*/ 19 h 21"/>
                <a:gd name="T44" fmla="*/ 5 w 16"/>
                <a:gd name="T45" fmla="*/ 19 h 21"/>
                <a:gd name="T46" fmla="*/ 8 w 16"/>
                <a:gd name="T47" fmla="*/ 19 h 21"/>
                <a:gd name="T48" fmla="*/ 8 w 16"/>
                <a:gd name="T49" fmla="*/ 19 h 21"/>
                <a:gd name="T50" fmla="*/ 10 w 16"/>
                <a:gd name="T51" fmla="*/ 16 h 21"/>
                <a:gd name="T52" fmla="*/ 10 w 16"/>
                <a:gd name="T53" fmla="*/ 16 h 21"/>
                <a:gd name="T54" fmla="*/ 10 w 16"/>
                <a:gd name="T55" fmla="*/ 13 h 21"/>
                <a:gd name="T56" fmla="*/ 13 w 16"/>
                <a:gd name="T57" fmla="*/ 13 h 21"/>
                <a:gd name="T58" fmla="*/ 13 w 16"/>
                <a:gd name="T59" fmla="*/ 13 h 21"/>
                <a:gd name="T60" fmla="*/ 13 w 16"/>
                <a:gd name="T61" fmla="*/ 11 h 21"/>
                <a:gd name="T62" fmla="*/ 13 w 16"/>
                <a:gd name="T63" fmla="*/ 11 h 21"/>
                <a:gd name="T64" fmla="*/ 13 w 16"/>
                <a:gd name="T65" fmla="*/ 8 h 21"/>
                <a:gd name="T66" fmla="*/ 16 w 16"/>
                <a:gd name="T67" fmla="*/ 8 h 21"/>
                <a:gd name="T68" fmla="*/ 16 w 16"/>
                <a:gd name="T69" fmla="*/ 5 h 21"/>
                <a:gd name="T70" fmla="*/ 16 w 16"/>
                <a:gd name="T71" fmla="*/ 5 h 21"/>
                <a:gd name="T72" fmla="*/ 16 w 16"/>
                <a:gd name="T73" fmla="*/ 5 h 21"/>
                <a:gd name="T74" fmla="*/ 16 w 16"/>
                <a:gd name="T75" fmla="*/ 3 h 21"/>
                <a:gd name="T76" fmla="*/ 16 w 16"/>
                <a:gd name="T77" fmla="*/ 3 h 21"/>
                <a:gd name="T78" fmla="*/ 16 w 16"/>
                <a:gd name="T79" fmla="*/ 3 h 21"/>
                <a:gd name="T80" fmla="*/ 16 w 16"/>
                <a:gd name="T81" fmla="*/ 0 h 21"/>
                <a:gd name="T82" fmla="*/ 13 w 16"/>
                <a:gd name="T83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" h="21" extrusionOk="0">
                  <a:moveTo>
                    <a:pt x="13" y="3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5" name="Freeform 8800">
              <a:extLst>
                <a:ext uri="{FF2B5EF4-FFF2-40B4-BE49-F238E27FC236}">
                  <a16:creationId xmlns:a16="http://schemas.microsoft.com/office/drawing/2014/main" id="{A7914104-B621-4E49-8CD3-4927563EA287}"/>
                </a:ext>
              </a:extLst>
            </p:cNvPr>
            <p:cNvSpPr/>
            <p:nvPr/>
          </p:nvSpPr>
          <p:spPr bwMode="auto">
            <a:xfrm>
              <a:off x="5871366" y="2058990"/>
              <a:ext cx="25399" cy="25400"/>
            </a:xfrm>
            <a:custGeom>
              <a:avLst/>
              <a:gdLst>
                <a:gd name="T0" fmla="*/ 5 w 16"/>
                <a:gd name="T1" fmla="*/ 0 h 16"/>
                <a:gd name="T2" fmla="*/ 5 w 16"/>
                <a:gd name="T3" fmla="*/ 3 h 16"/>
                <a:gd name="T4" fmla="*/ 3 w 16"/>
                <a:gd name="T5" fmla="*/ 3 h 16"/>
                <a:gd name="T6" fmla="*/ 3 w 16"/>
                <a:gd name="T7" fmla="*/ 3 h 16"/>
                <a:gd name="T8" fmla="*/ 3 w 16"/>
                <a:gd name="T9" fmla="*/ 6 h 16"/>
                <a:gd name="T10" fmla="*/ 0 w 16"/>
                <a:gd name="T11" fmla="*/ 6 h 16"/>
                <a:gd name="T12" fmla="*/ 0 w 16"/>
                <a:gd name="T13" fmla="*/ 8 h 16"/>
                <a:gd name="T14" fmla="*/ 0 w 16"/>
                <a:gd name="T15" fmla="*/ 8 h 16"/>
                <a:gd name="T16" fmla="*/ 0 w 16"/>
                <a:gd name="T17" fmla="*/ 11 h 16"/>
                <a:gd name="T18" fmla="*/ 0 w 16"/>
                <a:gd name="T19" fmla="*/ 11 h 16"/>
                <a:gd name="T20" fmla="*/ 3 w 16"/>
                <a:gd name="T21" fmla="*/ 11 h 16"/>
                <a:gd name="T22" fmla="*/ 3 w 16"/>
                <a:gd name="T23" fmla="*/ 14 h 16"/>
                <a:gd name="T24" fmla="*/ 3 w 16"/>
                <a:gd name="T25" fmla="*/ 14 h 16"/>
                <a:gd name="T26" fmla="*/ 5 w 16"/>
                <a:gd name="T27" fmla="*/ 16 h 16"/>
                <a:gd name="T28" fmla="*/ 8 w 16"/>
                <a:gd name="T29" fmla="*/ 16 h 16"/>
                <a:gd name="T30" fmla="*/ 8 w 16"/>
                <a:gd name="T31" fmla="*/ 16 h 16"/>
                <a:gd name="T32" fmla="*/ 8 w 16"/>
                <a:gd name="T33" fmla="*/ 16 h 16"/>
                <a:gd name="T34" fmla="*/ 8 w 16"/>
                <a:gd name="T35" fmla="*/ 14 h 16"/>
                <a:gd name="T36" fmla="*/ 8 w 16"/>
                <a:gd name="T37" fmla="*/ 14 h 16"/>
                <a:gd name="T38" fmla="*/ 8 w 16"/>
                <a:gd name="T39" fmla="*/ 11 h 16"/>
                <a:gd name="T40" fmla="*/ 11 w 16"/>
                <a:gd name="T41" fmla="*/ 11 h 16"/>
                <a:gd name="T42" fmla="*/ 11 w 16"/>
                <a:gd name="T43" fmla="*/ 11 h 16"/>
                <a:gd name="T44" fmla="*/ 11 w 16"/>
                <a:gd name="T45" fmla="*/ 11 h 16"/>
                <a:gd name="T46" fmla="*/ 13 w 16"/>
                <a:gd name="T47" fmla="*/ 11 h 16"/>
                <a:gd name="T48" fmla="*/ 13 w 16"/>
                <a:gd name="T49" fmla="*/ 11 h 16"/>
                <a:gd name="T50" fmla="*/ 16 w 16"/>
                <a:gd name="T51" fmla="*/ 11 h 16"/>
                <a:gd name="T52" fmla="*/ 16 w 16"/>
                <a:gd name="T53" fmla="*/ 8 h 16"/>
                <a:gd name="T54" fmla="*/ 16 w 16"/>
                <a:gd name="T55" fmla="*/ 8 h 16"/>
                <a:gd name="T56" fmla="*/ 16 w 16"/>
                <a:gd name="T57" fmla="*/ 6 h 16"/>
                <a:gd name="T58" fmla="*/ 13 w 16"/>
                <a:gd name="T59" fmla="*/ 6 h 16"/>
                <a:gd name="T60" fmla="*/ 13 w 16"/>
                <a:gd name="T61" fmla="*/ 6 h 16"/>
                <a:gd name="T62" fmla="*/ 13 w 16"/>
                <a:gd name="T63" fmla="*/ 3 h 16"/>
                <a:gd name="T64" fmla="*/ 11 w 16"/>
                <a:gd name="T65" fmla="*/ 3 h 16"/>
                <a:gd name="T66" fmla="*/ 11 w 16"/>
                <a:gd name="T67" fmla="*/ 3 h 16"/>
                <a:gd name="T68" fmla="*/ 11 w 16"/>
                <a:gd name="T69" fmla="*/ 3 h 16"/>
                <a:gd name="T70" fmla="*/ 5 w 16"/>
                <a:gd name="T7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" h="16" extrusionOk="0">
                  <a:moveTo>
                    <a:pt x="5" y="0"/>
                  </a:move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6" name="Freeform 8801">
              <a:extLst>
                <a:ext uri="{FF2B5EF4-FFF2-40B4-BE49-F238E27FC236}">
                  <a16:creationId xmlns:a16="http://schemas.microsoft.com/office/drawing/2014/main" id="{A8E18157-1CEC-3B49-A846-DD752134EDCE}"/>
                </a:ext>
              </a:extLst>
            </p:cNvPr>
            <p:cNvSpPr/>
            <p:nvPr/>
          </p:nvSpPr>
          <p:spPr bwMode="auto">
            <a:xfrm>
              <a:off x="5944390" y="2020890"/>
              <a:ext cx="15875" cy="17463"/>
            </a:xfrm>
            <a:custGeom>
              <a:avLst/>
              <a:gdLst>
                <a:gd name="T0" fmla="*/ 2 w 10"/>
                <a:gd name="T1" fmla="*/ 0 h 11"/>
                <a:gd name="T2" fmla="*/ 0 w 10"/>
                <a:gd name="T3" fmla="*/ 0 h 11"/>
                <a:gd name="T4" fmla="*/ 0 w 10"/>
                <a:gd name="T5" fmla="*/ 0 h 11"/>
                <a:gd name="T6" fmla="*/ 0 w 10"/>
                <a:gd name="T7" fmla="*/ 3 h 11"/>
                <a:gd name="T8" fmla="*/ 0 w 10"/>
                <a:gd name="T9" fmla="*/ 3 h 11"/>
                <a:gd name="T10" fmla="*/ 0 w 10"/>
                <a:gd name="T11" fmla="*/ 3 h 11"/>
                <a:gd name="T12" fmla="*/ 0 w 10"/>
                <a:gd name="T13" fmla="*/ 6 h 11"/>
                <a:gd name="T14" fmla="*/ 0 w 10"/>
                <a:gd name="T15" fmla="*/ 6 h 11"/>
                <a:gd name="T16" fmla="*/ 2 w 10"/>
                <a:gd name="T17" fmla="*/ 6 h 11"/>
                <a:gd name="T18" fmla="*/ 2 w 10"/>
                <a:gd name="T19" fmla="*/ 6 h 11"/>
                <a:gd name="T20" fmla="*/ 2 w 10"/>
                <a:gd name="T21" fmla="*/ 8 h 11"/>
                <a:gd name="T22" fmla="*/ 2 w 10"/>
                <a:gd name="T23" fmla="*/ 8 h 11"/>
                <a:gd name="T24" fmla="*/ 2 w 10"/>
                <a:gd name="T25" fmla="*/ 8 h 11"/>
                <a:gd name="T26" fmla="*/ 2 w 10"/>
                <a:gd name="T27" fmla="*/ 11 h 11"/>
                <a:gd name="T28" fmla="*/ 2 w 10"/>
                <a:gd name="T29" fmla="*/ 11 h 11"/>
                <a:gd name="T30" fmla="*/ 5 w 10"/>
                <a:gd name="T31" fmla="*/ 11 h 11"/>
                <a:gd name="T32" fmla="*/ 5 w 10"/>
                <a:gd name="T33" fmla="*/ 8 h 11"/>
                <a:gd name="T34" fmla="*/ 5 w 10"/>
                <a:gd name="T35" fmla="*/ 8 h 11"/>
                <a:gd name="T36" fmla="*/ 5 w 10"/>
                <a:gd name="T37" fmla="*/ 8 h 11"/>
                <a:gd name="T38" fmla="*/ 5 w 10"/>
                <a:gd name="T39" fmla="*/ 6 h 11"/>
                <a:gd name="T40" fmla="*/ 5 w 10"/>
                <a:gd name="T41" fmla="*/ 6 h 11"/>
                <a:gd name="T42" fmla="*/ 5 w 10"/>
                <a:gd name="T43" fmla="*/ 8 h 11"/>
                <a:gd name="T44" fmla="*/ 5 w 10"/>
                <a:gd name="T45" fmla="*/ 8 h 11"/>
                <a:gd name="T46" fmla="*/ 8 w 10"/>
                <a:gd name="T47" fmla="*/ 8 h 11"/>
                <a:gd name="T48" fmla="*/ 10 w 10"/>
                <a:gd name="T49" fmla="*/ 8 h 11"/>
                <a:gd name="T50" fmla="*/ 10 w 10"/>
                <a:gd name="T51" fmla="*/ 6 h 11"/>
                <a:gd name="T52" fmla="*/ 10 w 10"/>
                <a:gd name="T53" fmla="*/ 6 h 11"/>
                <a:gd name="T54" fmla="*/ 10 w 10"/>
                <a:gd name="T55" fmla="*/ 6 h 11"/>
                <a:gd name="T56" fmla="*/ 10 w 10"/>
                <a:gd name="T57" fmla="*/ 3 h 11"/>
                <a:gd name="T58" fmla="*/ 8 w 10"/>
                <a:gd name="T59" fmla="*/ 3 h 11"/>
                <a:gd name="T60" fmla="*/ 8 w 10"/>
                <a:gd name="T61" fmla="*/ 3 h 11"/>
                <a:gd name="T62" fmla="*/ 8 w 10"/>
                <a:gd name="T63" fmla="*/ 3 h 11"/>
                <a:gd name="T64" fmla="*/ 5 w 10"/>
                <a:gd name="T65" fmla="*/ 3 h 11"/>
                <a:gd name="T66" fmla="*/ 5 w 10"/>
                <a:gd name="T67" fmla="*/ 3 h 11"/>
                <a:gd name="T68" fmla="*/ 5 w 10"/>
                <a:gd name="T69" fmla="*/ 0 h 11"/>
                <a:gd name="T70" fmla="*/ 2 w 10"/>
                <a:gd name="T71" fmla="*/ 0 h 11"/>
                <a:gd name="T72" fmla="*/ 2 w 10"/>
                <a:gd name="T7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" h="11" extrusionOk="0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7" name="Freeform 8802">
              <a:extLst>
                <a:ext uri="{FF2B5EF4-FFF2-40B4-BE49-F238E27FC236}">
                  <a16:creationId xmlns:a16="http://schemas.microsoft.com/office/drawing/2014/main" id="{C2225A11-8D89-1244-B904-CDE103E7B89A}"/>
                </a:ext>
              </a:extLst>
            </p:cNvPr>
            <p:cNvSpPr/>
            <p:nvPr/>
          </p:nvSpPr>
          <p:spPr bwMode="auto">
            <a:xfrm>
              <a:off x="5904705" y="2008191"/>
              <a:ext cx="12700" cy="17463"/>
            </a:xfrm>
            <a:custGeom>
              <a:avLst/>
              <a:gdLst>
                <a:gd name="T0" fmla="*/ 6 w 8"/>
                <a:gd name="T1" fmla="*/ 0 h 11"/>
                <a:gd name="T2" fmla="*/ 6 w 8"/>
                <a:gd name="T3" fmla="*/ 0 h 11"/>
                <a:gd name="T4" fmla="*/ 6 w 8"/>
                <a:gd name="T5" fmla="*/ 0 h 11"/>
                <a:gd name="T6" fmla="*/ 6 w 8"/>
                <a:gd name="T7" fmla="*/ 3 h 11"/>
                <a:gd name="T8" fmla="*/ 3 w 8"/>
                <a:gd name="T9" fmla="*/ 3 h 11"/>
                <a:gd name="T10" fmla="*/ 3 w 8"/>
                <a:gd name="T11" fmla="*/ 6 h 11"/>
                <a:gd name="T12" fmla="*/ 3 w 8"/>
                <a:gd name="T13" fmla="*/ 8 h 11"/>
                <a:gd name="T14" fmla="*/ 3 w 8"/>
                <a:gd name="T15" fmla="*/ 8 h 11"/>
                <a:gd name="T16" fmla="*/ 0 w 8"/>
                <a:gd name="T17" fmla="*/ 8 h 11"/>
                <a:gd name="T18" fmla="*/ 0 w 8"/>
                <a:gd name="T19" fmla="*/ 8 h 11"/>
                <a:gd name="T20" fmla="*/ 0 w 8"/>
                <a:gd name="T21" fmla="*/ 8 h 11"/>
                <a:gd name="T22" fmla="*/ 3 w 8"/>
                <a:gd name="T23" fmla="*/ 11 h 11"/>
                <a:gd name="T24" fmla="*/ 6 w 8"/>
                <a:gd name="T25" fmla="*/ 11 h 11"/>
                <a:gd name="T26" fmla="*/ 6 w 8"/>
                <a:gd name="T27" fmla="*/ 11 h 11"/>
                <a:gd name="T28" fmla="*/ 8 w 8"/>
                <a:gd name="T29" fmla="*/ 11 h 11"/>
                <a:gd name="T30" fmla="*/ 8 w 8"/>
                <a:gd name="T31" fmla="*/ 8 h 11"/>
                <a:gd name="T32" fmla="*/ 8 w 8"/>
                <a:gd name="T33" fmla="*/ 8 h 11"/>
                <a:gd name="T34" fmla="*/ 6 w 8"/>
                <a:gd name="T35" fmla="*/ 8 h 11"/>
                <a:gd name="T36" fmla="*/ 6 w 8"/>
                <a:gd name="T37" fmla="*/ 6 h 11"/>
                <a:gd name="T38" fmla="*/ 6 w 8"/>
                <a:gd name="T39" fmla="*/ 6 h 11"/>
                <a:gd name="T40" fmla="*/ 6 w 8"/>
                <a:gd name="T41" fmla="*/ 3 h 11"/>
                <a:gd name="T42" fmla="*/ 6 w 8"/>
                <a:gd name="T43" fmla="*/ 3 h 11"/>
                <a:gd name="T44" fmla="*/ 6 w 8"/>
                <a:gd name="T45" fmla="*/ 3 h 11"/>
                <a:gd name="T46" fmla="*/ 6 w 8"/>
                <a:gd name="T47" fmla="*/ 3 h 11"/>
                <a:gd name="T48" fmla="*/ 6 w 8"/>
                <a:gd name="T4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" h="11" extrusionOk="0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8" name="Freeform 8803">
              <a:extLst>
                <a:ext uri="{FF2B5EF4-FFF2-40B4-BE49-F238E27FC236}">
                  <a16:creationId xmlns:a16="http://schemas.microsoft.com/office/drawing/2014/main" id="{3D5F36F6-773A-554B-8CBB-DDEB81EC09DB}"/>
                </a:ext>
              </a:extLst>
            </p:cNvPr>
            <p:cNvSpPr/>
            <p:nvPr/>
          </p:nvSpPr>
          <p:spPr bwMode="auto">
            <a:xfrm>
              <a:off x="5876129" y="2020890"/>
              <a:ext cx="25399" cy="17463"/>
            </a:xfrm>
            <a:custGeom>
              <a:avLst/>
              <a:gdLst>
                <a:gd name="T0" fmla="*/ 0 w 16"/>
                <a:gd name="T1" fmla="*/ 6 h 11"/>
                <a:gd name="T2" fmla="*/ 0 w 16"/>
                <a:gd name="T3" fmla="*/ 6 h 11"/>
                <a:gd name="T4" fmla="*/ 2 w 16"/>
                <a:gd name="T5" fmla="*/ 6 h 11"/>
                <a:gd name="T6" fmla="*/ 2 w 16"/>
                <a:gd name="T7" fmla="*/ 6 h 11"/>
                <a:gd name="T8" fmla="*/ 5 w 16"/>
                <a:gd name="T9" fmla="*/ 6 h 11"/>
                <a:gd name="T10" fmla="*/ 5 w 16"/>
                <a:gd name="T11" fmla="*/ 6 h 11"/>
                <a:gd name="T12" fmla="*/ 8 w 16"/>
                <a:gd name="T13" fmla="*/ 6 h 11"/>
                <a:gd name="T14" fmla="*/ 8 w 16"/>
                <a:gd name="T15" fmla="*/ 8 h 11"/>
                <a:gd name="T16" fmla="*/ 10 w 16"/>
                <a:gd name="T17" fmla="*/ 8 h 11"/>
                <a:gd name="T18" fmla="*/ 10 w 16"/>
                <a:gd name="T19" fmla="*/ 11 h 11"/>
                <a:gd name="T20" fmla="*/ 13 w 16"/>
                <a:gd name="T21" fmla="*/ 11 h 11"/>
                <a:gd name="T22" fmla="*/ 13 w 16"/>
                <a:gd name="T23" fmla="*/ 8 h 11"/>
                <a:gd name="T24" fmla="*/ 13 w 16"/>
                <a:gd name="T25" fmla="*/ 8 h 11"/>
                <a:gd name="T26" fmla="*/ 13 w 16"/>
                <a:gd name="T27" fmla="*/ 8 h 11"/>
                <a:gd name="T28" fmla="*/ 13 w 16"/>
                <a:gd name="T29" fmla="*/ 8 h 11"/>
                <a:gd name="T30" fmla="*/ 16 w 16"/>
                <a:gd name="T31" fmla="*/ 8 h 11"/>
                <a:gd name="T32" fmla="*/ 16 w 16"/>
                <a:gd name="T33" fmla="*/ 11 h 11"/>
                <a:gd name="T34" fmla="*/ 16 w 16"/>
                <a:gd name="T35" fmla="*/ 11 h 11"/>
                <a:gd name="T36" fmla="*/ 16 w 16"/>
                <a:gd name="T37" fmla="*/ 11 h 11"/>
                <a:gd name="T38" fmla="*/ 16 w 16"/>
                <a:gd name="T39" fmla="*/ 11 h 11"/>
                <a:gd name="T40" fmla="*/ 16 w 16"/>
                <a:gd name="T41" fmla="*/ 8 h 11"/>
                <a:gd name="T42" fmla="*/ 16 w 16"/>
                <a:gd name="T43" fmla="*/ 8 h 11"/>
                <a:gd name="T44" fmla="*/ 16 w 16"/>
                <a:gd name="T45" fmla="*/ 6 h 11"/>
                <a:gd name="T46" fmla="*/ 16 w 16"/>
                <a:gd name="T47" fmla="*/ 3 h 11"/>
                <a:gd name="T48" fmla="*/ 16 w 16"/>
                <a:gd name="T49" fmla="*/ 3 h 11"/>
                <a:gd name="T50" fmla="*/ 16 w 16"/>
                <a:gd name="T51" fmla="*/ 0 h 11"/>
                <a:gd name="T52" fmla="*/ 13 w 16"/>
                <a:gd name="T53" fmla="*/ 3 h 11"/>
                <a:gd name="T54" fmla="*/ 13 w 16"/>
                <a:gd name="T55" fmla="*/ 0 h 11"/>
                <a:gd name="T56" fmla="*/ 13 w 16"/>
                <a:gd name="T57" fmla="*/ 0 h 11"/>
                <a:gd name="T58" fmla="*/ 10 w 16"/>
                <a:gd name="T59" fmla="*/ 0 h 11"/>
                <a:gd name="T60" fmla="*/ 10 w 16"/>
                <a:gd name="T61" fmla="*/ 0 h 11"/>
                <a:gd name="T62" fmla="*/ 8 w 16"/>
                <a:gd name="T63" fmla="*/ 3 h 11"/>
                <a:gd name="T64" fmla="*/ 5 w 16"/>
                <a:gd name="T65" fmla="*/ 3 h 11"/>
                <a:gd name="T66" fmla="*/ 5 w 16"/>
                <a:gd name="T67" fmla="*/ 3 h 11"/>
                <a:gd name="T68" fmla="*/ 2 w 16"/>
                <a:gd name="T69" fmla="*/ 3 h 11"/>
                <a:gd name="T70" fmla="*/ 2 w 16"/>
                <a:gd name="T71" fmla="*/ 3 h 11"/>
                <a:gd name="T72" fmla="*/ 2 w 16"/>
                <a:gd name="T73" fmla="*/ 6 h 11"/>
                <a:gd name="T74" fmla="*/ 2 w 16"/>
                <a:gd name="T75" fmla="*/ 6 h 11"/>
                <a:gd name="T76" fmla="*/ 0 w 16"/>
                <a:gd name="T7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" h="11" extrusionOk="0">
                  <a:moveTo>
                    <a:pt x="0" y="6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89" name="Freeform 8804">
              <a:extLst>
                <a:ext uri="{FF2B5EF4-FFF2-40B4-BE49-F238E27FC236}">
                  <a16:creationId xmlns:a16="http://schemas.microsoft.com/office/drawing/2014/main" id="{49B6BC2F-2ED1-A24B-823F-1CA2801524A9}"/>
                </a:ext>
              </a:extLst>
            </p:cNvPr>
            <p:cNvSpPr/>
            <p:nvPr/>
          </p:nvSpPr>
          <p:spPr bwMode="auto">
            <a:xfrm>
              <a:off x="5833266" y="2068516"/>
              <a:ext cx="30162" cy="20638"/>
            </a:xfrm>
            <a:custGeom>
              <a:avLst/>
              <a:gdLst>
                <a:gd name="T0" fmla="*/ 16 w 19"/>
                <a:gd name="T1" fmla="*/ 0 h 13"/>
                <a:gd name="T2" fmla="*/ 19 w 19"/>
                <a:gd name="T3" fmla="*/ 0 h 13"/>
                <a:gd name="T4" fmla="*/ 19 w 19"/>
                <a:gd name="T5" fmla="*/ 2 h 13"/>
                <a:gd name="T6" fmla="*/ 19 w 19"/>
                <a:gd name="T7" fmla="*/ 5 h 13"/>
                <a:gd name="T8" fmla="*/ 19 w 19"/>
                <a:gd name="T9" fmla="*/ 5 h 13"/>
                <a:gd name="T10" fmla="*/ 16 w 19"/>
                <a:gd name="T11" fmla="*/ 5 h 13"/>
                <a:gd name="T12" fmla="*/ 16 w 19"/>
                <a:gd name="T13" fmla="*/ 5 h 13"/>
                <a:gd name="T14" fmla="*/ 13 w 19"/>
                <a:gd name="T15" fmla="*/ 8 h 13"/>
                <a:gd name="T16" fmla="*/ 13 w 19"/>
                <a:gd name="T17" fmla="*/ 5 h 13"/>
                <a:gd name="T18" fmla="*/ 11 w 19"/>
                <a:gd name="T19" fmla="*/ 5 h 13"/>
                <a:gd name="T20" fmla="*/ 5 w 19"/>
                <a:gd name="T21" fmla="*/ 5 h 13"/>
                <a:gd name="T22" fmla="*/ 5 w 19"/>
                <a:gd name="T23" fmla="*/ 5 h 13"/>
                <a:gd name="T24" fmla="*/ 5 w 19"/>
                <a:gd name="T25" fmla="*/ 8 h 13"/>
                <a:gd name="T26" fmla="*/ 8 w 19"/>
                <a:gd name="T27" fmla="*/ 8 h 13"/>
                <a:gd name="T28" fmla="*/ 8 w 19"/>
                <a:gd name="T29" fmla="*/ 8 h 13"/>
                <a:gd name="T30" fmla="*/ 11 w 19"/>
                <a:gd name="T31" fmla="*/ 10 h 13"/>
                <a:gd name="T32" fmla="*/ 11 w 19"/>
                <a:gd name="T33" fmla="*/ 10 h 13"/>
                <a:gd name="T34" fmla="*/ 11 w 19"/>
                <a:gd name="T35" fmla="*/ 10 h 13"/>
                <a:gd name="T36" fmla="*/ 11 w 19"/>
                <a:gd name="T37" fmla="*/ 13 h 13"/>
                <a:gd name="T38" fmla="*/ 11 w 19"/>
                <a:gd name="T39" fmla="*/ 13 h 13"/>
                <a:gd name="T40" fmla="*/ 8 w 19"/>
                <a:gd name="T41" fmla="*/ 13 h 13"/>
                <a:gd name="T42" fmla="*/ 8 w 19"/>
                <a:gd name="T43" fmla="*/ 10 h 13"/>
                <a:gd name="T44" fmla="*/ 5 w 19"/>
                <a:gd name="T45" fmla="*/ 10 h 13"/>
                <a:gd name="T46" fmla="*/ 3 w 19"/>
                <a:gd name="T47" fmla="*/ 10 h 13"/>
                <a:gd name="T48" fmla="*/ 3 w 19"/>
                <a:gd name="T49" fmla="*/ 10 h 13"/>
                <a:gd name="T50" fmla="*/ 3 w 19"/>
                <a:gd name="T51" fmla="*/ 8 h 13"/>
                <a:gd name="T52" fmla="*/ 0 w 19"/>
                <a:gd name="T53" fmla="*/ 8 h 13"/>
                <a:gd name="T54" fmla="*/ 0 w 19"/>
                <a:gd name="T55" fmla="*/ 8 h 13"/>
                <a:gd name="T56" fmla="*/ 0 w 19"/>
                <a:gd name="T57" fmla="*/ 8 h 13"/>
                <a:gd name="T58" fmla="*/ 3 w 19"/>
                <a:gd name="T59" fmla="*/ 5 h 13"/>
                <a:gd name="T60" fmla="*/ 5 w 19"/>
                <a:gd name="T61" fmla="*/ 5 h 13"/>
                <a:gd name="T62" fmla="*/ 8 w 19"/>
                <a:gd name="T63" fmla="*/ 2 h 13"/>
                <a:gd name="T64" fmla="*/ 8 w 19"/>
                <a:gd name="T65" fmla="*/ 2 h 13"/>
                <a:gd name="T66" fmla="*/ 11 w 19"/>
                <a:gd name="T67" fmla="*/ 2 h 13"/>
                <a:gd name="T68" fmla="*/ 11 w 19"/>
                <a:gd name="T69" fmla="*/ 2 h 13"/>
                <a:gd name="T70" fmla="*/ 16 w 19"/>
                <a:gd name="T7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" h="13" extrusionOk="0">
                  <a:moveTo>
                    <a:pt x="16" y="0"/>
                  </a:moveTo>
                  <a:lnTo>
                    <a:pt x="19" y="0"/>
                  </a:lnTo>
                  <a:lnTo>
                    <a:pt x="19" y="2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1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0"/>
                  </a:lnTo>
                  <a:lnTo>
                    <a:pt x="5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5"/>
                  </a:lnTo>
                  <a:lnTo>
                    <a:pt x="5" y="5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0" name="Freeform 8805">
              <a:extLst>
                <a:ext uri="{FF2B5EF4-FFF2-40B4-BE49-F238E27FC236}">
                  <a16:creationId xmlns:a16="http://schemas.microsoft.com/office/drawing/2014/main" id="{A5FFFED3-6DCA-C349-AA1E-18817A4D6787}"/>
                </a:ext>
              </a:extLst>
            </p:cNvPr>
            <p:cNvSpPr/>
            <p:nvPr/>
          </p:nvSpPr>
          <p:spPr bwMode="auto">
            <a:xfrm>
              <a:off x="5853904" y="2055815"/>
              <a:ext cx="17463" cy="12699"/>
            </a:xfrm>
            <a:custGeom>
              <a:avLst/>
              <a:gdLst>
                <a:gd name="T0" fmla="*/ 6 w 11"/>
                <a:gd name="T1" fmla="*/ 0 h 8"/>
                <a:gd name="T2" fmla="*/ 6 w 11"/>
                <a:gd name="T3" fmla="*/ 2 h 8"/>
                <a:gd name="T4" fmla="*/ 3 w 11"/>
                <a:gd name="T5" fmla="*/ 2 h 8"/>
                <a:gd name="T6" fmla="*/ 3 w 11"/>
                <a:gd name="T7" fmla="*/ 2 h 8"/>
                <a:gd name="T8" fmla="*/ 0 w 11"/>
                <a:gd name="T9" fmla="*/ 5 h 8"/>
                <a:gd name="T10" fmla="*/ 0 w 11"/>
                <a:gd name="T11" fmla="*/ 5 h 8"/>
                <a:gd name="T12" fmla="*/ 0 w 11"/>
                <a:gd name="T13" fmla="*/ 5 h 8"/>
                <a:gd name="T14" fmla="*/ 3 w 11"/>
                <a:gd name="T15" fmla="*/ 8 h 8"/>
                <a:gd name="T16" fmla="*/ 3 w 11"/>
                <a:gd name="T17" fmla="*/ 8 h 8"/>
                <a:gd name="T18" fmla="*/ 3 w 11"/>
                <a:gd name="T19" fmla="*/ 5 h 8"/>
                <a:gd name="T20" fmla="*/ 3 w 11"/>
                <a:gd name="T21" fmla="*/ 5 h 8"/>
                <a:gd name="T22" fmla="*/ 6 w 11"/>
                <a:gd name="T23" fmla="*/ 2 h 8"/>
                <a:gd name="T24" fmla="*/ 6 w 11"/>
                <a:gd name="T25" fmla="*/ 2 h 8"/>
                <a:gd name="T26" fmla="*/ 8 w 11"/>
                <a:gd name="T27" fmla="*/ 2 h 8"/>
                <a:gd name="T28" fmla="*/ 8 w 11"/>
                <a:gd name="T29" fmla="*/ 2 h 8"/>
                <a:gd name="T30" fmla="*/ 11 w 11"/>
                <a:gd name="T31" fmla="*/ 2 h 8"/>
                <a:gd name="T32" fmla="*/ 11 w 11"/>
                <a:gd name="T33" fmla="*/ 2 h 8"/>
                <a:gd name="T34" fmla="*/ 11 w 11"/>
                <a:gd name="T35" fmla="*/ 2 h 8"/>
                <a:gd name="T36" fmla="*/ 8 w 11"/>
                <a:gd name="T37" fmla="*/ 2 h 8"/>
                <a:gd name="T38" fmla="*/ 8 w 11"/>
                <a:gd name="T39" fmla="*/ 0 h 8"/>
                <a:gd name="T40" fmla="*/ 6 w 11"/>
                <a:gd name="T4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8" extrusionOk="0">
                  <a:moveTo>
                    <a:pt x="6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1" name="Freeform 8806">
              <a:extLst>
                <a:ext uri="{FF2B5EF4-FFF2-40B4-BE49-F238E27FC236}">
                  <a16:creationId xmlns:a16="http://schemas.microsoft.com/office/drawing/2014/main" id="{488B4DE6-7E8D-9546-8746-95B05D50FE61}"/>
                </a:ext>
              </a:extLst>
            </p:cNvPr>
            <p:cNvSpPr/>
            <p:nvPr/>
          </p:nvSpPr>
          <p:spPr bwMode="auto">
            <a:xfrm>
              <a:off x="5931691" y="2178052"/>
              <a:ext cx="20637" cy="7937"/>
            </a:xfrm>
            <a:custGeom>
              <a:avLst/>
              <a:gdLst>
                <a:gd name="T0" fmla="*/ 2 w 13"/>
                <a:gd name="T1" fmla="*/ 0 h 5"/>
                <a:gd name="T2" fmla="*/ 0 w 13"/>
                <a:gd name="T3" fmla="*/ 0 h 5"/>
                <a:gd name="T4" fmla="*/ 0 w 13"/>
                <a:gd name="T5" fmla="*/ 3 h 5"/>
                <a:gd name="T6" fmla="*/ 0 w 13"/>
                <a:gd name="T7" fmla="*/ 3 h 5"/>
                <a:gd name="T8" fmla="*/ 2 w 13"/>
                <a:gd name="T9" fmla="*/ 5 h 5"/>
                <a:gd name="T10" fmla="*/ 2 w 13"/>
                <a:gd name="T11" fmla="*/ 5 h 5"/>
                <a:gd name="T12" fmla="*/ 5 w 13"/>
                <a:gd name="T13" fmla="*/ 5 h 5"/>
                <a:gd name="T14" fmla="*/ 5 w 13"/>
                <a:gd name="T15" fmla="*/ 5 h 5"/>
                <a:gd name="T16" fmla="*/ 8 w 13"/>
                <a:gd name="T17" fmla="*/ 5 h 5"/>
                <a:gd name="T18" fmla="*/ 10 w 13"/>
                <a:gd name="T19" fmla="*/ 5 h 5"/>
                <a:gd name="T20" fmla="*/ 10 w 13"/>
                <a:gd name="T21" fmla="*/ 5 h 5"/>
                <a:gd name="T22" fmla="*/ 13 w 13"/>
                <a:gd name="T23" fmla="*/ 5 h 5"/>
                <a:gd name="T24" fmla="*/ 10 w 13"/>
                <a:gd name="T25" fmla="*/ 5 h 5"/>
                <a:gd name="T26" fmla="*/ 10 w 13"/>
                <a:gd name="T27" fmla="*/ 3 h 5"/>
                <a:gd name="T28" fmla="*/ 10 w 13"/>
                <a:gd name="T29" fmla="*/ 3 h 5"/>
                <a:gd name="T30" fmla="*/ 8 w 13"/>
                <a:gd name="T31" fmla="*/ 3 h 5"/>
                <a:gd name="T32" fmla="*/ 8 w 13"/>
                <a:gd name="T33" fmla="*/ 3 h 5"/>
                <a:gd name="T34" fmla="*/ 5 w 13"/>
                <a:gd name="T35" fmla="*/ 3 h 5"/>
                <a:gd name="T36" fmla="*/ 2 w 13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5" extrusionOk="0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2" name="Freeform 8807">
              <a:extLst>
                <a:ext uri="{FF2B5EF4-FFF2-40B4-BE49-F238E27FC236}">
                  <a16:creationId xmlns:a16="http://schemas.microsoft.com/office/drawing/2014/main" id="{3DF711D0-E26C-4C42-8872-A0BBC35B34D7}"/>
                </a:ext>
              </a:extLst>
            </p:cNvPr>
            <p:cNvSpPr/>
            <p:nvPr/>
          </p:nvSpPr>
          <p:spPr bwMode="auto">
            <a:xfrm>
              <a:off x="5917404" y="2173290"/>
              <a:ext cx="17463" cy="17463"/>
            </a:xfrm>
            <a:custGeom>
              <a:avLst/>
              <a:gdLst>
                <a:gd name="T0" fmla="*/ 3 w 11"/>
                <a:gd name="T1" fmla="*/ 0 h 11"/>
                <a:gd name="T2" fmla="*/ 0 w 11"/>
                <a:gd name="T3" fmla="*/ 0 h 11"/>
                <a:gd name="T4" fmla="*/ 0 w 11"/>
                <a:gd name="T5" fmla="*/ 3 h 11"/>
                <a:gd name="T6" fmla="*/ 0 w 11"/>
                <a:gd name="T7" fmla="*/ 3 h 11"/>
                <a:gd name="T8" fmla="*/ 0 w 11"/>
                <a:gd name="T9" fmla="*/ 6 h 11"/>
                <a:gd name="T10" fmla="*/ 0 w 11"/>
                <a:gd name="T11" fmla="*/ 6 h 11"/>
                <a:gd name="T12" fmla="*/ 3 w 11"/>
                <a:gd name="T13" fmla="*/ 8 h 11"/>
                <a:gd name="T14" fmla="*/ 3 w 11"/>
                <a:gd name="T15" fmla="*/ 8 h 11"/>
                <a:gd name="T16" fmla="*/ 6 w 11"/>
                <a:gd name="T17" fmla="*/ 11 h 11"/>
                <a:gd name="T18" fmla="*/ 9 w 11"/>
                <a:gd name="T19" fmla="*/ 11 h 11"/>
                <a:gd name="T20" fmla="*/ 9 w 11"/>
                <a:gd name="T21" fmla="*/ 11 h 11"/>
                <a:gd name="T22" fmla="*/ 9 w 11"/>
                <a:gd name="T23" fmla="*/ 11 h 11"/>
                <a:gd name="T24" fmla="*/ 11 w 11"/>
                <a:gd name="T25" fmla="*/ 11 h 11"/>
                <a:gd name="T26" fmla="*/ 11 w 11"/>
                <a:gd name="T27" fmla="*/ 11 h 11"/>
                <a:gd name="T28" fmla="*/ 9 w 11"/>
                <a:gd name="T29" fmla="*/ 11 h 11"/>
                <a:gd name="T30" fmla="*/ 9 w 11"/>
                <a:gd name="T31" fmla="*/ 11 h 11"/>
                <a:gd name="T32" fmla="*/ 6 w 11"/>
                <a:gd name="T33" fmla="*/ 8 h 11"/>
                <a:gd name="T34" fmla="*/ 6 w 11"/>
                <a:gd name="T35" fmla="*/ 8 h 11"/>
                <a:gd name="T36" fmla="*/ 3 w 11"/>
                <a:gd name="T37" fmla="*/ 6 h 11"/>
                <a:gd name="T38" fmla="*/ 3 w 11"/>
                <a:gd name="T39" fmla="*/ 3 h 11"/>
                <a:gd name="T40" fmla="*/ 3 w 11"/>
                <a:gd name="T4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" h="11" extrusionOk="0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3" name="Freeform 8808">
              <a:extLst>
                <a:ext uri="{FF2B5EF4-FFF2-40B4-BE49-F238E27FC236}">
                  <a16:creationId xmlns:a16="http://schemas.microsoft.com/office/drawing/2014/main" id="{644D789A-5F6C-B34E-89F2-763E7EF192BC}"/>
                </a:ext>
              </a:extLst>
            </p:cNvPr>
            <p:cNvSpPr/>
            <p:nvPr/>
          </p:nvSpPr>
          <p:spPr bwMode="auto">
            <a:xfrm>
              <a:off x="5876129" y="2132015"/>
              <a:ext cx="20637" cy="12699"/>
            </a:xfrm>
            <a:custGeom>
              <a:avLst/>
              <a:gdLst>
                <a:gd name="T0" fmla="*/ 0 w 13"/>
                <a:gd name="T1" fmla="*/ 0 h 8"/>
                <a:gd name="T2" fmla="*/ 0 w 13"/>
                <a:gd name="T3" fmla="*/ 0 h 8"/>
                <a:gd name="T4" fmla="*/ 2 w 13"/>
                <a:gd name="T5" fmla="*/ 0 h 8"/>
                <a:gd name="T6" fmla="*/ 5 w 13"/>
                <a:gd name="T7" fmla="*/ 2 h 8"/>
                <a:gd name="T8" fmla="*/ 5 w 13"/>
                <a:gd name="T9" fmla="*/ 2 h 8"/>
                <a:gd name="T10" fmla="*/ 8 w 13"/>
                <a:gd name="T11" fmla="*/ 2 h 8"/>
                <a:gd name="T12" fmla="*/ 8 w 13"/>
                <a:gd name="T13" fmla="*/ 2 h 8"/>
                <a:gd name="T14" fmla="*/ 5 w 13"/>
                <a:gd name="T15" fmla="*/ 5 h 8"/>
                <a:gd name="T16" fmla="*/ 5 w 13"/>
                <a:gd name="T17" fmla="*/ 5 h 8"/>
                <a:gd name="T18" fmla="*/ 5 w 13"/>
                <a:gd name="T19" fmla="*/ 5 h 8"/>
                <a:gd name="T20" fmla="*/ 2 w 13"/>
                <a:gd name="T21" fmla="*/ 5 h 8"/>
                <a:gd name="T22" fmla="*/ 2 w 13"/>
                <a:gd name="T23" fmla="*/ 5 h 8"/>
                <a:gd name="T24" fmla="*/ 5 w 13"/>
                <a:gd name="T25" fmla="*/ 8 h 8"/>
                <a:gd name="T26" fmla="*/ 5 w 13"/>
                <a:gd name="T27" fmla="*/ 8 h 8"/>
                <a:gd name="T28" fmla="*/ 8 w 13"/>
                <a:gd name="T29" fmla="*/ 8 h 8"/>
                <a:gd name="T30" fmla="*/ 8 w 13"/>
                <a:gd name="T31" fmla="*/ 8 h 8"/>
                <a:gd name="T32" fmla="*/ 10 w 13"/>
                <a:gd name="T33" fmla="*/ 8 h 8"/>
                <a:gd name="T34" fmla="*/ 10 w 13"/>
                <a:gd name="T35" fmla="*/ 8 h 8"/>
                <a:gd name="T36" fmla="*/ 13 w 13"/>
                <a:gd name="T37" fmla="*/ 5 h 8"/>
                <a:gd name="T38" fmla="*/ 13 w 13"/>
                <a:gd name="T39" fmla="*/ 5 h 8"/>
                <a:gd name="T40" fmla="*/ 13 w 13"/>
                <a:gd name="T41" fmla="*/ 2 h 8"/>
                <a:gd name="T42" fmla="*/ 13 w 13"/>
                <a:gd name="T43" fmla="*/ 2 h 8"/>
                <a:gd name="T44" fmla="*/ 10 w 13"/>
                <a:gd name="T45" fmla="*/ 2 h 8"/>
                <a:gd name="T46" fmla="*/ 8 w 13"/>
                <a:gd name="T47" fmla="*/ 2 h 8"/>
                <a:gd name="T48" fmla="*/ 8 w 13"/>
                <a:gd name="T49" fmla="*/ 0 h 8"/>
                <a:gd name="T50" fmla="*/ 8 w 13"/>
                <a:gd name="T51" fmla="*/ 0 h 8"/>
                <a:gd name="T52" fmla="*/ 5 w 13"/>
                <a:gd name="T53" fmla="*/ 0 h 8"/>
                <a:gd name="T54" fmla="*/ 5 w 13"/>
                <a:gd name="T55" fmla="*/ 0 h 8"/>
                <a:gd name="T56" fmla="*/ 2 w 13"/>
                <a:gd name="T57" fmla="*/ 0 h 8"/>
                <a:gd name="T58" fmla="*/ 2 w 13"/>
                <a:gd name="T59" fmla="*/ 0 h 8"/>
                <a:gd name="T60" fmla="*/ 0 w 13"/>
                <a:gd name="T6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" h="8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4" name="Freeform 8809">
              <a:extLst>
                <a:ext uri="{FF2B5EF4-FFF2-40B4-BE49-F238E27FC236}">
                  <a16:creationId xmlns:a16="http://schemas.microsoft.com/office/drawing/2014/main" id="{1E207DD4-0A7F-8046-BCEA-7BAD1C50FCCB}"/>
                </a:ext>
              </a:extLst>
            </p:cNvPr>
            <p:cNvSpPr/>
            <p:nvPr/>
          </p:nvSpPr>
          <p:spPr bwMode="auto">
            <a:xfrm>
              <a:off x="5799929" y="2147891"/>
              <a:ext cx="25399" cy="17463"/>
            </a:xfrm>
            <a:custGeom>
              <a:avLst/>
              <a:gdLst>
                <a:gd name="T0" fmla="*/ 16 w 16"/>
                <a:gd name="T1" fmla="*/ 3 h 11"/>
                <a:gd name="T2" fmla="*/ 13 w 16"/>
                <a:gd name="T3" fmla="*/ 3 h 11"/>
                <a:gd name="T4" fmla="*/ 13 w 16"/>
                <a:gd name="T5" fmla="*/ 0 h 11"/>
                <a:gd name="T6" fmla="*/ 13 w 16"/>
                <a:gd name="T7" fmla="*/ 0 h 11"/>
                <a:gd name="T8" fmla="*/ 10 w 16"/>
                <a:gd name="T9" fmla="*/ 3 h 11"/>
                <a:gd name="T10" fmla="*/ 10 w 16"/>
                <a:gd name="T11" fmla="*/ 3 h 11"/>
                <a:gd name="T12" fmla="*/ 10 w 16"/>
                <a:gd name="T13" fmla="*/ 3 h 11"/>
                <a:gd name="T14" fmla="*/ 10 w 16"/>
                <a:gd name="T15" fmla="*/ 6 h 11"/>
                <a:gd name="T16" fmla="*/ 8 w 16"/>
                <a:gd name="T17" fmla="*/ 6 h 11"/>
                <a:gd name="T18" fmla="*/ 8 w 16"/>
                <a:gd name="T19" fmla="*/ 6 h 11"/>
                <a:gd name="T20" fmla="*/ 2 w 16"/>
                <a:gd name="T21" fmla="*/ 3 h 11"/>
                <a:gd name="T22" fmla="*/ 2 w 16"/>
                <a:gd name="T23" fmla="*/ 3 h 11"/>
                <a:gd name="T24" fmla="*/ 0 w 16"/>
                <a:gd name="T25" fmla="*/ 3 h 11"/>
                <a:gd name="T26" fmla="*/ 0 w 16"/>
                <a:gd name="T27" fmla="*/ 3 h 11"/>
                <a:gd name="T28" fmla="*/ 0 w 16"/>
                <a:gd name="T29" fmla="*/ 3 h 11"/>
                <a:gd name="T30" fmla="*/ 0 w 16"/>
                <a:gd name="T31" fmla="*/ 3 h 11"/>
                <a:gd name="T32" fmla="*/ 0 w 16"/>
                <a:gd name="T33" fmla="*/ 6 h 11"/>
                <a:gd name="T34" fmla="*/ 0 w 16"/>
                <a:gd name="T35" fmla="*/ 6 h 11"/>
                <a:gd name="T36" fmla="*/ 2 w 16"/>
                <a:gd name="T37" fmla="*/ 6 h 11"/>
                <a:gd name="T38" fmla="*/ 2 w 16"/>
                <a:gd name="T39" fmla="*/ 6 h 11"/>
                <a:gd name="T40" fmla="*/ 5 w 16"/>
                <a:gd name="T41" fmla="*/ 6 h 11"/>
                <a:gd name="T42" fmla="*/ 5 w 16"/>
                <a:gd name="T43" fmla="*/ 8 h 11"/>
                <a:gd name="T44" fmla="*/ 8 w 16"/>
                <a:gd name="T45" fmla="*/ 8 h 11"/>
                <a:gd name="T46" fmla="*/ 8 w 16"/>
                <a:gd name="T47" fmla="*/ 11 h 11"/>
                <a:gd name="T48" fmla="*/ 10 w 16"/>
                <a:gd name="T49" fmla="*/ 11 h 11"/>
                <a:gd name="T50" fmla="*/ 13 w 16"/>
                <a:gd name="T51" fmla="*/ 11 h 11"/>
                <a:gd name="T52" fmla="*/ 13 w 16"/>
                <a:gd name="T53" fmla="*/ 11 h 11"/>
                <a:gd name="T54" fmla="*/ 13 w 16"/>
                <a:gd name="T55" fmla="*/ 11 h 11"/>
                <a:gd name="T56" fmla="*/ 13 w 16"/>
                <a:gd name="T57" fmla="*/ 8 h 11"/>
                <a:gd name="T58" fmla="*/ 13 w 16"/>
                <a:gd name="T59" fmla="*/ 6 h 11"/>
                <a:gd name="T60" fmla="*/ 13 w 16"/>
                <a:gd name="T61" fmla="*/ 6 h 11"/>
                <a:gd name="T62" fmla="*/ 13 w 16"/>
                <a:gd name="T63" fmla="*/ 6 h 11"/>
                <a:gd name="T64" fmla="*/ 13 w 16"/>
                <a:gd name="T65" fmla="*/ 3 h 11"/>
                <a:gd name="T66" fmla="*/ 13 w 16"/>
                <a:gd name="T67" fmla="*/ 3 h 11"/>
                <a:gd name="T68" fmla="*/ 13 w 16"/>
                <a:gd name="T69" fmla="*/ 3 h 11"/>
                <a:gd name="T70" fmla="*/ 16 w 16"/>
                <a:gd name="T71" fmla="*/ 3 h 11"/>
                <a:gd name="T72" fmla="*/ 16 w 16"/>
                <a:gd name="T7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" h="11" extrusionOk="0">
                  <a:moveTo>
                    <a:pt x="16" y="3"/>
                  </a:move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5" name="Freeform 8810">
              <a:extLst>
                <a:ext uri="{FF2B5EF4-FFF2-40B4-BE49-F238E27FC236}">
                  <a16:creationId xmlns:a16="http://schemas.microsoft.com/office/drawing/2014/main" id="{91F1479D-F16A-5544-BF59-47666FDC633C}"/>
                </a:ext>
              </a:extLst>
            </p:cNvPr>
            <p:cNvSpPr/>
            <p:nvPr/>
          </p:nvSpPr>
          <p:spPr bwMode="auto">
            <a:xfrm>
              <a:off x="6363491" y="1703391"/>
              <a:ext cx="25399" cy="12699"/>
            </a:xfrm>
            <a:custGeom>
              <a:avLst/>
              <a:gdLst>
                <a:gd name="T0" fmla="*/ 0 w 16"/>
                <a:gd name="T1" fmla="*/ 8 h 8"/>
                <a:gd name="T2" fmla="*/ 3 w 16"/>
                <a:gd name="T3" fmla="*/ 8 h 8"/>
                <a:gd name="T4" fmla="*/ 3 w 16"/>
                <a:gd name="T5" fmla="*/ 8 h 8"/>
                <a:gd name="T6" fmla="*/ 3 w 16"/>
                <a:gd name="T7" fmla="*/ 5 h 8"/>
                <a:gd name="T8" fmla="*/ 3 w 16"/>
                <a:gd name="T9" fmla="*/ 5 h 8"/>
                <a:gd name="T10" fmla="*/ 5 w 16"/>
                <a:gd name="T11" fmla="*/ 5 h 8"/>
                <a:gd name="T12" fmla="*/ 5 w 16"/>
                <a:gd name="T13" fmla="*/ 3 h 8"/>
                <a:gd name="T14" fmla="*/ 5 w 16"/>
                <a:gd name="T15" fmla="*/ 3 h 8"/>
                <a:gd name="T16" fmla="*/ 8 w 16"/>
                <a:gd name="T17" fmla="*/ 3 h 8"/>
                <a:gd name="T18" fmla="*/ 8 w 16"/>
                <a:gd name="T19" fmla="*/ 3 h 8"/>
                <a:gd name="T20" fmla="*/ 8 w 16"/>
                <a:gd name="T21" fmla="*/ 3 h 8"/>
                <a:gd name="T22" fmla="*/ 8 w 16"/>
                <a:gd name="T23" fmla="*/ 3 h 8"/>
                <a:gd name="T24" fmla="*/ 11 w 16"/>
                <a:gd name="T25" fmla="*/ 3 h 8"/>
                <a:gd name="T26" fmla="*/ 11 w 16"/>
                <a:gd name="T27" fmla="*/ 0 h 8"/>
                <a:gd name="T28" fmla="*/ 11 w 16"/>
                <a:gd name="T29" fmla="*/ 0 h 8"/>
                <a:gd name="T30" fmla="*/ 11 w 16"/>
                <a:gd name="T31" fmla="*/ 0 h 8"/>
                <a:gd name="T32" fmla="*/ 11 w 16"/>
                <a:gd name="T33" fmla="*/ 0 h 8"/>
                <a:gd name="T34" fmla="*/ 11 w 16"/>
                <a:gd name="T35" fmla="*/ 3 h 8"/>
                <a:gd name="T36" fmla="*/ 13 w 16"/>
                <a:gd name="T37" fmla="*/ 3 h 8"/>
                <a:gd name="T38" fmla="*/ 13 w 16"/>
                <a:gd name="T39" fmla="*/ 3 h 8"/>
                <a:gd name="T40" fmla="*/ 13 w 16"/>
                <a:gd name="T41" fmla="*/ 5 h 8"/>
                <a:gd name="T42" fmla="*/ 13 w 16"/>
                <a:gd name="T43" fmla="*/ 3 h 8"/>
                <a:gd name="T44" fmla="*/ 16 w 16"/>
                <a:gd name="T45" fmla="*/ 5 h 8"/>
                <a:gd name="T46" fmla="*/ 16 w 16"/>
                <a:gd name="T47" fmla="*/ 5 h 8"/>
                <a:gd name="T48" fmla="*/ 16 w 16"/>
                <a:gd name="T49" fmla="*/ 5 h 8"/>
                <a:gd name="T50" fmla="*/ 13 w 16"/>
                <a:gd name="T51" fmla="*/ 5 h 8"/>
                <a:gd name="T52" fmla="*/ 13 w 16"/>
                <a:gd name="T53" fmla="*/ 8 h 8"/>
                <a:gd name="T54" fmla="*/ 13 w 16"/>
                <a:gd name="T55" fmla="*/ 8 h 8"/>
                <a:gd name="T56" fmla="*/ 11 w 16"/>
                <a:gd name="T57" fmla="*/ 8 h 8"/>
                <a:gd name="T58" fmla="*/ 11 w 16"/>
                <a:gd name="T59" fmla="*/ 8 h 8"/>
                <a:gd name="T60" fmla="*/ 11 w 16"/>
                <a:gd name="T61" fmla="*/ 5 h 8"/>
                <a:gd name="T62" fmla="*/ 11 w 16"/>
                <a:gd name="T63" fmla="*/ 8 h 8"/>
                <a:gd name="T64" fmla="*/ 8 w 16"/>
                <a:gd name="T65" fmla="*/ 8 h 8"/>
                <a:gd name="T66" fmla="*/ 8 w 16"/>
                <a:gd name="T67" fmla="*/ 8 h 8"/>
                <a:gd name="T68" fmla="*/ 8 w 16"/>
                <a:gd name="T69" fmla="*/ 8 h 8"/>
                <a:gd name="T70" fmla="*/ 8 w 16"/>
                <a:gd name="T71" fmla="*/ 8 h 8"/>
                <a:gd name="T72" fmla="*/ 5 w 16"/>
                <a:gd name="T73" fmla="*/ 8 h 8"/>
                <a:gd name="T74" fmla="*/ 5 w 16"/>
                <a:gd name="T75" fmla="*/ 8 h 8"/>
                <a:gd name="T76" fmla="*/ 3 w 16"/>
                <a:gd name="T77" fmla="*/ 8 h 8"/>
                <a:gd name="T78" fmla="*/ 3 w 16"/>
                <a:gd name="T79" fmla="*/ 8 h 8"/>
                <a:gd name="T80" fmla="*/ 3 w 16"/>
                <a:gd name="T81" fmla="*/ 8 h 8"/>
                <a:gd name="T82" fmla="*/ 3 w 16"/>
                <a:gd name="T83" fmla="*/ 8 h 8"/>
                <a:gd name="T84" fmla="*/ 0 w 16"/>
                <a:gd name="T8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" h="8" extrusionOk="0">
                  <a:moveTo>
                    <a:pt x="0" y="8"/>
                  </a:move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6" name="Freeform 8811">
              <a:extLst>
                <a:ext uri="{FF2B5EF4-FFF2-40B4-BE49-F238E27FC236}">
                  <a16:creationId xmlns:a16="http://schemas.microsoft.com/office/drawing/2014/main" id="{D0E808D4-4867-304F-AC1E-D7FEF6B066A6}"/>
                </a:ext>
              </a:extLst>
            </p:cNvPr>
            <p:cNvSpPr/>
            <p:nvPr/>
          </p:nvSpPr>
          <p:spPr bwMode="auto">
            <a:xfrm>
              <a:off x="6355555" y="1711327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2 w 5"/>
                <a:gd name="T3" fmla="*/ 0 h 3"/>
                <a:gd name="T4" fmla="*/ 2 w 5"/>
                <a:gd name="T5" fmla="*/ 0 h 3"/>
                <a:gd name="T6" fmla="*/ 5 w 5"/>
                <a:gd name="T7" fmla="*/ 3 h 3"/>
                <a:gd name="T8" fmla="*/ 5 w 5"/>
                <a:gd name="T9" fmla="*/ 3 h 3"/>
                <a:gd name="T10" fmla="*/ 5 w 5"/>
                <a:gd name="T11" fmla="*/ 3 h 3"/>
                <a:gd name="T12" fmla="*/ 5 w 5"/>
                <a:gd name="T13" fmla="*/ 3 h 3"/>
                <a:gd name="T14" fmla="*/ 2 w 5"/>
                <a:gd name="T15" fmla="*/ 3 h 3"/>
                <a:gd name="T16" fmla="*/ 2 w 5"/>
                <a:gd name="T17" fmla="*/ 3 h 3"/>
                <a:gd name="T18" fmla="*/ 2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7" name="Freeform 8812">
              <a:extLst>
                <a:ext uri="{FF2B5EF4-FFF2-40B4-BE49-F238E27FC236}">
                  <a16:creationId xmlns:a16="http://schemas.microsoft.com/office/drawing/2014/main" id="{9C27F288-E11A-A047-96F6-D77CC6521339}"/>
                </a:ext>
              </a:extLst>
            </p:cNvPr>
            <p:cNvSpPr/>
            <p:nvPr/>
          </p:nvSpPr>
          <p:spPr bwMode="auto">
            <a:xfrm>
              <a:off x="6269829" y="1830390"/>
              <a:ext cx="7938" cy="4764"/>
            </a:xfrm>
            <a:custGeom>
              <a:avLst/>
              <a:gdLst>
                <a:gd name="T0" fmla="*/ 0 w 5"/>
                <a:gd name="T1" fmla="*/ 3 h 3"/>
                <a:gd name="T2" fmla="*/ 0 w 5"/>
                <a:gd name="T3" fmla="*/ 3 h 3"/>
                <a:gd name="T4" fmla="*/ 3 w 5"/>
                <a:gd name="T5" fmla="*/ 3 h 3"/>
                <a:gd name="T6" fmla="*/ 3 w 5"/>
                <a:gd name="T7" fmla="*/ 0 h 3"/>
                <a:gd name="T8" fmla="*/ 3 w 5"/>
                <a:gd name="T9" fmla="*/ 0 h 3"/>
                <a:gd name="T10" fmla="*/ 5 w 5"/>
                <a:gd name="T11" fmla="*/ 0 h 3"/>
                <a:gd name="T12" fmla="*/ 5 w 5"/>
                <a:gd name="T13" fmla="*/ 0 h 3"/>
                <a:gd name="T14" fmla="*/ 5 w 5"/>
                <a:gd name="T15" fmla="*/ 3 h 3"/>
                <a:gd name="T16" fmla="*/ 5 w 5"/>
                <a:gd name="T17" fmla="*/ 3 h 3"/>
                <a:gd name="T18" fmla="*/ 5 w 5"/>
                <a:gd name="T19" fmla="*/ 3 h 3"/>
                <a:gd name="T20" fmla="*/ 3 w 5"/>
                <a:gd name="T21" fmla="*/ 3 h 3"/>
                <a:gd name="T22" fmla="*/ 3 w 5"/>
                <a:gd name="T23" fmla="*/ 3 h 3"/>
                <a:gd name="T24" fmla="*/ 3 w 5"/>
                <a:gd name="T25" fmla="*/ 3 h 3"/>
                <a:gd name="T26" fmla="*/ 0 w 5"/>
                <a:gd name="T2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3" extrusionOk="0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8" name="Freeform 8813">
              <a:extLst>
                <a:ext uri="{FF2B5EF4-FFF2-40B4-BE49-F238E27FC236}">
                  <a16:creationId xmlns:a16="http://schemas.microsoft.com/office/drawing/2014/main" id="{7E0B9469-CF36-CE4E-B9DA-B7637AACF72B}"/>
                </a:ext>
              </a:extLst>
            </p:cNvPr>
            <p:cNvSpPr/>
            <p:nvPr/>
          </p:nvSpPr>
          <p:spPr bwMode="auto">
            <a:xfrm>
              <a:off x="6277766" y="1860552"/>
              <a:ext cx="9526" cy="3175"/>
            </a:xfrm>
            <a:custGeom>
              <a:avLst/>
              <a:gdLst>
                <a:gd name="T0" fmla="*/ 0 w 6"/>
                <a:gd name="T1" fmla="*/ 2 h 2"/>
                <a:gd name="T2" fmla="*/ 0 w 6"/>
                <a:gd name="T3" fmla="*/ 0 h 2"/>
                <a:gd name="T4" fmla="*/ 0 w 6"/>
                <a:gd name="T5" fmla="*/ 0 h 2"/>
                <a:gd name="T6" fmla="*/ 0 w 6"/>
                <a:gd name="T7" fmla="*/ 0 h 2"/>
                <a:gd name="T8" fmla="*/ 3 w 6"/>
                <a:gd name="T9" fmla="*/ 0 h 2"/>
                <a:gd name="T10" fmla="*/ 3 w 6"/>
                <a:gd name="T11" fmla="*/ 0 h 2"/>
                <a:gd name="T12" fmla="*/ 6 w 6"/>
                <a:gd name="T13" fmla="*/ 0 h 2"/>
                <a:gd name="T14" fmla="*/ 6 w 6"/>
                <a:gd name="T15" fmla="*/ 0 h 2"/>
                <a:gd name="T16" fmla="*/ 6 w 6"/>
                <a:gd name="T17" fmla="*/ 0 h 2"/>
                <a:gd name="T18" fmla="*/ 6 w 6"/>
                <a:gd name="T19" fmla="*/ 2 h 2"/>
                <a:gd name="T20" fmla="*/ 3 w 6"/>
                <a:gd name="T21" fmla="*/ 2 h 2"/>
                <a:gd name="T22" fmla="*/ 3 w 6"/>
                <a:gd name="T23" fmla="*/ 2 h 2"/>
                <a:gd name="T24" fmla="*/ 0 w 6"/>
                <a:gd name="T25" fmla="*/ 2 h 2"/>
                <a:gd name="T26" fmla="*/ 0 w 6"/>
                <a:gd name="T2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2" extrusionOk="0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399" name="Freeform 8814">
              <a:extLst>
                <a:ext uri="{FF2B5EF4-FFF2-40B4-BE49-F238E27FC236}">
                  <a16:creationId xmlns:a16="http://schemas.microsoft.com/office/drawing/2014/main" id="{E7084DAC-331D-AC40-9836-B60BEF8B770C}"/>
                </a:ext>
              </a:extLst>
            </p:cNvPr>
            <p:cNvSpPr/>
            <p:nvPr/>
          </p:nvSpPr>
          <p:spPr bwMode="auto">
            <a:xfrm>
              <a:off x="6325392" y="1409702"/>
              <a:ext cx="7938" cy="12699"/>
            </a:xfrm>
            <a:custGeom>
              <a:avLst/>
              <a:gdLst>
                <a:gd name="T0" fmla="*/ 3 w 5"/>
                <a:gd name="T1" fmla="*/ 0 h 8"/>
                <a:gd name="T2" fmla="*/ 3 w 5"/>
                <a:gd name="T3" fmla="*/ 0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3 h 8"/>
                <a:gd name="T10" fmla="*/ 5 w 5"/>
                <a:gd name="T11" fmla="*/ 6 h 8"/>
                <a:gd name="T12" fmla="*/ 5 w 5"/>
                <a:gd name="T13" fmla="*/ 6 h 8"/>
                <a:gd name="T14" fmla="*/ 5 w 5"/>
                <a:gd name="T15" fmla="*/ 8 h 8"/>
                <a:gd name="T16" fmla="*/ 5 w 5"/>
                <a:gd name="T17" fmla="*/ 8 h 8"/>
                <a:gd name="T18" fmla="*/ 3 w 5"/>
                <a:gd name="T19" fmla="*/ 8 h 8"/>
                <a:gd name="T20" fmla="*/ 3 w 5"/>
                <a:gd name="T21" fmla="*/ 8 h 8"/>
                <a:gd name="T22" fmla="*/ 0 w 5"/>
                <a:gd name="T23" fmla="*/ 6 h 8"/>
                <a:gd name="T24" fmla="*/ 0 w 5"/>
                <a:gd name="T25" fmla="*/ 6 h 8"/>
                <a:gd name="T26" fmla="*/ 0 w 5"/>
                <a:gd name="T27" fmla="*/ 6 h 8"/>
                <a:gd name="T28" fmla="*/ 0 w 5"/>
                <a:gd name="T29" fmla="*/ 3 h 8"/>
                <a:gd name="T30" fmla="*/ 0 w 5"/>
                <a:gd name="T31" fmla="*/ 3 h 8"/>
                <a:gd name="T32" fmla="*/ 3 w 5"/>
                <a:gd name="T33" fmla="*/ 3 h 8"/>
                <a:gd name="T34" fmla="*/ 3 w 5"/>
                <a:gd name="T3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8" extrusionOk="0">
                  <a:moveTo>
                    <a:pt x="3" y="0"/>
                  </a:move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0" name="Freeform 8815">
              <a:extLst>
                <a:ext uri="{FF2B5EF4-FFF2-40B4-BE49-F238E27FC236}">
                  <a16:creationId xmlns:a16="http://schemas.microsoft.com/office/drawing/2014/main" id="{555194BC-302E-874B-B5D8-EBE47D72E2EC}"/>
                </a:ext>
              </a:extLst>
            </p:cNvPr>
            <p:cNvSpPr/>
            <p:nvPr/>
          </p:nvSpPr>
          <p:spPr bwMode="auto">
            <a:xfrm>
              <a:off x="6249191" y="1520828"/>
              <a:ext cx="7938" cy="7937"/>
            </a:xfrm>
            <a:custGeom>
              <a:avLst/>
              <a:gdLst>
                <a:gd name="T0" fmla="*/ 2 w 5"/>
                <a:gd name="T1" fmla="*/ 0 h 5"/>
                <a:gd name="T2" fmla="*/ 2 w 5"/>
                <a:gd name="T3" fmla="*/ 0 h 5"/>
                <a:gd name="T4" fmla="*/ 2 w 5"/>
                <a:gd name="T5" fmla="*/ 0 h 5"/>
                <a:gd name="T6" fmla="*/ 5 w 5"/>
                <a:gd name="T7" fmla="*/ 3 h 5"/>
                <a:gd name="T8" fmla="*/ 2 w 5"/>
                <a:gd name="T9" fmla="*/ 5 h 5"/>
                <a:gd name="T10" fmla="*/ 2 w 5"/>
                <a:gd name="T11" fmla="*/ 5 h 5"/>
                <a:gd name="T12" fmla="*/ 0 w 5"/>
                <a:gd name="T13" fmla="*/ 5 h 5"/>
                <a:gd name="T14" fmla="*/ 0 w 5"/>
                <a:gd name="T15" fmla="*/ 3 h 5"/>
                <a:gd name="T16" fmla="*/ 0 w 5"/>
                <a:gd name="T17" fmla="*/ 3 h 5"/>
                <a:gd name="T18" fmla="*/ 0 w 5"/>
                <a:gd name="T19" fmla="*/ 0 h 5"/>
                <a:gd name="T20" fmla="*/ 0 w 5"/>
                <a:gd name="T21" fmla="*/ 0 h 5"/>
                <a:gd name="T22" fmla="*/ 0 w 5"/>
                <a:gd name="T23" fmla="*/ 0 h 5"/>
                <a:gd name="T24" fmla="*/ 2 w 5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5" extrusionOk="0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1" name="Freeform 8816">
              <a:extLst>
                <a:ext uri="{FF2B5EF4-FFF2-40B4-BE49-F238E27FC236}">
                  <a16:creationId xmlns:a16="http://schemas.microsoft.com/office/drawing/2014/main" id="{2D94EDD3-7926-1143-BBD1-F66ED9AD1695}"/>
                </a:ext>
              </a:extLst>
            </p:cNvPr>
            <p:cNvSpPr/>
            <p:nvPr/>
          </p:nvSpPr>
          <p:spPr bwMode="auto">
            <a:xfrm>
              <a:off x="6193630" y="1579566"/>
              <a:ext cx="4764" cy="4764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3 w 3"/>
                <a:gd name="T5" fmla="*/ 0 h 3"/>
                <a:gd name="T6" fmla="*/ 3 w 3"/>
                <a:gd name="T7" fmla="*/ 0 h 3"/>
                <a:gd name="T8" fmla="*/ 3 w 3"/>
                <a:gd name="T9" fmla="*/ 0 h 3"/>
                <a:gd name="T10" fmla="*/ 3 w 3"/>
                <a:gd name="T11" fmla="*/ 0 h 3"/>
                <a:gd name="T12" fmla="*/ 3 w 3"/>
                <a:gd name="T13" fmla="*/ 3 h 3"/>
                <a:gd name="T14" fmla="*/ 0 w 3"/>
                <a:gd name="T15" fmla="*/ 3 h 3"/>
                <a:gd name="T16" fmla="*/ 0 w 3"/>
                <a:gd name="T17" fmla="*/ 0 h 3"/>
                <a:gd name="T18" fmla="*/ 0 w 3"/>
                <a:gd name="T19" fmla="*/ 0 h 3"/>
                <a:gd name="T20" fmla="*/ 0 w 3"/>
                <a:gd name="T21" fmla="*/ 0 h 3"/>
                <a:gd name="T22" fmla="*/ 0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2" name="Freeform 8817">
              <a:extLst>
                <a:ext uri="{FF2B5EF4-FFF2-40B4-BE49-F238E27FC236}">
                  <a16:creationId xmlns:a16="http://schemas.microsoft.com/office/drawing/2014/main" id="{25828EBD-EBE5-E042-9366-5029D04349C5}"/>
                </a:ext>
              </a:extLst>
            </p:cNvPr>
            <p:cNvSpPr/>
            <p:nvPr/>
          </p:nvSpPr>
          <p:spPr bwMode="auto">
            <a:xfrm>
              <a:off x="6498428" y="1673227"/>
              <a:ext cx="9526" cy="12699"/>
            </a:xfrm>
            <a:custGeom>
              <a:avLst/>
              <a:gdLst>
                <a:gd name="T0" fmla="*/ 0 w 6"/>
                <a:gd name="T1" fmla="*/ 3 h 8"/>
                <a:gd name="T2" fmla="*/ 0 w 6"/>
                <a:gd name="T3" fmla="*/ 3 h 8"/>
                <a:gd name="T4" fmla="*/ 3 w 6"/>
                <a:gd name="T5" fmla="*/ 0 h 8"/>
                <a:gd name="T6" fmla="*/ 3 w 6"/>
                <a:gd name="T7" fmla="*/ 0 h 8"/>
                <a:gd name="T8" fmla="*/ 3 w 6"/>
                <a:gd name="T9" fmla="*/ 0 h 8"/>
                <a:gd name="T10" fmla="*/ 6 w 6"/>
                <a:gd name="T11" fmla="*/ 0 h 8"/>
                <a:gd name="T12" fmla="*/ 6 w 6"/>
                <a:gd name="T13" fmla="*/ 0 h 8"/>
                <a:gd name="T14" fmla="*/ 6 w 6"/>
                <a:gd name="T15" fmla="*/ 3 h 8"/>
                <a:gd name="T16" fmla="*/ 6 w 6"/>
                <a:gd name="T17" fmla="*/ 3 h 8"/>
                <a:gd name="T18" fmla="*/ 6 w 6"/>
                <a:gd name="T19" fmla="*/ 3 h 8"/>
                <a:gd name="T20" fmla="*/ 6 w 6"/>
                <a:gd name="T21" fmla="*/ 5 h 8"/>
                <a:gd name="T22" fmla="*/ 6 w 6"/>
                <a:gd name="T23" fmla="*/ 5 h 8"/>
                <a:gd name="T24" fmla="*/ 6 w 6"/>
                <a:gd name="T25" fmla="*/ 8 h 8"/>
                <a:gd name="T26" fmla="*/ 6 w 6"/>
                <a:gd name="T27" fmla="*/ 8 h 8"/>
                <a:gd name="T28" fmla="*/ 6 w 6"/>
                <a:gd name="T29" fmla="*/ 8 h 8"/>
                <a:gd name="T30" fmla="*/ 3 w 6"/>
                <a:gd name="T31" fmla="*/ 8 h 8"/>
                <a:gd name="T32" fmla="*/ 3 w 6"/>
                <a:gd name="T33" fmla="*/ 8 h 8"/>
                <a:gd name="T34" fmla="*/ 3 w 6"/>
                <a:gd name="T35" fmla="*/ 8 h 8"/>
                <a:gd name="T36" fmla="*/ 3 w 6"/>
                <a:gd name="T37" fmla="*/ 8 h 8"/>
                <a:gd name="T38" fmla="*/ 3 w 6"/>
                <a:gd name="T39" fmla="*/ 8 h 8"/>
                <a:gd name="T40" fmla="*/ 3 w 6"/>
                <a:gd name="T41" fmla="*/ 5 h 8"/>
                <a:gd name="T42" fmla="*/ 0 w 6"/>
                <a:gd name="T43" fmla="*/ 5 h 8"/>
                <a:gd name="T44" fmla="*/ 0 w 6"/>
                <a:gd name="T45" fmla="*/ 3 h 8"/>
                <a:gd name="T46" fmla="*/ 0 w 6"/>
                <a:gd name="T47" fmla="*/ 3 h 8"/>
                <a:gd name="T48" fmla="*/ 0 w 6"/>
                <a:gd name="T49" fmla="*/ 3 h 8"/>
                <a:gd name="T50" fmla="*/ 0 w 6"/>
                <a:gd name="T51" fmla="*/ 3 h 8"/>
                <a:gd name="T52" fmla="*/ 0 w 6"/>
                <a:gd name="T5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" h="8" extrusionOk="0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3" name="Freeform 8818">
              <a:extLst>
                <a:ext uri="{FF2B5EF4-FFF2-40B4-BE49-F238E27FC236}">
                  <a16:creationId xmlns:a16="http://schemas.microsoft.com/office/drawing/2014/main" id="{D51252E2-DB11-E347-BCA7-0537D030A53F}"/>
                </a:ext>
              </a:extLst>
            </p:cNvPr>
            <p:cNvSpPr/>
            <p:nvPr/>
          </p:nvSpPr>
          <p:spPr bwMode="auto">
            <a:xfrm>
              <a:off x="5896766" y="2063752"/>
              <a:ext cx="30162" cy="20638"/>
            </a:xfrm>
            <a:custGeom>
              <a:avLst/>
              <a:gdLst>
                <a:gd name="T0" fmla="*/ 5 w 19"/>
                <a:gd name="T1" fmla="*/ 0 h 13"/>
                <a:gd name="T2" fmla="*/ 5 w 19"/>
                <a:gd name="T3" fmla="*/ 0 h 13"/>
                <a:gd name="T4" fmla="*/ 5 w 19"/>
                <a:gd name="T5" fmla="*/ 0 h 13"/>
                <a:gd name="T6" fmla="*/ 5 w 19"/>
                <a:gd name="T7" fmla="*/ 3 h 13"/>
                <a:gd name="T8" fmla="*/ 5 w 19"/>
                <a:gd name="T9" fmla="*/ 5 h 13"/>
                <a:gd name="T10" fmla="*/ 3 w 19"/>
                <a:gd name="T11" fmla="*/ 8 h 13"/>
                <a:gd name="T12" fmla="*/ 3 w 19"/>
                <a:gd name="T13" fmla="*/ 8 h 13"/>
                <a:gd name="T14" fmla="*/ 0 w 19"/>
                <a:gd name="T15" fmla="*/ 8 h 13"/>
                <a:gd name="T16" fmla="*/ 0 w 19"/>
                <a:gd name="T17" fmla="*/ 11 h 13"/>
                <a:gd name="T18" fmla="*/ 0 w 19"/>
                <a:gd name="T19" fmla="*/ 11 h 13"/>
                <a:gd name="T20" fmla="*/ 3 w 19"/>
                <a:gd name="T21" fmla="*/ 11 h 13"/>
                <a:gd name="T22" fmla="*/ 3 w 19"/>
                <a:gd name="T23" fmla="*/ 11 h 13"/>
                <a:gd name="T24" fmla="*/ 3 w 19"/>
                <a:gd name="T25" fmla="*/ 13 h 13"/>
                <a:gd name="T26" fmla="*/ 3 w 19"/>
                <a:gd name="T27" fmla="*/ 13 h 13"/>
                <a:gd name="T28" fmla="*/ 3 w 19"/>
                <a:gd name="T29" fmla="*/ 13 h 13"/>
                <a:gd name="T30" fmla="*/ 5 w 19"/>
                <a:gd name="T31" fmla="*/ 13 h 13"/>
                <a:gd name="T32" fmla="*/ 5 w 19"/>
                <a:gd name="T33" fmla="*/ 13 h 13"/>
                <a:gd name="T34" fmla="*/ 8 w 19"/>
                <a:gd name="T35" fmla="*/ 13 h 13"/>
                <a:gd name="T36" fmla="*/ 8 w 19"/>
                <a:gd name="T37" fmla="*/ 11 h 13"/>
                <a:gd name="T38" fmla="*/ 8 w 19"/>
                <a:gd name="T39" fmla="*/ 11 h 13"/>
                <a:gd name="T40" fmla="*/ 11 w 19"/>
                <a:gd name="T41" fmla="*/ 13 h 13"/>
                <a:gd name="T42" fmla="*/ 11 w 19"/>
                <a:gd name="T43" fmla="*/ 13 h 13"/>
                <a:gd name="T44" fmla="*/ 11 w 19"/>
                <a:gd name="T45" fmla="*/ 11 h 13"/>
                <a:gd name="T46" fmla="*/ 11 w 19"/>
                <a:gd name="T47" fmla="*/ 8 h 13"/>
                <a:gd name="T48" fmla="*/ 11 w 19"/>
                <a:gd name="T49" fmla="*/ 8 h 13"/>
                <a:gd name="T50" fmla="*/ 8 w 19"/>
                <a:gd name="T51" fmla="*/ 8 h 13"/>
                <a:gd name="T52" fmla="*/ 11 w 19"/>
                <a:gd name="T53" fmla="*/ 5 h 13"/>
                <a:gd name="T54" fmla="*/ 11 w 19"/>
                <a:gd name="T55" fmla="*/ 5 h 13"/>
                <a:gd name="T56" fmla="*/ 13 w 19"/>
                <a:gd name="T57" fmla="*/ 5 h 13"/>
                <a:gd name="T58" fmla="*/ 13 w 19"/>
                <a:gd name="T59" fmla="*/ 8 h 13"/>
                <a:gd name="T60" fmla="*/ 13 w 19"/>
                <a:gd name="T61" fmla="*/ 8 h 13"/>
                <a:gd name="T62" fmla="*/ 13 w 19"/>
                <a:gd name="T63" fmla="*/ 11 h 13"/>
                <a:gd name="T64" fmla="*/ 13 w 19"/>
                <a:gd name="T65" fmla="*/ 11 h 13"/>
                <a:gd name="T66" fmla="*/ 16 w 19"/>
                <a:gd name="T67" fmla="*/ 11 h 13"/>
                <a:gd name="T68" fmla="*/ 16 w 19"/>
                <a:gd name="T69" fmla="*/ 11 h 13"/>
                <a:gd name="T70" fmla="*/ 16 w 19"/>
                <a:gd name="T71" fmla="*/ 11 h 13"/>
                <a:gd name="T72" fmla="*/ 19 w 19"/>
                <a:gd name="T73" fmla="*/ 8 h 13"/>
                <a:gd name="T74" fmla="*/ 19 w 19"/>
                <a:gd name="T75" fmla="*/ 8 h 13"/>
                <a:gd name="T76" fmla="*/ 19 w 19"/>
                <a:gd name="T77" fmla="*/ 8 h 13"/>
                <a:gd name="T78" fmla="*/ 19 w 19"/>
                <a:gd name="T79" fmla="*/ 5 h 13"/>
                <a:gd name="T80" fmla="*/ 16 w 19"/>
                <a:gd name="T81" fmla="*/ 5 h 13"/>
                <a:gd name="T82" fmla="*/ 16 w 19"/>
                <a:gd name="T83" fmla="*/ 5 h 13"/>
                <a:gd name="T84" fmla="*/ 16 w 19"/>
                <a:gd name="T85" fmla="*/ 3 h 13"/>
                <a:gd name="T86" fmla="*/ 13 w 19"/>
                <a:gd name="T87" fmla="*/ 3 h 13"/>
                <a:gd name="T88" fmla="*/ 13 w 19"/>
                <a:gd name="T89" fmla="*/ 0 h 13"/>
                <a:gd name="T90" fmla="*/ 13 w 19"/>
                <a:gd name="T91" fmla="*/ 0 h 13"/>
                <a:gd name="T92" fmla="*/ 11 w 19"/>
                <a:gd name="T93" fmla="*/ 0 h 13"/>
                <a:gd name="T94" fmla="*/ 11 w 19"/>
                <a:gd name="T95" fmla="*/ 0 h 13"/>
                <a:gd name="T96" fmla="*/ 8 w 19"/>
                <a:gd name="T97" fmla="*/ 0 h 13"/>
                <a:gd name="T98" fmla="*/ 8 w 19"/>
                <a:gd name="T99" fmla="*/ 0 h 13"/>
                <a:gd name="T100" fmla="*/ 5 w 19"/>
                <a:gd name="T10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" h="13" extrusionOk="0"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4" name="Freeform 8819">
              <a:extLst>
                <a:ext uri="{FF2B5EF4-FFF2-40B4-BE49-F238E27FC236}">
                  <a16:creationId xmlns:a16="http://schemas.microsoft.com/office/drawing/2014/main" id="{61167794-3CF8-B34E-8034-5D9916DF915C}"/>
                </a:ext>
              </a:extLst>
            </p:cNvPr>
            <p:cNvSpPr/>
            <p:nvPr/>
          </p:nvSpPr>
          <p:spPr bwMode="auto">
            <a:xfrm>
              <a:off x="6290466" y="1028702"/>
              <a:ext cx="288924" cy="276224"/>
            </a:xfrm>
            <a:custGeom>
              <a:avLst/>
              <a:gdLst>
                <a:gd name="T0" fmla="*/ 118 w 182"/>
                <a:gd name="T1" fmla="*/ 53 h 174"/>
                <a:gd name="T2" fmla="*/ 126 w 182"/>
                <a:gd name="T3" fmla="*/ 43 h 174"/>
                <a:gd name="T4" fmla="*/ 129 w 182"/>
                <a:gd name="T5" fmla="*/ 32 h 174"/>
                <a:gd name="T6" fmla="*/ 139 w 182"/>
                <a:gd name="T7" fmla="*/ 32 h 174"/>
                <a:gd name="T8" fmla="*/ 139 w 182"/>
                <a:gd name="T9" fmla="*/ 21 h 174"/>
                <a:gd name="T10" fmla="*/ 150 w 182"/>
                <a:gd name="T11" fmla="*/ 13 h 174"/>
                <a:gd name="T12" fmla="*/ 155 w 182"/>
                <a:gd name="T13" fmla="*/ 16 h 174"/>
                <a:gd name="T14" fmla="*/ 166 w 182"/>
                <a:gd name="T15" fmla="*/ 24 h 174"/>
                <a:gd name="T16" fmla="*/ 174 w 182"/>
                <a:gd name="T17" fmla="*/ 35 h 174"/>
                <a:gd name="T18" fmla="*/ 177 w 182"/>
                <a:gd name="T19" fmla="*/ 51 h 174"/>
                <a:gd name="T20" fmla="*/ 177 w 182"/>
                <a:gd name="T21" fmla="*/ 102 h 174"/>
                <a:gd name="T22" fmla="*/ 169 w 182"/>
                <a:gd name="T23" fmla="*/ 112 h 174"/>
                <a:gd name="T24" fmla="*/ 161 w 182"/>
                <a:gd name="T25" fmla="*/ 107 h 174"/>
                <a:gd name="T26" fmla="*/ 163 w 182"/>
                <a:gd name="T27" fmla="*/ 115 h 174"/>
                <a:gd name="T28" fmla="*/ 171 w 182"/>
                <a:gd name="T29" fmla="*/ 123 h 174"/>
                <a:gd name="T30" fmla="*/ 177 w 182"/>
                <a:gd name="T31" fmla="*/ 131 h 174"/>
                <a:gd name="T32" fmla="*/ 182 w 182"/>
                <a:gd name="T33" fmla="*/ 144 h 174"/>
                <a:gd name="T34" fmla="*/ 177 w 182"/>
                <a:gd name="T35" fmla="*/ 160 h 174"/>
                <a:gd name="T36" fmla="*/ 163 w 182"/>
                <a:gd name="T37" fmla="*/ 168 h 174"/>
                <a:gd name="T38" fmla="*/ 145 w 182"/>
                <a:gd name="T39" fmla="*/ 171 h 174"/>
                <a:gd name="T40" fmla="*/ 131 w 182"/>
                <a:gd name="T41" fmla="*/ 168 h 174"/>
                <a:gd name="T42" fmla="*/ 121 w 182"/>
                <a:gd name="T43" fmla="*/ 166 h 174"/>
                <a:gd name="T44" fmla="*/ 110 w 182"/>
                <a:gd name="T45" fmla="*/ 160 h 174"/>
                <a:gd name="T46" fmla="*/ 99 w 182"/>
                <a:gd name="T47" fmla="*/ 147 h 174"/>
                <a:gd name="T48" fmla="*/ 81 w 182"/>
                <a:gd name="T49" fmla="*/ 147 h 174"/>
                <a:gd name="T50" fmla="*/ 65 w 182"/>
                <a:gd name="T51" fmla="*/ 134 h 174"/>
                <a:gd name="T52" fmla="*/ 51 w 182"/>
                <a:gd name="T53" fmla="*/ 142 h 174"/>
                <a:gd name="T54" fmla="*/ 46 w 182"/>
                <a:gd name="T55" fmla="*/ 128 h 174"/>
                <a:gd name="T56" fmla="*/ 35 w 182"/>
                <a:gd name="T57" fmla="*/ 118 h 174"/>
                <a:gd name="T58" fmla="*/ 35 w 182"/>
                <a:gd name="T59" fmla="*/ 99 h 174"/>
                <a:gd name="T60" fmla="*/ 35 w 182"/>
                <a:gd name="T61" fmla="*/ 88 h 174"/>
                <a:gd name="T62" fmla="*/ 25 w 182"/>
                <a:gd name="T63" fmla="*/ 91 h 174"/>
                <a:gd name="T64" fmla="*/ 25 w 182"/>
                <a:gd name="T65" fmla="*/ 80 h 174"/>
                <a:gd name="T66" fmla="*/ 22 w 182"/>
                <a:gd name="T67" fmla="*/ 75 h 174"/>
                <a:gd name="T68" fmla="*/ 19 w 182"/>
                <a:gd name="T69" fmla="*/ 72 h 174"/>
                <a:gd name="T70" fmla="*/ 11 w 182"/>
                <a:gd name="T71" fmla="*/ 83 h 174"/>
                <a:gd name="T72" fmla="*/ 9 w 182"/>
                <a:gd name="T73" fmla="*/ 91 h 174"/>
                <a:gd name="T74" fmla="*/ 9 w 182"/>
                <a:gd name="T75" fmla="*/ 83 h 174"/>
                <a:gd name="T76" fmla="*/ 3 w 182"/>
                <a:gd name="T77" fmla="*/ 77 h 174"/>
                <a:gd name="T78" fmla="*/ 9 w 182"/>
                <a:gd name="T79" fmla="*/ 77 h 174"/>
                <a:gd name="T80" fmla="*/ 19 w 182"/>
                <a:gd name="T81" fmla="*/ 67 h 174"/>
                <a:gd name="T82" fmla="*/ 30 w 182"/>
                <a:gd name="T83" fmla="*/ 51 h 174"/>
                <a:gd name="T84" fmla="*/ 41 w 182"/>
                <a:gd name="T85" fmla="*/ 48 h 174"/>
                <a:gd name="T86" fmla="*/ 38 w 182"/>
                <a:gd name="T87" fmla="*/ 40 h 174"/>
                <a:gd name="T88" fmla="*/ 38 w 182"/>
                <a:gd name="T89" fmla="*/ 24 h 174"/>
                <a:gd name="T90" fmla="*/ 49 w 182"/>
                <a:gd name="T91" fmla="*/ 16 h 174"/>
                <a:gd name="T92" fmla="*/ 54 w 182"/>
                <a:gd name="T93" fmla="*/ 11 h 174"/>
                <a:gd name="T94" fmla="*/ 62 w 182"/>
                <a:gd name="T95" fmla="*/ 16 h 174"/>
                <a:gd name="T96" fmla="*/ 70 w 182"/>
                <a:gd name="T97" fmla="*/ 8 h 174"/>
                <a:gd name="T98" fmla="*/ 83 w 182"/>
                <a:gd name="T99" fmla="*/ 8 h 174"/>
                <a:gd name="T100" fmla="*/ 97 w 182"/>
                <a:gd name="T101" fmla="*/ 5 h 174"/>
                <a:gd name="T102" fmla="*/ 113 w 182"/>
                <a:gd name="T103" fmla="*/ 0 h 174"/>
                <a:gd name="T104" fmla="*/ 123 w 182"/>
                <a:gd name="T105" fmla="*/ 5 h 174"/>
                <a:gd name="T106" fmla="*/ 123 w 182"/>
                <a:gd name="T107" fmla="*/ 19 h 174"/>
                <a:gd name="T108" fmla="*/ 121 w 182"/>
                <a:gd name="T109" fmla="*/ 40 h 174"/>
                <a:gd name="T110" fmla="*/ 121 w 182"/>
                <a:gd name="T111" fmla="*/ 51 h 174"/>
                <a:gd name="T112" fmla="*/ 110 w 182"/>
                <a:gd name="T113" fmla="*/ 5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2" h="174" extrusionOk="0">
                  <a:moveTo>
                    <a:pt x="110" y="59"/>
                  </a:move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3" y="59"/>
                  </a:lnTo>
                  <a:lnTo>
                    <a:pt x="113" y="56"/>
                  </a:lnTo>
                  <a:lnTo>
                    <a:pt x="115" y="56"/>
                  </a:lnTo>
                  <a:lnTo>
                    <a:pt x="118" y="53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3" y="48"/>
                  </a:lnTo>
                  <a:lnTo>
                    <a:pt x="123" y="45"/>
                  </a:lnTo>
                  <a:lnTo>
                    <a:pt x="123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9" y="43"/>
                  </a:lnTo>
                  <a:lnTo>
                    <a:pt x="129" y="43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6" y="37"/>
                  </a:lnTo>
                  <a:lnTo>
                    <a:pt x="126" y="32"/>
                  </a:lnTo>
                  <a:lnTo>
                    <a:pt x="129" y="32"/>
                  </a:lnTo>
                  <a:lnTo>
                    <a:pt x="129" y="32"/>
                  </a:lnTo>
                  <a:lnTo>
                    <a:pt x="131" y="32"/>
                  </a:lnTo>
                  <a:lnTo>
                    <a:pt x="131" y="35"/>
                  </a:lnTo>
                  <a:lnTo>
                    <a:pt x="134" y="35"/>
                  </a:lnTo>
                  <a:lnTo>
                    <a:pt x="134" y="37"/>
                  </a:lnTo>
                  <a:lnTo>
                    <a:pt x="137" y="37"/>
                  </a:lnTo>
                  <a:lnTo>
                    <a:pt x="139" y="35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42" y="24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19"/>
                  </a:lnTo>
                  <a:lnTo>
                    <a:pt x="139" y="13"/>
                  </a:lnTo>
                  <a:lnTo>
                    <a:pt x="142" y="13"/>
                  </a:lnTo>
                  <a:lnTo>
                    <a:pt x="145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3"/>
                  </a:lnTo>
                  <a:lnTo>
                    <a:pt x="150" y="13"/>
                  </a:lnTo>
                  <a:lnTo>
                    <a:pt x="150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5" y="13"/>
                  </a:lnTo>
                  <a:lnTo>
                    <a:pt x="158" y="13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8" y="16"/>
                  </a:lnTo>
                  <a:lnTo>
                    <a:pt x="161" y="16"/>
                  </a:lnTo>
                  <a:lnTo>
                    <a:pt x="158" y="19"/>
                  </a:lnTo>
                  <a:lnTo>
                    <a:pt x="161" y="21"/>
                  </a:lnTo>
                  <a:lnTo>
                    <a:pt x="166" y="21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4"/>
                  </a:lnTo>
                  <a:lnTo>
                    <a:pt x="166" y="27"/>
                  </a:lnTo>
                  <a:lnTo>
                    <a:pt x="166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71" y="29"/>
                  </a:lnTo>
                  <a:lnTo>
                    <a:pt x="171" y="32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7"/>
                  </a:lnTo>
                  <a:lnTo>
                    <a:pt x="177" y="37"/>
                  </a:lnTo>
                  <a:lnTo>
                    <a:pt x="177" y="40"/>
                  </a:lnTo>
                  <a:lnTo>
                    <a:pt x="179" y="43"/>
                  </a:lnTo>
                  <a:lnTo>
                    <a:pt x="179" y="45"/>
                  </a:lnTo>
                  <a:lnTo>
                    <a:pt x="179" y="48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77" y="56"/>
                  </a:lnTo>
                  <a:lnTo>
                    <a:pt x="177" y="59"/>
                  </a:lnTo>
                  <a:lnTo>
                    <a:pt x="177" y="61"/>
                  </a:lnTo>
                  <a:lnTo>
                    <a:pt x="179" y="75"/>
                  </a:lnTo>
                  <a:lnTo>
                    <a:pt x="179" y="85"/>
                  </a:lnTo>
                  <a:lnTo>
                    <a:pt x="179" y="96"/>
                  </a:lnTo>
                  <a:lnTo>
                    <a:pt x="177" y="99"/>
                  </a:lnTo>
                  <a:lnTo>
                    <a:pt x="177" y="102"/>
                  </a:lnTo>
                  <a:lnTo>
                    <a:pt x="177" y="104"/>
                  </a:lnTo>
                  <a:lnTo>
                    <a:pt x="177" y="107"/>
                  </a:lnTo>
                  <a:lnTo>
                    <a:pt x="174" y="107"/>
                  </a:lnTo>
                  <a:lnTo>
                    <a:pt x="174" y="107"/>
                  </a:lnTo>
                  <a:lnTo>
                    <a:pt x="174" y="110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9" y="110"/>
                  </a:lnTo>
                  <a:lnTo>
                    <a:pt x="166" y="110"/>
                  </a:lnTo>
                  <a:lnTo>
                    <a:pt x="163" y="110"/>
                  </a:lnTo>
                  <a:lnTo>
                    <a:pt x="163" y="107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58" y="110"/>
                  </a:lnTo>
                  <a:lnTo>
                    <a:pt x="158" y="110"/>
                  </a:lnTo>
                  <a:lnTo>
                    <a:pt x="161" y="112"/>
                  </a:lnTo>
                  <a:lnTo>
                    <a:pt x="161" y="112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3" y="115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9" y="123"/>
                  </a:lnTo>
                  <a:lnTo>
                    <a:pt x="171" y="123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1" y="126"/>
                  </a:lnTo>
                  <a:lnTo>
                    <a:pt x="171" y="126"/>
                  </a:lnTo>
                  <a:lnTo>
                    <a:pt x="171" y="128"/>
                  </a:lnTo>
                  <a:lnTo>
                    <a:pt x="174" y="128"/>
                  </a:lnTo>
                  <a:lnTo>
                    <a:pt x="177" y="131"/>
                  </a:lnTo>
                  <a:lnTo>
                    <a:pt x="177" y="131"/>
                  </a:lnTo>
                  <a:lnTo>
                    <a:pt x="179" y="134"/>
                  </a:lnTo>
                  <a:lnTo>
                    <a:pt x="179" y="134"/>
                  </a:lnTo>
                  <a:lnTo>
                    <a:pt x="179" y="136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42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2" y="147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79" y="152"/>
                  </a:lnTo>
                  <a:lnTo>
                    <a:pt x="179" y="158"/>
                  </a:lnTo>
                  <a:lnTo>
                    <a:pt x="177" y="158"/>
                  </a:lnTo>
                  <a:lnTo>
                    <a:pt x="177" y="160"/>
                  </a:lnTo>
                  <a:lnTo>
                    <a:pt x="174" y="163"/>
                  </a:lnTo>
                  <a:lnTo>
                    <a:pt x="174" y="166"/>
                  </a:lnTo>
                  <a:lnTo>
                    <a:pt x="171" y="166"/>
                  </a:lnTo>
                  <a:lnTo>
                    <a:pt x="171" y="168"/>
                  </a:lnTo>
                  <a:lnTo>
                    <a:pt x="169" y="168"/>
                  </a:lnTo>
                  <a:lnTo>
                    <a:pt x="166" y="168"/>
                  </a:lnTo>
                  <a:lnTo>
                    <a:pt x="163" y="166"/>
                  </a:lnTo>
                  <a:lnTo>
                    <a:pt x="163" y="168"/>
                  </a:lnTo>
                  <a:lnTo>
                    <a:pt x="161" y="168"/>
                  </a:lnTo>
                  <a:lnTo>
                    <a:pt x="158" y="168"/>
                  </a:lnTo>
                  <a:lnTo>
                    <a:pt x="155" y="168"/>
                  </a:lnTo>
                  <a:lnTo>
                    <a:pt x="153" y="168"/>
                  </a:lnTo>
                  <a:lnTo>
                    <a:pt x="150" y="168"/>
                  </a:lnTo>
                  <a:lnTo>
                    <a:pt x="147" y="168"/>
                  </a:lnTo>
                  <a:lnTo>
                    <a:pt x="147" y="168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2" y="174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7" y="171"/>
                  </a:lnTo>
                  <a:lnTo>
                    <a:pt x="137" y="168"/>
                  </a:lnTo>
                  <a:lnTo>
                    <a:pt x="134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9" y="171"/>
                  </a:lnTo>
                  <a:lnTo>
                    <a:pt x="129" y="168"/>
                  </a:lnTo>
                  <a:lnTo>
                    <a:pt x="126" y="168"/>
                  </a:lnTo>
                  <a:lnTo>
                    <a:pt x="123" y="168"/>
                  </a:lnTo>
                  <a:lnTo>
                    <a:pt x="121" y="168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3" y="163"/>
                  </a:lnTo>
                  <a:lnTo>
                    <a:pt x="113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07" y="160"/>
                  </a:lnTo>
                  <a:lnTo>
                    <a:pt x="107" y="158"/>
                  </a:lnTo>
                  <a:lnTo>
                    <a:pt x="107" y="158"/>
                  </a:lnTo>
                  <a:lnTo>
                    <a:pt x="105" y="155"/>
                  </a:lnTo>
                  <a:lnTo>
                    <a:pt x="102" y="155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99" y="147"/>
                  </a:lnTo>
                  <a:lnTo>
                    <a:pt x="97" y="147"/>
                  </a:lnTo>
                  <a:lnTo>
                    <a:pt x="94" y="147"/>
                  </a:lnTo>
                  <a:lnTo>
                    <a:pt x="91" y="147"/>
                  </a:lnTo>
                  <a:lnTo>
                    <a:pt x="89" y="147"/>
                  </a:lnTo>
                  <a:lnTo>
                    <a:pt x="89" y="144"/>
                  </a:lnTo>
                  <a:lnTo>
                    <a:pt x="86" y="144"/>
                  </a:lnTo>
                  <a:lnTo>
                    <a:pt x="83" y="147"/>
                  </a:lnTo>
                  <a:lnTo>
                    <a:pt x="81" y="147"/>
                  </a:lnTo>
                  <a:lnTo>
                    <a:pt x="78" y="147"/>
                  </a:lnTo>
                  <a:lnTo>
                    <a:pt x="73" y="147"/>
                  </a:lnTo>
                  <a:lnTo>
                    <a:pt x="70" y="144"/>
                  </a:lnTo>
                  <a:lnTo>
                    <a:pt x="70" y="142"/>
                  </a:lnTo>
                  <a:lnTo>
                    <a:pt x="70" y="139"/>
                  </a:lnTo>
                  <a:lnTo>
                    <a:pt x="70" y="136"/>
                  </a:lnTo>
                  <a:lnTo>
                    <a:pt x="67" y="136"/>
                  </a:lnTo>
                  <a:lnTo>
                    <a:pt x="65" y="134"/>
                  </a:lnTo>
                  <a:lnTo>
                    <a:pt x="62" y="136"/>
                  </a:lnTo>
                  <a:lnTo>
                    <a:pt x="62" y="139"/>
                  </a:lnTo>
                  <a:lnTo>
                    <a:pt x="59" y="139"/>
                  </a:lnTo>
                  <a:lnTo>
                    <a:pt x="59" y="142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4" y="142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49" y="139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6" y="128"/>
                  </a:lnTo>
                  <a:lnTo>
                    <a:pt x="46" y="126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1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12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07"/>
                  </a:lnTo>
                  <a:lnTo>
                    <a:pt x="35" y="104"/>
                  </a:lnTo>
                  <a:lnTo>
                    <a:pt x="35" y="102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5" y="96"/>
                  </a:lnTo>
                  <a:lnTo>
                    <a:pt x="35" y="96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8"/>
                  </a:lnTo>
                  <a:lnTo>
                    <a:pt x="35" y="88"/>
                  </a:lnTo>
                  <a:lnTo>
                    <a:pt x="35" y="85"/>
                  </a:lnTo>
                  <a:lnTo>
                    <a:pt x="33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7" y="88"/>
                  </a:lnTo>
                  <a:lnTo>
                    <a:pt x="27" y="91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19" y="69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7" y="75"/>
                  </a:lnTo>
                  <a:lnTo>
                    <a:pt x="17" y="77"/>
                  </a:lnTo>
                  <a:lnTo>
                    <a:pt x="14" y="77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1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88"/>
                  </a:lnTo>
                  <a:lnTo>
                    <a:pt x="6" y="88"/>
                  </a:lnTo>
                  <a:lnTo>
                    <a:pt x="9" y="85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6" y="80"/>
                  </a:lnTo>
                  <a:lnTo>
                    <a:pt x="6" y="83"/>
                  </a:lnTo>
                  <a:lnTo>
                    <a:pt x="6" y="80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0" y="77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7"/>
                  </a:lnTo>
                  <a:lnTo>
                    <a:pt x="6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9" y="67"/>
                  </a:lnTo>
                  <a:lnTo>
                    <a:pt x="19" y="64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5" y="59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7" y="53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3" y="51"/>
                  </a:lnTo>
                  <a:lnTo>
                    <a:pt x="33" y="48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3" y="48"/>
                  </a:lnTo>
                  <a:lnTo>
                    <a:pt x="46" y="48"/>
                  </a:lnTo>
                  <a:lnTo>
                    <a:pt x="46" y="45"/>
                  </a:lnTo>
                  <a:lnTo>
                    <a:pt x="43" y="45"/>
                  </a:lnTo>
                  <a:lnTo>
                    <a:pt x="43" y="43"/>
                  </a:lnTo>
                  <a:lnTo>
                    <a:pt x="41" y="43"/>
                  </a:lnTo>
                  <a:lnTo>
                    <a:pt x="41" y="40"/>
                  </a:lnTo>
                  <a:lnTo>
                    <a:pt x="38" y="40"/>
                  </a:lnTo>
                  <a:lnTo>
                    <a:pt x="35" y="37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8" y="24"/>
                  </a:lnTo>
                  <a:lnTo>
                    <a:pt x="41" y="27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19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4" y="8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3"/>
                  </a:lnTo>
                  <a:lnTo>
                    <a:pt x="65" y="11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0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83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91" y="8"/>
                  </a:lnTo>
                  <a:lnTo>
                    <a:pt x="91" y="5"/>
                  </a:lnTo>
                  <a:lnTo>
                    <a:pt x="94" y="5"/>
                  </a:lnTo>
                  <a:lnTo>
                    <a:pt x="94" y="8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2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7" y="0"/>
                  </a:lnTo>
                  <a:lnTo>
                    <a:pt x="110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8" y="0"/>
                  </a:lnTo>
                  <a:lnTo>
                    <a:pt x="118" y="3"/>
                  </a:lnTo>
                  <a:lnTo>
                    <a:pt x="118" y="3"/>
                  </a:lnTo>
                  <a:lnTo>
                    <a:pt x="121" y="5"/>
                  </a:lnTo>
                  <a:lnTo>
                    <a:pt x="123" y="5"/>
                  </a:lnTo>
                  <a:lnTo>
                    <a:pt x="123" y="8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9" y="13"/>
                  </a:lnTo>
                  <a:lnTo>
                    <a:pt x="129" y="16"/>
                  </a:lnTo>
                  <a:lnTo>
                    <a:pt x="126" y="16"/>
                  </a:lnTo>
                  <a:lnTo>
                    <a:pt x="126" y="19"/>
                  </a:lnTo>
                  <a:lnTo>
                    <a:pt x="123" y="19"/>
                  </a:lnTo>
                  <a:lnTo>
                    <a:pt x="126" y="21"/>
                  </a:lnTo>
                  <a:lnTo>
                    <a:pt x="126" y="24"/>
                  </a:lnTo>
                  <a:lnTo>
                    <a:pt x="126" y="27"/>
                  </a:lnTo>
                  <a:lnTo>
                    <a:pt x="126" y="29"/>
                  </a:lnTo>
                  <a:lnTo>
                    <a:pt x="126" y="32"/>
                  </a:lnTo>
                  <a:lnTo>
                    <a:pt x="123" y="35"/>
                  </a:lnTo>
                  <a:lnTo>
                    <a:pt x="121" y="37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3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1" y="45"/>
                  </a:lnTo>
                  <a:lnTo>
                    <a:pt x="121" y="48"/>
                  </a:lnTo>
                  <a:lnTo>
                    <a:pt x="121" y="51"/>
                  </a:lnTo>
                  <a:lnTo>
                    <a:pt x="118" y="51"/>
                  </a:lnTo>
                  <a:lnTo>
                    <a:pt x="118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3" y="56"/>
                  </a:lnTo>
                  <a:lnTo>
                    <a:pt x="113" y="56"/>
                  </a:lnTo>
                  <a:lnTo>
                    <a:pt x="110" y="56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5" name="Freeform 8820">
              <a:extLst>
                <a:ext uri="{FF2B5EF4-FFF2-40B4-BE49-F238E27FC236}">
                  <a16:creationId xmlns:a16="http://schemas.microsoft.com/office/drawing/2014/main" id="{4E65CAA7-F7ED-FC4B-AA90-F88A07EB16AD}"/>
                </a:ext>
              </a:extLst>
            </p:cNvPr>
            <p:cNvSpPr/>
            <p:nvPr/>
          </p:nvSpPr>
          <p:spPr bwMode="auto">
            <a:xfrm>
              <a:off x="4688679" y="2730502"/>
              <a:ext cx="17463" cy="20638"/>
            </a:xfrm>
            <a:custGeom>
              <a:avLst/>
              <a:gdLst>
                <a:gd name="T0" fmla="*/ 0 w 11"/>
                <a:gd name="T1" fmla="*/ 0 h 13"/>
                <a:gd name="T2" fmla="*/ 0 w 11"/>
                <a:gd name="T3" fmla="*/ 2 h 13"/>
                <a:gd name="T4" fmla="*/ 0 w 11"/>
                <a:gd name="T5" fmla="*/ 2 h 13"/>
                <a:gd name="T6" fmla="*/ 0 w 11"/>
                <a:gd name="T7" fmla="*/ 5 h 13"/>
                <a:gd name="T8" fmla="*/ 0 w 11"/>
                <a:gd name="T9" fmla="*/ 8 h 13"/>
                <a:gd name="T10" fmla="*/ 3 w 11"/>
                <a:gd name="T11" fmla="*/ 8 h 13"/>
                <a:gd name="T12" fmla="*/ 3 w 11"/>
                <a:gd name="T13" fmla="*/ 10 h 13"/>
                <a:gd name="T14" fmla="*/ 3 w 11"/>
                <a:gd name="T15" fmla="*/ 10 h 13"/>
                <a:gd name="T16" fmla="*/ 3 w 11"/>
                <a:gd name="T17" fmla="*/ 13 h 13"/>
                <a:gd name="T18" fmla="*/ 5 w 11"/>
                <a:gd name="T19" fmla="*/ 13 h 13"/>
                <a:gd name="T20" fmla="*/ 5 w 11"/>
                <a:gd name="T21" fmla="*/ 13 h 13"/>
                <a:gd name="T22" fmla="*/ 5 w 11"/>
                <a:gd name="T23" fmla="*/ 10 h 13"/>
                <a:gd name="T24" fmla="*/ 8 w 11"/>
                <a:gd name="T25" fmla="*/ 10 h 13"/>
                <a:gd name="T26" fmla="*/ 8 w 11"/>
                <a:gd name="T27" fmla="*/ 10 h 13"/>
                <a:gd name="T28" fmla="*/ 11 w 11"/>
                <a:gd name="T29" fmla="*/ 10 h 13"/>
                <a:gd name="T30" fmla="*/ 11 w 11"/>
                <a:gd name="T31" fmla="*/ 8 h 13"/>
                <a:gd name="T32" fmla="*/ 11 w 11"/>
                <a:gd name="T33" fmla="*/ 8 h 13"/>
                <a:gd name="T34" fmla="*/ 11 w 11"/>
                <a:gd name="T35" fmla="*/ 8 h 13"/>
                <a:gd name="T36" fmla="*/ 11 w 11"/>
                <a:gd name="T37" fmla="*/ 8 h 13"/>
                <a:gd name="T38" fmla="*/ 8 w 11"/>
                <a:gd name="T39" fmla="*/ 8 h 13"/>
                <a:gd name="T40" fmla="*/ 8 w 11"/>
                <a:gd name="T41" fmla="*/ 8 h 13"/>
                <a:gd name="T42" fmla="*/ 8 w 11"/>
                <a:gd name="T43" fmla="*/ 8 h 13"/>
                <a:gd name="T44" fmla="*/ 8 w 11"/>
                <a:gd name="T45" fmla="*/ 8 h 13"/>
                <a:gd name="T46" fmla="*/ 8 w 11"/>
                <a:gd name="T47" fmla="*/ 8 h 13"/>
                <a:gd name="T48" fmla="*/ 8 w 11"/>
                <a:gd name="T49" fmla="*/ 5 h 13"/>
                <a:gd name="T50" fmla="*/ 8 w 11"/>
                <a:gd name="T51" fmla="*/ 5 h 13"/>
                <a:gd name="T52" fmla="*/ 8 w 11"/>
                <a:gd name="T53" fmla="*/ 5 h 13"/>
                <a:gd name="T54" fmla="*/ 5 w 11"/>
                <a:gd name="T55" fmla="*/ 5 h 13"/>
                <a:gd name="T56" fmla="*/ 5 w 11"/>
                <a:gd name="T57" fmla="*/ 5 h 13"/>
                <a:gd name="T58" fmla="*/ 3 w 11"/>
                <a:gd name="T59" fmla="*/ 5 h 13"/>
                <a:gd name="T60" fmla="*/ 3 w 11"/>
                <a:gd name="T61" fmla="*/ 2 h 13"/>
                <a:gd name="T62" fmla="*/ 3 w 11"/>
                <a:gd name="T63" fmla="*/ 2 h 13"/>
                <a:gd name="T64" fmla="*/ 3 w 11"/>
                <a:gd name="T65" fmla="*/ 2 h 13"/>
                <a:gd name="T66" fmla="*/ 3 w 11"/>
                <a:gd name="T67" fmla="*/ 2 h 13"/>
                <a:gd name="T68" fmla="*/ 0 w 11"/>
                <a:gd name="T6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" h="13" extrusionOk="0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1" y="10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6" name="Freeform 8821">
              <a:extLst>
                <a:ext uri="{FF2B5EF4-FFF2-40B4-BE49-F238E27FC236}">
                  <a16:creationId xmlns:a16="http://schemas.microsoft.com/office/drawing/2014/main" id="{9FAF6992-5E39-6047-AABA-7E838A376EEC}"/>
                </a:ext>
              </a:extLst>
            </p:cNvPr>
            <p:cNvSpPr/>
            <p:nvPr/>
          </p:nvSpPr>
          <p:spPr bwMode="auto">
            <a:xfrm>
              <a:off x="4722017" y="2543177"/>
              <a:ext cx="17463" cy="33338"/>
            </a:xfrm>
            <a:custGeom>
              <a:avLst/>
              <a:gdLst>
                <a:gd name="T0" fmla="*/ 8 w 11"/>
                <a:gd name="T1" fmla="*/ 0 h 21"/>
                <a:gd name="T2" fmla="*/ 8 w 11"/>
                <a:gd name="T3" fmla="*/ 0 h 21"/>
                <a:gd name="T4" fmla="*/ 6 w 11"/>
                <a:gd name="T5" fmla="*/ 3 h 21"/>
                <a:gd name="T6" fmla="*/ 3 w 11"/>
                <a:gd name="T7" fmla="*/ 5 h 21"/>
                <a:gd name="T8" fmla="*/ 3 w 11"/>
                <a:gd name="T9" fmla="*/ 5 h 21"/>
                <a:gd name="T10" fmla="*/ 0 w 11"/>
                <a:gd name="T11" fmla="*/ 8 h 21"/>
                <a:gd name="T12" fmla="*/ 0 w 11"/>
                <a:gd name="T13" fmla="*/ 8 h 21"/>
                <a:gd name="T14" fmla="*/ 0 w 11"/>
                <a:gd name="T15" fmla="*/ 11 h 21"/>
                <a:gd name="T16" fmla="*/ 0 w 11"/>
                <a:gd name="T17" fmla="*/ 11 h 21"/>
                <a:gd name="T18" fmla="*/ 3 w 11"/>
                <a:gd name="T19" fmla="*/ 13 h 21"/>
                <a:gd name="T20" fmla="*/ 3 w 11"/>
                <a:gd name="T21" fmla="*/ 13 h 21"/>
                <a:gd name="T22" fmla="*/ 3 w 11"/>
                <a:gd name="T23" fmla="*/ 16 h 21"/>
                <a:gd name="T24" fmla="*/ 3 w 11"/>
                <a:gd name="T25" fmla="*/ 19 h 21"/>
                <a:gd name="T26" fmla="*/ 6 w 11"/>
                <a:gd name="T27" fmla="*/ 19 h 21"/>
                <a:gd name="T28" fmla="*/ 6 w 11"/>
                <a:gd name="T29" fmla="*/ 19 h 21"/>
                <a:gd name="T30" fmla="*/ 6 w 11"/>
                <a:gd name="T31" fmla="*/ 21 h 21"/>
                <a:gd name="T32" fmla="*/ 6 w 11"/>
                <a:gd name="T33" fmla="*/ 21 h 21"/>
                <a:gd name="T34" fmla="*/ 6 w 11"/>
                <a:gd name="T35" fmla="*/ 21 h 21"/>
                <a:gd name="T36" fmla="*/ 6 w 11"/>
                <a:gd name="T37" fmla="*/ 19 h 21"/>
                <a:gd name="T38" fmla="*/ 6 w 11"/>
                <a:gd name="T39" fmla="*/ 16 h 21"/>
                <a:gd name="T40" fmla="*/ 6 w 11"/>
                <a:gd name="T41" fmla="*/ 13 h 21"/>
                <a:gd name="T42" fmla="*/ 8 w 11"/>
                <a:gd name="T43" fmla="*/ 11 h 21"/>
                <a:gd name="T44" fmla="*/ 8 w 11"/>
                <a:gd name="T45" fmla="*/ 11 h 21"/>
                <a:gd name="T46" fmla="*/ 8 w 11"/>
                <a:gd name="T47" fmla="*/ 8 h 21"/>
                <a:gd name="T48" fmla="*/ 8 w 11"/>
                <a:gd name="T49" fmla="*/ 8 h 21"/>
                <a:gd name="T50" fmla="*/ 8 w 11"/>
                <a:gd name="T51" fmla="*/ 8 h 21"/>
                <a:gd name="T52" fmla="*/ 11 w 11"/>
                <a:gd name="T53" fmla="*/ 5 h 21"/>
                <a:gd name="T54" fmla="*/ 8 w 11"/>
                <a:gd name="T55" fmla="*/ 3 h 21"/>
                <a:gd name="T56" fmla="*/ 8 w 11"/>
                <a:gd name="T57" fmla="*/ 3 h 21"/>
                <a:gd name="T58" fmla="*/ 8 w 11"/>
                <a:gd name="T59" fmla="*/ 0 h 21"/>
                <a:gd name="T60" fmla="*/ 8 w 11"/>
                <a:gd name="T61" fmla="*/ 0 h 21"/>
                <a:gd name="T62" fmla="*/ 8 w 11"/>
                <a:gd name="T63" fmla="*/ 0 h 21"/>
                <a:gd name="T64" fmla="*/ 8 w 11"/>
                <a:gd name="T65" fmla="*/ 0 h 21"/>
                <a:gd name="T66" fmla="*/ 8 w 11"/>
                <a:gd name="T6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" h="21" extrusionOk="0">
                  <a:moveTo>
                    <a:pt x="8" y="0"/>
                  </a:moveTo>
                  <a:lnTo>
                    <a:pt x="8" y="0"/>
                  </a:lnTo>
                  <a:lnTo>
                    <a:pt x="6" y="3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1" y="5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7" name="Freeform 8822">
              <a:extLst>
                <a:ext uri="{FF2B5EF4-FFF2-40B4-BE49-F238E27FC236}">
                  <a16:creationId xmlns:a16="http://schemas.microsoft.com/office/drawing/2014/main" id="{BB86A011-73E6-744B-AEF1-5287FAB943E6}"/>
                </a:ext>
              </a:extLst>
            </p:cNvPr>
            <p:cNvSpPr/>
            <p:nvPr/>
          </p:nvSpPr>
          <p:spPr bwMode="auto">
            <a:xfrm>
              <a:off x="4722017" y="2500315"/>
              <a:ext cx="12700" cy="50799"/>
            </a:xfrm>
            <a:custGeom>
              <a:avLst/>
              <a:gdLst>
                <a:gd name="T0" fmla="*/ 8 w 8"/>
                <a:gd name="T1" fmla="*/ 0 h 32"/>
                <a:gd name="T2" fmla="*/ 8 w 8"/>
                <a:gd name="T3" fmla="*/ 3 h 32"/>
                <a:gd name="T4" fmla="*/ 6 w 8"/>
                <a:gd name="T5" fmla="*/ 6 h 32"/>
                <a:gd name="T6" fmla="*/ 6 w 8"/>
                <a:gd name="T7" fmla="*/ 11 h 32"/>
                <a:gd name="T8" fmla="*/ 3 w 8"/>
                <a:gd name="T9" fmla="*/ 14 h 32"/>
                <a:gd name="T10" fmla="*/ 0 w 8"/>
                <a:gd name="T11" fmla="*/ 16 h 32"/>
                <a:gd name="T12" fmla="*/ 0 w 8"/>
                <a:gd name="T13" fmla="*/ 19 h 32"/>
                <a:gd name="T14" fmla="*/ 0 w 8"/>
                <a:gd name="T15" fmla="*/ 22 h 32"/>
                <a:gd name="T16" fmla="*/ 0 w 8"/>
                <a:gd name="T17" fmla="*/ 24 h 32"/>
                <a:gd name="T18" fmla="*/ 0 w 8"/>
                <a:gd name="T19" fmla="*/ 27 h 32"/>
                <a:gd name="T20" fmla="*/ 0 w 8"/>
                <a:gd name="T21" fmla="*/ 27 h 32"/>
                <a:gd name="T22" fmla="*/ 0 w 8"/>
                <a:gd name="T23" fmla="*/ 30 h 32"/>
                <a:gd name="T24" fmla="*/ 0 w 8"/>
                <a:gd name="T25" fmla="*/ 30 h 32"/>
                <a:gd name="T26" fmla="*/ 0 w 8"/>
                <a:gd name="T27" fmla="*/ 32 h 32"/>
                <a:gd name="T28" fmla="*/ 3 w 8"/>
                <a:gd name="T29" fmla="*/ 30 h 32"/>
                <a:gd name="T30" fmla="*/ 6 w 8"/>
                <a:gd name="T31" fmla="*/ 27 h 32"/>
                <a:gd name="T32" fmla="*/ 6 w 8"/>
                <a:gd name="T33" fmla="*/ 24 h 32"/>
                <a:gd name="T34" fmla="*/ 6 w 8"/>
                <a:gd name="T35" fmla="*/ 22 h 32"/>
                <a:gd name="T36" fmla="*/ 6 w 8"/>
                <a:gd name="T37" fmla="*/ 19 h 32"/>
                <a:gd name="T38" fmla="*/ 6 w 8"/>
                <a:gd name="T39" fmla="*/ 16 h 32"/>
                <a:gd name="T40" fmla="*/ 6 w 8"/>
                <a:gd name="T41" fmla="*/ 14 h 32"/>
                <a:gd name="T42" fmla="*/ 8 w 8"/>
                <a:gd name="T43" fmla="*/ 11 h 32"/>
                <a:gd name="T44" fmla="*/ 8 w 8"/>
                <a:gd name="T45" fmla="*/ 8 h 32"/>
                <a:gd name="T46" fmla="*/ 8 w 8"/>
                <a:gd name="T47" fmla="*/ 8 h 32"/>
                <a:gd name="T48" fmla="*/ 8 w 8"/>
                <a:gd name="T49" fmla="*/ 6 h 32"/>
                <a:gd name="T50" fmla="*/ 8 w 8"/>
                <a:gd name="T51" fmla="*/ 3 h 32"/>
                <a:gd name="T52" fmla="*/ 8 w 8"/>
                <a:gd name="T53" fmla="*/ 3 h 32"/>
                <a:gd name="T54" fmla="*/ 8 w 8"/>
                <a:gd name="T55" fmla="*/ 3 h 32"/>
                <a:gd name="T56" fmla="*/ 8 w 8"/>
                <a:gd name="T57" fmla="*/ 0 h 32"/>
                <a:gd name="T58" fmla="*/ 8 w 8"/>
                <a:gd name="T5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" h="32" extrusionOk="0">
                  <a:moveTo>
                    <a:pt x="8" y="0"/>
                  </a:moveTo>
                  <a:lnTo>
                    <a:pt x="8" y="3"/>
                  </a:lnTo>
                  <a:lnTo>
                    <a:pt x="6" y="6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3" y="30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6" y="19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8" name="Freeform 8823">
              <a:extLst>
                <a:ext uri="{FF2B5EF4-FFF2-40B4-BE49-F238E27FC236}">
                  <a16:creationId xmlns:a16="http://schemas.microsoft.com/office/drawing/2014/main" id="{2643D99A-D000-7F42-BCA7-045C18AE64C7}"/>
                </a:ext>
              </a:extLst>
            </p:cNvPr>
            <p:cNvSpPr/>
            <p:nvPr/>
          </p:nvSpPr>
          <p:spPr bwMode="auto">
            <a:xfrm>
              <a:off x="4696616" y="2717801"/>
              <a:ext cx="22225" cy="25400"/>
            </a:xfrm>
            <a:custGeom>
              <a:avLst/>
              <a:gdLst>
                <a:gd name="T0" fmla="*/ 0 w 14"/>
                <a:gd name="T1" fmla="*/ 8 h 16"/>
                <a:gd name="T2" fmla="*/ 0 w 14"/>
                <a:gd name="T3" fmla="*/ 8 h 16"/>
                <a:gd name="T4" fmla="*/ 0 w 14"/>
                <a:gd name="T5" fmla="*/ 5 h 16"/>
                <a:gd name="T6" fmla="*/ 0 w 14"/>
                <a:gd name="T7" fmla="*/ 5 h 16"/>
                <a:gd name="T8" fmla="*/ 3 w 14"/>
                <a:gd name="T9" fmla="*/ 5 h 16"/>
                <a:gd name="T10" fmla="*/ 3 w 14"/>
                <a:gd name="T11" fmla="*/ 2 h 16"/>
                <a:gd name="T12" fmla="*/ 6 w 14"/>
                <a:gd name="T13" fmla="*/ 2 h 16"/>
                <a:gd name="T14" fmla="*/ 6 w 14"/>
                <a:gd name="T15" fmla="*/ 0 h 16"/>
                <a:gd name="T16" fmla="*/ 8 w 14"/>
                <a:gd name="T17" fmla="*/ 0 h 16"/>
                <a:gd name="T18" fmla="*/ 8 w 14"/>
                <a:gd name="T19" fmla="*/ 0 h 16"/>
                <a:gd name="T20" fmla="*/ 11 w 14"/>
                <a:gd name="T21" fmla="*/ 0 h 16"/>
                <a:gd name="T22" fmla="*/ 11 w 14"/>
                <a:gd name="T23" fmla="*/ 0 h 16"/>
                <a:gd name="T24" fmla="*/ 11 w 14"/>
                <a:gd name="T25" fmla="*/ 0 h 16"/>
                <a:gd name="T26" fmla="*/ 14 w 14"/>
                <a:gd name="T27" fmla="*/ 0 h 16"/>
                <a:gd name="T28" fmla="*/ 14 w 14"/>
                <a:gd name="T29" fmla="*/ 0 h 16"/>
                <a:gd name="T30" fmla="*/ 14 w 14"/>
                <a:gd name="T31" fmla="*/ 0 h 16"/>
                <a:gd name="T32" fmla="*/ 14 w 14"/>
                <a:gd name="T33" fmla="*/ 2 h 16"/>
                <a:gd name="T34" fmla="*/ 14 w 14"/>
                <a:gd name="T35" fmla="*/ 2 h 16"/>
                <a:gd name="T36" fmla="*/ 14 w 14"/>
                <a:gd name="T37" fmla="*/ 5 h 16"/>
                <a:gd name="T38" fmla="*/ 14 w 14"/>
                <a:gd name="T39" fmla="*/ 5 h 16"/>
                <a:gd name="T40" fmla="*/ 14 w 14"/>
                <a:gd name="T41" fmla="*/ 8 h 16"/>
                <a:gd name="T42" fmla="*/ 11 w 14"/>
                <a:gd name="T43" fmla="*/ 8 h 16"/>
                <a:gd name="T44" fmla="*/ 11 w 14"/>
                <a:gd name="T45" fmla="*/ 10 h 16"/>
                <a:gd name="T46" fmla="*/ 11 w 14"/>
                <a:gd name="T47" fmla="*/ 10 h 16"/>
                <a:gd name="T48" fmla="*/ 8 w 14"/>
                <a:gd name="T49" fmla="*/ 10 h 16"/>
                <a:gd name="T50" fmla="*/ 8 w 14"/>
                <a:gd name="T51" fmla="*/ 13 h 16"/>
                <a:gd name="T52" fmla="*/ 8 w 14"/>
                <a:gd name="T53" fmla="*/ 13 h 16"/>
                <a:gd name="T54" fmla="*/ 8 w 14"/>
                <a:gd name="T55" fmla="*/ 13 h 16"/>
                <a:gd name="T56" fmla="*/ 8 w 14"/>
                <a:gd name="T57" fmla="*/ 13 h 16"/>
                <a:gd name="T58" fmla="*/ 6 w 14"/>
                <a:gd name="T59" fmla="*/ 13 h 16"/>
                <a:gd name="T60" fmla="*/ 6 w 14"/>
                <a:gd name="T61" fmla="*/ 16 h 16"/>
                <a:gd name="T62" fmla="*/ 6 w 14"/>
                <a:gd name="T63" fmla="*/ 16 h 16"/>
                <a:gd name="T64" fmla="*/ 6 w 14"/>
                <a:gd name="T65" fmla="*/ 13 h 16"/>
                <a:gd name="T66" fmla="*/ 6 w 14"/>
                <a:gd name="T67" fmla="*/ 13 h 16"/>
                <a:gd name="T68" fmla="*/ 6 w 14"/>
                <a:gd name="T69" fmla="*/ 13 h 16"/>
                <a:gd name="T70" fmla="*/ 3 w 14"/>
                <a:gd name="T71" fmla="*/ 13 h 16"/>
                <a:gd name="T72" fmla="*/ 3 w 14"/>
                <a:gd name="T73" fmla="*/ 13 h 16"/>
                <a:gd name="T74" fmla="*/ 3 w 14"/>
                <a:gd name="T75" fmla="*/ 13 h 16"/>
                <a:gd name="T76" fmla="*/ 3 w 14"/>
                <a:gd name="T77" fmla="*/ 10 h 16"/>
                <a:gd name="T78" fmla="*/ 3 w 14"/>
                <a:gd name="T79" fmla="*/ 10 h 16"/>
                <a:gd name="T80" fmla="*/ 0 w 14"/>
                <a:gd name="T81" fmla="*/ 10 h 16"/>
                <a:gd name="T82" fmla="*/ 0 w 14"/>
                <a:gd name="T83" fmla="*/ 10 h 16"/>
                <a:gd name="T84" fmla="*/ 0 w 14"/>
                <a:gd name="T85" fmla="*/ 10 h 16"/>
                <a:gd name="T86" fmla="*/ 0 w 14"/>
                <a:gd name="T87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" h="16" extrusionOk="0">
                  <a:moveTo>
                    <a:pt x="0" y="8"/>
                  </a:move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09" name="Freeform 8824">
              <a:extLst>
                <a:ext uri="{FF2B5EF4-FFF2-40B4-BE49-F238E27FC236}">
                  <a16:creationId xmlns:a16="http://schemas.microsoft.com/office/drawing/2014/main" id="{AACE45AD-D80D-5E49-B51F-01B199754BE1}"/>
                </a:ext>
              </a:extLst>
            </p:cNvPr>
            <p:cNvSpPr/>
            <p:nvPr/>
          </p:nvSpPr>
          <p:spPr bwMode="auto">
            <a:xfrm>
              <a:off x="5485604" y="2289178"/>
              <a:ext cx="50800" cy="66675"/>
            </a:xfrm>
            <a:custGeom>
              <a:avLst/>
              <a:gdLst>
                <a:gd name="T0" fmla="*/ 27 w 32"/>
                <a:gd name="T1" fmla="*/ 0 h 42"/>
                <a:gd name="T2" fmla="*/ 27 w 32"/>
                <a:gd name="T3" fmla="*/ 2 h 42"/>
                <a:gd name="T4" fmla="*/ 29 w 32"/>
                <a:gd name="T5" fmla="*/ 8 h 42"/>
                <a:gd name="T6" fmla="*/ 29 w 32"/>
                <a:gd name="T7" fmla="*/ 10 h 42"/>
                <a:gd name="T8" fmla="*/ 29 w 32"/>
                <a:gd name="T9" fmla="*/ 16 h 42"/>
                <a:gd name="T10" fmla="*/ 32 w 32"/>
                <a:gd name="T11" fmla="*/ 18 h 42"/>
                <a:gd name="T12" fmla="*/ 32 w 32"/>
                <a:gd name="T13" fmla="*/ 21 h 42"/>
                <a:gd name="T14" fmla="*/ 32 w 32"/>
                <a:gd name="T15" fmla="*/ 21 h 42"/>
                <a:gd name="T16" fmla="*/ 29 w 32"/>
                <a:gd name="T17" fmla="*/ 21 h 42"/>
                <a:gd name="T18" fmla="*/ 32 w 32"/>
                <a:gd name="T19" fmla="*/ 21 h 42"/>
                <a:gd name="T20" fmla="*/ 32 w 32"/>
                <a:gd name="T21" fmla="*/ 24 h 42"/>
                <a:gd name="T22" fmla="*/ 32 w 32"/>
                <a:gd name="T23" fmla="*/ 26 h 42"/>
                <a:gd name="T24" fmla="*/ 29 w 32"/>
                <a:gd name="T25" fmla="*/ 29 h 42"/>
                <a:gd name="T26" fmla="*/ 29 w 32"/>
                <a:gd name="T27" fmla="*/ 29 h 42"/>
                <a:gd name="T28" fmla="*/ 32 w 32"/>
                <a:gd name="T29" fmla="*/ 32 h 42"/>
                <a:gd name="T30" fmla="*/ 29 w 32"/>
                <a:gd name="T31" fmla="*/ 34 h 42"/>
                <a:gd name="T32" fmla="*/ 29 w 32"/>
                <a:gd name="T33" fmla="*/ 37 h 42"/>
                <a:gd name="T34" fmla="*/ 29 w 32"/>
                <a:gd name="T35" fmla="*/ 40 h 42"/>
                <a:gd name="T36" fmla="*/ 29 w 32"/>
                <a:gd name="T37" fmla="*/ 42 h 42"/>
                <a:gd name="T38" fmla="*/ 29 w 32"/>
                <a:gd name="T39" fmla="*/ 42 h 42"/>
                <a:gd name="T40" fmla="*/ 27 w 32"/>
                <a:gd name="T41" fmla="*/ 42 h 42"/>
                <a:gd name="T42" fmla="*/ 24 w 32"/>
                <a:gd name="T43" fmla="*/ 42 h 42"/>
                <a:gd name="T44" fmla="*/ 21 w 32"/>
                <a:gd name="T45" fmla="*/ 42 h 42"/>
                <a:gd name="T46" fmla="*/ 19 w 32"/>
                <a:gd name="T47" fmla="*/ 40 h 42"/>
                <a:gd name="T48" fmla="*/ 16 w 32"/>
                <a:gd name="T49" fmla="*/ 40 h 42"/>
                <a:gd name="T50" fmla="*/ 13 w 32"/>
                <a:gd name="T51" fmla="*/ 40 h 42"/>
                <a:gd name="T52" fmla="*/ 11 w 32"/>
                <a:gd name="T53" fmla="*/ 37 h 42"/>
                <a:gd name="T54" fmla="*/ 8 w 32"/>
                <a:gd name="T55" fmla="*/ 37 h 42"/>
                <a:gd name="T56" fmla="*/ 8 w 32"/>
                <a:gd name="T57" fmla="*/ 37 h 42"/>
                <a:gd name="T58" fmla="*/ 5 w 32"/>
                <a:gd name="T59" fmla="*/ 32 h 42"/>
                <a:gd name="T60" fmla="*/ 5 w 32"/>
                <a:gd name="T61" fmla="*/ 29 h 42"/>
                <a:gd name="T62" fmla="*/ 3 w 32"/>
                <a:gd name="T63" fmla="*/ 29 h 42"/>
                <a:gd name="T64" fmla="*/ 3 w 32"/>
                <a:gd name="T65" fmla="*/ 26 h 42"/>
                <a:gd name="T66" fmla="*/ 3 w 32"/>
                <a:gd name="T67" fmla="*/ 26 h 42"/>
                <a:gd name="T68" fmla="*/ 0 w 32"/>
                <a:gd name="T69" fmla="*/ 24 h 42"/>
                <a:gd name="T70" fmla="*/ 0 w 32"/>
                <a:gd name="T71" fmla="*/ 24 h 42"/>
                <a:gd name="T72" fmla="*/ 0 w 32"/>
                <a:gd name="T73" fmla="*/ 26 h 42"/>
                <a:gd name="T74" fmla="*/ 0 w 32"/>
                <a:gd name="T75" fmla="*/ 26 h 42"/>
                <a:gd name="T76" fmla="*/ 0 w 32"/>
                <a:gd name="T77" fmla="*/ 24 h 42"/>
                <a:gd name="T78" fmla="*/ 3 w 32"/>
                <a:gd name="T79" fmla="*/ 18 h 42"/>
                <a:gd name="T80" fmla="*/ 5 w 32"/>
                <a:gd name="T81" fmla="*/ 16 h 42"/>
                <a:gd name="T82" fmla="*/ 8 w 32"/>
                <a:gd name="T83" fmla="*/ 13 h 42"/>
                <a:gd name="T84" fmla="*/ 13 w 32"/>
                <a:gd name="T85" fmla="*/ 10 h 42"/>
                <a:gd name="T86" fmla="*/ 16 w 32"/>
                <a:gd name="T87" fmla="*/ 8 h 42"/>
                <a:gd name="T88" fmla="*/ 19 w 32"/>
                <a:gd name="T89" fmla="*/ 5 h 42"/>
                <a:gd name="T90" fmla="*/ 19 w 32"/>
                <a:gd name="T91" fmla="*/ 2 h 42"/>
                <a:gd name="T92" fmla="*/ 21 w 32"/>
                <a:gd name="T93" fmla="*/ 0 h 42"/>
                <a:gd name="T94" fmla="*/ 24 w 32"/>
                <a:gd name="T95" fmla="*/ 0 h 42"/>
                <a:gd name="T96" fmla="*/ 24 w 32"/>
                <a:gd name="T9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" h="42" extrusionOk="0">
                  <a:moveTo>
                    <a:pt x="24" y="0"/>
                  </a:move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3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9" y="32"/>
                  </a:lnTo>
                  <a:lnTo>
                    <a:pt x="29" y="34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2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5" y="16"/>
                  </a:lnTo>
                  <a:lnTo>
                    <a:pt x="8" y="16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0" name="Freeform 8825">
              <a:extLst>
                <a:ext uri="{FF2B5EF4-FFF2-40B4-BE49-F238E27FC236}">
                  <a16:creationId xmlns:a16="http://schemas.microsoft.com/office/drawing/2014/main" id="{5C854935-573C-4648-9A45-AAD6519B1048}"/>
                </a:ext>
              </a:extLst>
            </p:cNvPr>
            <p:cNvSpPr/>
            <p:nvPr/>
          </p:nvSpPr>
          <p:spPr bwMode="auto">
            <a:xfrm>
              <a:off x="5376066" y="2352678"/>
              <a:ext cx="84138" cy="58738"/>
            </a:xfrm>
            <a:custGeom>
              <a:avLst/>
              <a:gdLst>
                <a:gd name="T0" fmla="*/ 53 w 53"/>
                <a:gd name="T1" fmla="*/ 24 h 37"/>
                <a:gd name="T2" fmla="*/ 50 w 53"/>
                <a:gd name="T3" fmla="*/ 24 h 37"/>
                <a:gd name="T4" fmla="*/ 48 w 53"/>
                <a:gd name="T5" fmla="*/ 24 h 37"/>
                <a:gd name="T6" fmla="*/ 45 w 53"/>
                <a:gd name="T7" fmla="*/ 26 h 37"/>
                <a:gd name="T8" fmla="*/ 42 w 53"/>
                <a:gd name="T9" fmla="*/ 29 h 37"/>
                <a:gd name="T10" fmla="*/ 40 w 53"/>
                <a:gd name="T11" fmla="*/ 29 h 37"/>
                <a:gd name="T12" fmla="*/ 37 w 53"/>
                <a:gd name="T13" fmla="*/ 32 h 37"/>
                <a:gd name="T14" fmla="*/ 34 w 53"/>
                <a:gd name="T15" fmla="*/ 34 h 37"/>
                <a:gd name="T16" fmla="*/ 32 w 53"/>
                <a:gd name="T17" fmla="*/ 34 h 37"/>
                <a:gd name="T18" fmla="*/ 32 w 53"/>
                <a:gd name="T19" fmla="*/ 37 h 37"/>
                <a:gd name="T20" fmla="*/ 29 w 53"/>
                <a:gd name="T21" fmla="*/ 37 h 37"/>
                <a:gd name="T22" fmla="*/ 26 w 53"/>
                <a:gd name="T23" fmla="*/ 37 h 37"/>
                <a:gd name="T24" fmla="*/ 21 w 53"/>
                <a:gd name="T25" fmla="*/ 37 h 37"/>
                <a:gd name="T26" fmla="*/ 18 w 53"/>
                <a:gd name="T27" fmla="*/ 34 h 37"/>
                <a:gd name="T28" fmla="*/ 16 w 53"/>
                <a:gd name="T29" fmla="*/ 34 h 37"/>
                <a:gd name="T30" fmla="*/ 10 w 53"/>
                <a:gd name="T31" fmla="*/ 34 h 37"/>
                <a:gd name="T32" fmla="*/ 8 w 53"/>
                <a:gd name="T33" fmla="*/ 34 h 37"/>
                <a:gd name="T34" fmla="*/ 5 w 53"/>
                <a:gd name="T35" fmla="*/ 34 h 37"/>
                <a:gd name="T36" fmla="*/ 2 w 53"/>
                <a:gd name="T37" fmla="*/ 32 h 37"/>
                <a:gd name="T38" fmla="*/ 2 w 53"/>
                <a:gd name="T39" fmla="*/ 34 h 37"/>
                <a:gd name="T40" fmla="*/ 0 w 53"/>
                <a:gd name="T41" fmla="*/ 29 h 37"/>
                <a:gd name="T42" fmla="*/ 2 w 53"/>
                <a:gd name="T43" fmla="*/ 24 h 37"/>
                <a:gd name="T44" fmla="*/ 8 w 53"/>
                <a:gd name="T45" fmla="*/ 21 h 37"/>
                <a:gd name="T46" fmla="*/ 8 w 53"/>
                <a:gd name="T47" fmla="*/ 21 h 37"/>
                <a:gd name="T48" fmla="*/ 13 w 53"/>
                <a:gd name="T49" fmla="*/ 21 h 37"/>
                <a:gd name="T50" fmla="*/ 16 w 53"/>
                <a:gd name="T51" fmla="*/ 18 h 37"/>
                <a:gd name="T52" fmla="*/ 16 w 53"/>
                <a:gd name="T53" fmla="*/ 16 h 37"/>
                <a:gd name="T54" fmla="*/ 16 w 53"/>
                <a:gd name="T55" fmla="*/ 13 h 37"/>
                <a:gd name="T56" fmla="*/ 18 w 53"/>
                <a:gd name="T57" fmla="*/ 8 h 37"/>
                <a:gd name="T58" fmla="*/ 26 w 53"/>
                <a:gd name="T59" fmla="*/ 5 h 37"/>
                <a:gd name="T60" fmla="*/ 29 w 53"/>
                <a:gd name="T61" fmla="*/ 2 h 37"/>
                <a:gd name="T62" fmla="*/ 34 w 53"/>
                <a:gd name="T63" fmla="*/ 2 h 37"/>
                <a:gd name="T64" fmla="*/ 40 w 53"/>
                <a:gd name="T65" fmla="*/ 5 h 37"/>
                <a:gd name="T66" fmla="*/ 45 w 53"/>
                <a:gd name="T67" fmla="*/ 5 h 37"/>
                <a:gd name="T68" fmla="*/ 45 w 53"/>
                <a:gd name="T69" fmla="*/ 8 h 37"/>
                <a:gd name="T70" fmla="*/ 50 w 53"/>
                <a:gd name="T71" fmla="*/ 10 h 37"/>
                <a:gd name="T72" fmla="*/ 53 w 53"/>
                <a:gd name="T73" fmla="*/ 10 h 37"/>
                <a:gd name="T74" fmla="*/ 53 w 53"/>
                <a:gd name="T75" fmla="*/ 13 h 37"/>
                <a:gd name="T76" fmla="*/ 53 w 53"/>
                <a:gd name="T77" fmla="*/ 16 h 37"/>
                <a:gd name="T78" fmla="*/ 53 w 53"/>
                <a:gd name="T79" fmla="*/ 18 h 37"/>
                <a:gd name="T80" fmla="*/ 53 w 53"/>
                <a:gd name="T81" fmla="*/ 21 h 37"/>
                <a:gd name="T82" fmla="*/ 53 w 53"/>
                <a:gd name="T83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37" extrusionOk="0">
                  <a:moveTo>
                    <a:pt x="53" y="24"/>
                  </a:moveTo>
                  <a:lnTo>
                    <a:pt x="53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2" y="29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37" y="29"/>
                  </a:lnTo>
                  <a:lnTo>
                    <a:pt x="37" y="32"/>
                  </a:lnTo>
                  <a:lnTo>
                    <a:pt x="34" y="32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6" y="37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6" y="37"/>
                  </a:lnTo>
                  <a:lnTo>
                    <a:pt x="16" y="34"/>
                  </a:lnTo>
                  <a:lnTo>
                    <a:pt x="13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0" y="26"/>
                  </a:lnTo>
                  <a:lnTo>
                    <a:pt x="2" y="24"/>
                  </a:lnTo>
                  <a:lnTo>
                    <a:pt x="5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8" y="10"/>
                  </a:lnTo>
                  <a:lnTo>
                    <a:pt x="18" y="8"/>
                  </a:lnTo>
                  <a:lnTo>
                    <a:pt x="24" y="8"/>
                  </a:lnTo>
                  <a:lnTo>
                    <a:pt x="26" y="5"/>
                  </a:lnTo>
                  <a:lnTo>
                    <a:pt x="26" y="2"/>
                  </a:lnTo>
                  <a:lnTo>
                    <a:pt x="29" y="2"/>
                  </a:lnTo>
                  <a:lnTo>
                    <a:pt x="32" y="0"/>
                  </a:lnTo>
                  <a:lnTo>
                    <a:pt x="34" y="2"/>
                  </a:lnTo>
                  <a:lnTo>
                    <a:pt x="37" y="2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5" y="5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8" y="8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3" y="10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1" name="Freeform 8826">
              <a:extLst>
                <a:ext uri="{FF2B5EF4-FFF2-40B4-BE49-F238E27FC236}">
                  <a16:creationId xmlns:a16="http://schemas.microsoft.com/office/drawing/2014/main" id="{248F7782-8F12-DA47-89F3-130236B68EF3}"/>
                </a:ext>
              </a:extLst>
            </p:cNvPr>
            <p:cNvSpPr/>
            <p:nvPr/>
          </p:nvSpPr>
          <p:spPr bwMode="auto">
            <a:xfrm>
              <a:off x="5257005" y="2228853"/>
              <a:ext cx="42863" cy="50799"/>
            </a:xfrm>
            <a:custGeom>
              <a:avLst/>
              <a:gdLst>
                <a:gd name="T0" fmla="*/ 27 w 27"/>
                <a:gd name="T1" fmla="*/ 11 h 32"/>
                <a:gd name="T2" fmla="*/ 24 w 27"/>
                <a:gd name="T3" fmla="*/ 8 h 32"/>
                <a:gd name="T4" fmla="*/ 21 w 27"/>
                <a:gd name="T5" fmla="*/ 8 h 32"/>
                <a:gd name="T6" fmla="*/ 21 w 27"/>
                <a:gd name="T7" fmla="*/ 8 h 32"/>
                <a:gd name="T8" fmla="*/ 19 w 27"/>
                <a:gd name="T9" fmla="*/ 11 h 32"/>
                <a:gd name="T10" fmla="*/ 19 w 27"/>
                <a:gd name="T11" fmla="*/ 14 h 32"/>
                <a:gd name="T12" fmla="*/ 16 w 27"/>
                <a:gd name="T13" fmla="*/ 19 h 32"/>
                <a:gd name="T14" fmla="*/ 16 w 27"/>
                <a:gd name="T15" fmla="*/ 22 h 32"/>
                <a:gd name="T16" fmla="*/ 16 w 27"/>
                <a:gd name="T17" fmla="*/ 27 h 32"/>
                <a:gd name="T18" fmla="*/ 13 w 27"/>
                <a:gd name="T19" fmla="*/ 30 h 32"/>
                <a:gd name="T20" fmla="*/ 13 w 27"/>
                <a:gd name="T21" fmla="*/ 32 h 32"/>
                <a:gd name="T22" fmla="*/ 11 w 27"/>
                <a:gd name="T23" fmla="*/ 32 h 32"/>
                <a:gd name="T24" fmla="*/ 11 w 27"/>
                <a:gd name="T25" fmla="*/ 30 h 32"/>
                <a:gd name="T26" fmla="*/ 11 w 27"/>
                <a:gd name="T27" fmla="*/ 27 h 32"/>
                <a:gd name="T28" fmla="*/ 11 w 27"/>
                <a:gd name="T29" fmla="*/ 27 h 32"/>
                <a:gd name="T30" fmla="*/ 8 w 27"/>
                <a:gd name="T31" fmla="*/ 27 h 32"/>
                <a:gd name="T32" fmla="*/ 5 w 27"/>
                <a:gd name="T33" fmla="*/ 24 h 32"/>
                <a:gd name="T34" fmla="*/ 5 w 27"/>
                <a:gd name="T35" fmla="*/ 22 h 32"/>
                <a:gd name="T36" fmla="*/ 5 w 27"/>
                <a:gd name="T37" fmla="*/ 19 h 32"/>
                <a:gd name="T38" fmla="*/ 3 w 27"/>
                <a:gd name="T39" fmla="*/ 19 h 32"/>
                <a:gd name="T40" fmla="*/ 0 w 27"/>
                <a:gd name="T41" fmla="*/ 16 h 32"/>
                <a:gd name="T42" fmla="*/ 0 w 27"/>
                <a:gd name="T43" fmla="*/ 11 h 32"/>
                <a:gd name="T44" fmla="*/ 0 w 27"/>
                <a:gd name="T45" fmla="*/ 6 h 32"/>
                <a:gd name="T46" fmla="*/ 5 w 27"/>
                <a:gd name="T47" fmla="*/ 0 h 32"/>
                <a:gd name="T48" fmla="*/ 8 w 27"/>
                <a:gd name="T49" fmla="*/ 0 h 32"/>
                <a:gd name="T50" fmla="*/ 13 w 27"/>
                <a:gd name="T51" fmla="*/ 0 h 32"/>
                <a:gd name="T52" fmla="*/ 19 w 27"/>
                <a:gd name="T53" fmla="*/ 3 h 32"/>
                <a:gd name="T54" fmla="*/ 21 w 27"/>
                <a:gd name="T55" fmla="*/ 3 h 32"/>
                <a:gd name="T56" fmla="*/ 21 w 27"/>
                <a:gd name="T57" fmla="*/ 6 h 32"/>
                <a:gd name="T58" fmla="*/ 24 w 27"/>
                <a:gd name="T59" fmla="*/ 8 h 32"/>
                <a:gd name="T60" fmla="*/ 24 w 27"/>
                <a:gd name="T61" fmla="*/ 8 h 32"/>
                <a:gd name="T62" fmla="*/ 27 w 27"/>
                <a:gd name="T63" fmla="*/ 11 h 32"/>
                <a:gd name="T64" fmla="*/ 27 w 27"/>
                <a:gd name="T65" fmla="*/ 11 h 32"/>
                <a:gd name="T66" fmla="*/ 27 w 27"/>
                <a:gd name="T6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" h="32" extrusionOk="0">
                  <a:moveTo>
                    <a:pt x="27" y="14"/>
                  </a:moveTo>
                  <a:lnTo>
                    <a:pt x="27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9" y="11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6"/>
                  </a:lnTo>
                  <a:lnTo>
                    <a:pt x="3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4"/>
                  </a:lnTo>
                  <a:lnTo>
                    <a:pt x="27" y="1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2" name="Freeform 8827">
              <a:extLst>
                <a:ext uri="{FF2B5EF4-FFF2-40B4-BE49-F238E27FC236}">
                  <a16:creationId xmlns:a16="http://schemas.microsoft.com/office/drawing/2014/main" id="{DEAA169F-69B1-EC4A-9822-0A50E757D5D1}"/>
                </a:ext>
              </a:extLst>
            </p:cNvPr>
            <p:cNvSpPr/>
            <p:nvPr/>
          </p:nvSpPr>
          <p:spPr bwMode="auto">
            <a:xfrm>
              <a:off x="4756942" y="2454276"/>
              <a:ext cx="12700" cy="17463"/>
            </a:xfrm>
            <a:custGeom>
              <a:avLst/>
              <a:gdLst>
                <a:gd name="T0" fmla="*/ 5 w 8"/>
                <a:gd name="T1" fmla="*/ 0 h 11"/>
                <a:gd name="T2" fmla="*/ 8 w 8"/>
                <a:gd name="T3" fmla="*/ 0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5 h 11"/>
                <a:gd name="T12" fmla="*/ 8 w 8"/>
                <a:gd name="T13" fmla="*/ 5 h 11"/>
                <a:gd name="T14" fmla="*/ 8 w 8"/>
                <a:gd name="T15" fmla="*/ 5 h 11"/>
                <a:gd name="T16" fmla="*/ 5 w 8"/>
                <a:gd name="T17" fmla="*/ 5 h 11"/>
                <a:gd name="T18" fmla="*/ 5 w 8"/>
                <a:gd name="T19" fmla="*/ 5 h 11"/>
                <a:gd name="T20" fmla="*/ 5 w 8"/>
                <a:gd name="T21" fmla="*/ 8 h 11"/>
                <a:gd name="T22" fmla="*/ 5 w 8"/>
                <a:gd name="T23" fmla="*/ 11 h 11"/>
                <a:gd name="T24" fmla="*/ 5 w 8"/>
                <a:gd name="T25" fmla="*/ 11 h 11"/>
                <a:gd name="T26" fmla="*/ 2 w 8"/>
                <a:gd name="T27" fmla="*/ 11 h 11"/>
                <a:gd name="T28" fmla="*/ 2 w 8"/>
                <a:gd name="T29" fmla="*/ 11 h 11"/>
                <a:gd name="T30" fmla="*/ 0 w 8"/>
                <a:gd name="T31" fmla="*/ 8 h 11"/>
                <a:gd name="T32" fmla="*/ 0 w 8"/>
                <a:gd name="T33" fmla="*/ 8 h 11"/>
                <a:gd name="T34" fmla="*/ 2 w 8"/>
                <a:gd name="T35" fmla="*/ 5 h 11"/>
                <a:gd name="T36" fmla="*/ 2 w 8"/>
                <a:gd name="T37" fmla="*/ 5 h 11"/>
                <a:gd name="T38" fmla="*/ 5 w 8"/>
                <a:gd name="T39" fmla="*/ 3 h 11"/>
                <a:gd name="T40" fmla="*/ 5 w 8"/>
                <a:gd name="T41" fmla="*/ 3 h 11"/>
                <a:gd name="T42" fmla="*/ 5 w 8"/>
                <a:gd name="T4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11" extrusionOk="0">
                  <a:moveTo>
                    <a:pt x="5" y="0"/>
                  </a:move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3" name="Freeform 8828">
              <a:extLst>
                <a:ext uri="{FF2B5EF4-FFF2-40B4-BE49-F238E27FC236}">
                  <a16:creationId xmlns:a16="http://schemas.microsoft.com/office/drawing/2014/main" id="{A075B9FA-C358-714D-9A55-A5DDF96AF957}"/>
                </a:ext>
              </a:extLst>
            </p:cNvPr>
            <p:cNvSpPr/>
            <p:nvPr/>
          </p:nvSpPr>
          <p:spPr bwMode="auto">
            <a:xfrm>
              <a:off x="5366541" y="2233615"/>
              <a:ext cx="30162" cy="20638"/>
            </a:xfrm>
            <a:custGeom>
              <a:avLst/>
              <a:gdLst>
                <a:gd name="T0" fmla="*/ 0 w 19"/>
                <a:gd name="T1" fmla="*/ 0 h 13"/>
                <a:gd name="T2" fmla="*/ 0 w 19"/>
                <a:gd name="T3" fmla="*/ 0 h 13"/>
                <a:gd name="T4" fmla="*/ 3 w 19"/>
                <a:gd name="T5" fmla="*/ 0 h 13"/>
                <a:gd name="T6" fmla="*/ 3 w 19"/>
                <a:gd name="T7" fmla="*/ 0 h 13"/>
                <a:gd name="T8" fmla="*/ 6 w 19"/>
                <a:gd name="T9" fmla="*/ 3 h 13"/>
                <a:gd name="T10" fmla="*/ 8 w 19"/>
                <a:gd name="T11" fmla="*/ 3 h 13"/>
                <a:gd name="T12" fmla="*/ 8 w 19"/>
                <a:gd name="T13" fmla="*/ 3 h 13"/>
                <a:gd name="T14" fmla="*/ 8 w 19"/>
                <a:gd name="T15" fmla="*/ 5 h 13"/>
                <a:gd name="T16" fmla="*/ 11 w 19"/>
                <a:gd name="T17" fmla="*/ 5 h 13"/>
                <a:gd name="T18" fmla="*/ 11 w 19"/>
                <a:gd name="T19" fmla="*/ 5 h 13"/>
                <a:gd name="T20" fmla="*/ 14 w 19"/>
                <a:gd name="T21" fmla="*/ 5 h 13"/>
                <a:gd name="T22" fmla="*/ 14 w 19"/>
                <a:gd name="T23" fmla="*/ 5 h 13"/>
                <a:gd name="T24" fmla="*/ 16 w 19"/>
                <a:gd name="T25" fmla="*/ 8 h 13"/>
                <a:gd name="T26" fmla="*/ 16 w 19"/>
                <a:gd name="T27" fmla="*/ 8 h 13"/>
                <a:gd name="T28" fmla="*/ 16 w 19"/>
                <a:gd name="T29" fmla="*/ 5 h 13"/>
                <a:gd name="T30" fmla="*/ 16 w 19"/>
                <a:gd name="T31" fmla="*/ 5 h 13"/>
                <a:gd name="T32" fmla="*/ 19 w 19"/>
                <a:gd name="T33" fmla="*/ 8 h 13"/>
                <a:gd name="T34" fmla="*/ 19 w 19"/>
                <a:gd name="T35" fmla="*/ 8 h 13"/>
                <a:gd name="T36" fmla="*/ 19 w 19"/>
                <a:gd name="T37" fmla="*/ 8 h 13"/>
                <a:gd name="T38" fmla="*/ 19 w 19"/>
                <a:gd name="T39" fmla="*/ 11 h 13"/>
                <a:gd name="T40" fmla="*/ 19 w 19"/>
                <a:gd name="T41" fmla="*/ 11 h 13"/>
                <a:gd name="T42" fmla="*/ 19 w 19"/>
                <a:gd name="T43" fmla="*/ 13 h 13"/>
                <a:gd name="T44" fmla="*/ 16 w 19"/>
                <a:gd name="T45" fmla="*/ 13 h 13"/>
                <a:gd name="T46" fmla="*/ 16 w 19"/>
                <a:gd name="T47" fmla="*/ 13 h 13"/>
                <a:gd name="T48" fmla="*/ 14 w 19"/>
                <a:gd name="T49" fmla="*/ 13 h 13"/>
                <a:gd name="T50" fmla="*/ 14 w 19"/>
                <a:gd name="T51" fmla="*/ 13 h 13"/>
                <a:gd name="T52" fmla="*/ 11 w 19"/>
                <a:gd name="T53" fmla="*/ 11 h 13"/>
                <a:gd name="T54" fmla="*/ 8 w 19"/>
                <a:gd name="T55" fmla="*/ 11 h 13"/>
                <a:gd name="T56" fmla="*/ 8 w 19"/>
                <a:gd name="T57" fmla="*/ 11 h 13"/>
                <a:gd name="T58" fmla="*/ 6 w 19"/>
                <a:gd name="T59" fmla="*/ 11 h 13"/>
                <a:gd name="T60" fmla="*/ 6 w 19"/>
                <a:gd name="T61" fmla="*/ 11 h 13"/>
                <a:gd name="T62" fmla="*/ 3 w 19"/>
                <a:gd name="T63" fmla="*/ 8 h 13"/>
                <a:gd name="T64" fmla="*/ 3 w 19"/>
                <a:gd name="T65" fmla="*/ 8 h 13"/>
                <a:gd name="T66" fmla="*/ 3 w 19"/>
                <a:gd name="T67" fmla="*/ 8 h 13"/>
                <a:gd name="T68" fmla="*/ 0 w 19"/>
                <a:gd name="T69" fmla="*/ 5 h 13"/>
                <a:gd name="T70" fmla="*/ 0 w 19"/>
                <a:gd name="T71" fmla="*/ 5 h 13"/>
                <a:gd name="T72" fmla="*/ 0 w 19"/>
                <a:gd name="T73" fmla="*/ 5 h 13"/>
                <a:gd name="T74" fmla="*/ 0 w 19"/>
                <a:gd name="T75" fmla="*/ 3 h 13"/>
                <a:gd name="T76" fmla="*/ 0 w 19"/>
                <a:gd name="T77" fmla="*/ 3 h 13"/>
                <a:gd name="T78" fmla="*/ 0 w 19"/>
                <a:gd name="T79" fmla="*/ 3 h 13"/>
                <a:gd name="T80" fmla="*/ 0 w 19"/>
                <a:gd name="T8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" h="1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4" name="Freeform 8829">
              <a:extLst>
                <a:ext uri="{FF2B5EF4-FFF2-40B4-BE49-F238E27FC236}">
                  <a16:creationId xmlns:a16="http://schemas.microsoft.com/office/drawing/2014/main" id="{DA4AE5F8-7BCC-8949-AED2-B1C379F1030D}"/>
                </a:ext>
              </a:extLst>
            </p:cNvPr>
            <p:cNvSpPr/>
            <p:nvPr/>
          </p:nvSpPr>
          <p:spPr bwMode="auto">
            <a:xfrm>
              <a:off x="5591966" y="2216152"/>
              <a:ext cx="7938" cy="12699"/>
            </a:xfrm>
            <a:custGeom>
              <a:avLst/>
              <a:gdLst>
                <a:gd name="T0" fmla="*/ 5 w 5"/>
                <a:gd name="T1" fmla="*/ 0 h 8"/>
                <a:gd name="T2" fmla="*/ 5 w 5"/>
                <a:gd name="T3" fmla="*/ 3 h 8"/>
                <a:gd name="T4" fmla="*/ 5 w 5"/>
                <a:gd name="T5" fmla="*/ 3 h 8"/>
                <a:gd name="T6" fmla="*/ 5 w 5"/>
                <a:gd name="T7" fmla="*/ 3 h 8"/>
                <a:gd name="T8" fmla="*/ 5 w 5"/>
                <a:gd name="T9" fmla="*/ 3 h 8"/>
                <a:gd name="T10" fmla="*/ 5 w 5"/>
                <a:gd name="T11" fmla="*/ 6 h 8"/>
                <a:gd name="T12" fmla="*/ 5 w 5"/>
                <a:gd name="T13" fmla="*/ 6 h 8"/>
                <a:gd name="T14" fmla="*/ 5 w 5"/>
                <a:gd name="T15" fmla="*/ 6 h 8"/>
                <a:gd name="T16" fmla="*/ 5 w 5"/>
                <a:gd name="T17" fmla="*/ 8 h 8"/>
                <a:gd name="T18" fmla="*/ 5 w 5"/>
                <a:gd name="T19" fmla="*/ 8 h 8"/>
                <a:gd name="T20" fmla="*/ 3 w 5"/>
                <a:gd name="T21" fmla="*/ 6 h 8"/>
                <a:gd name="T22" fmla="*/ 3 w 5"/>
                <a:gd name="T23" fmla="*/ 6 h 8"/>
                <a:gd name="T24" fmla="*/ 0 w 5"/>
                <a:gd name="T25" fmla="*/ 6 h 8"/>
                <a:gd name="T26" fmla="*/ 0 w 5"/>
                <a:gd name="T27" fmla="*/ 6 h 8"/>
                <a:gd name="T28" fmla="*/ 0 w 5"/>
                <a:gd name="T29" fmla="*/ 3 h 8"/>
                <a:gd name="T30" fmla="*/ 0 w 5"/>
                <a:gd name="T31" fmla="*/ 3 h 8"/>
                <a:gd name="T32" fmla="*/ 0 w 5"/>
                <a:gd name="T33" fmla="*/ 3 h 8"/>
                <a:gd name="T34" fmla="*/ 0 w 5"/>
                <a:gd name="T35" fmla="*/ 3 h 8"/>
                <a:gd name="T36" fmla="*/ 0 w 5"/>
                <a:gd name="T37" fmla="*/ 0 h 8"/>
                <a:gd name="T38" fmla="*/ 0 w 5"/>
                <a:gd name="T39" fmla="*/ 0 h 8"/>
                <a:gd name="T40" fmla="*/ 3 w 5"/>
                <a:gd name="T41" fmla="*/ 0 h 8"/>
                <a:gd name="T42" fmla="*/ 3 w 5"/>
                <a:gd name="T43" fmla="*/ 0 h 8"/>
                <a:gd name="T44" fmla="*/ 3 w 5"/>
                <a:gd name="T45" fmla="*/ 0 h 8"/>
                <a:gd name="T46" fmla="*/ 3 w 5"/>
                <a:gd name="T47" fmla="*/ 0 h 8"/>
                <a:gd name="T48" fmla="*/ 5 w 5"/>
                <a:gd name="T49" fmla="*/ 0 h 8"/>
                <a:gd name="T50" fmla="*/ 5 w 5"/>
                <a:gd name="T51" fmla="*/ 0 h 8"/>
                <a:gd name="T52" fmla="*/ 5 w 5"/>
                <a:gd name="T53" fmla="*/ 0 h 8"/>
                <a:gd name="T54" fmla="*/ 5 w 5"/>
                <a:gd name="T55" fmla="*/ 3 h 8"/>
                <a:gd name="T56" fmla="*/ 5 w 5"/>
                <a:gd name="T57" fmla="*/ 3 h 8"/>
                <a:gd name="T58" fmla="*/ 5 w 5"/>
                <a:gd name="T59" fmla="*/ 3 h 8"/>
                <a:gd name="T60" fmla="*/ 5 w 5"/>
                <a:gd name="T61" fmla="*/ 3 h 8"/>
                <a:gd name="T62" fmla="*/ 5 w 5"/>
                <a:gd name="T63" fmla="*/ 6 h 8"/>
                <a:gd name="T64" fmla="*/ 5 w 5"/>
                <a:gd name="T65" fmla="*/ 6 h 8"/>
                <a:gd name="T66" fmla="*/ 5 w 5"/>
                <a:gd name="T67" fmla="*/ 6 h 8"/>
                <a:gd name="T68" fmla="*/ 5 w 5"/>
                <a:gd name="T6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" h="8" extrusionOk="0">
                  <a:moveTo>
                    <a:pt x="5" y="0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5" name="Freeform 8830">
              <a:extLst>
                <a:ext uri="{FF2B5EF4-FFF2-40B4-BE49-F238E27FC236}">
                  <a16:creationId xmlns:a16="http://schemas.microsoft.com/office/drawing/2014/main" id="{54E876EB-56F6-C244-B3AB-8DBB877CF0F9}"/>
                </a:ext>
              </a:extLst>
            </p:cNvPr>
            <p:cNvSpPr/>
            <p:nvPr/>
          </p:nvSpPr>
          <p:spPr bwMode="auto">
            <a:xfrm>
              <a:off x="6214264" y="1046165"/>
              <a:ext cx="115888" cy="84138"/>
            </a:xfrm>
            <a:custGeom>
              <a:avLst/>
              <a:gdLst>
                <a:gd name="T0" fmla="*/ 3 w 73"/>
                <a:gd name="T1" fmla="*/ 0 h 53"/>
                <a:gd name="T2" fmla="*/ 6 w 73"/>
                <a:gd name="T3" fmla="*/ 0 h 53"/>
                <a:gd name="T4" fmla="*/ 11 w 73"/>
                <a:gd name="T5" fmla="*/ 2 h 53"/>
                <a:gd name="T6" fmla="*/ 14 w 73"/>
                <a:gd name="T7" fmla="*/ 2 h 53"/>
                <a:gd name="T8" fmla="*/ 19 w 73"/>
                <a:gd name="T9" fmla="*/ 0 h 53"/>
                <a:gd name="T10" fmla="*/ 24 w 73"/>
                <a:gd name="T11" fmla="*/ 0 h 53"/>
                <a:gd name="T12" fmla="*/ 27 w 73"/>
                <a:gd name="T13" fmla="*/ 2 h 53"/>
                <a:gd name="T14" fmla="*/ 32 w 73"/>
                <a:gd name="T15" fmla="*/ 5 h 53"/>
                <a:gd name="T16" fmla="*/ 38 w 73"/>
                <a:gd name="T17" fmla="*/ 5 h 53"/>
                <a:gd name="T18" fmla="*/ 40 w 73"/>
                <a:gd name="T19" fmla="*/ 5 h 53"/>
                <a:gd name="T20" fmla="*/ 43 w 73"/>
                <a:gd name="T21" fmla="*/ 8 h 53"/>
                <a:gd name="T22" fmla="*/ 48 w 73"/>
                <a:gd name="T23" fmla="*/ 8 h 53"/>
                <a:gd name="T24" fmla="*/ 51 w 73"/>
                <a:gd name="T25" fmla="*/ 8 h 53"/>
                <a:gd name="T26" fmla="*/ 57 w 73"/>
                <a:gd name="T27" fmla="*/ 10 h 53"/>
                <a:gd name="T28" fmla="*/ 59 w 73"/>
                <a:gd name="T29" fmla="*/ 13 h 53"/>
                <a:gd name="T30" fmla="*/ 62 w 73"/>
                <a:gd name="T31" fmla="*/ 13 h 53"/>
                <a:gd name="T32" fmla="*/ 65 w 73"/>
                <a:gd name="T33" fmla="*/ 16 h 53"/>
                <a:gd name="T34" fmla="*/ 67 w 73"/>
                <a:gd name="T35" fmla="*/ 18 h 53"/>
                <a:gd name="T36" fmla="*/ 73 w 73"/>
                <a:gd name="T37" fmla="*/ 24 h 53"/>
                <a:gd name="T38" fmla="*/ 70 w 73"/>
                <a:gd name="T39" fmla="*/ 24 h 53"/>
                <a:gd name="T40" fmla="*/ 70 w 73"/>
                <a:gd name="T41" fmla="*/ 26 h 53"/>
                <a:gd name="T42" fmla="*/ 70 w 73"/>
                <a:gd name="T43" fmla="*/ 32 h 53"/>
                <a:gd name="T44" fmla="*/ 67 w 73"/>
                <a:gd name="T45" fmla="*/ 32 h 53"/>
                <a:gd name="T46" fmla="*/ 65 w 73"/>
                <a:gd name="T47" fmla="*/ 34 h 53"/>
                <a:gd name="T48" fmla="*/ 59 w 73"/>
                <a:gd name="T49" fmla="*/ 40 h 53"/>
                <a:gd name="T50" fmla="*/ 57 w 73"/>
                <a:gd name="T51" fmla="*/ 42 h 53"/>
                <a:gd name="T52" fmla="*/ 54 w 73"/>
                <a:gd name="T53" fmla="*/ 45 h 53"/>
                <a:gd name="T54" fmla="*/ 54 w 73"/>
                <a:gd name="T55" fmla="*/ 48 h 53"/>
                <a:gd name="T56" fmla="*/ 48 w 73"/>
                <a:gd name="T57" fmla="*/ 48 h 53"/>
                <a:gd name="T58" fmla="*/ 38 w 73"/>
                <a:gd name="T59" fmla="*/ 53 h 53"/>
                <a:gd name="T60" fmla="*/ 32 w 73"/>
                <a:gd name="T61" fmla="*/ 50 h 53"/>
                <a:gd name="T62" fmla="*/ 27 w 73"/>
                <a:gd name="T63" fmla="*/ 50 h 53"/>
                <a:gd name="T64" fmla="*/ 24 w 73"/>
                <a:gd name="T65" fmla="*/ 48 h 53"/>
                <a:gd name="T66" fmla="*/ 24 w 73"/>
                <a:gd name="T67" fmla="*/ 45 h 53"/>
                <a:gd name="T68" fmla="*/ 30 w 73"/>
                <a:gd name="T69" fmla="*/ 42 h 53"/>
                <a:gd name="T70" fmla="*/ 32 w 73"/>
                <a:gd name="T71" fmla="*/ 45 h 53"/>
                <a:gd name="T72" fmla="*/ 32 w 73"/>
                <a:gd name="T73" fmla="*/ 40 h 53"/>
                <a:gd name="T74" fmla="*/ 32 w 73"/>
                <a:gd name="T75" fmla="*/ 37 h 53"/>
                <a:gd name="T76" fmla="*/ 30 w 73"/>
                <a:gd name="T77" fmla="*/ 34 h 53"/>
                <a:gd name="T78" fmla="*/ 24 w 73"/>
                <a:gd name="T79" fmla="*/ 34 h 53"/>
                <a:gd name="T80" fmla="*/ 22 w 73"/>
                <a:gd name="T81" fmla="*/ 32 h 53"/>
                <a:gd name="T82" fmla="*/ 16 w 73"/>
                <a:gd name="T83" fmla="*/ 32 h 53"/>
                <a:gd name="T84" fmla="*/ 14 w 73"/>
                <a:gd name="T85" fmla="*/ 32 h 53"/>
                <a:gd name="T86" fmla="*/ 11 w 73"/>
                <a:gd name="T87" fmla="*/ 32 h 53"/>
                <a:gd name="T88" fmla="*/ 8 w 73"/>
                <a:gd name="T89" fmla="*/ 29 h 53"/>
                <a:gd name="T90" fmla="*/ 6 w 73"/>
                <a:gd name="T91" fmla="*/ 26 h 53"/>
                <a:gd name="T92" fmla="*/ 8 w 73"/>
                <a:gd name="T93" fmla="*/ 24 h 53"/>
                <a:gd name="T94" fmla="*/ 8 w 73"/>
                <a:gd name="T95" fmla="*/ 21 h 53"/>
                <a:gd name="T96" fmla="*/ 8 w 73"/>
                <a:gd name="T97" fmla="*/ 18 h 53"/>
                <a:gd name="T98" fmla="*/ 6 w 73"/>
                <a:gd name="T99" fmla="*/ 16 h 53"/>
                <a:gd name="T100" fmla="*/ 8 w 73"/>
                <a:gd name="T101" fmla="*/ 13 h 53"/>
                <a:gd name="T102" fmla="*/ 8 w 73"/>
                <a:gd name="T103" fmla="*/ 10 h 53"/>
                <a:gd name="T104" fmla="*/ 8 w 73"/>
                <a:gd name="T105" fmla="*/ 8 h 53"/>
                <a:gd name="T106" fmla="*/ 6 w 73"/>
                <a:gd name="T107" fmla="*/ 5 h 53"/>
                <a:gd name="T108" fmla="*/ 3 w 73"/>
                <a:gd name="T109" fmla="*/ 2 h 53"/>
                <a:gd name="T110" fmla="*/ 3 w 73"/>
                <a:gd name="T11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3" h="53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2" y="5"/>
                  </a:lnTo>
                  <a:lnTo>
                    <a:pt x="35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8"/>
                  </a:lnTo>
                  <a:lnTo>
                    <a:pt x="43" y="8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1" y="8"/>
                  </a:lnTo>
                  <a:lnTo>
                    <a:pt x="54" y="8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5" y="16"/>
                  </a:lnTo>
                  <a:lnTo>
                    <a:pt x="65" y="18"/>
                  </a:lnTo>
                  <a:lnTo>
                    <a:pt x="67" y="18"/>
                  </a:lnTo>
                  <a:lnTo>
                    <a:pt x="70" y="18"/>
                  </a:lnTo>
                  <a:lnTo>
                    <a:pt x="73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9"/>
                  </a:lnTo>
                  <a:lnTo>
                    <a:pt x="70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5" y="34"/>
                  </a:lnTo>
                  <a:lnTo>
                    <a:pt x="62" y="37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8"/>
                  </a:lnTo>
                  <a:lnTo>
                    <a:pt x="51" y="48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38" y="53"/>
                  </a:lnTo>
                  <a:lnTo>
                    <a:pt x="35" y="53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7" y="50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7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2"/>
                  </a:lnTo>
                  <a:lnTo>
                    <a:pt x="19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8" y="29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6" name="Freeform 8831">
              <a:extLst>
                <a:ext uri="{FF2B5EF4-FFF2-40B4-BE49-F238E27FC236}">
                  <a16:creationId xmlns:a16="http://schemas.microsoft.com/office/drawing/2014/main" id="{FD29B762-8E9E-C743-96AB-5F2ACC9B008A}"/>
                </a:ext>
              </a:extLst>
            </p:cNvPr>
            <p:cNvSpPr/>
            <p:nvPr/>
          </p:nvSpPr>
          <p:spPr bwMode="auto">
            <a:xfrm>
              <a:off x="6239666" y="808040"/>
              <a:ext cx="246063" cy="258763"/>
            </a:xfrm>
            <a:custGeom>
              <a:avLst/>
              <a:gdLst>
                <a:gd name="T0" fmla="*/ 27 w 155"/>
                <a:gd name="T1" fmla="*/ 67 h 163"/>
                <a:gd name="T2" fmla="*/ 30 w 155"/>
                <a:gd name="T3" fmla="*/ 64 h 163"/>
                <a:gd name="T4" fmla="*/ 32 w 155"/>
                <a:gd name="T5" fmla="*/ 56 h 163"/>
                <a:gd name="T6" fmla="*/ 38 w 155"/>
                <a:gd name="T7" fmla="*/ 51 h 163"/>
                <a:gd name="T8" fmla="*/ 41 w 155"/>
                <a:gd name="T9" fmla="*/ 40 h 163"/>
                <a:gd name="T10" fmla="*/ 54 w 155"/>
                <a:gd name="T11" fmla="*/ 32 h 163"/>
                <a:gd name="T12" fmla="*/ 67 w 155"/>
                <a:gd name="T13" fmla="*/ 29 h 163"/>
                <a:gd name="T14" fmla="*/ 78 w 155"/>
                <a:gd name="T15" fmla="*/ 24 h 163"/>
                <a:gd name="T16" fmla="*/ 86 w 155"/>
                <a:gd name="T17" fmla="*/ 16 h 163"/>
                <a:gd name="T18" fmla="*/ 99 w 155"/>
                <a:gd name="T19" fmla="*/ 8 h 163"/>
                <a:gd name="T20" fmla="*/ 91 w 155"/>
                <a:gd name="T21" fmla="*/ 5 h 163"/>
                <a:gd name="T22" fmla="*/ 99 w 155"/>
                <a:gd name="T23" fmla="*/ 0 h 163"/>
                <a:gd name="T24" fmla="*/ 107 w 155"/>
                <a:gd name="T25" fmla="*/ 11 h 163"/>
                <a:gd name="T26" fmla="*/ 115 w 155"/>
                <a:gd name="T27" fmla="*/ 19 h 163"/>
                <a:gd name="T28" fmla="*/ 123 w 155"/>
                <a:gd name="T29" fmla="*/ 35 h 163"/>
                <a:gd name="T30" fmla="*/ 126 w 155"/>
                <a:gd name="T31" fmla="*/ 45 h 163"/>
                <a:gd name="T32" fmla="*/ 134 w 155"/>
                <a:gd name="T33" fmla="*/ 51 h 163"/>
                <a:gd name="T34" fmla="*/ 142 w 155"/>
                <a:gd name="T35" fmla="*/ 59 h 163"/>
                <a:gd name="T36" fmla="*/ 150 w 155"/>
                <a:gd name="T37" fmla="*/ 61 h 163"/>
                <a:gd name="T38" fmla="*/ 153 w 155"/>
                <a:gd name="T39" fmla="*/ 72 h 163"/>
                <a:gd name="T40" fmla="*/ 150 w 155"/>
                <a:gd name="T41" fmla="*/ 80 h 163"/>
                <a:gd name="T42" fmla="*/ 137 w 155"/>
                <a:gd name="T43" fmla="*/ 83 h 163"/>
                <a:gd name="T44" fmla="*/ 134 w 155"/>
                <a:gd name="T45" fmla="*/ 94 h 163"/>
                <a:gd name="T46" fmla="*/ 137 w 155"/>
                <a:gd name="T47" fmla="*/ 102 h 163"/>
                <a:gd name="T48" fmla="*/ 139 w 155"/>
                <a:gd name="T49" fmla="*/ 115 h 163"/>
                <a:gd name="T50" fmla="*/ 142 w 155"/>
                <a:gd name="T51" fmla="*/ 126 h 163"/>
                <a:gd name="T52" fmla="*/ 134 w 155"/>
                <a:gd name="T53" fmla="*/ 134 h 163"/>
                <a:gd name="T54" fmla="*/ 123 w 155"/>
                <a:gd name="T55" fmla="*/ 134 h 163"/>
                <a:gd name="T56" fmla="*/ 105 w 155"/>
                <a:gd name="T57" fmla="*/ 136 h 163"/>
                <a:gd name="T58" fmla="*/ 97 w 155"/>
                <a:gd name="T59" fmla="*/ 139 h 163"/>
                <a:gd name="T60" fmla="*/ 89 w 155"/>
                <a:gd name="T61" fmla="*/ 142 h 163"/>
                <a:gd name="T62" fmla="*/ 83 w 155"/>
                <a:gd name="T63" fmla="*/ 144 h 163"/>
                <a:gd name="T64" fmla="*/ 78 w 155"/>
                <a:gd name="T65" fmla="*/ 147 h 163"/>
                <a:gd name="T66" fmla="*/ 73 w 155"/>
                <a:gd name="T67" fmla="*/ 147 h 163"/>
                <a:gd name="T68" fmla="*/ 67 w 155"/>
                <a:gd name="T69" fmla="*/ 152 h 163"/>
                <a:gd name="T70" fmla="*/ 59 w 155"/>
                <a:gd name="T71" fmla="*/ 160 h 163"/>
                <a:gd name="T72" fmla="*/ 54 w 155"/>
                <a:gd name="T73" fmla="*/ 163 h 163"/>
                <a:gd name="T74" fmla="*/ 46 w 155"/>
                <a:gd name="T75" fmla="*/ 158 h 163"/>
                <a:gd name="T76" fmla="*/ 35 w 155"/>
                <a:gd name="T77" fmla="*/ 150 h 163"/>
                <a:gd name="T78" fmla="*/ 24 w 155"/>
                <a:gd name="T79" fmla="*/ 142 h 163"/>
                <a:gd name="T80" fmla="*/ 16 w 155"/>
                <a:gd name="T81" fmla="*/ 139 h 163"/>
                <a:gd name="T82" fmla="*/ 24 w 155"/>
                <a:gd name="T83" fmla="*/ 136 h 163"/>
                <a:gd name="T84" fmla="*/ 32 w 155"/>
                <a:gd name="T85" fmla="*/ 139 h 163"/>
                <a:gd name="T86" fmla="*/ 24 w 155"/>
                <a:gd name="T87" fmla="*/ 136 h 163"/>
                <a:gd name="T88" fmla="*/ 19 w 155"/>
                <a:gd name="T89" fmla="*/ 131 h 163"/>
                <a:gd name="T90" fmla="*/ 24 w 155"/>
                <a:gd name="T91" fmla="*/ 128 h 163"/>
                <a:gd name="T92" fmla="*/ 32 w 155"/>
                <a:gd name="T93" fmla="*/ 126 h 163"/>
                <a:gd name="T94" fmla="*/ 43 w 155"/>
                <a:gd name="T95" fmla="*/ 131 h 163"/>
                <a:gd name="T96" fmla="*/ 32 w 155"/>
                <a:gd name="T97" fmla="*/ 123 h 163"/>
                <a:gd name="T98" fmla="*/ 19 w 155"/>
                <a:gd name="T99" fmla="*/ 126 h 163"/>
                <a:gd name="T100" fmla="*/ 8 w 155"/>
                <a:gd name="T101" fmla="*/ 126 h 163"/>
                <a:gd name="T102" fmla="*/ 3 w 155"/>
                <a:gd name="T103" fmla="*/ 126 h 163"/>
                <a:gd name="T104" fmla="*/ 6 w 155"/>
                <a:gd name="T105" fmla="*/ 118 h 163"/>
                <a:gd name="T106" fmla="*/ 19 w 155"/>
                <a:gd name="T107" fmla="*/ 115 h 163"/>
                <a:gd name="T108" fmla="*/ 19 w 155"/>
                <a:gd name="T109" fmla="*/ 112 h 163"/>
                <a:gd name="T110" fmla="*/ 16 w 155"/>
                <a:gd name="T111" fmla="*/ 107 h 163"/>
                <a:gd name="T112" fmla="*/ 30 w 155"/>
                <a:gd name="T113" fmla="*/ 102 h 163"/>
                <a:gd name="T114" fmla="*/ 32 w 155"/>
                <a:gd name="T115" fmla="*/ 91 h 163"/>
                <a:gd name="T116" fmla="*/ 38 w 155"/>
                <a:gd name="T117" fmla="*/ 78 h 163"/>
                <a:gd name="T118" fmla="*/ 46 w 155"/>
                <a:gd name="T119" fmla="*/ 64 h 163"/>
                <a:gd name="T120" fmla="*/ 38 w 155"/>
                <a:gd name="T121" fmla="*/ 6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5" h="163" extrusionOk="0">
                  <a:moveTo>
                    <a:pt x="27" y="72"/>
                  </a:move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0" y="67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3"/>
                  </a:lnTo>
                  <a:lnTo>
                    <a:pt x="35" y="53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0"/>
                  </a:lnTo>
                  <a:lnTo>
                    <a:pt x="43" y="40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9" y="35"/>
                  </a:lnTo>
                  <a:lnTo>
                    <a:pt x="51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7" y="32"/>
                  </a:lnTo>
                  <a:lnTo>
                    <a:pt x="59" y="32"/>
                  </a:lnTo>
                  <a:lnTo>
                    <a:pt x="62" y="32"/>
                  </a:lnTo>
                  <a:lnTo>
                    <a:pt x="65" y="32"/>
                  </a:lnTo>
                  <a:lnTo>
                    <a:pt x="67" y="29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3" y="27"/>
                  </a:lnTo>
                  <a:lnTo>
                    <a:pt x="73" y="27"/>
                  </a:lnTo>
                  <a:lnTo>
                    <a:pt x="75" y="24"/>
                  </a:lnTo>
                  <a:lnTo>
                    <a:pt x="78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6" y="16"/>
                  </a:lnTo>
                  <a:lnTo>
                    <a:pt x="86" y="13"/>
                  </a:lnTo>
                  <a:lnTo>
                    <a:pt x="89" y="13"/>
                  </a:lnTo>
                  <a:lnTo>
                    <a:pt x="91" y="11"/>
                  </a:lnTo>
                  <a:lnTo>
                    <a:pt x="94" y="8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7" y="8"/>
                  </a:lnTo>
                  <a:lnTo>
                    <a:pt x="94" y="8"/>
                  </a:lnTo>
                  <a:lnTo>
                    <a:pt x="91" y="8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9" y="3"/>
                  </a:lnTo>
                  <a:lnTo>
                    <a:pt x="91" y="0"/>
                  </a:lnTo>
                  <a:lnTo>
                    <a:pt x="94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102" y="0"/>
                  </a:lnTo>
                  <a:lnTo>
                    <a:pt x="105" y="0"/>
                  </a:lnTo>
                  <a:lnTo>
                    <a:pt x="105" y="3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7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3" y="13"/>
                  </a:lnTo>
                  <a:lnTo>
                    <a:pt x="113" y="16"/>
                  </a:lnTo>
                  <a:lnTo>
                    <a:pt x="113" y="19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8" y="24"/>
                  </a:lnTo>
                  <a:lnTo>
                    <a:pt x="121" y="24"/>
                  </a:lnTo>
                  <a:lnTo>
                    <a:pt x="121" y="29"/>
                  </a:lnTo>
                  <a:lnTo>
                    <a:pt x="121" y="32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6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6" y="45"/>
                  </a:lnTo>
                  <a:lnTo>
                    <a:pt x="129" y="45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7" y="53"/>
                  </a:lnTo>
                  <a:lnTo>
                    <a:pt x="137" y="53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5" y="59"/>
                  </a:lnTo>
                  <a:lnTo>
                    <a:pt x="145" y="59"/>
                  </a:lnTo>
                  <a:lnTo>
                    <a:pt x="147" y="59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4"/>
                  </a:lnTo>
                  <a:lnTo>
                    <a:pt x="153" y="64"/>
                  </a:lnTo>
                  <a:lnTo>
                    <a:pt x="153" y="67"/>
                  </a:lnTo>
                  <a:lnTo>
                    <a:pt x="153" y="67"/>
                  </a:lnTo>
                  <a:lnTo>
                    <a:pt x="153" y="69"/>
                  </a:lnTo>
                  <a:lnTo>
                    <a:pt x="153" y="72"/>
                  </a:lnTo>
                  <a:lnTo>
                    <a:pt x="155" y="72"/>
                  </a:lnTo>
                  <a:lnTo>
                    <a:pt x="155" y="75"/>
                  </a:lnTo>
                  <a:lnTo>
                    <a:pt x="153" y="78"/>
                  </a:lnTo>
                  <a:lnTo>
                    <a:pt x="150" y="7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47" y="80"/>
                  </a:lnTo>
                  <a:lnTo>
                    <a:pt x="145" y="80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39" y="83"/>
                  </a:lnTo>
                  <a:lnTo>
                    <a:pt x="137" y="83"/>
                  </a:lnTo>
                  <a:lnTo>
                    <a:pt x="137" y="86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4" y="91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6"/>
                  </a:lnTo>
                  <a:lnTo>
                    <a:pt x="137" y="96"/>
                  </a:lnTo>
                  <a:lnTo>
                    <a:pt x="137" y="96"/>
                  </a:lnTo>
                  <a:lnTo>
                    <a:pt x="137" y="99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7"/>
                  </a:lnTo>
                  <a:lnTo>
                    <a:pt x="139" y="110"/>
                  </a:lnTo>
                  <a:lnTo>
                    <a:pt x="139" y="112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9" y="118"/>
                  </a:lnTo>
                  <a:lnTo>
                    <a:pt x="139" y="118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45" y="123"/>
                  </a:lnTo>
                  <a:lnTo>
                    <a:pt x="142" y="126"/>
                  </a:lnTo>
                  <a:lnTo>
                    <a:pt x="139" y="128"/>
                  </a:lnTo>
                  <a:lnTo>
                    <a:pt x="139" y="134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7" y="134"/>
                  </a:lnTo>
                  <a:lnTo>
                    <a:pt x="134" y="134"/>
                  </a:lnTo>
                  <a:lnTo>
                    <a:pt x="134" y="134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6" y="134"/>
                  </a:lnTo>
                  <a:lnTo>
                    <a:pt x="123" y="134"/>
                  </a:lnTo>
                  <a:lnTo>
                    <a:pt x="121" y="134"/>
                  </a:lnTo>
                  <a:lnTo>
                    <a:pt x="115" y="134"/>
                  </a:lnTo>
                  <a:lnTo>
                    <a:pt x="110" y="134"/>
                  </a:lnTo>
                  <a:lnTo>
                    <a:pt x="107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5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99" y="136"/>
                  </a:lnTo>
                  <a:lnTo>
                    <a:pt x="99" y="136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1" y="144"/>
                  </a:lnTo>
                  <a:lnTo>
                    <a:pt x="81" y="147"/>
                  </a:lnTo>
                  <a:lnTo>
                    <a:pt x="81" y="147"/>
                  </a:lnTo>
                  <a:lnTo>
                    <a:pt x="78" y="147"/>
                  </a:lnTo>
                  <a:lnTo>
                    <a:pt x="78" y="147"/>
                  </a:lnTo>
                  <a:lnTo>
                    <a:pt x="78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3" y="147"/>
                  </a:lnTo>
                  <a:lnTo>
                    <a:pt x="73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0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8"/>
                  </a:lnTo>
                  <a:lnTo>
                    <a:pt x="62" y="158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1" y="152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35" y="150"/>
                  </a:lnTo>
                  <a:lnTo>
                    <a:pt x="35" y="147"/>
                  </a:lnTo>
                  <a:lnTo>
                    <a:pt x="32" y="147"/>
                  </a:lnTo>
                  <a:lnTo>
                    <a:pt x="32" y="144"/>
                  </a:lnTo>
                  <a:lnTo>
                    <a:pt x="30" y="144"/>
                  </a:lnTo>
                  <a:lnTo>
                    <a:pt x="27" y="142"/>
                  </a:lnTo>
                  <a:lnTo>
                    <a:pt x="24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16" y="142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22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30" y="142"/>
                  </a:lnTo>
                  <a:lnTo>
                    <a:pt x="32" y="142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39"/>
                  </a:lnTo>
                  <a:lnTo>
                    <a:pt x="30" y="136"/>
                  </a:lnTo>
                  <a:lnTo>
                    <a:pt x="27" y="136"/>
                  </a:lnTo>
                  <a:lnTo>
                    <a:pt x="27" y="136"/>
                  </a:lnTo>
                  <a:lnTo>
                    <a:pt x="24" y="136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2" y="131"/>
                  </a:lnTo>
                  <a:lnTo>
                    <a:pt x="19" y="131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2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30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5" y="126"/>
                  </a:lnTo>
                  <a:lnTo>
                    <a:pt x="38" y="126"/>
                  </a:lnTo>
                  <a:lnTo>
                    <a:pt x="41" y="128"/>
                  </a:lnTo>
                  <a:lnTo>
                    <a:pt x="41" y="128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27" y="123"/>
                  </a:lnTo>
                  <a:lnTo>
                    <a:pt x="24" y="123"/>
                  </a:lnTo>
                  <a:lnTo>
                    <a:pt x="22" y="123"/>
                  </a:lnTo>
                  <a:lnTo>
                    <a:pt x="22" y="126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4" y="126"/>
                  </a:lnTo>
                  <a:lnTo>
                    <a:pt x="11" y="126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3"/>
                  </a:lnTo>
                  <a:lnTo>
                    <a:pt x="3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3" y="120"/>
                  </a:lnTo>
                  <a:lnTo>
                    <a:pt x="6" y="118"/>
                  </a:lnTo>
                  <a:lnTo>
                    <a:pt x="8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4" y="115"/>
                  </a:lnTo>
                  <a:lnTo>
                    <a:pt x="16" y="115"/>
                  </a:lnTo>
                  <a:lnTo>
                    <a:pt x="19" y="115"/>
                  </a:lnTo>
                  <a:lnTo>
                    <a:pt x="22" y="115"/>
                  </a:lnTo>
                  <a:lnTo>
                    <a:pt x="27" y="115"/>
                  </a:lnTo>
                  <a:lnTo>
                    <a:pt x="27" y="115"/>
                  </a:lnTo>
                  <a:lnTo>
                    <a:pt x="22" y="115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16" y="112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7"/>
                  </a:lnTo>
                  <a:lnTo>
                    <a:pt x="16" y="107"/>
                  </a:lnTo>
                  <a:lnTo>
                    <a:pt x="16" y="104"/>
                  </a:lnTo>
                  <a:lnTo>
                    <a:pt x="19" y="104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27" y="102"/>
                  </a:lnTo>
                  <a:lnTo>
                    <a:pt x="30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99"/>
                  </a:lnTo>
                  <a:lnTo>
                    <a:pt x="32" y="96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0"/>
                  </a:lnTo>
                  <a:lnTo>
                    <a:pt x="38" y="78"/>
                  </a:lnTo>
                  <a:lnTo>
                    <a:pt x="41" y="75"/>
                  </a:lnTo>
                  <a:lnTo>
                    <a:pt x="43" y="72"/>
                  </a:lnTo>
                  <a:lnTo>
                    <a:pt x="43" y="69"/>
                  </a:lnTo>
                  <a:lnTo>
                    <a:pt x="46" y="67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3" y="64"/>
                  </a:lnTo>
                  <a:lnTo>
                    <a:pt x="41" y="64"/>
                  </a:lnTo>
                  <a:lnTo>
                    <a:pt x="41" y="67"/>
                  </a:lnTo>
                  <a:lnTo>
                    <a:pt x="38" y="67"/>
                  </a:lnTo>
                  <a:lnTo>
                    <a:pt x="38" y="69"/>
                  </a:lnTo>
                  <a:lnTo>
                    <a:pt x="35" y="69"/>
                  </a:lnTo>
                  <a:lnTo>
                    <a:pt x="32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27" y="7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7" name="Freeform 8832">
              <a:extLst>
                <a:ext uri="{FF2B5EF4-FFF2-40B4-BE49-F238E27FC236}">
                  <a16:creationId xmlns:a16="http://schemas.microsoft.com/office/drawing/2014/main" id="{5BBE83A5-59E0-6C45-90CC-EFCABF1636E9}"/>
                </a:ext>
              </a:extLst>
            </p:cNvPr>
            <p:cNvSpPr/>
            <p:nvPr/>
          </p:nvSpPr>
          <p:spPr bwMode="auto">
            <a:xfrm>
              <a:off x="4010816" y="2093915"/>
              <a:ext cx="50800" cy="79375"/>
            </a:xfrm>
            <a:custGeom>
              <a:avLst/>
              <a:gdLst>
                <a:gd name="T0" fmla="*/ 24 w 32"/>
                <a:gd name="T1" fmla="*/ 18 h 50"/>
                <a:gd name="T2" fmla="*/ 24 w 32"/>
                <a:gd name="T3" fmla="*/ 16 h 50"/>
                <a:gd name="T4" fmla="*/ 24 w 32"/>
                <a:gd name="T5" fmla="*/ 13 h 50"/>
                <a:gd name="T6" fmla="*/ 21 w 32"/>
                <a:gd name="T7" fmla="*/ 10 h 50"/>
                <a:gd name="T8" fmla="*/ 24 w 32"/>
                <a:gd name="T9" fmla="*/ 10 h 50"/>
                <a:gd name="T10" fmla="*/ 24 w 32"/>
                <a:gd name="T11" fmla="*/ 8 h 50"/>
                <a:gd name="T12" fmla="*/ 24 w 32"/>
                <a:gd name="T13" fmla="*/ 5 h 50"/>
                <a:gd name="T14" fmla="*/ 24 w 32"/>
                <a:gd name="T15" fmla="*/ 5 h 50"/>
                <a:gd name="T16" fmla="*/ 24 w 32"/>
                <a:gd name="T17" fmla="*/ 8 h 50"/>
                <a:gd name="T18" fmla="*/ 24 w 32"/>
                <a:gd name="T19" fmla="*/ 13 h 50"/>
                <a:gd name="T20" fmla="*/ 27 w 32"/>
                <a:gd name="T21" fmla="*/ 13 h 50"/>
                <a:gd name="T22" fmla="*/ 24 w 32"/>
                <a:gd name="T23" fmla="*/ 16 h 50"/>
                <a:gd name="T24" fmla="*/ 27 w 32"/>
                <a:gd name="T25" fmla="*/ 18 h 50"/>
                <a:gd name="T26" fmla="*/ 27 w 32"/>
                <a:gd name="T27" fmla="*/ 16 h 50"/>
                <a:gd name="T28" fmla="*/ 27 w 32"/>
                <a:gd name="T29" fmla="*/ 8 h 50"/>
                <a:gd name="T30" fmla="*/ 24 w 32"/>
                <a:gd name="T31" fmla="*/ 0 h 50"/>
                <a:gd name="T32" fmla="*/ 21 w 32"/>
                <a:gd name="T33" fmla="*/ 0 h 50"/>
                <a:gd name="T34" fmla="*/ 21 w 32"/>
                <a:gd name="T35" fmla="*/ 5 h 50"/>
                <a:gd name="T36" fmla="*/ 19 w 32"/>
                <a:gd name="T37" fmla="*/ 2 h 50"/>
                <a:gd name="T38" fmla="*/ 19 w 32"/>
                <a:gd name="T39" fmla="*/ 0 h 50"/>
                <a:gd name="T40" fmla="*/ 16 w 32"/>
                <a:gd name="T41" fmla="*/ 0 h 50"/>
                <a:gd name="T42" fmla="*/ 11 w 32"/>
                <a:gd name="T43" fmla="*/ 0 h 50"/>
                <a:gd name="T44" fmla="*/ 5 w 32"/>
                <a:gd name="T45" fmla="*/ 0 h 50"/>
                <a:gd name="T46" fmla="*/ 0 w 32"/>
                <a:gd name="T47" fmla="*/ 2 h 50"/>
                <a:gd name="T48" fmla="*/ 2 w 32"/>
                <a:gd name="T49" fmla="*/ 8 h 50"/>
                <a:gd name="T50" fmla="*/ 2 w 32"/>
                <a:gd name="T51" fmla="*/ 10 h 50"/>
                <a:gd name="T52" fmla="*/ 5 w 32"/>
                <a:gd name="T53" fmla="*/ 13 h 50"/>
                <a:gd name="T54" fmla="*/ 11 w 32"/>
                <a:gd name="T55" fmla="*/ 13 h 50"/>
                <a:gd name="T56" fmla="*/ 11 w 32"/>
                <a:gd name="T57" fmla="*/ 18 h 50"/>
                <a:gd name="T58" fmla="*/ 11 w 32"/>
                <a:gd name="T59" fmla="*/ 24 h 50"/>
                <a:gd name="T60" fmla="*/ 13 w 32"/>
                <a:gd name="T61" fmla="*/ 26 h 50"/>
                <a:gd name="T62" fmla="*/ 13 w 32"/>
                <a:gd name="T63" fmla="*/ 29 h 50"/>
                <a:gd name="T64" fmla="*/ 11 w 32"/>
                <a:gd name="T65" fmla="*/ 32 h 50"/>
                <a:gd name="T66" fmla="*/ 11 w 32"/>
                <a:gd name="T67" fmla="*/ 37 h 50"/>
                <a:gd name="T68" fmla="*/ 13 w 32"/>
                <a:gd name="T69" fmla="*/ 40 h 50"/>
                <a:gd name="T70" fmla="*/ 13 w 32"/>
                <a:gd name="T71" fmla="*/ 42 h 50"/>
                <a:gd name="T72" fmla="*/ 11 w 32"/>
                <a:gd name="T73" fmla="*/ 48 h 50"/>
                <a:gd name="T74" fmla="*/ 13 w 32"/>
                <a:gd name="T75" fmla="*/ 50 h 50"/>
                <a:gd name="T76" fmla="*/ 13 w 32"/>
                <a:gd name="T77" fmla="*/ 45 h 50"/>
                <a:gd name="T78" fmla="*/ 16 w 32"/>
                <a:gd name="T79" fmla="*/ 40 h 50"/>
                <a:gd name="T80" fmla="*/ 16 w 32"/>
                <a:gd name="T81" fmla="*/ 37 h 50"/>
                <a:gd name="T82" fmla="*/ 19 w 32"/>
                <a:gd name="T83" fmla="*/ 37 h 50"/>
                <a:gd name="T84" fmla="*/ 21 w 32"/>
                <a:gd name="T85" fmla="*/ 37 h 50"/>
                <a:gd name="T86" fmla="*/ 24 w 32"/>
                <a:gd name="T87" fmla="*/ 34 h 50"/>
                <a:gd name="T88" fmla="*/ 27 w 32"/>
                <a:gd name="T89" fmla="*/ 32 h 50"/>
                <a:gd name="T90" fmla="*/ 29 w 32"/>
                <a:gd name="T91" fmla="*/ 29 h 50"/>
                <a:gd name="T92" fmla="*/ 29 w 32"/>
                <a:gd name="T93" fmla="*/ 26 h 50"/>
                <a:gd name="T94" fmla="*/ 32 w 32"/>
                <a:gd name="T95" fmla="*/ 24 h 50"/>
                <a:gd name="T96" fmla="*/ 32 w 32"/>
                <a:gd name="T97" fmla="*/ 21 h 50"/>
                <a:gd name="T98" fmla="*/ 29 w 32"/>
                <a:gd name="T99" fmla="*/ 21 h 50"/>
                <a:gd name="T100" fmla="*/ 29 w 32"/>
                <a:gd name="T101" fmla="*/ 21 h 50"/>
                <a:gd name="T102" fmla="*/ 27 w 32"/>
                <a:gd name="T103" fmla="*/ 21 h 50"/>
                <a:gd name="T104" fmla="*/ 29 w 32"/>
                <a:gd name="T105" fmla="*/ 21 h 50"/>
                <a:gd name="T106" fmla="*/ 27 w 32"/>
                <a:gd name="T107" fmla="*/ 24 h 50"/>
                <a:gd name="T108" fmla="*/ 27 w 32"/>
                <a:gd name="T109" fmla="*/ 24 h 50"/>
                <a:gd name="T110" fmla="*/ 24 w 32"/>
                <a:gd name="T111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" h="50" extrusionOk="0">
                  <a:moveTo>
                    <a:pt x="24" y="21"/>
                  </a:move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5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2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4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4" y="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8" name="Freeform 8833">
              <a:extLst>
                <a:ext uri="{FF2B5EF4-FFF2-40B4-BE49-F238E27FC236}">
                  <a16:creationId xmlns:a16="http://schemas.microsoft.com/office/drawing/2014/main" id="{33D5DD59-8C4E-7547-B72F-447CEA9AC0B0}"/>
                </a:ext>
              </a:extLst>
            </p:cNvPr>
            <p:cNvSpPr/>
            <p:nvPr/>
          </p:nvSpPr>
          <p:spPr bwMode="auto">
            <a:xfrm>
              <a:off x="3713954" y="2373315"/>
              <a:ext cx="12700" cy="7937"/>
            </a:xfrm>
            <a:custGeom>
              <a:avLst/>
              <a:gdLst>
                <a:gd name="T0" fmla="*/ 5 w 8"/>
                <a:gd name="T1" fmla="*/ 0 h 5"/>
                <a:gd name="T2" fmla="*/ 5 w 8"/>
                <a:gd name="T3" fmla="*/ 3 h 5"/>
                <a:gd name="T4" fmla="*/ 5 w 8"/>
                <a:gd name="T5" fmla="*/ 3 h 5"/>
                <a:gd name="T6" fmla="*/ 3 w 8"/>
                <a:gd name="T7" fmla="*/ 3 h 5"/>
                <a:gd name="T8" fmla="*/ 3 w 8"/>
                <a:gd name="T9" fmla="*/ 5 h 5"/>
                <a:gd name="T10" fmla="*/ 0 w 8"/>
                <a:gd name="T11" fmla="*/ 5 h 5"/>
                <a:gd name="T12" fmla="*/ 0 w 8"/>
                <a:gd name="T13" fmla="*/ 5 h 5"/>
                <a:gd name="T14" fmla="*/ 0 w 8"/>
                <a:gd name="T15" fmla="*/ 5 h 5"/>
                <a:gd name="T16" fmla="*/ 3 w 8"/>
                <a:gd name="T17" fmla="*/ 5 h 5"/>
                <a:gd name="T18" fmla="*/ 3 w 8"/>
                <a:gd name="T19" fmla="*/ 5 h 5"/>
                <a:gd name="T20" fmla="*/ 3 w 8"/>
                <a:gd name="T21" fmla="*/ 5 h 5"/>
                <a:gd name="T22" fmla="*/ 5 w 8"/>
                <a:gd name="T23" fmla="*/ 5 h 5"/>
                <a:gd name="T24" fmla="*/ 5 w 8"/>
                <a:gd name="T25" fmla="*/ 5 h 5"/>
                <a:gd name="T26" fmla="*/ 5 w 8"/>
                <a:gd name="T27" fmla="*/ 3 h 5"/>
                <a:gd name="T28" fmla="*/ 5 w 8"/>
                <a:gd name="T29" fmla="*/ 3 h 5"/>
                <a:gd name="T30" fmla="*/ 5 w 8"/>
                <a:gd name="T31" fmla="*/ 3 h 5"/>
                <a:gd name="T32" fmla="*/ 5 w 8"/>
                <a:gd name="T33" fmla="*/ 3 h 5"/>
                <a:gd name="T34" fmla="*/ 8 w 8"/>
                <a:gd name="T35" fmla="*/ 0 h 5"/>
                <a:gd name="T36" fmla="*/ 5 w 8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5" extrusionOk="0">
                  <a:moveTo>
                    <a:pt x="5" y="0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19" name="Freeform 8834">
              <a:extLst>
                <a:ext uri="{FF2B5EF4-FFF2-40B4-BE49-F238E27FC236}">
                  <a16:creationId xmlns:a16="http://schemas.microsoft.com/office/drawing/2014/main" id="{180D91F3-4496-2945-BD4D-3CB7907A14C6}"/>
                </a:ext>
              </a:extLst>
            </p:cNvPr>
            <p:cNvSpPr/>
            <p:nvPr/>
          </p:nvSpPr>
          <p:spPr bwMode="auto">
            <a:xfrm>
              <a:off x="3921917" y="2530476"/>
              <a:ext cx="7938" cy="12699"/>
            </a:xfrm>
            <a:custGeom>
              <a:avLst/>
              <a:gdLst>
                <a:gd name="T0" fmla="*/ 0 w 5"/>
                <a:gd name="T1" fmla="*/ 0 h 8"/>
                <a:gd name="T2" fmla="*/ 2 w 5"/>
                <a:gd name="T3" fmla="*/ 0 h 8"/>
                <a:gd name="T4" fmla="*/ 2 w 5"/>
                <a:gd name="T5" fmla="*/ 0 h 8"/>
                <a:gd name="T6" fmla="*/ 2 w 5"/>
                <a:gd name="T7" fmla="*/ 0 h 8"/>
                <a:gd name="T8" fmla="*/ 5 w 5"/>
                <a:gd name="T9" fmla="*/ 3 h 8"/>
                <a:gd name="T10" fmla="*/ 5 w 5"/>
                <a:gd name="T11" fmla="*/ 3 h 8"/>
                <a:gd name="T12" fmla="*/ 5 w 5"/>
                <a:gd name="T13" fmla="*/ 3 h 8"/>
                <a:gd name="T14" fmla="*/ 5 w 5"/>
                <a:gd name="T15" fmla="*/ 5 h 8"/>
                <a:gd name="T16" fmla="*/ 5 w 5"/>
                <a:gd name="T17" fmla="*/ 5 h 8"/>
                <a:gd name="T18" fmla="*/ 5 w 5"/>
                <a:gd name="T19" fmla="*/ 5 h 8"/>
                <a:gd name="T20" fmla="*/ 5 w 5"/>
                <a:gd name="T21" fmla="*/ 8 h 8"/>
                <a:gd name="T22" fmla="*/ 5 w 5"/>
                <a:gd name="T23" fmla="*/ 8 h 8"/>
                <a:gd name="T24" fmla="*/ 5 w 5"/>
                <a:gd name="T25" fmla="*/ 8 h 8"/>
                <a:gd name="T26" fmla="*/ 5 w 5"/>
                <a:gd name="T27" fmla="*/ 5 h 8"/>
                <a:gd name="T28" fmla="*/ 2 w 5"/>
                <a:gd name="T29" fmla="*/ 5 h 8"/>
                <a:gd name="T30" fmla="*/ 2 w 5"/>
                <a:gd name="T31" fmla="*/ 5 h 8"/>
                <a:gd name="T32" fmla="*/ 2 w 5"/>
                <a:gd name="T33" fmla="*/ 5 h 8"/>
                <a:gd name="T34" fmla="*/ 2 w 5"/>
                <a:gd name="T35" fmla="*/ 3 h 8"/>
                <a:gd name="T36" fmla="*/ 0 w 5"/>
                <a:gd name="T37" fmla="*/ 3 h 8"/>
                <a:gd name="T38" fmla="*/ 0 w 5"/>
                <a:gd name="T39" fmla="*/ 3 h 8"/>
                <a:gd name="T40" fmla="*/ 0 w 5"/>
                <a:gd name="T41" fmla="*/ 3 h 8"/>
                <a:gd name="T42" fmla="*/ 0 w 5"/>
                <a:gd name="T43" fmla="*/ 0 h 8"/>
                <a:gd name="T44" fmla="*/ 0 w 5"/>
                <a:gd name="T45" fmla="*/ 0 h 8"/>
                <a:gd name="T46" fmla="*/ 0 w 5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8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0" name="Freeform 8835">
              <a:extLst>
                <a:ext uri="{FF2B5EF4-FFF2-40B4-BE49-F238E27FC236}">
                  <a16:creationId xmlns:a16="http://schemas.microsoft.com/office/drawing/2014/main" id="{A6D5C5D9-52E8-5E45-AC5E-B36AD34EBA1E}"/>
                </a:ext>
              </a:extLst>
            </p:cNvPr>
            <p:cNvSpPr/>
            <p:nvPr/>
          </p:nvSpPr>
          <p:spPr bwMode="auto">
            <a:xfrm>
              <a:off x="4556917" y="2725740"/>
              <a:ext cx="12700" cy="7937"/>
            </a:xfrm>
            <a:custGeom>
              <a:avLst/>
              <a:gdLst>
                <a:gd name="T0" fmla="*/ 8 w 8"/>
                <a:gd name="T1" fmla="*/ 0 h 5"/>
                <a:gd name="T2" fmla="*/ 8 w 8"/>
                <a:gd name="T3" fmla="*/ 0 h 5"/>
                <a:gd name="T4" fmla="*/ 6 w 8"/>
                <a:gd name="T5" fmla="*/ 0 h 5"/>
                <a:gd name="T6" fmla="*/ 6 w 8"/>
                <a:gd name="T7" fmla="*/ 3 h 5"/>
                <a:gd name="T8" fmla="*/ 6 w 8"/>
                <a:gd name="T9" fmla="*/ 3 h 5"/>
                <a:gd name="T10" fmla="*/ 6 w 8"/>
                <a:gd name="T11" fmla="*/ 3 h 5"/>
                <a:gd name="T12" fmla="*/ 6 w 8"/>
                <a:gd name="T13" fmla="*/ 5 h 5"/>
                <a:gd name="T14" fmla="*/ 6 w 8"/>
                <a:gd name="T15" fmla="*/ 5 h 5"/>
                <a:gd name="T16" fmla="*/ 3 w 8"/>
                <a:gd name="T17" fmla="*/ 5 h 5"/>
                <a:gd name="T18" fmla="*/ 3 w 8"/>
                <a:gd name="T19" fmla="*/ 5 h 5"/>
                <a:gd name="T20" fmla="*/ 0 w 8"/>
                <a:gd name="T21" fmla="*/ 5 h 5"/>
                <a:gd name="T22" fmla="*/ 0 w 8"/>
                <a:gd name="T23" fmla="*/ 5 h 5"/>
                <a:gd name="T24" fmla="*/ 0 w 8"/>
                <a:gd name="T25" fmla="*/ 5 h 5"/>
                <a:gd name="T26" fmla="*/ 0 w 8"/>
                <a:gd name="T27" fmla="*/ 5 h 5"/>
                <a:gd name="T28" fmla="*/ 3 w 8"/>
                <a:gd name="T29" fmla="*/ 5 h 5"/>
                <a:gd name="T30" fmla="*/ 0 w 8"/>
                <a:gd name="T31" fmla="*/ 3 h 5"/>
                <a:gd name="T32" fmla="*/ 0 w 8"/>
                <a:gd name="T33" fmla="*/ 0 h 5"/>
                <a:gd name="T34" fmla="*/ 3 w 8"/>
                <a:gd name="T35" fmla="*/ 0 h 5"/>
                <a:gd name="T36" fmla="*/ 3 w 8"/>
                <a:gd name="T37" fmla="*/ 0 h 5"/>
                <a:gd name="T38" fmla="*/ 6 w 8"/>
                <a:gd name="T39" fmla="*/ 0 h 5"/>
                <a:gd name="T40" fmla="*/ 6 w 8"/>
                <a:gd name="T41" fmla="*/ 0 h 5"/>
                <a:gd name="T42" fmla="*/ 8 w 8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5" extrusionOk="0">
                  <a:moveTo>
                    <a:pt x="8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1" name="Freeform 8836">
              <a:extLst>
                <a:ext uri="{FF2B5EF4-FFF2-40B4-BE49-F238E27FC236}">
                  <a16:creationId xmlns:a16="http://schemas.microsoft.com/office/drawing/2014/main" id="{99752475-1A56-974D-8A03-263E7EB02A03}"/>
                </a:ext>
              </a:extLst>
            </p:cNvPr>
            <p:cNvSpPr/>
            <p:nvPr/>
          </p:nvSpPr>
          <p:spPr bwMode="auto">
            <a:xfrm>
              <a:off x="4214017" y="2563815"/>
              <a:ext cx="17463" cy="50799"/>
            </a:xfrm>
            <a:custGeom>
              <a:avLst/>
              <a:gdLst>
                <a:gd name="T0" fmla="*/ 3 w 11"/>
                <a:gd name="T1" fmla="*/ 0 h 32"/>
                <a:gd name="T2" fmla="*/ 3 w 11"/>
                <a:gd name="T3" fmla="*/ 3 h 32"/>
                <a:gd name="T4" fmla="*/ 3 w 11"/>
                <a:gd name="T5" fmla="*/ 3 h 32"/>
                <a:gd name="T6" fmla="*/ 0 w 11"/>
                <a:gd name="T7" fmla="*/ 6 h 32"/>
                <a:gd name="T8" fmla="*/ 0 w 11"/>
                <a:gd name="T9" fmla="*/ 6 h 32"/>
                <a:gd name="T10" fmla="*/ 0 w 11"/>
                <a:gd name="T11" fmla="*/ 6 h 32"/>
                <a:gd name="T12" fmla="*/ 0 w 11"/>
                <a:gd name="T13" fmla="*/ 8 h 32"/>
                <a:gd name="T14" fmla="*/ 3 w 11"/>
                <a:gd name="T15" fmla="*/ 8 h 32"/>
                <a:gd name="T16" fmla="*/ 3 w 11"/>
                <a:gd name="T17" fmla="*/ 11 h 32"/>
                <a:gd name="T18" fmla="*/ 3 w 11"/>
                <a:gd name="T19" fmla="*/ 14 h 32"/>
                <a:gd name="T20" fmla="*/ 5 w 11"/>
                <a:gd name="T21" fmla="*/ 16 h 32"/>
                <a:gd name="T22" fmla="*/ 5 w 11"/>
                <a:gd name="T23" fmla="*/ 19 h 32"/>
                <a:gd name="T24" fmla="*/ 8 w 11"/>
                <a:gd name="T25" fmla="*/ 19 h 32"/>
                <a:gd name="T26" fmla="*/ 8 w 11"/>
                <a:gd name="T27" fmla="*/ 22 h 32"/>
                <a:gd name="T28" fmla="*/ 8 w 11"/>
                <a:gd name="T29" fmla="*/ 24 h 32"/>
                <a:gd name="T30" fmla="*/ 8 w 11"/>
                <a:gd name="T31" fmla="*/ 27 h 32"/>
                <a:gd name="T32" fmla="*/ 8 w 11"/>
                <a:gd name="T33" fmla="*/ 30 h 32"/>
                <a:gd name="T34" fmla="*/ 8 w 11"/>
                <a:gd name="T35" fmla="*/ 32 h 32"/>
                <a:gd name="T36" fmla="*/ 8 w 11"/>
                <a:gd name="T37" fmla="*/ 32 h 32"/>
                <a:gd name="T38" fmla="*/ 11 w 11"/>
                <a:gd name="T39" fmla="*/ 32 h 32"/>
                <a:gd name="T40" fmla="*/ 8 w 11"/>
                <a:gd name="T41" fmla="*/ 30 h 32"/>
                <a:gd name="T42" fmla="*/ 11 w 11"/>
                <a:gd name="T43" fmla="*/ 30 h 32"/>
                <a:gd name="T44" fmla="*/ 11 w 11"/>
                <a:gd name="T45" fmla="*/ 27 h 32"/>
                <a:gd name="T46" fmla="*/ 8 w 11"/>
                <a:gd name="T47" fmla="*/ 27 h 32"/>
                <a:gd name="T48" fmla="*/ 8 w 11"/>
                <a:gd name="T49" fmla="*/ 24 h 32"/>
                <a:gd name="T50" fmla="*/ 11 w 11"/>
                <a:gd name="T51" fmla="*/ 24 h 32"/>
                <a:gd name="T52" fmla="*/ 11 w 11"/>
                <a:gd name="T53" fmla="*/ 24 h 32"/>
                <a:gd name="T54" fmla="*/ 11 w 11"/>
                <a:gd name="T55" fmla="*/ 22 h 32"/>
                <a:gd name="T56" fmla="*/ 11 w 11"/>
                <a:gd name="T57" fmla="*/ 19 h 32"/>
                <a:gd name="T58" fmla="*/ 8 w 11"/>
                <a:gd name="T59" fmla="*/ 16 h 32"/>
                <a:gd name="T60" fmla="*/ 8 w 11"/>
                <a:gd name="T61" fmla="*/ 16 h 32"/>
                <a:gd name="T62" fmla="*/ 8 w 11"/>
                <a:gd name="T63" fmla="*/ 14 h 32"/>
                <a:gd name="T64" fmla="*/ 5 w 11"/>
                <a:gd name="T65" fmla="*/ 11 h 32"/>
                <a:gd name="T66" fmla="*/ 5 w 11"/>
                <a:gd name="T67" fmla="*/ 8 h 32"/>
                <a:gd name="T68" fmla="*/ 5 w 11"/>
                <a:gd name="T69" fmla="*/ 8 h 32"/>
                <a:gd name="T70" fmla="*/ 3 w 11"/>
                <a:gd name="T71" fmla="*/ 8 h 32"/>
                <a:gd name="T72" fmla="*/ 3 w 11"/>
                <a:gd name="T73" fmla="*/ 6 h 32"/>
                <a:gd name="T74" fmla="*/ 3 w 11"/>
                <a:gd name="T75" fmla="*/ 6 h 32"/>
                <a:gd name="T76" fmla="*/ 3 w 11"/>
                <a:gd name="T77" fmla="*/ 6 h 32"/>
                <a:gd name="T78" fmla="*/ 3 w 11"/>
                <a:gd name="T79" fmla="*/ 3 h 32"/>
                <a:gd name="T80" fmla="*/ 3 w 11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" h="32" extrusionOk="0">
                  <a:moveTo>
                    <a:pt x="3" y="0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4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8" y="27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8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1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2" name="Freeform 8837">
              <a:extLst>
                <a:ext uri="{FF2B5EF4-FFF2-40B4-BE49-F238E27FC236}">
                  <a16:creationId xmlns:a16="http://schemas.microsoft.com/office/drawing/2014/main" id="{236326D6-25FF-8945-B283-BAEF80098016}"/>
                </a:ext>
              </a:extLst>
            </p:cNvPr>
            <p:cNvSpPr/>
            <p:nvPr/>
          </p:nvSpPr>
          <p:spPr bwMode="auto">
            <a:xfrm>
              <a:off x="3861592" y="2589215"/>
              <a:ext cx="12700" cy="17463"/>
            </a:xfrm>
            <a:custGeom>
              <a:avLst/>
              <a:gdLst>
                <a:gd name="T0" fmla="*/ 6 w 8"/>
                <a:gd name="T1" fmla="*/ 0 h 11"/>
                <a:gd name="T2" fmla="*/ 6 w 8"/>
                <a:gd name="T3" fmla="*/ 3 h 11"/>
                <a:gd name="T4" fmla="*/ 8 w 8"/>
                <a:gd name="T5" fmla="*/ 3 h 11"/>
                <a:gd name="T6" fmla="*/ 8 w 8"/>
                <a:gd name="T7" fmla="*/ 3 h 11"/>
                <a:gd name="T8" fmla="*/ 8 w 8"/>
                <a:gd name="T9" fmla="*/ 3 h 11"/>
                <a:gd name="T10" fmla="*/ 8 w 8"/>
                <a:gd name="T11" fmla="*/ 3 h 11"/>
                <a:gd name="T12" fmla="*/ 8 w 8"/>
                <a:gd name="T13" fmla="*/ 6 h 11"/>
                <a:gd name="T14" fmla="*/ 8 w 8"/>
                <a:gd name="T15" fmla="*/ 6 h 11"/>
                <a:gd name="T16" fmla="*/ 8 w 8"/>
                <a:gd name="T17" fmla="*/ 8 h 11"/>
                <a:gd name="T18" fmla="*/ 6 w 8"/>
                <a:gd name="T19" fmla="*/ 8 h 11"/>
                <a:gd name="T20" fmla="*/ 6 w 8"/>
                <a:gd name="T21" fmla="*/ 8 h 11"/>
                <a:gd name="T22" fmla="*/ 6 w 8"/>
                <a:gd name="T23" fmla="*/ 11 h 11"/>
                <a:gd name="T24" fmla="*/ 3 w 8"/>
                <a:gd name="T25" fmla="*/ 11 h 11"/>
                <a:gd name="T26" fmla="*/ 3 w 8"/>
                <a:gd name="T27" fmla="*/ 11 h 11"/>
                <a:gd name="T28" fmla="*/ 3 w 8"/>
                <a:gd name="T29" fmla="*/ 8 h 11"/>
                <a:gd name="T30" fmla="*/ 0 w 8"/>
                <a:gd name="T31" fmla="*/ 8 h 11"/>
                <a:gd name="T32" fmla="*/ 0 w 8"/>
                <a:gd name="T33" fmla="*/ 6 h 11"/>
                <a:gd name="T34" fmla="*/ 3 w 8"/>
                <a:gd name="T35" fmla="*/ 6 h 11"/>
                <a:gd name="T36" fmla="*/ 3 w 8"/>
                <a:gd name="T37" fmla="*/ 6 h 11"/>
                <a:gd name="T38" fmla="*/ 3 w 8"/>
                <a:gd name="T39" fmla="*/ 3 h 11"/>
                <a:gd name="T40" fmla="*/ 3 w 8"/>
                <a:gd name="T41" fmla="*/ 3 h 11"/>
                <a:gd name="T42" fmla="*/ 3 w 8"/>
                <a:gd name="T43" fmla="*/ 3 h 11"/>
                <a:gd name="T44" fmla="*/ 6 w 8"/>
                <a:gd name="T45" fmla="*/ 3 h 11"/>
                <a:gd name="T46" fmla="*/ 6 w 8"/>
                <a:gd name="T47" fmla="*/ 3 h 11"/>
                <a:gd name="T48" fmla="*/ 6 w 8"/>
                <a:gd name="T49" fmla="*/ 3 h 11"/>
                <a:gd name="T50" fmla="*/ 6 w 8"/>
                <a:gd name="T51" fmla="*/ 3 h 11"/>
                <a:gd name="T52" fmla="*/ 6 w 8"/>
                <a:gd name="T5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" h="11" extrusionOk="0">
                  <a:moveTo>
                    <a:pt x="6" y="0"/>
                  </a:move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3" name="Freeform 8838">
              <a:extLst>
                <a:ext uri="{FF2B5EF4-FFF2-40B4-BE49-F238E27FC236}">
                  <a16:creationId xmlns:a16="http://schemas.microsoft.com/office/drawing/2014/main" id="{C2896FCF-5846-9C4F-B919-A56D0349907D}"/>
                </a:ext>
              </a:extLst>
            </p:cNvPr>
            <p:cNvSpPr/>
            <p:nvPr/>
          </p:nvSpPr>
          <p:spPr bwMode="auto">
            <a:xfrm>
              <a:off x="4053680" y="2611441"/>
              <a:ext cx="7938" cy="3175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0 h 2"/>
                <a:gd name="T4" fmla="*/ 2 w 5"/>
                <a:gd name="T5" fmla="*/ 0 h 2"/>
                <a:gd name="T6" fmla="*/ 2 w 5"/>
                <a:gd name="T7" fmla="*/ 0 h 2"/>
                <a:gd name="T8" fmla="*/ 5 w 5"/>
                <a:gd name="T9" fmla="*/ 0 h 2"/>
                <a:gd name="T10" fmla="*/ 5 w 5"/>
                <a:gd name="T11" fmla="*/ 0 h 2"/>
                <a:gd name="T12" fmla="*/ 5 w 5"/>
                <a:gd name="T13" fmla="*/ 2 h 2"/>
                <a:gd name="T14" fmla="*/ 5 w 5"/>
                <a:gd name="T15" fmla="*/ 2 h 2"/>
                <a:gd name="T16" fmla="*/ 2 w 5"/>
                <a:gd name="T17" fmla="*/ 2 h 2"/>
                <a:gd name="T18" fmla="*/ 2 w 5"/>
                <a:gd name="T19" fmla="*/ 2 h 2"/>
                <a:gd name="T20" fmla="*/ 2 w 5"/>
                <a:gd name="T21" fmla="*/ 2 h 2"/>
                <a:gd name="T22" fmla="*/ 2 w 5"/>
                <a:gd name="T23" fmla="*/ 2 h 2"/>
                <a:gd name="T24" fmla="*/ 0 w 5"/>
                <a:gd name="T25" fmla="*/ 2 h 2"/>
                <a:gd name="T26" fmla="*/ 0 w 5"/>
                <a:gd name="T27" fmla="*/ 0 h 2"/>
                <a:gd name="T28" fmla="*/ 0 w 5"/>
                <a:gd name="T29" fmla="*/ 0 h 2"/>
                <a:gd name="T30" fmla="*/ 0 w 5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2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4" name="Freeform 8839">
              <a:extLst>
                <a:ext uri="{FF2B5EF4-FFF2-40B4-BE49-F238E27FC236}">
                  <a16:creationId xmlns:a16="http://schemas.microsoft.com/office/drawing/2014/main" id="{BD675B8E-2700-3E44-81CA-1DC581CDD271}"/>
                </a:ext>
              </a:extLst>
            </p:cNvPr>
            <p:cNvSpPr/>
            <p:nvPr/>
          </p:nvSpPr>
          <p:spPr bwMode="auto">
            <a:xfrm>
              <a:off x="3998117" y="2543177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0 h 11"/>
                <a:gd name="T4" fmla="*/ 0 w 8"/>
                <a:gd name="T5" fmla="*/ 0 h 11"/>
                <a:gd name="T6" fmla="*/ 2 w 8"/>
                <a:gd name="T7" fmla="*/ 0 h 11"/>
                <a:gd name="T8" fmla="*/ 2 w 8"/>
                <a:gd name="T9" fmla="*/ 3 h 11"/>
                <a:gd name="T10" fmla="*/ 2 w 8"/>
                <a:gd name="T11" fmla="*/ 3 h 11"/>
                <a:gd name="T12" fmla="*/ 2 w 8"/>
                <a:gd name="T13" fmla="*/ 3 h 11"/>
                <a:gd name="T14" fmla="*/ 5 w 8"/>
                <a:gd name="T15" fmla="*/ 5 h 11"/>
                <a:gd name="T16" fmla="*/ 5 w 8"/>
                <a:gd name="T17" fmla="*/ 5 h 11"/>
                <a:gd name="T18" fmla="*/ 5 w 8"/>
                <a:gd name="T19" fmla="*/ 5 h 11"/>
                <a:gd name="T20" fmla="*/ 5 w 8"/>
                <a:gd name="T21" fmla="*/ 5 h 11"/>
                <a:gd name="T22" fmla="*/ 5 w 8"/>
                <a:gd name="T23" fmla="*/ 8 h 11"/>
                <a:gd name="T24" fmla="*/ 8 w 8"/>
                <a:gd name="T25" fmla="*/ 8 h 11"/>
                <a:gd name="T26" fmla="*/ 8 w 8"/>
                <a:gd name="T27" fmla="*/ 8 h 11"/>
                <a:gd name="T28" fmla="*/ 5 w 8"/>
                <a:gd name="T29" fmla="*/ 11 h 11"/>
                <a:gd name="T30" fmla="*/ 5 w 8"/>
                <a:gd name="T31" fmla="*/ 8 h 11"/>
                <a:gd name="T32" fmla="*/ 5 w 8"/>
                <a:gd name="T33" fmla="*/ 8 h 11"/>
                <a:gd name="T34" fmla="*/ 5 w 8"/>
                <a:gd name="T35" fmla="*/ 8 h 11"/>
                <a:gd name="T36" fmla="*/ 5 w 8"/>
                <a:gd name="T37" fmla="*/ 8 h 11"/>
                <a:gd name="T38" fmla="*/ 2 w 8"/>
                <a:gd name="T39" fmla="*/ 5 h 11"/>
                <a:gd name="T40" fmla="*/ 2 w 8"/>
                <a:gd name="T41" fmla="*/ 5 h 11"/>
                <a:gd name="T42" fmla="*/ 2 w 8"/>
                <a:gd name="T43" fmla="*/ 5 h 11"/>
                <a:gd name="T44" fmla="*/ 2 w 8"/>
                <a:gd name="T45" fmla="*/ 5 h 11"/>
                <a:gd name="T46" fmla="*/ 2 w 8"/>
                <a:gd name="T47" fmla="*/ 3 h 11"/>
                <a:gd name="T48" fmla="*/ 2 w 8"/>
                <a:gd name="T49" fmla="*/ 3 h 11"/>
                <a:gd name="T50" fmla="*/ 0 w 8"/>
                <a:gd name="T51" fmla="*/ 3 h 11"/>
                <a:gd name="T52" fmla="*/ 0 w 8"/>
                <a:gd name="T53" fmla="*/ 3 h 11"/>
                <a:gd name="T54" fmla="*/ 0 w 8"/>
                <a:gd name="T55" fmla="*/ 0 h 11"/>
                <a:gd name="T56" fmla="*/ 0 w 8"/>
                <a:gd name="T57" fmla="*/ 0 h 11"/>
                <a:gd name="T58" fmla="*/ 0 w 8"/>
                <a:gd name="T59" fmla="*/ 0 h 11"/>
                <a:gd name="T60" fmla="*/ 0 w 8"/>
                <a:gd name="T6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5" name="Freeform 8840">
              <a:extLst>
                <a:ext uri="{FF2B5EF4-FFF2-40B4-BE49-F238E27FC236}">
                  <a16:creationId xmlns:a16="http://schemas.microsoft.com/office/drawing/2014/main" id="{D61160B5-7090-8C4E-BD21-43E19E1B5854}"/>
                </a:ext>
              </a:extLst>
            </p:cNvPr>
            <p:cNvSpPr/>
            <p:nvPr/>
          </p:nvSpPr>
          <p:spPr bwMode="auto">
            <a:xfrm>
              <a:off x="3972716" y="2530476"/>
              <a:ext cx="7938" cy="4764"/>
            </a:xfrm>
            <a:custGeom>
              <a:avLst/>
              <a:gdLst>
                <a:gd name="T0" fmla="*/ 0 w 5"/>
                <a:gd name="T1" fmla="*/ 0 h 3"/>
                <a:gd name="T2" fmla="*/ 2 w 5"/>
                <a:gd name="T3" fmla="*/ 0 h 3"/>
                <a:gd name="T4" fmla="*/ 2 w 5"/>
                <a:gd name="T5" fmla="*/ 0 h 3"/>
                <a:gd name="T6" fmla="*/ 2 w 5"/>
                <a:gd name="T7" fmla="*/ 0 h 3"/>
                <a:gd name="T8" fmla="*/ 2 w 5"/>
                <a:gd name="T9" fmla="*/ 0 h 3"/>
                <a:gd name="T10" fmla="*/ 2 w 5"/>
                <a:gd name="T11" fmla="*/ 0 h 3"/>
                <a:gd name="T12" fmla="*/ 5 w 5"/>
                <a:gd name="T13" fmla="*/ 3 h 3"/>
                <a:gd name="T14" fmla="*/ 5 w 5"/>
                <a:gd name="T15" fmla="*/ 3 h 3"/>
                <a:gd name="T16" fmla="*/ 2 w 5"/>
                <a:gd name="T17" fmla="*/ 3 h 3"/>
                <a:gd name="T18" fmla="*/ 2 w 5"/>
                <a:gd name="T19" fmla="*/ 3 h 3"/>
                <a:gd name="T20" fmla="*/ 2 w 5"/>
                <a:gd name="T21" fmla="*/ 3 h 3"/>
                <a:gd name="T22" fmla="*/ 2 w 5"/>
                <a:gd name="T23" fmla="*/ 3 h 3"/>
                <a:gd name="T24" fmla="*/ 0 w 5"/>
                <a:gd name="T25" fmla="*/ 3 h 3"/>
                <a:gd name="T26" fmla="*/ 0 w 5"/>
                <a:gd name="T27" fmla="*/ 3 h 3"/>
                <a:gd name="T28" fmla="*/ 0 w 5"/>
                <a:gd name="T29" fmla="*/ 0 h 3"/>
                <a:gd name="T30" fmla="*/ 0 w 5"/>
                <a:gd name="T31" fmla="*/ 0 h 3"/>
                <a:gd name="T32" fmla="*/ 0 w 5"/>
                <a:gd name="T33" fmla="*/ 0 h 3"/>
                <a:gd name="T34" fmla="*/ 0 w 5"/>
                <a:gd name="T35" fmla="*/ 0 h 3"/>
                <a:gd name="T36" fmla="*/ 0 w 5"/>
                <a:gd name="T3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3" extrusionOk="0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6" name="Freeform 8841">
              <a:extLst>
                <a:ext uri="{FF2B5EF4-FFF2-40B4-BE49-F238E27FC236}">
                  <a16:creationId xmlns:a16="http://schemas.microsoft.com/office/drawing/2014/main" id="{63926BF1-1BA8-4A4F-8473-E728D0818385}"/>
                </a:ext>
              </a:extLst>
            </p:cNvPr>
            <p:cNvSpPr/>
            <p:nvPr/>
          </p:nvSpPr>
          <p:spPr bwMode="auto">
            <a:xfrm>
              <a:off x="3950492" y="2517777"/>
              <a:ext cx="9526" cy="7937"/>
            </a:xfrm>
            <a:custGeom>
              <a:avLst/>
              <a:gdLst>
                <a:gd name="T0" fmla="*/ 0 w 6"/>
                <a:gd name="T1" fmla="*/ 3 h 5"/>
                <a:gd name="T2" fmla="*/ 0 w 6"/>
                <a:gd name="T3" fmla="*/ 3 h 5"/>
                <a:gd name="T4" fmla="*/ 0 w 6"/>
                <a:gd name="T5" fmla="*/ 3 h 5"/>
                <a:gd name="T6" fmla="*/ 0 w 6"/>
                <a:gd name="T7" fmla="*/ 3 h 5"/>
                <a:gd name="T8" fmla="*/ 3 w 6"/>
                <a:gd name="T9" fmla="*/ 3 h 5"/>
                <a:gd name="T10" fmla="*/ 3 w 6"/>
                <a:gd name="T11" fmla="*/ 3 h 5"/>
                <a:gd name="T12" fmla="*/ 3 w 6"/>
                <a:gd name="T13" fmla="*/ 0 h 5"/>
                <a:gd name="T14" fmla="*/ 3 w 6"/>
                <a:gd name="T15" fmla="*/ 0 h 5"/>
                <a:gd name="T16" fmla="*/ 3 w 6"/>
                <a:gd name="T17" fmla="*/ 0 h 5"/>
                <a:gd name="T18" fmla="*/ 3 w 6"/>
                <a:gd name="T19" fmla="*/ 0 h 5"/>
                <a:gd name="T20" fmla="*/ 6 w 6"/>
                <a:gd name="T21" fmla="*/ 0 h 5"/>
                <a:gd name="T22" fmla="*/ 6 w 6"/>
                <a:gd name="T23" fmla="*/ 0 h 5"/>
                <a:gd name="T24" fmla="*/ 6 w 6"/>
                <a:gd name="T25" fmla="*/ 0 h 5"/>
                <a:gd name="T26" fmla="*/ 6 w 6"/>
                <a:gd name="T27" fmla="*/ 3 h 5"/>
                <a:gd name="T28" fmla="*/ 6 w 6"/>
                <a:gd name="T29" fmla="*/ 3 h 5"/>
                <a:gd name="T30" fmla="*/ 6 w 6"/>
                <a:gd name="T31" fmla="*/ 3 h 5"/>
                <a:gd name="T32" fmla="*/ 6 w 6"/>
                <a:gd name="T33" fmla="*/ 5 h 5"/>
                <a:gd name="T34" fmla="*/ 6 w 6"/>
                <a:gd name="T35" fmla="*/ 5 h 5"/>
                <a:gd name="T36" fmla="*/ 3 w 6"/>
                <a:gd name="T37" fmla="*/ 5 h 5"/>
                <a:gd name="T38" fmla="*/ 3 w 6"/>
                <a:gd name="T39" fmla="*/ 3 h 5"/>
                <a:gd name="T40" fmla="*/ 3 w 6"/>
                <a:gd name="T41" fmla="*/ 5 h 5"/>
                <a:gd name="T42" fmla="*/ 3 w 6"/>
                <a:gd name="T43" fmla="*/ 3 h 5"/>
                <a:gd name="T44" fmla="*/ 3 w 6"/>
                <a:gd name="T45" fmla="*/ 3 h 5"/>
                <a:gd name="T46" fmla="*/ 0 w 6"/>
                <a:gd name="T47" fmla="*/ 3 h 5"/>
                <a:gd name="T48" fmla="*/ 0 w 6"/>
                <a:gd name="T4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" h="5" extrusionOk="0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7" name="Freeform 8842">
              <a:extLst>
                <a:ext uri="{FF2B5EF4-FFF2-40B4-BE49-F238E27FC236}">
                  <a16:creationId xmlns:a16="http://schemas.microsoft.com/office/drawing/2014/main" id="{E6854B59-D2F1-9249-BDA9-7595ACEFBDB7}"/>
                </a:ext>
              </a:extLst>
            </p:cNvPr>
            <p:cNvSpPr/>
            <p:nvPr/>
          </p:nvSpPr>
          <p:spPr bwMode="auto">
            <a:xfrm>
              <a:off x="3696492" y="2492378"/>
              <a:ext cx="47626" cy="12699"/>
            </a:xfrm>
            <a:custGeom>
              <a:avLst/>
              <a:gdLst>
                <a:gd name="T0" fmla="*/ 3 w 30"/>
                <a:gd name="T1" fmla="*/ 5 h 8"/>
                <a:gd name="T2" fmla="*/ 3 w 30"/>
                <a:gd name="T3" fmla="*/ 5 h 8"/>
                <a:gd name="T4" fmla="*/ 3 w 30"/>
                <a:gd name="T5" fmla="*/ 5 h 8"/>
                <a:gd name="T6" fmla="*/ 0 w 30"/>
                <a:gd name="T7" fmla="*/ 5 h 8"/>
                <a:gd name="T8" fmla="*/ 3 w 30"/>
                <a:gd name="T9" fmla="*/ 3 h 8"/>
                <a:gd name="T10" fmla="*/ 3 w 30"/>
                <a:gd name="T11" fmla="*/ 3 h 8"/>
                <a:gd name="T12" fmla="*/ 6 w 30"/>
                <a:gd name="T13" fmla="*/ 3 h 8"/>
                <a:gd name="T14" fmla="*/ 8 w 30"/>
                <a:gd name="T15" fmla="*/ 3 h 8"/>
                <a:gd name="T16" fmla="*/ 11 w 30"/>
                <a:gd name="T17" fmla="*/ 0 h 8"/>
                <a:gd name="T18" fmla="*/ 11 w 30"/>
                <a:gd name="T19" fmla="*/ 0 h 8"/>
                <a:gd name="T20" fmla="*/ 14 w 30"/>
                <a:gd name="T21" fmla="*/ 0 h 8"/>
                <a:gd name="T22" fmla="*/ 16 w 30"/>
                <a:gd name="T23" fmla="*/ 0 h 8"/>
                <a:gd name="T24" fmla="*/ 16 w 30"/>
                <a:gd name="T25" fmla="*/ 0 h 8"/>
                <a:gd name="T26" fmla="*/ 19 w 30"/>
                <a:gd name="T27" fmla="*/ 3 h 8"/>
                <a:gd name="T28" fmla="*/ 22 w 30"/>
                <a:gd name="T29" fmla="*/ 3 h 8"/>
                <a:gd name="T30" fmla="*/ 22 w 30"/>
                <a:gd name="T31" fmla="*/ 3 h 8"/>
                <a:gd name="T32" fmla="*/ 24 w 30"/>
                <a:gd name="T33" fmla="*/ 3 h 8"/>
                <a:gd name="T34" fmla="*/ 24 w 30"/>
                <a:gd name="T35" fmla="*/ 3 h 8"/>
                <a:gd name="T36" fmla="*/ 27 w 30"/>
                <a:gd name="T37" fmla="*/ 5 h 8"/>
                <a:gd name="T38" fmla="*/ 27 w 30"/>
                <a:gd name="T39" fmla="*/ 5 h 8"/>
                <a:gd name="T40" fmla="*/ 27 w 30"/>
                <a:gd name="T41" fmla="*/ 5 h 8"/>
                <a:gd name="T42" fmla="*/ 30 w 30"/>
                <a:gd name="T43" fmla="*/ 5 h 8"/>
                <a:gd name="T44" fmla="*/ 30 w 30"/>
                <a:gd name="T45" fmla="*/ 5 h 8"/>
                <a:gd name="T46" fmla="*/ 30 w 30"/>
                <a:gd name="T47" fmla="*/ 8 h 8"/>
                <a:gd name="T48" fmla="*/ 30 w 30"/>
                <a:gd name="T49" fmla="*/ 8 h 8"/>
                <a:gd name="T50" fmla="*/ 30 w 30"/>
                <a:gd name="T51" fmla="*/ 8 h 8"/>
                <a:gd name="T52" fmla="*/ 30 w 30"/>
                <a:gd name="T53" fmla="*/ 8 h 8"/>
                <a:gd name="T54" fmla="*/ 27 w 30"/>
                <a:gd name="T55" fmla="*/ 8 h 8"/>
                <a:gd name="T56" fmla="*/ 27 w 30"/>
                <a:gd name="T57" fmla="*/ 8 h 8"/>
                <a:gd name="T58" fmla="*/ 27 w 30"/>
                <a:gd name="T59" fmla="*/ 8 h 8"/>
                <a:gd name="T60" fmla="*/ 24 w 30"/>
                <a:gd name="T61" fmla="*/ 8 h 8"/>
                <a:gd name="T62" fmla="*/ 24 w 30"/>
                <a:gd name="T63" fmla="*/ 8 h 8"/>
                <a:gd name="T64" fmla="*/ 24 w 30"/>
                <a:gd name="T65" fmla="*/ 8 h 8"/>
                <a:gd name="T66" fmla="*/ 22 w 30"/>
                <a:gd name="T67" fmla="*/ 8 h 8"/>
                <a:gd name="T68" fmla="*/ 22 w 30"/>
                <a:gd name="T69" fmla="*/ 8 h 8"/>
                <a:gd name="T70" fmla="*/ 19 w 30"/>
                <a:gd name="T71" fmla="*/ 5 h 8"/>
                <a:gd name="T72" fmla="*/ 19 w 30"/>
                <a:gd name="T73" fmla="*/ 5 h 8"/>
                <a:gd name="T74" fmla="*/ 19 w 30"/>
                <a:gd name="T75" fmla="*/ 5 h 8"/>
                <a:gd name="T76" fmla="*/ 16 w 30"/>
                <a:gd name="T77" fmla="*/ 5 h 8"/>
                <a:gd name="T78" fmla="*/ 16 w 30"/>
                <a:gd name="T79" fmla="*/ 5 h 8"/>
                <a:gd name="T80" fmla="*/ 14 w 30"/>
                <a:gd name="T81" fmla="*/ 5 h 8"/>
                <a:gd name="T82" fmla="*/ 14 w 30"/>
                <a:gd name="T83" fmla="*/ 5 h 8"/>
                <a:gd name="T84" fmla="*/ 14 w 30"/>
                <a:gd name="T85" fmla="*/ 5 h 8"/>
                <a:gd name="T86" fmla="*/ 11 w 30"/>
                <a:gd name="T87" fmla="*/ 5 h 8"/>
                <a:gd name="T88" fmla="*/ 11 w 30"/>
                <a:gd name="T89" fmla="*/ 5 h 8"/>
                <a:gd name="T90" fmla="*/ 11 w 30"/>
                <a:gd name="T91" fmla="*/ 5 h 8"/>
                <a:gd name="T92" fmla="*/ 8 w 30"/>
                <a:gd name="T93" fmla="*/ 5 h 8"/>
                <a:gd name="T94" fmla="*/ 8 w 30"/>
                <a:gd name="T95" fmla="*/ 5 h 8"/>
                <a:gd name="T96" fmla="*/ 8 w 30"/>
                <a:gd name="T97" fmla="*/ 5 h 8"/>
                <a:gd name="T98" fmla="*/ 6 w 30"/>
                <a:gd name="T99" fmla="*/ 5 h 8"/>
                <a:gd name="T100" fmla="*/ 6 w 30"/>
                <a:gd name="T101" fmla="*/ 5 h 8"/>
                <a:gd name="T102" fmla="*/ 6 w 30"/>
                <a:gd name="T103" fmla="*/ 5 h 8"/>
                <a:gd name="T104" fmla="*/ 6 w 30"/>
                <a:gd name="T105" fmla="*/ 5 h 8"/>
                <a:gd name="T106" fmla="*/ 3 w 30"/>
                <a:gd name="T107" fmla="*/ 5 h 8"/>
                <a:gd name="T108" fmla="*/ 3 w 30"/>
                <a:gd name="T109" fmla="*/ 5 h 8"/>
                <a:gd name="T110" fmla="*/ 3 w 30"/>
                <a:gd name="T111" fmla="*/ 5 h 8"/>
                <a:gd name="T112" fmla="*/ 3 w 30"/>
                <a:gd name="T113" fmla="*/ 5 h 8"/>
                <a:gd name="T114" fmla="*/ 3 w 30"/>
                <a:gd name="T1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" h="8" extrusionOk="0">
                  <a:moveTo>
                    <a:pt x="3" y="5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8" name="Freeform 8843">
              <a:extLst>
                <a:ext uri="{FF2B5EF4-FFF2-40B4-BE49-F238E27FC236}">
                  <a16:creationId xmlns:a16="http://schemas.microsoft.com/office/drawing/2014/main" id="{57095CB1-DDBC-4C44-BE8A-86178D833DBD}"/>
                </a:ext>
              </a:extLst>
            </p:cNvPr>
            <p:cNvSpPr/>
            <p:nvPr/>
          </p:nvSpPr>
          <p:spPr bwMode="auto">
            <a:xfrm>
              <a:off x="3599655" y="2365377"/>
              <a:ext cx="3175" cy="7937"/>
            </a:xfrm>
            <a:custGeom>
              <a:avLst/>
              <a:gdLst>
                <a:gd name="T0" fmla="*/ 0 w 2"/>
                <a:gd name="T1" fmla="*/ 0 h 5"/>
                <a:gd name="T2" fmla="*/ 0 w 2"/>
                <a:gd name="T3" fmla="*/ 0 h 5"/>
                <a:gd name="T4" fmla="*/ 0 w 2"/>
                <a:gd name="T5" fmla="*/ 2 h 5"/>
                <a:gd name="T6" fmla="*/ 0 w 2"/>
                <a:gd name="T7" fmla="*/ 2 h 5"/>
                <a:gd name="T8" fmla="*/ 2 w 2"/>
                <a:gd name="T9" fmla="*/ 2 h 5"/>
                <a:gd name="T10" fmla="*/ 2 w 2"/>
                <a:gd name="T11" fmla="*/ 5 h 5"/>
                <a:gd name="T12" fmla="*/ 2 w 2"/>
                <a:gd name="T13" fmla="*/ 2 h 5"/>
                <a:gd name="T14" fmla="*/ 2 w 2"/>
                <a:gd name="T15" fmla="*/ 2 h 5"/>
                <a:gd name="T16" fmla="*/ 2 w 2"/>
                <a:gd name="T17" fmla="*/ 2 h 5"/>
                <a:gd name="T18" fmla="*/ 2 w 2"/>
                <a:gd name="T19" fmla="*/ 2 h 5"/>
                <a:gd name="T20" fmla="*/ 2 w 2"/>
                <a:gd name="T21" fmla="*/ 0 h 5"/>
                <a:gd name="T22" fmla="*/ 2 w 2"/>
                <a:gd name="T23" fmla="*/ 0 h 5"/>
                <a:gd name="T24" fmla="*/ 2 w 2"/>
                <a:gd name="T25" fmla="*/ 0 h 5"/>
                <a:gd name="T26" fmla="*/ 0 w 2"/>
                <a:gd name="T2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29" name="Freeform 8844">
              <a:extLst>
                <a:ext uri="{FF2B5EF4-FFF2-40B4-BE49-F238E27FC236}">
                  <a16:creationId xmlns:a16="http://schemas.microsoft.com/office/drawing/2014/main" id="{7B0A8313-806F-F44F-8395-F13C1162C1DE}"/>
                </a:ext>
              </a:extLst>
            </p:cNvPr>
            <p:cNvSpPr/>
            <p:nvPr/>
          </p:nvSpPr>
          <p:spPr bwMode="auto">
            <a:xfrm>
              <a:off x="4256879" y="2398715"/>
              <a:ext cx="92075" cy="152399"/>
            </a:xfrm>
            <a:custGeom>
              <a:avLst/>
              <a:gdLst>
                <a:gd name="T0" fmla="*/ 26 w 58"/>
                <a:gd name="T1" fmla="*/ 3 h 96"/>
                <a:gd name="T2" fmla="*/ 32 w 58"/>
                <a:gd name="T3" fmla="*/ 0 h 96"/>
                <a:gd name="T4" fmla="*/ 34 w 58"/>
                <a:gd name="T5" fmla="*/ 8 h 96"/>
                <a:gd name="T6" fmla="*/ 37 w 58"/>
                <a:gd name="T7" fmla="*/ 21 h 96"/>
                <a:gd name="T8" fmla="*/ 40 w 58"/>
                <a:gd name="T9" fmla="*/ 32 h 96"/>
                <a:gd name="T10" fmla="*/ 42 w 58"/>
                <a:gd name="T11" fmla="*/ 46 h 96"/>
                <a:gd name="T12" fmla="*/ 50 w 58"/>
                <a:gd name="T13" fmla="*/ 51 h 96"/>
                <a:gd name="T14" fmla="*/ 53 w 58"/>
                <a:gd name="T15" fmla="*/ 62 h 96"/>
                <a:gd name="T16" fmla="*/ 56 w 58"/>
                <a:gd name="T17" fmla="*/ 70 h 96"/>
                <a:gd name="T18" fmla="*/ 58 w 58"/>
                <a:gd name="T19" fmla="*/ 75 h 96"/>
                <a:gd name="T20" fmla="*/ 56 w 58"/>
                <a:gd name="T21" fmla="*/ 80 h 96"/>
                <a:gd name="T22" fmla="*/ 56 w 58"/>
                <a:gd name="T23" fmla="*/ 86 h 96"/>
                <a:gd name="T24" fmla="*/ 56 w 58"/>
                <a:gd name="T25" fmla="*/ 91 h 96"/>
                <a:gd name="T26" fmla="*/ 50 w 58"/>
                <a:gd name="T27" fmla="*/ 94 h 96"/>
                <a:gd name="T28" fmla="*/ 48 w 58"/>
                <a:gd name="T29" fmla="*/ 96 h 96"/>
                <a:gd name="T30" fmla="*/ 48 w 58"/>
                <a:gd name="T31" fmla="*/ 96 h 96"/>
                <a:gd name="T32" fmla="*/ 40 w 58"/>
                <a:gd name="T33" fmla="*/ 96 h 96"/>
                <a:gd name="T34" fmla="*/ 37 w 58"/>
                <a:gd name="T35" fmla="*/ 94 h 96"/>
                <a:gd name="T36" fmla="*/ 34 w 58"/>
                <a:gd name="T37" fmla="*/ 91 h 96"/>
                <a:gd name="T38" fmla="*/ 32 w 58"/>
                <a:gd name="T39" fmla="*/ 91 h 96"/>
                <a:gd name="T40" fmla="*/ 29 w 58"/>
                <a:gd name="T41" fmla="*/ 94 h 96"/>
                <a:gd name="T42" fmla="*/ 29 w 58"/>
                <a:gd name="T43" fmla="*/ 91 h 96"/>
                <a:gd name="T44" fmla="*/ 24 w 58"/>
                <a:gd name="T45" fmla="*/ 88 h 96"/>
                <a:gd name="T46" fmla="*/ 21 w 58"/>
                <a:gd name="T47" fmla="*/ 86 h 96"/>
                <a:gd name="T48" fmla="*/ 18 w 58"/>
                <a:gd name="T49" fmla="*/ 83 h 96"/>
                <a:gd name="T50" fmla="*/ 21 w 58"/>
                <a:gd name="T51" fmla="*/ 78 h 96"/>
                <a:gd name="T52" fmla="*/ 24 w 58"/>
                <a:gd name="T53" fmla="*/ 78 h 96"/>
                <a:gd name="T54" fmla="*/ 24 w 58"/>
                <a:gd name="T55" fmla="*/ 70 h 96"/>
                <a:gd name="T56" fmla="*/ 18 w 58"/>
                <a:gd name="T57" fmla="*/ 64 h 96"/>
                <a:gd name="T58" fmla="*/ 13 w 58"/>
                <a:gd name="T59" fmla="*/ 59 h 96"/>
                <a:gd name="T60" fmla="*/ 10 w 58"/>
                <a:gd name="T61" fmla="*/ 56 h 96"/>
                <a:gd name="T62" fmla="*/ 8 w 58"/>
                <a:gd name="T63" fmla="*/ 51 h 96"/>
                <a:gd name="T64" fmla="*/ 10 w 58"/>
                <a:gd name="T65" fmla="*/ 62 h 96"/>
                <a:gd name="T66" fmla="*/ 5 w 58"/>
                <a:gd name="T67" fmla="*/ 59 h 96"/>
                <a:gd name="T68" fmla="*/ 5 w 58"/>
                <a:gd name="T69" fmla="*/ 48 h 96"/>
                <a:gd name="T70" fmla="*/ 0 w 58"/>
                <a:gd name="T71" fmla="*/ 40 h 96"/>
                <a:gd name="T72" fmla="*/ 0 w 58"/>
                <a:gd name="T73" fmla="*/ 32 h 96"/>
                <a:gd name="T74" fmla="*/ 2 w 58"/>
                <a:gd name="T75" fmla="*/ 29 h 96"/>
                <a:gd name="T76" fmla="*/ 2 w 58"/>
                <a:gd name="T77" fmla="*/ 27 h 96"/>
                <a:gd name="T78" fmla="*/ 2 w 58"/>
                <a:gd name="T79" fmla="*/ 27 h 96"/>
                <a:gd name="T80" fmla="*/ 5 w 58"/>
                <a:gd name="T81" fmla="*/ 24 h 96"/>
                <a:gd name="T82" fmla="*/ 2 w 58"/>
                <a:gd name="T83" fmla="*/ 21 h 96"/>
                <a:gd name="T84" fmla="*/ 0 w 58"/>
                <a:gd name="T85" fmla="*/ 21 h 96"/>
                <a:gd name="T86" fmla="*/ 0 w 58"/>
                <a:gd name="T87" fmla="*/ 21 h 96"/>
                <a:gd name="T88" fmla="*/ 2 w 58"/>
                <a:gd name="T89" fmla="*/ 19 h 96"/>
                <a:gd name="T90" fmla="*/ 2 w 58"/>
                <a:gd name="T91" fmla="*/ 16 h 96"/>
                <a:gd name="T92" fmla="*/ 2 w 58"/>
                <a:gd name="T93" fmla="*/ 16 h 96"/>
                <a:gd name="T94" fmla="*/ 0 w 58"/>
                <a:gd name="T95" fmla="*/ 13 h 96"/>
                <a:gd name="T96" fmla="*/ 2 w 58"/>
                <a:gd name="T97" fmla="*/ 11 h 96"/>
                <a:gd name="T98" fmla="*/ 5 w 58"/>
                <a:gd name="T99" fmla="*/ 13 h 96"/>
                <a:gd name="T100" fmla="*/ 10 w 58"/>
                <a:gd name="T101" fmla="*/ 19 h 96"/>
                <a:gd name="T102" fmla="*/ 13 w 58"/>
                <a:gd name="T103" fmla="*/ 24 h 96"/>
                <a:gd name="T104" fmla="*/ 13 w 58"/>
                <a:gd name="T105" fmla="*/ 19 h 96"/>
                <a:gd name="T106" fmla="*/ 13 w 58"/>
                <a:gd name="T107" fmla="*/ 13 h 96"/>
                <a:gd name="T108" fmla="*/ 8 w 58"/>
                <a:gd name="T109" fmla="*/ 8 h 96"/>
                <a:gd name="T110" fmla="*/ 10 w 58"/>
                <a:gd name="T111" fmla="*/ 5 h 96"/>
                <a:gd name="T112" fmla="*/ 13 w 58"/>
                <a:gd name="T113" fmla="*/ 8 h 96"/>
                <a:gd name="T114" fmla="*/ 18 w 58"/>
                <a:gd name="T115" fmla="*/ 8 h 96"/>
                <a:gd name="T116" fmla="*/ 21 w 58"/>
                <a:gd name="T117" fmla="*/ 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" h="96" extrusionOk="0">
                  <a:moveTo>
                    <a:pt x="21" y="0"/>
                  </a:moveTo>
                  <a:lnTo>
                    <a:pt x="24" y="0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5"/>
                  </a:lnTo>
                  <a:lnTo>
                    <a:pt x="34" y="8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5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5" y="43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8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50" y="59"/>
                  </a:lnTo>
                  <a:lnTo>
                    <a:pt x="53" y="62"/>
                  </a:lnTo>
                  <a:lnTo>
                    <a:pt x="53" y="64"/>
                  </a:lnTo>
                  <a:lnTo>
                    <a:pt x="53" y="67"/>
                  </a:lnTo>
                  <a:lnTo>
                    <a:pt x="53" y="67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50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8" y="96"/>
                  </a:lnTo>
                  <a:lnTo>
                    <a:pt x="45" y="96"/>
                  </a:lnTo>
                  <a:lnTo>
                    <a:pt x="45" y="96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4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6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5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18" y="64"/>
                  </a:lnTo>
                  <a:lnTo>
                    <a:pt x="18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0" y="59"/>
                  </a:lnTo>
                  <a:lnTo>
                    <a:pt x="10" y="62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6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1"/>
                  </a:lnTo>
                  <a:lnTo>
                    <a:pt x="5" y="48"/>
                  </a:lnTo>
                  <a:lnTo>
                    <a:pt x="2" y="46"/>
                  </a:lnTo>
                  <a:lnTo>
                    <a:pt x="2" y="4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0" name="Freeform 8845">
              <a:extLst>
                <a:ext uri="{FF2B5EF4-FFF2-40B4-BE49-F238E27FC236}">
                  <a16:creationId xmlns:a16="http://schemas.microsoft.com/office/drawing/2014/main" id="{19B250B2-0907-7845-A1F0-7FEBFA4902F2}"/>
                </a:ext>
              </a:extLst>
            </p:cNvPr>
            <p:cNvSpPr/>
            <p:nvPr/>
          </p:nvSpPr>
          <p:spPr bwMode="auto">
            <a:xfrm>
              <a:off x="4196555" y="2327277"/>
              <a:ext cx="12700" cy="25400"/>
            </a:xfrm>
            <a:custGeom>
              <a:avLst/>
              <a:gdLst>
                <a:gd name="T0" fmla="*/ 0 w 8"/>
                <a:gd name="T1" fmla="*/ 0 h 16"/>
                <a:gd name="T2" fmla="*/ 0 w 8"/>
                <a:gd name="T3" fmla="*/ 0 h 16"/>
                <a:gd name="T4" fmla="*/ 0 w 8"/>
                <a:gd name="T5" fmla="*/ 0 h 16"/>
                <a:gd name="T6" fmla="*/ 3 w 8"/>
                <a:gd name="T7" fmla="*/ 2 h 16"/>
                <a:gd name="T8" fmla="*/ 3 w 8"/>
                <a:gd name="T9" fmla="*/ 2 h 16"/>
                <a:gd name="T10" fmla="*/ 3 w 8"/>
                <a:gd name="T11" fmla="*/ 2 h 16"/>
                <a:gd name="T12" fmla="*/ 6 w 8"/>
                <a:gd name="T13" fmla="*/ 5 h 16"/>
                <a:gd name="T14" fmla="*/ 6 w 8"/>
                <a:gd name="T15" fmla="*/ 5 h 16"/>
                <a:gd name="T16" fmla="*/ 6 w 8"/>
                <a:gd name="T17" fmla="*/ 5 h 16"/>
                <a:gd name="T18" fmla="*/ 6 w 8"/>
                <a:gd name="T19" fmla="*/ 5 h 16"/>
                <a:gd name="T20" fmla="*/ 6 w 8"/>
                <a:gd name="T21" fmla="*/ 8 h 16"/>
                <a:gd name="T22" fmla="*/ 6 w 8"/>
                <a:gd name="T23" fmla="*/ 8 h 16"/>
                <a:gd name="T24" fmla="*/ 6 w 8"/>
                <a:gd name="T25" fmla="*/ 8 h 16"/>
                <a:gd name="T26" fmla="*/ 6 w 8"/>
                <a:gd name="T27" fmla="*/ 10 h 16"/>
                <a:gd name="T28" fmla="*/ 8 w 8"/>
                <a:gd name="T29" fmla="*/ 10 h 16"/>
                <a:gd name="T30" fmla="*/ 8 w 8"/>
                <a:gd name="T31" fmla="*/ 8 h 16"/>
                <a:gd name="T32" fmla="*/ 8 w 8"/>
                <a:gd name="T33" fmla="*/ 8 h 16"/>
                <a:gd name="T34" fmla="*/ 8 w 8"/>
                <a:gd name="T35" fmla="*/ 8 h 16"/>
                <a:gd name="T36" fmla="*/ 8 w 8"/>
                <a:gd name="T37" fmla="*/ 10 h 16"/>
                <a:gd name="T38" fmla="*/ 8 w 8"/>
                <a:gd name="T39" fmla="*/ 13 h 16"/>
                <a:gd name="T40" fmla="*/ 8 w 8"/>
                <a:gd name="T41" fmla="*/ 13 h 16"/>
                <a:gd name="T42" fmla="*/ 8 w 8"/>
                <a:gd name="T43" fmla="*/ 13 h 16"/>
                <a:gd name="T44" fmla="*/ 8 w 8"/>
                <a:gd name="T45" fmla="*/ 13 h 16"/>
                <a:gd name="T46" fmla="*/ 8 w 8"/>
                <a:gd name="T47" fmla="*/ 13 h 16"/>
                <a:gd name="T48" fmla="*/ 6 w 8"/>
                <a:gd name="T49" fmla="*/ 13 h 16"/>
                <a:gd name="T50" fmla="*/ 6 w 8"/>
                <a:gd name="T51" fmla="*/ 10 h 16"/>
                <a:gd name="T52" fmla="*/ 6 w 8"/>
                <a:gd name="T53" fmla="*/ 10 h 16"/>
                <a:gd name="T54" fmla="*/ 3 w 8"/>
                <a:gd name="T55" fmla="*/ 10 h 16"/>
                <a:gd name="T56" fmla="*/ 3 w 8"/>
                <a:gd name="T57" fmla="*/ 8 h 16"/>
                <a:gd name="T58" fmla="*/ 3 w 8"/>
                <a:gd name="T59" fmla="*/ 10 h 16"/>
                <a:gd name="T60" fmla="*/ 6 w 8"/>
                <a:gd name="T61" fmla="*/ 13 h 16"/>
                <a:gd name="T62" fmla="*/ 6 w 8"/>
                <a:gd name="T63" fmla="*/ 13 h 16"/>
                <a:gd name="T64" fmla="*/ 6 w 8"/>
                <a:gd name="T65" fmla="*/ 16 h 16"/>
                <a:gd name="T66" fmla="*/ 3 w 8"/>
                <a:gd name="T67" fmla="*/ 13 h 16"/>
                <a:gd name="T68" fmla="*/ 3 w 8"/>
                <a:gd name="T69" fmla="*/ 13 h 16"/>
                <a:gd name="T70" fmla="*/ 3 w 8"/>
                <a:gd name="T71" fmla="*/ 10 h 16"/>
                <a:gd name="T72" fmla="*/ 3 w 8"/>
                <a:gd name="T73" fmla="*/ 10 h 16"/>
                <a:gd name="T74" fmla="*/ 0 w 8"/>
                <a:gd name="T75" fmla="*/ 10 h 16"/>
                <a:gd name="T76" fmla="*/ 0 w 8"/>
                <a:gd name="T77" fmla="*/ 8 h 16"/>
                <a:gd name="T78" fmla="*/ 0 w 8"/>
                <a:gd name="T79" fmla="*/ 8 h 16"/>
                <a:gd name="T80" fmla="*/ 0 w 8"/>
                <a:gd name="T81" fmla="*/ 5 h 16"/>
                <a:gd name="T82" fmla="*/ 0 w 8"/>
                <a:gd name="T83" fmla="*/ 5 h 16"/>
                <a:gd name="T84" fmla="*/ 0 w 8"/>
                <a:gd name="T85" fmla="*/ 5 h 16"/>
                <a:gd name="T86" fmla="*/ 3 w 8"/>
                <a:gd name="T87" fmla="*/ 5 h 16"/>
                <a:gd name="T88" fmla="*/ 3 w 8"/>
                <a:gd name="T89" fmla="*/ 5 h 16"/>
                <a:gd name="T90" fmla="*/ 3 w 8"/>
                <a:gd name="T91" fmla="*/ 2 h 16"/>
                <a:gd name="T92" fmla="*/ 0 w 8"/>
                <a:gd name="T93" fmla="*/ 2 h 16"/>
                <a:gd name="T94" fmla="*/ 0 w 8"/>
                <a:gd name="T95" fmla="*/ 2 h 16"/>
                <a:gd name="T96" fmla="*/ 0 w 8"/>
                <a:gd name="T97" fmla="*/ 2 h 16"/>
                <a:gd name="T98" fmla="*/ 0 w 8"/>
                <a:gd name="T99" fmla="*/ 2 h 16"/>
                <a:gd name="T100" fmla="*/ 0 w 8"/>
                <a:gd name="T101" fmla="*/ 2 h 16"/>
                <a:gd name="T102" fmla="*/ 0 w 8"/>
                <a:gd name="T103" fmla="*/ 0 h 16"/>
                <a:gd name="T104" fmla="*/ 0 w 8"/>
                <a:gd name="T105" fmla="*/ 0 h 16"/>
                <a:gd name="T106" fmla="*/ 0 w 8"/>
                <a:gd name="T107" fmla="*/ 0 h 16"/>
                <a:gd name="T108" fmla="*/ 0 w 8"/>
                <a:gd name="T10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" h="16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3" y="10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1" name="Freeform 8846">
              <a:extLst>
                <a:ext uri="{FF2B5EF4-FFF2-40B4-BE49-F238E27FC236}">
                  <a16:creationId xmlns:a16="http://schemas.microsoft.com/office/drawing/2014/main" id="{60F9030D-6D77-864E-B611-0B84A58F5F15}"/>
                </a:ext>
              </a:extLst>
            </p:cNvPr>
            <p:cNvSpPr/>
            <p:nvPr/>
          </p:nvSpPr>
          <p:spPr bwMode="auto">
            <a:xfrm>
              <a:off x="3599655" y="2276477"/>
              <a:ext cx="139700" cy="117475"/>
            </a:xfrm>
            <a:custGeom>
              <a:avLst/>
              <a:gdLst>
                <a:gd name="T0" fmla="*/ 43 w 88"/>
                <a:gd name="T1" fmla="*/ 0 h 74"/>
                <a:gd name="T2" fmla="*/ 53 w 88"/>
                <a:gd name="T3" fmla="*/ 0 h 74"/>
                <a:gd name="T4" fmla="*/ 64 w 88"/>
                <a:gd name="T5" fmla="*/ 2 h 74"/>
                <a:gd name="T6" fmla="*/ 72 w 88"/>
                <a:gd name="T7" fmla="*/ 8 h 74"/>
                <a:gd name="T8" fmla="*/ 75 w 88"/>
                <a:gd name="T9" fmla="*/ 18 h 74"/>
                <a:gd name="T10" fmla="*/ 77 w 88"/>
                <a:gd name="T11" fmla="*/ 26 h 74"/>
                <a:gd name="T12" fmla="*/ 83 w 88"/>
                <a:gd name="T13" fmla="*/ 34 h 74"/>
                <a:gd name="T14" fmla="*/ 85 w 88"/>
                <a:gd name="T15" fmla="*/ 42 h 74"/>
                <a:gd name="T16" fmla="*/ 88 w 88"/>
                <a:gd name="T17" fmla="*/ 48 h 74"/>
                <a:gd name="T18" fmla="*/ 85 w 88"/>
                <a:gd name="T19" fmla="*/ 53 h 74"/>
                <a:gd name="T20" fmla="*/ 83 w 88"/>
                <a:gd name="T21" fmla="*/ 58 h 74"/>
                <a:gd name="T22" fmla="*/ 80 w 88"/>
                <a:gd name="T23" fmla="*/ 58 h 74"/>
                <a:gd name="T24" fmla="*/ 80 w 88"/>
                <a:gd name="T25" fmla="*/ 56 h 74"/>
                <a:gd name="T26" fmla="*/ 77 w 88"/>
                <a:gd name="T27" fmla="*/ 56 h 74"/>
                <a:gd name="T28" fmla="*/ 69 w 88"/>
                <a:gd name="T29" fmla="*/ 58 h 74"/>
                <a:gd name="T30" fmla="*/ 67 w 88"/>
                <a:gd name="T31" fmla="*/ 61 h 74"/>
                <a:gd name="T32" fmla="*/ 61 w 88"/>
                <a:gd name="T33" fmla="*/ 64 h 74"/>
                <a:gd name="T34" fmla="*/ 61 w 88"/>
                <a:gd name="T35" fmla="*/ 66 h 74"/>
                <a:gd name="T36" fmla="*/ 51 w 88"/>
                <a:gd name="T37" fmla="*/ 72 h 74"/>
                <a:gd name="T38" fmla="*/ 48 w 88"/>
                <a:gd name="T39" fmla="*/ 72 h 74"/>
                <a:gd name="T40" fmla="*/ 45 w 88"/>
                <a:gd name="T41" fmla="*/ 72 h 74"/>
                <a:gd name="T42" fmla="*/ 35 w 88"/>
                <a:gd name="T43" fmla="*/ 74 h 74"/>
                <a:gd name="T44" fmla="*/ 32 w 88"/>
                <a:gd name="T45" fmla="*/ 72 h 74"/>
                <a:gd name="T46" fmla="*/ 29 w 88"/>
                <a:gd name="T47" fmla="*/ 74 h 74"/>
                <a:gd name="T48" fmla="*/ 24 w 88"/>
                <a:gd name="T49" fmla="*/ 72 h 74"/>
                <a:gd name="T50" fmla="*/ 21 w 88"/>
                <a:gd name="T51" fmla="*/ 72 h 74"/>
                <a:gd name="T52" fmla="*/ 16 w 88"/>
                <a:gd name="T53" fmla="*/ 72 h 74"/>
                <a:gd name="T54" fmla="*/ 10 w 88"/>
                <a:gd name="T55" fmla="*/ 69 h 74"/>
                <a:gd name="T56" fmla="*/ 10 w 88"/>
                <a:gd name="T57" fmla="*/ 64 h 74"/>
                <a:gd name="T58" fmla="*/ 8 w 88"/>
                <a:gd name="T59" fmla="*/ 69 h 74"/>
                <a:gd name="T60" fmla="*/ 5 w 88"/>
                <a:gd name="T61" fmla="*/ 66 h 74"/>
                <a:gd name="T62" fmla="*/ 5 w 88"/>
                <a:gd name="T63" fmla="*/ 64 h 74"/>
                <a:gd name="T64" fmla="*/ 2 w 88"/>
                <a:gd name="T65" fmla="*/ 58 h 74"/>
                <a:gd name="T66" fmla="*/ 2 w 88"/>
                <a:gd name="T67" fmla="*/ 53 h 74"/>
                <a:gd name="T68" fmla="*/ 2 w 88"/>
                <a:gd name="T69" fmla="*/ 48 h 74"/>
                <a:gd name="T70" fmla="*/ 2 w 88"/>
                <a:gd name="T71" fmla="*/ 48 h 74"/>
                <a:gd name="T72" fmla="*/ 2 w 88"/>
                <a:gd name="T73" fmla="*/ 45 h 74"/>
                <a:gd name="T74" fmla="*/ 2 w 88"/>
                <a:gd name="T75" fmla="*/ 42 h 74"/>
                <a:gd name="T76" fmla="*/ 2 w 88"/>
                <a:gd name="T77" fmla="*/ 42 h 74"/>
                <a:gd name="T78" fmla="*/ 5 w 88"/>
                <a:gd name="T79" fmla="*/ 37 h 74"/>
                <a:gd name="T80" fmla="*/ 5 w 88"/>
                <a:gd name="T81" fmla="*/ 37 h 74"/>
                <a:gd name="T82" fmla="*/ 8 w 88"/>
                <a:gd name="T83" fmla="*/ 34 h 74"/>
                <a:gd name="T84" fmla="*/ 5 w 88"/>
                <a:gd name="T85" fmla="*/ 34 h 74"/>
                <a:gd name="T86" fmla="*/ 8 w 88"/>
                <a:gd name="T87" fmla="*/ 32 h 74"/>
                <a:gd name="T88" fmla="*/ 10 w 88"/>
                <a:gd name="T89" fmla="*/ 29 h 74"/>
                <a:gd name="T90" fmla="*/ 10 w 88"/>
                <a:gd name="T91" fmla="*/ 26 h 74"/>
                <a:gd name="T92" fmla="*/ 18 w 88"/>
                <a:gd name="T93" fmla="*/ 16 h 74"/>
                <a:gd name="T94" fmla="*/ 29 w 88"/>
                <a:gd name="T95" fmla="*/ 5 h 74"/>
                <a:gd name="T96" fmla="*/ 37 w 88"/>
                <a:gd name="T97" fmla="*/ 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8" h="74" extrusionOk="0">
                  <a:moveTo>
                    <a:pt x="40" y="2"/>
                  </a:moveTo>
                  <a:lnTo>
                    <a:pt x="40" y="2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4" y="2"/>
                  </a:lnTo>
                  <a:lnTo>
                    <a:pt x="67" y="2"/>
                  </a:lnTo>
                  <a:lnTo>
                    <a:pt x="69" y="5"/>
                  </a:lnTo>
                  <a:lnTo>
                    <a:pt x="72" y="5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5" y="13"/>
                  </a:lnTo>
                  <a:lnTo>
                    <a:pt x="75" y="16"/>
                  </a:lnTo>
                  <a:lnTo>
                    <a:pt x="75" y="18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4"/>
                  </a:lnTo>
                  <a:lnTo>
                    <a:pt x="77" y="26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4"/>
                  </a:lnTo>
                  <a:lnTo>
                    <a:pt x="83" y="34"/>
                  </a:lnTo>
                  <a:lnTo>
                    <a:pt x="83" y="37"/>
                  </a:lnTo>
                  <a:lnTo>
                    <a:pt x="83" y="40"/>
                  </a:lnTo>
                  <a:lnTo>
                    <a:pt x="85" y="40"/>
                  </a:lnTo>
                  <a:lnTo>
                    <a:pt x="85" y="42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8"/>
                  </a:lnTo>
                  <a:lnTo>
                    <a:pt x="88" y="48"/>
                  </a:lnTo>
                  <a:lnTo>
                    <a:pt x="85" y="48"/>
                  </a:lnTo>
                  <a:lnTo>
                    <a:pt x="85" y="50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3" y="58"/>
                  </a:lnTo>
                  <a:lnTo>
                    <a:pt x="83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8"/>
                  </a:lnTo>
                  <a:lnTo>
                    <a:pt x="77" y="56"/>
                  </a:lnTo>
                  <a:lnTo>
                    <a:pt x="77" y="58"/>
                  </a:lnTo>
                  <a:lnTo>
                    <a:pt x="75" y="58"/>
                  </a:lnTo>
                  <a:lnTo>
                    <a:pt x="72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4" y="64"/>
                  </a:lnTo>
                  <a:lnTo>
                    <a:pt x="61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1" y="66"/>
                  </a:lnTo>
                  <a:lnTo>
                    <a:pt x="59" y="69"/>
                  </a:lnTo>
                  <a:lnTo>
                    <a:pt x="56" y="69"/>
                  </a:lnTo>
                  <a:lnTo>
                    <a:pt x="53" y="69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8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3" y="74"/>
                  </a:lnTo>
                  <a:lnTo>
                    <a:pt x="40" y="74"/>
                  </a:lnTo>
                  <a:lnTo>
                    <a:pt x="37" y="74"/>
                  </a:lnTo>
                  <a:lnTo>
                    <a:pt x="35" y="74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5" y="74"/>
                  </a:lnTo>
                  <a:lnTo>
                    <a:pt x="32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3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1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10" y="26"/>
                  </a:lnTo>
                  <a:lnTo>
                    <a:pt x="13" y="24"/>
                  </a:lnTo>
                  <a:lnTo>
                    <a:pt x="16" y="21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8"/>
                  </a:lnTo>
                  <a:lnTo>
                    <a:pt x="29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5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2" name="Freeform 8847">
              <a:extLst>
                <a:ext uri="{FF2B5EF4-FFF2-40B4-BE49-F238E27FC236}">
                  <a16:creationId xmlns:a16="http://schemas.microsoft.com/office/drawing/2014/main" id="{C96CBF73-6D26-BD49-B2E6-5DB3FE3D3166}"/>
                </a:ext>
              </a:extLst>
            </p:cNvPr>
            <p:cNvSpPr/>
            <p:nvPr/>
          </p:nvSpPr>
          <p:spPr bwMode="auto">
            <a:xfrm>
              <a:off x="2496343" y="2500315"/>
              <a:ext cx="4764" cy="17463"/>
            </a:xfrm>
            <a:custGeom>
              <a:avLst/>
              <a:gdLst>
                <a:gd name="T0" fmla="*/ 3 w 3"/>
                <a:gd name="T1" fmla="*/ 3 h 11"/>
                <a:gd name="T2" fmla="*/ 3 w 3"/>
                <a:gd name="T3" fmla="*/ 3 h 11"/>
                <a:gd name="T4" fmla="*/ 3 w 3"/>
                <a:gd name="T5" fmla="*/ 3 h 11"/>
                <a:gd name="T6" fmla="*/ 3 w 3"/>
                <a:gd name="T7" fmla="*/ 6 h 11"/>
                <a:gd name="T8" fmla="*/ 3 w 3"/>
                <a:gd name="T9" fmla="*/ 6 h 11"/>
                <a:gd name="T10" fmla="*/ 3 w 3"/>
                <a:gd name="T11" fmla="*/ 8 h 11"/>
                <a:gd name="T12" fmla="*/ 3 w 3"/>
                <a:gd name="T13" fmla="*/ 8 h 11"/>
                <a:gd name="T14" fmla="*/ 3 w 3"/>
                <a:gd name="T15" fmla="*/ 11 h 11"/>
                <a:gd name="T16" fmla="*/ 3 w 3"/>
                <a:gd name="T17" fmla="*/ 11 h 11"/>
                <a:gd name="T18" fmla="*/ 0 w 3"/>
                <a:gd name="T19" fmla="*/ 11 h 11"/>
                <a:gd name="T20" fmla="*/ 0 w 3"/>
                <a:gd name="T21" fmla="*/ 11 h 11"/>
                <a:gd name="T22" fmla="*/ 0 w 3"/>
                <a:gd name="T23" fmla="*/ 8 h 11"/>
                <a:gd name="T24" fmla="*/ 0 w 3"/>
                <a:gd name="T25" fmla="*/ 8 h 11"/>
                <a:gd name="T26" fmla="*/ 0 w 3"/>
                <a:gd name="T27" fmla="*/ 6 h 11"/>
                <a:gd name="T28" fmla="*/ 0 w 3"/>
                <a:gd name="T29" fmla="*/ 3 h 11"/>
                <a:gd name="T30" fmla="*/ 0 w 3"/>
                <a:gd name="T31" fmla="*/ 3 h 11"/>
                <a:gd name="T32" fmla="*/ 0 w 3"/>
                <a:gd name="T33" fmla="*/ 0 h 11"/>
                <a:gd name="T34" fmla="*/ 3 w 3"/>
                <a:gd name="T35" fmla="*/ 3 h 11"/>
                <a:gd name="T36" fmla="*/ 3 w 3"/>
                <a:gd name="T37" fmla="*/ 3 h 11"/>
                <a:gd name="T38" fmla="*/ 3 w 3"/>
                <a:gd name="T39" fmla="*/ 3 h 11"/>
                <a:gd name="T40" fmla="*/ 3 w 3"/>
                <a:gd name="T4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11" extrusionOk="0">
                  <a:moveTo>
                    <a:pt x="3" y="3"/>
                  </a:moveTo>
                  <a:lnTo>
                    <a:pt x="3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3" name="Freeform 8848">
              <a:extLst>
                <a:ext uri="{FF2B5EF4-FFF2-40B4-BE49-F238E27FC236}">
                  <a16:creationId xmlns:a16="http://schemas.microsoft.com/office/drawing/2014/main" id="{915B8674-D01D-EE4E-A165-18B0EF96E873}"/>
                </a:ext>
              </a:extLst>
            </p:cNvPr>
            <p:cNvSpPr/>
            <p:nvPr/>
          </p:nvSpPr>
          <p:spPr bwMode="auto">
            <a:xfrm>
              <a:off x="2582067" y="2101852"/>
              <a:ext cx="17463" cy="20638"/>
            </a:xfrm>
            <a:custGeom>
              <a:avLst/>
              <a:gdLst>
                <a:gd name="T0" fmla="*/ 0 w 11"/>
                <a:gd name="T1" fmla="*/ 0 h 13"/>
                <a:gd name="T2" fmla="*/ 0 w 11"/>
                <a:gd name="T3" fmla="*/ 0 h 13"/>
                <a:gd name="T4" fmla="*/ 0 w 11"/>
                <a:gd name="T5" fmla="*/ 0 h 13"/>
                <a:gd name="T6" fmla="*/ 3 w 11"/>
                <a:gd name="T7" fmla="*/ 0 h 13"/>
                <a:gd name="T8" fmla="*/ 3 w 11"/>
                <a:gd name="T9" fmla="*/ 0 h 13"/>
                <a:gd name="T10" fmla="*/ 3 w 11"/>
                <a:gd name="T11" fmla="*/ 3 h 13"/>
                <a:gd name="T12" fmla="*/ 5 w 11"/>
                <a:gd name="T13" fmla="*/ 3 h 13"/>
                <a:gd name="T14" fmla="*/ 5 w 11"/>
                <a:gd name="T15" fmla="*/ 3 h 13"/>
                <a:gd name="T16" fmla="*/ 5 w 11"/>
                <a:gd name="T17" fmla="*/ 0 h 13"/>
                <a:gd name="T18" fmla="*/ 5 w 11"/>
                <a:gd name="T19" fmla="*/ 0 h 13"/>
                <a:gd name="T20" fmla="*/ 5 w 11"/>
                <a:gd name="T21" fmla="*/ 0 h 13"/>
                <a:gd name="T22" fmla="*/ 8 w 11"/>
                <a:gd name="T23" fmla="*/ 0 h 13"/>
                <a:gd name="T24" fmla="*/ 8 w 11"/>
                <a:gd name="T25" fmla="*/ 0 h 13"/>
                <a:gd name="T26" fmla="*/ 8 w 11"/>
                <a:gd name="T27" fmla="*/ 3 h 13"/>
                <a:gd name="T28" fmla="*/ 8 w 11"/>
                <a:gd name="T29" fmla="*/ 3 h 13"/>
                <a:gd name="T30" fmla="*/ 11 w 11"/>
                <a:gd name="T31" fmla="*/ 5 h 13"/>
                <a:gd name="T32" fmla="*/ 11 w 11"/>
                <a:gd name="T33" fmla="*/ 5 h 13"/>
                <a:gd name="T34" fmla="*/ 11 w 11"/>
                <a:gd name="T35" fmla="*/ 5 h 13"/>
                <a:gd name="T36" fmla="*/ 11 w 11"/>
                <a:gd name="T37" fmla="*/ 8 h 13"/>
                <a:gd name="T38" fmla="*/ 11 w 11"/>
                <a:gd name="T39" fmla="*/ 8 h 13"/>
                <a:gd name="T40" fmla="*/ 8 w 11"/>
                <a:gd name="T41" fmla="*/ 11 h 13"/>
                <a:gd name="T42" fmla="*/ 8 w 11"/>
                <a:gd name="T43" fmla="*/ 11 h 13"/>
                <a:gd name="T44" fmla="*/ 11 w 11"/>
                <a:gd name="T45" fmla="*/ 13 h 13"/>
                <a:gd name="T46" fmla="*/ 11 w 11"/>
                <a:gd name="T47" fmla="*/ 13 h 13"/>
                <a:gd name="T48" fmla="*/ 11 w 11"/>
                <a:gd name="T49" fmla="*/ 13 h 13"/>
                <a:gd name="T50" fmla="*/ 11 w 11"/>
                <a:gd name="T51" fmla="*/ 13 h 13"/>
                <a:gd name="T52" fmla="*/ 8 w 11"/>
                <a:gd name="T53" fmla="*/ 13 h 13"/>
                <a:gd name="T54" fmla="*/ 8 w 11"/>
                <a:gd name="T55" fmla="*/ 11 h 13"/>
                <a:gd name="T56" fmla="*/ 8 w 11"/>
                <a:gd name="T57" fmla="*/ 11 h 13"/>
                <a:gd name="T58" fmla="*/ 8 w 11"/>
                <a:gd name="T59" fmla="*/ 8 h 13"/>
                <a:gd name="T60" fmla="*/ 5 w 11"/>
                <a:gd name="T61" fmla="*/ 8 h 13"/>
                <a:gd name="T62" fmla="*/ 5 w 11"/>
                <a:gd name="T63" fmla="*/ 8 h 13"/>
                <a:gd name="T64" fmla="*/ 5 w 11"/>
                <a:gd name="T65" fmla="*/ 5 h 13"/>
                <a:gd name="T66" fmla="*/ 3 w 11"/>
                <a:gd name="T67" fmla="*/ 5 h 13"/>
                <a:gd name="T68" fmla="*/ 3 w 11"/>
                <a:gd name="T69" fmla="*/ 3 h 13"/>
                <a:gd name="T70" fmla="*/ 3 w 11"/>
                <a:gd name="T71" fmla="*/ 3 h 13"/>
                <a:gd name="T72" fmla="*/ 3 w 11"/>
                <a:gd name="T73" fmla="*/ 3 h 13"/>
                <a:gd name="T74" fmla="*/ 3 w 11"/>
                <a:gd name="T75" fmla="*/ 0 h 13"/>
                <a:gd name="T76" fmla="*/ 0 w 11"/>
                <a:gd name="T77" fmla="*/ 0 h 13"/>
                <a:gd name="T78" fmla="*/ 0 w 11"/>
                <a:gd name="T79" fmla="*/ 0 h 13"/>
                <a:gd name="T80" fmla="*/ 0 w 11"/>
                <a:gd name="T81" fmla="*/ 0 h 13"/>
                <a:gd name="T82" fmla="*/ 0 w 11"/>
                <a:gd name="T83" fmla="*/ 0 h 13"/>
                <a:gd name="T84" fmla="*/ 0 w 11"/>
                <a:gd name="T85" fmla="*/ 0 h 13"/>
                <a:gd name="T86" fmla="*/ 0 w 11"/>
                <a:gd name="T8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" h="13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4" name="Freeform 8849">
              <a:extLst>
                <a:ext uri="{FF2B5EF4-FFF2-40B4-BE49-F238E27FC236}">
                  <a16:creationId xmlns:a16="http://schemas.microsoft.com/office/drawing/2014/main" id="{876D7ADB-1D4E-BA42-AD6C-3A383B4B643B}"/>
                </a:ext>
              </a:extLst>
            </p:cNvPr>
            <p:cNvSpPr/>
            <p:nvPr/>
          </p:nvSpPr>
          <p:spPr bwMode="auto">
            <a:xfrm>
              <a:off x="2924967" y="1771652"/>
              <a:ext cx="22225" cy="20638"/>
            </a:xfrm>
            <a:custGeom>
              <a:avLst/>
              <a:gdLst>
                <a:gd name="T0" fmla="*/ 0 w 14"/>
                <a:gd name="T1" fmla="*/ 2 h 13"/>
                <a:gd name="T2" fmla="*/ 3 w 14"/>
                <a:gd name="T3" fmla="*/ 0 h 13"/>
                <a:gd name="T4" fmla="*/ 3 w 14"/>
                <a:gd name="T5" fmla="*/ 0 h 13"/>
                <a:gd name="T6" fmla="*/ 6 w 14"/>
                <a:gd name="T7" fmla="*/ 0 h 13"/>
                <a:gd name="T8" fmla="*/ 8 w 14"/>
                <a:gd name="T9" fmla="*/ 0 h 13"/>
                <a:gd name="T10" fmla="*/ 8 w 14"/>
                <a:gd name="T11" fmla="*/ 2 h 13"/>
                <a:gd name="T12" fmla="*/ 11 w 14"/>
                <a:gd name="T13" fmla="*/ 2 h 13"/>
                <a:gd name="T14" fmla="*/ 11 w 14"/>
                <a:gd name="T15" fmla="*/ 5 h 13"/>
                <a:gd name="T16" fmla="*/ 11 w 14"/>
                <a:gd name="T17" fmla="*/ 5 h 13"/>
                <a:gd name="T18" fmla="*/ 14 w 14"/>
                <a:gd name="T19" fmla="*/ 8 h 13"/>
                <a:gd name="T20" fmla="*/ 14 w 14"/>
                <a:gd name="T21" fmla="*/ 10 h 13"/>
                <a:gd name="T22" fmla="*/ 14 w 14"/>
                <a:gd name="T23" fmla="*/ 13 h 13"/>
                <a:gd name="T24" fmla="*/ 14 w 14"/>
                <a:gd name="T25" fmla="*/ 13 h 13"/>
                <a:gd name="T26" fmla="*/ 11 w 14"/>
                <a:gd name="T27" fmla="*/ 13 h 13"/>
                <a:gd name="T28" fmla="*/ 11 w 14"/>
                <a:gd name="T29" fmla="*/ 13 h 13"/>
                <a:gd name="T30" fmla="*/ 11 w 14"/>
                <a:gd name="T31" fmla="*/ 13 h 13"/>
                <a:gd name="T32" fmla="*/ 8 w 14"/>
                <a:gd name="T33" fmla="*/ 10 h 13"/>
                <a:gd name="T34" fmla="*/ 8 w 14"/>
                <a:gd name="T35" fmla="*/ 10 h 13"/>
                <a:gd name="T36" fmla="*/ 8 w 14"/>
                <a:gd name="T37" fmla="*/ 10 h 13"/>
                <a:gd name="T38" fmla="*/ 6 w 14"/>
                <a:gd name="T39" fmla="*/ 10 h 13"/>
                <a:gd name="T40" fmla="*/ 6 w 14"/>
                <a:gd name="T41" fmla="*/ 10 h 13"/>
                <a:gd name="T42" fmla="*/ 6 w 14"/>
                <a:gd name="T43" fmla="*/ 8 h 13"/>
                <a:gd name="T44" fmla="*/ 6 w 14"/>
                <a:gd name="T45" fmla="*/ 8 h 13"/>
                <a:gd name="T46" fmla="*/ 6 w 14"/>
                <a:gd name="T47" fmla="*/ 5 h 13"/>
                <a:gd name="T48" fmla="*/ 3 w 14"/>
                <a:gd name="T49" fmla="*/ 5 h 13"/>
                <a:gd name="T50" fmla="*/ 3 w 14"/>
                <a:gd name="T51" fmla="*/ 5 h 13"/>
                <a:gd name="T52" fmla="*/ 3 w 14"/>
                <a:gd name="T53" fmla="*/ 2 h 13"/>
                <a:gd name="T54" fmla="*/ 3 w 14"/>
                <a:gd name="T55" fmla="*/ 2 h 13"/>
                <a:gd name="T56" fmla="*/ 3 w 14"/>
                <a:gd name="T57" fmla="*/ 2 h 13"/>
                <a:gd name="T58" fmla="*/ 0 w 14"/>
                <a:gd name="T59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" h="13" extrusionOk="0">
                  <a:moveTo>
                    <a:pt x="0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5" name="Freeform 8850">
              <a:extLst>
                <a:ext uri="{FF2B5EF4-FFF2-40B4-BE49-F238E27FC236}">
                  <a16:creationId xmlns:a16="http://schemas.microsoft.com/office/drawing/2014/main" id="{6BB55391-9663-7747-987B-9836BF7523DF}"/>
                </a:ext>
              </a:extLst>
            </p:cNvPr>
            <p:cNvSpPr/>
            <p:nvPr/>
          </p:nvSpPr>
          <p:spPr bwMode="auto">
            <a:xfrm>
              <a:off x="2582067" y="2403477"/>
              <a:ext cx="20637" cy="15875"/>
            </a:xfrm>
            <a:custGeom>
              <a:avLst/>
              <a:gdLst>
                <a:gd name="T0" fmla="*/ 13 w 13"/>
                <a:gd name="T1" fmla="*/ 10 h 10"/>
                <a:gd name="T2" fmla="*/ 13 w 13"/>
                <a:gd name="T3" fmla="*/ 10 h 10"/>
                <a:gd name="T4" fmla="*/ 11 w 13"/>
                <a:gd name="T5" fmla="*/ 10 h 10"/>
                <a:gd name="T6" fmla="*/ 11 w 13"/>
                <a:gd name="T7" fmla="*/ 10 h 10"/>
                <a:gd name="T8" fmla="*/ 8 w 13"/>
                <a:gd name="T9" fmla="*/ 8 h 10"/>
                <a:gd name="T10" fmla="*/ 8 w 13"/>
                <a:gd name="T11" fmla="*/ 8 h 10"/>
                <a:gd name="T12" fmla="*/ 8 w 13"/>
                <a:gd name="T13" fmla="*/ 8 h 10"/>
                <a:gd name="T14" fmla="*/ 5 w 13"/>
                <a:gd name="T15" fmla="*/ 8 h 10"/>
                <a:gd name="T16" fmla="*/ 5 w 13"/>
                <a:gd name="T17" fmla="*/ 8 h 10"/>
                <a:gd name="T18" fmla="*/ 5 w 13"/>
                <a:gd name="T19" fmla="*/ 5 h 10"/>
                <a:gd name="T20" fmla="*/ 3 w 13"/>
                <a:gd name="T21" fmla="*/ 5 h 10"/>
                <a:gd name="T22" fmla="*/ 3 w 13"/>
                <a:gd name="T23" fmla="*/ 5 h 10"/>
                <a:gd name="T24" fmla="*/ 0 w 13"/>
                <a:gd name="T25" fmla="*/ 5 h 10"/>
                <a:gd name="T26" fmla="*/ 0 w 13"/>
                <a:gd name="T27" fmla="*/ 2 h 10"/>
                <a:gd name="T28" fmla="*/ 0 w 13"/>
                <a:gd name="T29" fmla="*/ 2 h 10"/>
                <a:gd name="T30" fmla="*/ 0 w 13"/>
                <a:gd name="T31" fmla="*/ 0 h 10"/>
                <a:gd name="T32" fmla="*/ 3 w 13"/>
                <a:gd name="T33" fmla="*/ 0 h 10"/>
                <a:gd name="T34" fmla="*/ 3 w 13"/>
                <a:gd name="T35" fmla="*/ 0 h 10"/>
                <a:gd name="T36" fmla="*/ 3 w 13"/>
                <a:gd name="T37" fmla="*/ 0 h 10"/>
                <a:gd name="T38" fmla="*/ 3 w 13"/>
                <a:gd name="T39" fmla="*/ 0 h 10"/>
                <a:gd name="T40" fmla="*/ 3 w 13"/>
                <a:gd name="T41" fmla="*/ 2 h 10"/>
                <a:gd name="T42" fmla="*/ 3 w 13"/>
                <a:gd name="T43" fmla="*/ 0 h 10"/>
                <a:gd name="T44" fmla="*/ 5 w 13"/>
                <a:gd name="T45" fmla="*/ 0 h 10"/>
                <a:gd name="T46" fmla="*/ 5 w 13"/>
                <a:gd name="T47" fmla="*/ 2 h 10"/>
                <a:gd name="T48" fmla="*/ 5 w 13"/>
                <a:gd name="T49" fmla="*/ 2 h 10"/>
                <a:gd name="T50" fmla="*/ 5 w 13"/>
                <a:gd name="T51" fmla="*/ 2 h 10"/>
                <a:gd name="T52" fmla="*/ 5 w 13"/>
                <a:gd name="T53" fmla="*/ 5 h 10"/>
                <a:gd name="T54" fmla="*/ 8 w 13"/>
                <a:gd name="T55" fmla="*/ 5 h 10"/>
                <a:gd name="T56" fmla="*/ 11 w 13"/>
                <a:gd name="T57" fmla="*/ 5 h 10"/>
                <a:gd name="T58" fmla="*/ 11 w 13"/>
                <a:gd name="T59" fmla="*/ 8 h 10"/>
                <a:gd name="T60" fmla="*/ 11 w 13"/>
                <a:gd name="T61" fmla="*/ 8 h 10"/>
                <a:gd name="T62" fmla="*/ 13 w 13"/>
                <a:gd name="T63" fmla="*/ 8 h 10"/>
                <a:gd name="T64" fmla="*/ 13 w 13"/>
                <a:gd name="T65" fmla="*/ 8 h 10"/>
                <a:gd name="T66" fmla="*/ 13 w 13"/>
                <a:gd name="T67" fmla="*/ 10 h 10"/>
                <a:gd name="T68" fmla="*/ 13 w 13"/>
                <a:gd name="T6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0" extrusionOk="0">
                  <a:moveTo>
                    <a:pt x="13" y="10"/>
                  </a:moveTo>
                  <a:lnTo>
                    <a:pt x="13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10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6" name="Freeform 8851">
              <a:extLst>
                <a:ext uri="{FF2B5EF4-FFF2-40B4-BE49-F238E27FC236}">
                  <a16:creationId xmlns:a16="http://schemas.microsoft.com/office/drawing/2014/main" id="{5EB87392-927F-AB4B-B39A-D8E071FA3B48}"/>
                </a:ext>
              </a:extLst>
            </p:cNvPr>
            <p:cNvSpPr/>
            <p:nvPr/>
          </p:nvSpPr>
          <p:spPr bwMode="auto">
            <a:xfrm>
              <a:off x="2564606" y="2419352"/>
              <a:ext cx="12700" cy="4764"/>
            </a:xfrm>
            <a:custGeom>
              <a:avLst/>
              <a:gdLst>
                <a:gd name="T0" fmla="*/ 0 w 8"/>
                <a:gd name="T1" fmla="*/ 0 h 3"/>
                <a:gd name="T2" fmla="*/ 0 w 8"/>
                <a:gd name="T3" fmla="*/ 0 h 3"/>
                <a:gd name="T4" fmla="*/ 3 w 8"/>
                <a:gd name="T5" fmla="*/ 0 h 3"/>
                <a:gd name="T6" fmla="*/ 3 w 8"/>
                <a:gd name="T7" fmla="*/ 0 h 3"/>
                <a:gd name="T8" fmla="*/ 6 w 8"/>
                <a:gd name="T9" fmla="*/ 0 h 3"/>
                <a:gd name="T10" fmla="*/ 6 w 8"/>
                <a:gd name="T11" fmla="*/ 0 h 3"/>
                <a:gd name="T12" fmla="*/ 6 w 8"/>
                <a:gd name="T13" fmla="*/ 0 h 3"/>
                <a:gd name="T14" fmla="*/ 8 w 8"/>
                <a:gd name="T15" fmla="*/ 0 h 3"/>
                <a:gd name="T16" fmla="*/ 8 w 8"/>
                <a:gd name="T17" fmla="*/ 3 h 3"/>
                <a:gd name="T18" fmla="*/ 6 w 8"/>
                <a:gd name="T19" fmla="*/ 3 h 3"/>
                <a:gd name="T20" fmla="*/ 6 w 8"/>
                <a:gd name="T21" fmla="*/ 3 h 3"/>
                <a:gd name="T22" fmla="*/ 6 w 8"/>
                <a:gd name="T23" fmla="*/ 3 h 3"/>
                <a:gd name="T24" fmla="*/ 6 w 8"/>
                <a:gd name="T25" fmla="*/ 3 h 3"/>
                <a:gd name="T26" fmla="*/ 3 w 8"/>
                <a:gd name="T27" fmla="*/ 3 h 3"/>
                <a:gd name="T28" fmla="*/ 3 w 8"/>
                <a:gd name="T29" fmla="*/ 3 h 3"/>
                <a:gd name="T30" fmla="*/ 3 w 8"/>
                <a:gd name="T31" fmla="*/ 3 h 3"/>
                <a:gd name="T32" fmla="*/ 3 w 8"/>
                <a:gd name="T33" fmla="*/ 3 h 3"/>
                <a:gd name="T34" fmla="*/ 3 w 8"/>
                <a:gd name="T35" fmla="*/ 3 h 3"/>
                <a:gd name="T36" fmla="*/ 3 w 8"/>
                <a:gd name="T37" fmla="*/ 0 h 3"/>
                <a:gd name="T38" fmla="*/ 0 w 8"/>
                <a:gd name="T3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3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7" name="Freeform 8852">
              <a:extLst>
                <a:ext uri="{FF2B5EF4-FFF2-40B4-BE49-F238E27FC236}">
                  <a16:creationId xmlns:a16="http://schemas.microsoft.com/office/drawing/2014/main" id="{6AE820FE-98A2-F344-BDA6-40CFD2F83135}"/>
                </a:ext>
              </a:extLst>
            </p:cNvPr>
            <p:cNvSpPr/>
            <p:nvPr/>
          </p:nvSpPr>
          <p:spPr bwMode="auto">
            <a:xfrm>
              <a:off x="2551905" y="2390778"/>
              <a:ext cx="22225" cy="33338"/>
            </a:xfrm>
            <a:custGeom>
              <a:avLst/>
              <a:gdLst>
                <a:gd name="T0" fmla="*/ 14 w 14"/>
                <a:gd name="T1" fmla="*/ 5 h 21"/>
                <a:gd name="T2" fmla="*/ 14 w 14"/>
                <a:gd name="T3" fmla="*/ 8 h 21"/>
                <a:gd name="T4" fmla="*/ 14 w 14"/>
                <a:gd name="T5" fmla="*/ 10 h 21"/>
                <a:gd name="T6" fmla="*/ 14 w 14"/>
                <a:gd name="T7" fmla="*/ 10 h 21"/>
                <a:gd name="T8" fmla="*/ 11 w 14"/>
                <a:gd name="T9" fmla="*/ 13 h 21"/>
                <a:gd name="T10" fmla="*/ 11 w 14"/>
                <a:gd name="T11" fmla="*/ 16 h 21"/>
                <a:gd name="T12" fmla="*/ 8 w 14"/>
                <a:gd name="T13" fmla="*/ 16 h 21"/>
                <a:gd name="T14" fmla="*/ 11 w 14"/>
                <a:gd name="T15" fmla="*/ 13 h 21"/>
                <a:gd name="T16" fmla="*/ 8 w 14"/>
                <a:gd name="T17" fmla="*/ 10 h 21"/>
                <a:gd name="T18" fmla="*/ 8 w 14"/>
                <a:gd name="T19" fmla="*/ 13 h 21"/>
                <a:gd name="T20" fmla="*/ 6 w 14"/>
                <a:gd name="T21" fmla="*/ 13 h 21"/>
                <a:gd name="T22" fmla="*/ 8 w 14"/>
                <a:gd name="T23" fmla="*/ 16 h 21"/>
                <a:gd name="T24" fmla="*/ 8 w 14"/>
                <a:gd name="T25" fmla="*/ 18 h 21"/>
                <a:gd name="T26" fmla="*/ 6 w 14"/>
                <a:gd name="T27" fmla="*/ 18 h 21"/>
                <a:gd name="T28" fmla="*/ 6 w 14"/>
                <a:gd name="T29" fmla="*/ 21 h 21"/>
                <a:gd name="T30" fmla="*/ 6 w 14"/>
                <a:gd name="T31" fmla="*/ 21 h 21"/>
                <a:gd name="T32" fmla="*/ 3 w 14"/>
                <a:gd name="T33" fmla="*/ 21 h 21"/>
                <a:gd name="T34" fmla="*/ 0 w 14"/>
                <a:gd name="T35" fmla="*/ 21 h 21"/>
                <a:gd name="T36" fmla="*/ 0 w 14"/>
                <a:gd name="T37" fmla="*/ 21 h 21"/>
                <a:gd name="T38" fmla="*/ 0 w 14"/>
                <a:gd name="T39" fmla="*/ 18 h 21"/>
                <a:gd name="T40" fmla="*/ 3 w 14"/>
                <a:gd name="T41" fmla="*/ 16 h 21"/>
                <a:gd name="T42" fmla="*/ 3 w 14"/>
                <a:gd name="T43" fmla="*/ 13 h 21"/>
                <a:gd name="T44" fmla="*/ 3 w 14"/>
                <a:gd name="T45" fmla="*/ 13 h 21"/>
                <a:gd name="T46" fmla="*/ 0 w 14"/>
                <a:gd name="T47" fmla="*/ 10 h 21"/>
                <a:gd name="T48" fmla="*/ 0 w 14"/>
                <a:gd name="T49" fmla="*/ 5 h 21"/>
                <a:gd name="T50" fmla="*/ 0 w 14"/>
                <a:gd name="T51" fmla="*/ 2 h 21"/>
                <a:gd name="T52" fmla="*/ 3 w 14"/>
                <a:gd name="T53" fmla="*/ 0 h 21"/>
                <a:gd name="T54" fmla="*/ 6 w 14"/>
                <a:gd name="T55" fmla="*/ 0 h 21"/>
                <a:gd name="T56" fmla="*/ 6 w 14"/>
                <a:gd name="T57" fmla="*/ 2 h 21"/>
                <a:gd name="T58" fmla="*/ 8 w 14"/>
                <a:gd name="T59" fmla="*/ 2 h 21"/>
                <a:gd name="T60" fmla="*/ 11 w 14"/>
                <a:gd name="T61" fmla="*/ 2 h 21"/>
                <a:gd name="T62" fmla="*/ 11 w 14"/>
                <a:gd name="T63" fmla="*/ 2 h 21"/>
                <a:gd name="T64" fmla="*/ 14 w 14"/>
                <a:gd name="T65" fmla="*/ 2 h 21"/>
                <a:gd name="T66" fmla="*/ 14 w 14"/>
                <a:gd name="T6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21" extrusionOk="0">
                  <a:moveTo>
                    <a:pt x="14" y="2"/>
                  </a:moveTo>
                  <a:lnTo>
                    <a:pt x="14" y="5"/>
                  </a:lnTo>
                  <a:lnTo>
                    <a:pt x="14" y="5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8" name="Freeform 8853">
              <a:extLst>
                <a:ext uri="{FF2B5EF4-FFF2-40B4-BE49-F238E27FC236}">
                  <a16:creationId xmlns:a16="http://schemas.microsoft.com/office/drawing/2014/main" id="{CF9FFFF4-FCC9-E04A-BDA7-3458E065EDA8}"/>
                </a:ext>
              </a:extLst>
            </p:cNvPr>
            <p:cNvSpPr/>
            <p:nvPr/>
          </p:nvSpPr>
          <p:spPr bwMode="auto">
            <a:xfrm>
              <a:off x="2586830" y="2170114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0 w 5"/>
                <a:gd name="T5" fmla="*/ 0 h 5"/>
                <a:gd name="T6" fmla="*/ 0 w 5"/>
                <a:gd name="T7" fmla="*/ 2 h 5"/>
                <a:gd name="T8" fmla="*/ 0 w 5"/>
                <a:gd name="T9" fmla="*/ 2 h 5"/>
                <a:gd name="T10" fmla="*/ 2 w 5"/>
                <a:gd name="T11" fmla="*/ 2 h 5"/>
                <a:gd name="T12" fmla="*/ 2 w 5"/>
                <a:gd name="T13" fmla="*/ 2 h 5"/>
                <a:gd name="T14" fmla="*/ 2 w 5"/>
                <a:gd name="T15" fmla="*/ 2 h 5"/>
                <a:gd name="T16" fmla="*/ 2 w 5"/>
                <a:gd name="T17" fmla="*/ 5 h 5"/>
                <a:gd name="T18" fmla="*/ 5 w 5"/>
                <a:gd name="T19" fmla="*/ 5 h 5"/>
                <a:gd name="T20" fmla="*/ 5 w 5"/>
                <a:gd name="T21" fmla="*/ 5 h 5"/>
                <a:gd name="T22" fmla="*/ 5 w 5"/>
                <a:gd name="T23" fmla="*/ 2 h 5"/>
                <a:gd name="T24" fmla="*/ 5 w 5"/>
                <a:gd name="T25" fmla="*/ 2 h 5"/>
                <a:gd name="T26" fmla="*/ 5 w 5"/>
                <a:gd name="T27" fmla="*/ 2 h 5"/>
                <a:gd name="T28" fmla="*/ 5 w 5"/>
                <a:gd name="T29" fmla="*/ 2 h 5"/>
                <a:gd name="T30" fmla="*/ 2 w 5"/>
                <a:gd name="T31" fmla="*/ 2 h 5"/>
                <a:gd name="T32" fmla="*/ 2 w 5"/>
                <a:gd name="T33" fmla="*/ 0 h 5"/>
                <a:gd name="T34" fmla="*/ 2 w 5"/>
                <a:gd name="T35" fmla="*/ 0 h 5"/>
                <a:gd name="T36" fmla="*/ 2 w 5"/>
                <a:gd name="T37" fmla="*/ 0 h 5"/>
                <a:gd name="T38" fmla="*/ 2 w 5"/>
                <a:gd name="T39" fmla="*/ 0 h 5"/>
                <a:gd name="T40" fmla="*/ 2 w 5"/>
                <a:gd name="T41" fmla="*/ 0 h 5"/>
                <a:gd name="T42" fmla="*/ 0 w 5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39" name="Freeform 8854">
              <a:extLst>
                <a:ext uri="{FF2B5EF4-FFF2-40B4-BE49-F238E27FC236}">
                  <a16:creationId xmlns:a16="http://schemas.microsoft.com/office/drawing/2014/main" id="{F8F85959-97D2-4E49-B628-7A8B3360DC5C}"/>
                </a:ext>
              </a:extLst>
            </p:cNvPr>
            <p:cNvSpPr/>
            <p:nvPr/>
          </p:nvSpPr>
          <p:spPr bwMode="auto">
            <a:xfrm>
              <a:off x="2582067" y="2157415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3 w 5"/>
                <a:gd name="T3" fmla="*/ 0 h 5"/>
                <a:gd name="T4" fmla="*/ 3 w 5"/>
                <a:gd name="T5" fmla="*/ 0 h 5"/>
                <a:gd name="T6" fmla="*/ 3 w 5"/>
                <a:gd name="T7" fmla="*/ 0 h 5"/>
                <a:gd name="T8" fmla="*/ 3 w 5"/>
                <a:gd name="T9" fmla="*/ 0 h 5"/>
                <a:gd name="T10" fmla="*/ 3 w 5"/>
                <a:gd name="T11" fmla="*/ 2 h 5"/>
                <a:gd name="T12" fmla="*/ 5 w 5"/>
                <a:gd name="T13" fmla="*/ 2 h 5"/>
                <a:gd name="T14" fmla="*/ 5 w 5"/>
                <a:gd name="T15" fmla="*/ 2 h 5"/>
                <a:gd name="T16" fmla="*/ 5 w 5"/>
                <a:gd name="T17" fmla="*/ 2 h 5"/>
                <a:gd name="T18" fmla="*/ 5 w 5"/>
                <a:gd name="T19" fmla="*/ 2 h 5"/>
                <a:gd name="T20" fmla="*/ 5 w 5"/>
                <a:gd name="T21" fmla="*/ 2 h 5"/>
                <a:gd name="T22" fmla="*/ 5 w 5"/>
                <a:gd name="T23" fmla="*/ 2 h 5"/>
                <a:gd name="T24" fmla="*/ 5 w 5"/>
                <a:gd name="T25" fmla="*/ 2 h 5"/>
                <a:gd name="T26" fmla="*/ 5 w 5"/>
                <a:gd name="T27" fmla="*/ 5 h 5"/>
                <a:gd name="T28" fmla="*/ 3 w 5"/>
                <a:gd name="T29" fmla="*/ 5 h 5"/>
                <a:gd name="T30" fmla="*/ 3 w 5"/>
                <a:gd name="T31" fmla="*/ 5 h 5"/>
                <a:gd name="T32" fmla="*/ 3 w 5"/>
                <a:gd name="T33" fmla="*/ 2 h 5"/>
                <a:gd name="T34" fmla="*/ 3 w 5"/>
                <a:gd name="T35" fmla="*/ 2 h 5"/>
                <a:gd name="T36" fmla="*/ 3 w 5"/>
                <a:gd name="T37" fmla="*/ 2 h 5"/>
                <a:gd name="T38" fmla="*/ 3 w 5"/>
                <a:gd name="T39" fmla="*/ 2 h 5"/>
                <a:gd name="T40" fmla="*/ 0 w 5"/>
                <a:gd name="T41" fmla="*/ 2 h 5"/>
                <a:gd name="T42" fmla="*/ 0 w 5"/>
                <a:gd name="T43" fmla="*/ 2 h 5"/>
                <a:gd name="T44" fmla="*/ 0 w 5"/>
                <a:gd name="T4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0" name="Freeform 8855">
              <a:extLst>
                <a:ext uri="{FF2B5EF4-FFF2-40B4-BE49-F238E27FC236}">
                  <a16:creationId xmlns:a16="http://schemas.microsoft.com/office/drawing/2014/main" id="{30A6764C-8C90-674D-A9AC-FBA50E144611}"/>
                </a:ext>
              </a:extLst>
            </p:cNvPr>
            <p:cNvSpPr/>
            <p:nvPr/>
          </p:nvSpPr>
          <p:spPr bwMode="auto">
            <a:xfrm>
              <a:off x="2599531" y="2000252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2 w 5"/>
                <a:gd name="T5" fmla="*/ 0 h 5"/>
                <a:gd name="T6" fmla="*/ 2 w 5"/>
                <a:gd name="T7" fmla="*/ 0 h 5"/>
                <a:gd name="T8" fmla="*/ 2 w 5"/>
                <a:gd name="T9" fmla="*/ 0 h 5"/>
                <a:gd name="T10" fmla="*/ 2 w 5"/>
                <a:gd name="T11" fmla="*/ 0 h 5"/>
                <a:gd name="T12" fmla="*/ 5 w 5"/>
                <a:gd name="T13" fmla="*/ 3 h 5"/>
                <a:gd name="T14" fmla="*/ 2 w 5"/>
                <a:gd name="T15" fmla="*/ 3 h 5"/>
                <a:gd name="T16" fmla="*/ 2 w 5"/>
                <a:gd name="T17" fmla="*/ 3 h 5"/>
                <a:gd name="T18" fmla="*/ 2 w 5"/>
                <a:gd name="T19" fmla="*/ 5 h 5"/>
                <a:gd name="T20" fmla="*/ 2 w 5"/>
                <a:gd name="T21" fmla="*/ 5 h 5"/>
                <a:gd name="T22" fmla="*/ 2 w 5"/>
                <a:gd name="T23" fmla="*/ 5 h 5"/>
                <a:gd name="T24" fmla="*/ 0 w 5"/>
                <a:gd name="T25" fmla="*/ 3 h 5"/>
                <a:gd name="T26" fmla="*/ 0 w 5"/>
                <a:gd name="T27" fmla="*/ 3 h 5"/>
                <a:gd name="T28" fmla="*/ 2 w 5"/>
                <a:gd name="T29" fmla="*/ 3 h 5"/>
                <a:gd name="T30" fmla="*/ 0 w 5"/>
                <a:gd name="T31" fmla="*/ 3 h 5"/>
                <a:gd name="T32" fmla="*/ 0 w 5"/>
                <a:gd name="T33" fmla="*/ 0 h 5"/>
                <a:gd name="T34" fmla="*/ 0 w 5"/>
                <a:gd name="T35" fmla="*/ 0 h 5"/>
                <a:gd name="T36" fmla="*/ 0 w 5"/>
                <a:gd name="T3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5" extrusionOk="0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1" name="Freeform 8856">
              <a:extLst>
                <a:ext uri="{FF2B5EF4-FFF2-40B4-BE49-F238E27FC236}">
                  <a16:creationId xmlns:a16="http://schemas.microsoft.com/office/drawing/2014/main" id="{1CB6E1E4-666A-8047-8D98-A0B16F005A40}"/>
                </a:ext>
              </a:extLst>
            </p:cNvPr>
            <p:cNvSpPr/>
            <p:nvPr/>
          </p:nvSpPr>
          <p:spPr bwMode="auto">
            <a:xfrm>
              <a:off x="488156" y="2743202"/>
              <a:ext cx="33338" cy="0"/>
            </a:xfrm>
            <a:custGeom>
              <a:avLst/>
              <a:gdLst>
                <a:gd name="T0" fmla="*/ 0 w 21"/>
                <a:gd name="T1" fmla="*/ 0 w 21"/>
                <a:gd name="T2" fmla="*/ 18 w 21"/>
                <a:gd name="T3" fmla="*/ 21 w 21"/>
                <a:gd name="T4" fmla="*/ 21 w 21"/>
                <a:gd name="T5" fmla="*/ 18 w 21"/>
                <a:gd name="T6" fmla="*/ 16 w 21"/>
                <a:gd name="T7" fmla="*/ 16 w 21"/>
                <a:gd name="T8" fmla="*/ 13 w 21"/>
                <a:gd name="T9" fmla="*/ 13 w 21"/>
                <a:gd name="T10" fmla="*/ 10 w 21"/>
                <a:gd name="T11" fmla="*/ 10 w 21"/>
                <a:gd name="T12" fmla="*/ 10 w 21"/>
                <a:gd name="T13" fmla="*/ 8 w 21"/>
                <a:gd name="T14" fmla="*/ 0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</a:cxnLst>
              <a:rect l="0" t="0" r="r" b="b"/>
              <a:pathLst>
                <a:path w="21" extrusionOk="0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2" name="Freeform 8857">
              <a:extLst>
                <a:ext uri="{FF2B5EF4-FFF2-40B4-BE49-F238E27FC236}">
                  <a16:creationId xmlns:a16="http://schemas.microsoft.com/office/drawing/2014/main" id="{25D51D36-443B-2E4B-AD4B-B49201CB29C3}"/>
                </a:ext>
              </a:extLst>
            </p:cNvPr>
            <p:cNvSpPr/>
            <p:nvPr/>
          </p:nvSpPr>
          <p:spPr bwMode="auto">
            <a:xfrm>
              <a:off x="483393" y="2743202"/>
              <a:ext cx="38100" cy="0"/>
            </a:xfrm>
            <a:custGeom>
              <a:avLst/>
              <a:gdLst>
                <a:gd name="T0" fmla="*/ 3 w 24"/>
                <a:gd name="T1" fmla="*/ 11 w 24"/>
                <a:gd name="T2" fmla="*/ 13 w 24"/>
                <a:gd name="T3" fmla="*/ 13 w 24"/>
                <a:gd name="T4" fmla="*/ 13 w 24"/>
                <a:gd name="T5" fmla="*/ 16 w 24"/>
                <a:gd name="T6" fmla="*/ 16 w 24"/>
                <a:gd name="T7" fmla="*/ 19 w 24"/>
                <a:gd name="T8" fmla="*/ 19 w 24"/>
                <a:gd name="T9" fmla="*/ 21 w 24"/>
                <a:gd name="T10" fmla="*/ 21 w 24"/>
                <a:gd name="T11" fmla="*/ 24 w 24"/>
                <a:gd name="T12" fmla="*/ 24 w 24"/>
                <a:gd name="T13" fmla="*/ 21 w 24"/>
                <a:gd name="T14" fmla="*/ 21 w 24"/>
                <a:gd name="T15" fmla="*/ 13 w 24"/>
                <a:gd name="T16" fmla="*/ 0 w 24"/>
                <a:gd name="T17" fmla="*/ 3 w 2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</a:cxnLst>
              <a:rect l="0" t="0" r="r" b="b"/>
              <a:pathLst>
                <a:path w="24" extrusionOk="0">
                  <a:moveTo>
                    <a:pt x="3" y="0"/>
                  </a:move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3" name="Freeform 8858">
              <a:extLst>
                <a:ext uri="{FF2B5EF4-FFF2-40B4-BE49-F238E27FC236}">
                  <a16:creationId xmlns:a16="http://schemas.microsoft.com/office/drawing/2014/main" id="{4D55B794-C457-5544-A136-040F4C6D2969}"/>
                </a:ext>
              </a:extLst>
            </p:cNvPr>
            <p:cNvSpPr/>
            <p:nvPr/>
          </p:nvSpPr>
          <p:spPr bwMode="auto">
            <a:xfrm>
              <a:off x="4001292" y="1822452"/>
              <a:ext cx="373063" cy="520700"/>
            </a:xfrm>
            <a:custGeom>
              <a:avLst/>
              <a:gdLst>
                <a:gd name="T0" fmla="*/ 51 w 235"/>
                <a:gd name="T1" fmla="*/ 176 h 328"/>
                <a:gd name="T2" fmla="*/ 43 w 235"/>
                <a:gd name="T3" fmla="*/ 171 h 328"/>
                <a:gd name="T4" fmla="*/ 35 w 235"/>
                <a:gd name="T5" fmla="*/ 173 h 328"/>
                <a:gd name="T6" fmla="*/ 33 w 235"/>
                <a:gd name="T7" fmla="*/ 168 h 328"/>
                <a:gd name="T8" fmla="*/ 35 w 235"/>
                <a:gd name="T9" fmla="*/ 144 h 328"/>
                <a:gd name="T10" fmla="*/ 22 w 235"/>
                <a:gd name="T11" fmla="*/ 149 h 328"/>
                <a:gd name="T12" fmla="*/ 0 w 235"/>
                <a:gd name="T13" fmla="*/ 136 h 328"/>
                <a:gd name="T14" fmla="*/ 41 w 235"/>
                <a:gd name="T15" fmla="*/ 85 h 328"/>
                <a:gd name="T16" fmla="*/ 51 w 235"/>
                <a:gd name="T17" fmla="*/ 96 h 328"/>
                <a:gd name="T18" fmla="*/ 65 w 235"/>
                <a:gd name="T19" fmla="*/ 85 h 328"/>
                <a:gd name="T20" fmla="*/ 75 w 235"/>
                <a:gd name="T21" fmla="*/ 75 h 328"/>
                <a:gd name="T22" fmla="*/ 86 w 235"/>
                <a:gd name="T23" fmla="*/ 66 h 328"/>
                <a:gd name="T24" fmla="*/ 99 w 235"/>
                <a:gd name="T25" fmla="*/ 58 h 328"/>
                <a:gd name="T26" fmla="*/ 94 w 235"/>
                <a:gd name="T27" fmla="*/ 50 h 328"/>
                <a:gd name="T28" fmla="*/ 97 w 235"/>
                <a:gd name="T29" fmla="*/ 48 h 328"/>
                <a:gd name="T30" fmla="*/ 115 w 235"/>
                <a:gd name="T31" fmla="*/ 26 h 328"/>
                <a:gd name="T32" fmla="*/ 126 w 235"/>
                <a:gd name="T33" fmla="*/ 18 h 328"/>
                <a:gd name="T34" fmla="*/ 145 w 235"/>
                <a:gd name="T35" fmla="*/ 0 h 328"/>
                <a:gd name="T36" fmla="*/ 179 w 235"/>
                <a:gd name="T37" fmla="*/ 5 h 328"/>
                <a:gd name="T38" fmla="*/ 217 w 235"/>
                <a:gd name="T39" fmla="*/ 24 h 328"/>
                <a:gd name="T40" fmla="*/ 235 w 235"/>
                <a:gd name="T41" fmla="*/ 53 h 328"/>
                <a:gd name="T42" fmla="*/ 217 w 235"/>
                <a:gd name="T43" fmla="*/ 56 h 328"/>
                <a:gd name="T44" fmla="*/ 201 w 235"/>
                <a:gd name="T45" fmla="*/ 61 h 328"/>
                <a:gd name="T46" fmla="*/ 206 w 235"/>
                <a:gd name="T47" fmla="*/ 83 h 328"/>
                <a:gd name="T48" fmla="*/ 185 w 235"/>
                <a:gd name="T49" fmla="*/ 77 h 328"/>
                <a:gd name="T50" fmla="*/ 185 w 235"/>
                <a:gd name="T51" fmla="*/ 93 h 328"/>
                <a:gd name="T52" fmla="*/ 169 w 235"/>
                <a:gd name="T53" fmla="*/ 93 h 328"/>
                <a:gd name="T54" fmla="*/ 161 w 235"/>
                <a:gd name="T55" fmla="*/ 104 h 328"/>
                <a:gd name="T56" fmla="*/ 158 w 235"/>
                <a:gd name="T57" fmla="*/ 125 h 328"/>
                <a:gd name="T58" fmla="*/ 145 w 235"/>
                <a:gd name="T59" fmla="*/ 155 h 328"/>
                <a:gd name="T60" fmla="*/ 139 w 235"/>
                <a:gd name="T61" fmla="*/ 181 h 328"/>
                <a:gd name="T62" fmla="*/ 139 w 235"/>
                <a:gd name="T63" fmla="*/ 280 h 328"/>
                <a:gd name="T64" fmla="*/ 153 w 235"/>
                <a:gd name="T65" fmla="*/ 312 h 328"/>
                <a:gd name="T66" fmla="*/ 139 w 235"/>
                <a:gd name="T67" fmla="*/ 320 h 328"/>
                <a:gd name="T68" fmla="*/ 129 w 235"/>
                <a:gd name="T69" fmla="*/ 315 h 328"/>
                <a:gd name="T70" fmla="*/ 129 w 235"/>
                <a:gd name="T71" fmla="*/ 320 h 328"/>
                <a:gd name="T72" fmla="*/ 118 w 235"/>
                <a:gd name="T73" fmla="*/ 302 h 328"/>
                <a:gd name="T74" fmla="*/ 110 w 235"/>
                <a:gd name="T75" fmla="*/ 296 h 328"/>
                <a:gd name="T76" fmla="*/ 110 w 235"/>
                <a:gd name="T77" fmla="*/ 307 h 328"/>
                <a:gd name="T78" fmla="*/ 113 w 235"/>
                <a:gd name="T79" fmla="*/ 315 h 328"/>
                <a:gd name="T80" fmla="*/ 102 w 235"/>
                <a:gd name="T81" fmla="*/ 304 h 328"/>
                <a:gd name="T82" fmla="*/ 97 w 235"/>
                <a:gd name="T83" fmla="*/ 302 h 328"/>
                <a:gd name="T84" fmla="*/ 89 w 235"/>
                <a:gd name="T85" fmla="*/ 299 h 328"/>
                <a:gd name="T86" fmla="*/ 86 w 235"/>
                <a:gd name="T87" fmla="*/ 288 h 328"/>
                <a:gd name="T88" fmla="*/ 91 w 235"/>
                <a:gd name="T89" fmla="*/ 291 h 328"/>
                <a:gd name="T90" fmla="*/ 89 w 235"/>
                <a:gd name="T91" fmla="*/ 288 h 328"/>
                <a:gd name="T92" fmla="*/ 73 w 235"/>
                <a:gd name="T93" fmla="*/ 272 h 328"/>
                <a:gd name="T94" fmla="*/ 81 w 235"/>
                <a:gd name="T95" fmla="*/ 283 h 328"/>
                <a:gd name="T96" fmla="*/ 70 w 235"/>
                <a:gd name="T97" fmla="*/ 294 h 328"/>
                <a:gd name="T98" fmla="*/ 59 w 235"/>
                <a:gd name="T99" fmla="*/ 267 h 328"/>
                <a:gd name="T100" fmla="*/ 54 w 235"/>
                <a:gd name="T101" fmla="*/ 267 h 328"/>
                <a:gd name="T102" fmla="*/ 54 w 235"/>
                <a:gd name="T103" fmla="*/ 270 h 328"/>
                <a:gd name="T104" fmla="*/ 35 w 235"/>
                <a:gd name="T105" fmla="*/ 248 h 328"/>
                <a:gd name="T106" fmla="*/ 25 w 235"/>
                <a:gd name="T107" fmla="*/ 240 h 328"/>
                <a:gd name="T108" fmla="*/ 38 w 235"/>
                <a:gd name="T109" fmla="*/ 235 h 328"/>
                <a:gd name="T110" fmla="*/ 49 w 235"/>
                <a:gd name="T111" fmla="*/ 227 h 328"/>
                <a:gd name="T112" fmla="*/ 51 w 235"/>
                <a:gd name="T113" fmla="*/ 221 h 328"/>
                <a:gd name="T114" fmla="*/ 67 w 235"/>
                <a:gd name="T115" fmla="*/ 224 h 328"/>
                <a:gd name="T116" fmla="*/ 59 w 235"/>
                <a:gd name="T117" fmla="*/ 213 h 328"/>
                <a:gd name="T118" fmla="*/ 46 w 235"/>
                <a:gd name="T119" fmla="*/ 197 h 328"/>
                <a:gd name="T120" fmla="*/ 65 w 235"/>
                <a:gd name="T121" fmla="*/ 187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5" h="328" extrusionOk="0">
                  <a:moveTo>
                    <a:pt x="41" y="189"/>
                  </a:moveTo>
                  <a:lnTo>
                    <a:pt x="41" y="189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1" y="181"/>
                  </a:lnTo>
                  <a:lnTo>
                    <a:pt x="41" y="181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9"/>
                  </a:lnTo>
                  <a:lnTo>
                    <a:pt x="46" y="189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46" y="184"/>
                  </a:lnTo>
                  <a:lnTo>
                    <a:pt x="46" y="184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9" y="179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4" y="171"/>
                  </a:lnTo>
                  <a:lnTo>
                    <a:pt x="57" y="171"/>
                  </a:lnTo>
                  <a:lnTo>
                    <a:pt x="57" y="171"/>
                  </a:lnTo>
                  <a:lnTo>
                    <a:pt x="59" y="171"/>
                  </a:lnTo>
                  <a:lnTo>
                    <a:pt x="59" y="168"/>
                  </a:lnTo>
                  <a:lnTo>
                    <a:pt x="57" y="168"/>
                  </a:lnTo>
                  <a:lnTo>
                    <a:pt x="59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7" y="165"/>
                  </a:lnTo>
                  <a:lnTo>
                    <a:pt x="54" y="168"/>
                  </a:lnTo>
                  <a:lnTo>
                    <a:pt x="54" y="165"/>
                  </a:lnTo>
                  <a:lnTo>
                    <a:pt x="54" y="168"/>
                  </a:lnTo>
                  <a:lnTo>
                    <a:pt x="51" y="168"/>
                  </a:lnTo>
                  <a:lnTo>
                    <a:pt x="49" y="168"/>
                  </a:lnTo>
                  <a:lnTo>
                    <a:pt x="49" y="168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6" y="171"/>
                  </a:lnTo>
                  <a:lnTo>
                    <a:pt x="46" y="171"/>
                  </a:lnTo>
                  <a:lnTo>
                    <a:pt x="46" y="173"/>
                  </a:lnTo>
                  <a:lnTo>
                    <a:pt x="46" y="173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1" y="168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68"/>
                  </a:lnTo>
                  <a:lnTo>
                    <a:pt x="38" y="168"/>
                  </a:lnTo>
                  <a:lnTo>
                    <a:pt x="41" y="168"/>
                  </a:lnTo>
                  <a:lnTo>
                    <a:pt x="38" y="165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6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6"/>
                  </a:lnTo>
                  <a:lnTo>
                    <a:pt x="35" y="176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1"/>
                  </a:lnTo>
                  <a:lnTo>
                    <a:pt x="35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8" y="168"/>
                  </a:lnTo>
                  <a:lnTo>
                    <a:pt x="35" y="168"/>
                  </a:lnTo>
                  <a:lnTo>
                    <a:pt x="35" y="168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5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3" y="171"/>
                  </a:lnTo>
                  <a:lnTo>
                    <a:pt x="33" y="171"/>
                  </a:lnTo>
                  <a:lnTo>
                    <a:pt x="33" y="171"/>
                  </a:lnTo>
                  <a:lnTo>
                    <a:pt x="33" y="168"/>
                  </a:lnTo>
                  <a:lnTo>
                    <a:pt x="33" y="168"/>
                  </a:lnTo>
                  <a:lnTo>
                    <a:pt x="30" y="168"/>
                  </a:lnTo>
                  <a:lnTo>
                    <a:pt x="33" y="165"/>
                  </a:lnTo>
                  <a:lnTo>
                    <a:pt x="33" y="165"/>
                  </a:lnTo>
                  <a:lnTo>
                    <a:pt x="33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57"/>
                  </a:lnTo>
                  <a:lnTo>
                    <a:pt x="33" y="157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3" y="152"/>
                  </a:lnTo>
                  <a:lnTo>
                    <a:pt x="35" y="152"/>
                  </a:lnTo>
                  <a:lnTo>
                    <a:pt x="35" y="149"/>
                  </a:lnTo>
                  <a:lnTo>
                    <a:pt x="35" y="149"/>
                  </a:lnTo>
                  <a:lnTo>
                    <a:pt x="35" y="149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5" y="144"/>
                  </a:lnTo>
                  <a:lnTo>
                    <a:pt x="35" y="141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3"/>
                  </a:lnTo>
                  <a:lnTo>
                    <a:pt x="38" y="133"/>
                  </a:lnTo>
                  <a:lnTo>
                    <a:pt x="35" y="136"/>
                  </a:lnTo>
                  <a:lnTo>
                    <a:pt x="35" y="139"/>
                  </a:lnTo>
                  <a:lnTo>
                    <a:pt x="35" y="141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7"/>
                  </a:lnTo>
                  <a:lnTo>
                    <a:pt x="30" y="149"/>
                  </a:lnTo>
                  <a:lnTo>
                    <a:pt x="30" y="149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5"/>
                  </a:lnTo>
                  <a:lnTo>
                    <a:pt x="25" y="155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5" y="160"/>
                  </a:lnTo>
                  <a:lnTo>
                    <a:pt x="22" y="157"/>
                  </a:lnTo>
                  <a:lnTo>
                    <a:pt x="22" y="157"/>
                  </a:lnTo>
                  <a:lnTo>
                    <a:pt x="22" y="157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2"/>
                  </a:lnTo>
                  <a:lnTo>
                    <a:pt x="22" y="149"/>
                  </a:lnTo>
                  <a:lnTo>
                    <a:pt x="25" y="147"/>
                  </a:lnTo>
                  <a:lnTo>
                    <a:pt x="25" y="144"/>
                  </a:lnTo>
                  <a:lnTo>
                    <a:pt x="25" y="144"/>
                  </a:lnTo>
                  <a:lnTo>
                    <a:pt x="22" y="144"/>
                  </a:lnTo>
                  <a:lnTo>
                    <a:pt x="22" y="147"/>
                  </a:lnTo>
                  <a:lnTo>
                    <a:pt x="22" y="147"/>
                  </a:lnTo>
                  <a:lnTo>
                    <a:pt x="19" y="147"/>
                  </a:lnTo>
                  <a:lnTo>
                    <a:pt x="19" y="147"/>
                  </a:lnTo>
                  <a:lnTo>
                    <a:pt x="17" y="149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7"/>
                  </a:lnTo>
                  <a:lnTo>
                    <a:pt x="17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1" y="155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6" y="149"/>
                  </a:lnTo>
                  <a:lnTo>
                    <a:pt x="3" y="147"/>
                  </a:lnTo>
                  <a:lnTo>
                    <a:pt x="3" y="144"/>
                  </a:lnTo>
                  <a:lnTo>
                    <a:pt x="3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39"/>
                  </a:lnTo>
                  <a:lnTo>
                    <a:pt x="0" y="136"/>
                  </a:lnTo>
                  <a:lnTo>
                    <a:pt x="0" y="133"/>
                  </a:lnTo>
                  <a:lnTo>
                    <a:pt x="3" y="131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5"/>
                  </a:lnTo>
                  <a:lnTo>
                    <a:pt x="3" y="123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8" y="112"/>
                  </a:lnTo>
                  <a:lnTo>
                    <a:pt x="8" y="109"/>
                  </a:lnTo>
                  <a:lnTo>
                    <a:pt x="11" y="107"/>
                  </a:lnTo>
                  <a:lnTo>
                    <a:pt x="11" y="104"/>
                  </a:lnTo>
                  <a:lnTo>
                    <a:pt x="14" y="99"/>
                  </a:lnTo>
                  <a:lnTo>
                    <a:pt x="17" y="96"/>
                  </a:lnTo>
                  <a:lnTo>
                    <a:pt x="19" y="93"/>
                  </a:lnTo>
                  <a:lnTo>
                    <a:pt x="22" y="91"/>
                  </a:lnTo>
                  <a:lnTo>
                    <a:pt x="25" y="88"/>
                  </a:lnTo>
                  <a:lnTo>
                    <a:pt x="27" y="85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38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88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6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6"/>
                  </a:lnTo>
                  <a:lnTo>
                    <a:pt x="49" y="93"/>
                  </a:lnTo>
                  <a:lnTo>
                    <a:pt x="49" y="96"/>
                  </a:lnTo>
                  <a:lnTo>
                    <a:pt x="51" y="93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7" y="96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1"/>
                  </a:lnTo>
                  <a:lnTo>
                    <a:pt x="62" y="88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3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70" y="85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0"/>
                  </a:lnTo>
                  <a:lnTo>
                    <a:pt x="73" y="83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5"/>
                  </a:lnTo>
                  <a:lnTo>
                    <a:pt x="75" y="72"/>
                  </a:lnTo>
                  <a:lnTo>
                    <a:pt x="75" y="75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8" y="80"/>
                  </a:lnTo>
                  <a:lnTo>
                    <a:pt x="78" y="77"/>
                  </a:lnTo>
                  <a:lnTo>
                    <a:pt x="78" y="80"/>
                  </a:lnTo>
                  <a:lnTo>
                    <a:pt x="81" y="80"/>
                  </a:lnTo>
                  <a:lnTo>
                    <a:pt x="81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6" y="61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91" y="64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4" y="61"/>
                  </a:lnTo>
                  <a:lnTo>
                    <a:pt x="97" y="61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7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102" y="58"/>
                  </a:lnTo>
                  <a:lnTo>
                    <a:pt x="102" y="61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1"/>
                  </a:lnTo>
                  <a:lnTo>
                    <a:pt x="105" y="61"/>
                  </a:lnTo>
                  <a:lnTo>
                    <a:pt x="105" y="61"/>
                  </a:lnTo>
                  <a:lnTo>
                    <a:pt x="105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6"/>
                  </a:lnTo>
                  <a:lnTo>
                    <a:pt x="99" y="56"/>
                  </a:lnTo>
                  <a:lnTo>
                    <a:pt x="97" y="56"/>
                  </a:lnTo>
                  <a:lnTo>
                    <a:pt x="94" y="56"/>
                  </a:lnTo>
                  <a:lnTo>
                    <a:pt x="91" y="56"/>
                  </a:lnTo>
                  <a:lnTo>
                    <a:pt x="89" y="58"/>
                  </a:lnTo>
                  <a:lnTo>
                    <a:pt x="89" y="56"/>
                  </a:lnTo>
                  <a:lnTo>
                    <a:pt x="89" y="56"/>
                  </a:lnTo>
                  <a:lnTo>
                    <a:pt x="91" y="56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1" y="50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7" y="50"/>
                  </a:lnTo>
                  <a:lnTo>
                    <a:pt x="97" y="50"/>
                  </a:lnTo>
                  <a:lnTo>
                    <a:pt x="99" y="50"/>
                  </a:lnTo>
                  <a:lnTo>
                    <a:pt x="99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3"/>
                  </a:lnTo>
                  <a:lnTo>
                    <a:pt x="105" y="53"/>
                  </a:lnTo>
                  <a:lnTo>
                    <a:pt x="107" y="56"/>
                  </a:lnTo>
                  <a:lnTo>
                    <a:pt x="107" y="56"/>
                  </a:lnTo>
                  <a:lnTo>
                    <a:pt x="107" y="56"/>
                  </a:lnTo>
                  <a:lnTo>
                    <a:pt x="110" y="56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5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99" y="48"/>
                  </a:lnTo>
                  <a:lnTo>
                    <a:pt x="99" y="45"/>
                  </a:lnTo>
                  <a:lnTo>
                    <a:pt x="97" y="48"/>
                  </a:lnTo>
                  <a:lnTo>
                    <a:pt x="97" y="48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9" y="42"/>
                  </a:lnTo>
                  <a:lnTo>
                    <a:pt x="89" y="40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4"/>
                  </a:lnTo>
                  <a:lnTo>
                    <a:pt x="89" y="34"/>
                  </a:lnTo>
                  <a:lnTo>
                    <a:pt x="89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4" y="32"/>
                  </a:lnTo>
                  <a:lnTo>
                    <a:pt x="94" y="29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102" y="24"/>
                  </a:lnTo>
                  <a:lnTo>
                    <a:pt x="105" y="26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5" y="24"/>
                  </a:lnTo>
                  <a:lnTo>
                    <a:pt x="115" y="26"/>
                  </a:lnTo>
                  <a:lnTo>
                    <a:pt x="118" y="26"/>
                  </a:lnTo>
                  <a:lnTo>
                    <a:pt x="118" y="29"/>
                  </a:lnTo>
                  <a:lnTo>
                    <a:pt x="121" y="29"/>
                  </a:lnTo>
                  <a:lnTo>
                    <a:pt x="121" y="32"/>
                  </a:lnTo>
                  <a:lnTo>
                    <a:pt x="123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9" y="32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3" y="29"/>
                  </a:lnTo>
                  <a:lnTo>
                    <a:pt x="123" y="26"/>
                  </a:lnTo>
                  <a:lnTo>
                    <a:pt x="121" y="26"/>
                  </a:lnTo>
                  <a:lnTo>
                    <a:pt x="121" y="24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9" y="18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24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18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7" y="2"/>
                  </a:lnTo>
                  <a:lnTo>
                    <a:pt x="139" y="0"/>
                  </a:lnTo>
                  <a:lnTo>
                    <a:pt x="142" y="0"/>
                  </a:lnTo>
                  <a:lnTo>
                    <a:pt x="145" y="0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50" y="2"/>
                  </a:lnTo>
                  <a:lnTo>
                    <a:pt x="150" y="0"/>
                  </a:lnTo>
                  <a:lnTo>
                    <a:pt x="153" y="0"/>
                  </a:lnTo>
                  <a:lnTo>
                    <a:pt x="155" y="0"/>
                  </a:lnTo>
                  <a:lnTo>
                    <a:pt x="158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63" y="0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71" y="8"/>
                  </a:lnTo>
                  <a:lnTo>
                    <a:pt x="171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5"/>
                  </a:lnTo>
                  <a:lnTo>
                    <a:pt x="177" y="5"/>
                  </a:lnTo>
                  <a:lnTo>
                    <a:pt x="177" y="8"/>
                  </a:lnTo>
                  <a:lnTo>
                    <a:pt x="177" y="8"/>
                  </a:lnTo>
                  <a:lnTo>
                    <a:pt x="179" y="5"/>
                  </a:lnTo>
                  <a:lnTo>
                    <a:pt x="179" y="5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5" y="2"/>
                  </a:lnTo>
                  <a:lnTo>
                    <a:pt x="187" y="2"/>
                  </a:lnTo>
                  <a:lnTo>
                    <a:pt x="190" y="2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5" y="2"/>
                  </a:lnTo>
                  <a:lnTo>
                    <a:pt x="198" y="0"/>
                  </a:lnTo>
                  <a:lnTo>
                    <a:pt x="198" y="2"/>
                  </a:lnTo>
                  <a:lnTo>
                    <a:pt x="201" y="2"/>
                  </a:lnTo>
                  <a:lnTo>
                    <a:pt x="201" y="2"/>
                  </a:lnTo>
                  <a:lnTo>
                    <a:pt x="203" y="2"/>
                  </a:lnTo>
                  <a:lnTo>
                    <a:pt x="203" y="5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06" y="10"/>
                  </a:lnTo>
                  <a:lnTo>
                    <a:pt x="206" y="10"/>
                  </a:lnTo>
                  <a:lnTo>
                    <a:pt x="206" y="13"/>
                  </a:lnTo>
                  <a:lnTo>
                    <a:pt x="206" y="16"/>
                  </a:lnTo>
                  <a:lnTo>
                    <a:pt x="206" y="16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4" y="21"/>
                  </a:lnTo>
                  <a:lnTo>
                    <a:pt x="217" y="24"/>
                  </a:lnTo>
                  <a:lnTo>
                    <a:pt x="217" y="24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22" y="24"/>
                  </a:lnTo>
                  <a:lnTo>
                    <a:pt x="222" y="26"/>
                  </a:lnTo>
                  <a:lnTo>
                    <a:pt x="222" y="26"/>
                  </a:lnTo>
                  <a:lnTo>
                    <a:pt x="222" y="26"/>
                  </a:lnTo>
                  <a:lnTo>
                    <a:pt x="219" y="29"/>
                  </a:lnTo>
                  <a:lnTo>
                    <a:pt x="222" y="29"/>
                  </a:lnTo>
                  <a:lnTo>
                    <a:pt x="222" y="29"/>
                  </a:lnTo>
                  <a:lnTo>
                    <a:pt x="222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7"/>
                  </a:lnTo>
                  <a:lnTo>
                    <a:pt x="225" y="37"/>
                  </a:lnTo>
                  <a:lnTo>
                    <a:pt x="227" y="37"/>
                  </a:lnTo>
                  <a:lnTo>
                    <a:pt x="227" y="37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3" y="40"/>
                  </a:lnTo>
                  <a:lnTo>
                    <a:pt x="233" y="42"/>
                  </a:lnTo>
                  <a:lnTo>
                    <a:pt x="235" y="42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5" y="50"/>
                  </a:lnTo>
                  <a:lnTo>
                    <a:pt x="235" y="50"/>
                  </a:lnTo>
                  <a:lnTo>
                    <a:pt x="235" y="53"/>
                  </a:lnTo>
                  <a:lnTo>
                    <a:pt x="235" y="53"/>
                  </a:lnTo>
                  <a:lnTo>
                    <a:pt x="235" y="56"/>
                  </a:lnTo>
                  <a:lnTo>
                    <a:pt x="235" y="56"/>
                  </a:lnTo>
                  <a:lnTo>
                    <a:pt x="235" y="58"/>
                  </a:lnTo>
                  <a:lnTo>
                    <a:pt x="233" y="58"/>
                  </a:lnTo>
                  <a:lnTo>
                    <a:pt x="233" y="58"/>
                  </a:lnTo>
                  <a:lnTo>
                    <a:pt x="230" y="58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2" y="56"/>
                  </a:lnTo>
                  <a:lnTo>
                    <a:pt x="222" y="56"/>
                  </a:lnTo>
                  <a:lnTo>
                    <a:pt x="219" y="56"/>
                  </a:lnTo>
                  <a:lnTo>
                    <a:pt x="219" y="56"/>
                  </a:lnTo>
                  <a:lnTo>
                    <a:pt x="217" y="56"/>
                  </a:lnTo>
                  <a:lnTo>
                    <a:pt x="217" y="56"/>
                  </a:lnTo>
                  <a:lnTo>
                    <a:pt x="214" y="56"/>
                  </a:lnTo>
                  <a:lnTo>
                    <a:pt x="214" y="53"/>
                  </a:lnTo>
                  <a:lnTo>
                    <a:pt x="211" y="53"/>
                  </a:lnTo>
                  <a:lnTo>
                    <a:pt x="211" y="53"/>
                  </a:lnTo>
                  <a:lnTo>
                    <a:pt x="211" y="53"/>
                  </a:lnTo>
                  <a:lnTo>
                    <a:pt x="209" y="53"/>
                  </a:lnTo>
                  <a:lnTo>
                    <a:pt x="209" y="53"/>
                  </a:lnTo>
                  <a:lnTo>
                    <a:pt x="211" y="56"/>
                  </a:lnTo>
                  <a:lnTo>
                    <a:pt x="214" y="56"/>
                  </a:lnTo>
                  <a:lnTo>
                    <a:pt x="217" y="56"/>
                  </a:lnTo>
                  <a:lnTo>
                    <a:pt x="217" y="56"/>
                  </a:lnTo>
                  <a:lnTo>
                    <a:pt x="219" y="58"/>
                  </a:lnTo>
                  <a:lnTo>
                    <a:pt x="222" y="58"/>
                  </a:lnTo>
                  <a:lnTo>
                    <a:pt x="222" y="58"/>
                  </a:lnTo>
                  <a:lnTo>
                    <a:pt x="222" y="61"/>
                  </a:lnTo>
                  <a:lnTo>
                    <a:pt x="225" y="61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2" y="66"/>
                  </a:lnTo>
                  <a:lnTo>
                    <a:pt x="222" y="66"/>
                  </a:lnTo>
                  <a:lnTo>
                    <a:pt x="222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4" y="64"/>
                  </a:lnTo>
                  <a:lnTo>
                    <a:pt x="211" y="64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3" y="64"/>
                  </a:lnTo>
                  <a:lnTo>
                    <a:pt x="203" y="61"/>
                  </a:lnTo>
                  <a:lnTo>
                    <a:pt x="203" y="61"/>
                  </a:lnTo>
                  <a:lnTo>
                    <a:pt x="201" y="61"/>
                  </a:lnTo>
                  <a:lnTo>
                    <a:pt x="201" y="61"/>
                  </a:lnTo>
                  <a:lnTo>
                    <a:pt x="201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201" y="64"/>
                  </a:lnTo>
                  <a:lnTo>
                    <a:pt x="201" y="64"/>
                  </a:lnTo>
                  <a:lnTo>
                    <a:pt x="203" y="64"/>
                  </a:lnTo>
                  <a:lnTo>
                    <a:pt x="203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9" y="69"/>
                  </a:lnTo>
                  <a:lnTo>
                    <a:pt x="211" y="69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4" y="69"/>
                  </a:lnTo>
                  <a:lnTo>
                    <a:pt x="214" y="69"/>
                  </a:lnTo>
                  <a:lnTo>
                    <a:pt x="214" y="66"/>
                  </a:lnTo>
                  <a:lnTo>
                    <a:pt x="217" y="69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1" y="77"/>
                  </a:lnTo>
                  <a:lnTo>
                    <a:pt x="211" y="77"/>
                  </a:lnTo>
                  <a:lnTo>
                    <a:pt x="211" y="80"/>
                  </a:lnTo>
                  <a:lnTo>
                    <a:pt x="209" y="80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06" y="83"/>
                  </a:lnTo>
                  <a:lnTo>
                    <a:pt x="206" y="85"/>
                  </a:lnTo>
                  <a:lnTo>
                    <a:pt x="206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1" y="83"/>
                  </a:lnTo>
                  <a:lnTo>
                    <a:pt x="201" y="83"/>
                  </a:lnTo>
                  <a:lnTo>
                    <a:pt x="201" y="83"/>
                  </a:lnTo>
                  <a:lnTo>
                    <a:pt x="198" y="83"/>
                  </a:lnTo>
                  <a:lnTo>
                    <a:pt x="198" y="80"/>
                  </a:lnTo>
                  <a:lnTo>
                    <a:pt x="198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8" y="80"/>
                  </a:lnTo>
                  <a:lnTo>
                    <a:pt x="195" y="80"/>
                  </a:lnTo>
                  <a:lnTo>
                    <a:pt x="195" y="80"/>
                  </a:lnTo>
                  <a:lnTo>
                    <a:pt x="193" y="80"/>
                  </a:lnTo>
                  <a:lnTo>
                    <a:pt x="193" y="80"/>
                  </a:lnTo>
                  <a:lnTo>
                    <a:pt x="193" y="80"/>
                  </a:lnTo>
                  <a:lnTo>
                    <a:pt x="190" y="80"/>
                  </a:lnTo>
                  <a:lnTo>
                    <a:pt x="190" y="77"/>
                  </a:lnTo>
                  <a:lnTo>
                    <a:pt x="190" y="77"/>
                  </a:lnTo>
                  <a:lnTo>
                    <a:pt x="190" y="77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5"/>
                  </a:lnTo>
                  <a:lnTo>
                    <a:pt x="187" y="77"/>
                  </a:lnTo>
                  <a:lnTo>
                    <a:pt x="185" y="77"/>
                  </a:lnTo>
                  <a:lnTo>
                    <a:pt x="185" y="77"/>
                  </a:lnTo>
                  <a:lnTo>
                    <a:pt x="187" y="77"/>
                  </a:lnTo>
                  <a:lnTo>
                    <a:pt x="187" y="77"/>
                  </a:lnTo>
                  <a:lnTo>
                    <a:pt x="190" y="80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3" y="85"/>
                  </a:lnTo>
                  <a:lnTo>
                    <a:pt x="195" y="85"/>
                  </a:lnTo>
                  <a:lnTo>
                    <a:pt x="193" y="88"/>
                  </a:lnTo>
                  <a:lnTo>
                    <a:pt x="195" y="91"/>
                  </a:lnTo>
                  <a:lnTo>
                    <a:pt x="193" y="91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3" y="96"/>
                  </a:lnTo>
                  <a:lnTo>
                    <a:pt x="193" y="96"/>
                  </a:lnTo>
                  <a:lnTo>
                    <a:pt x="193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7" y="88"/>
                  </a:lnTo>
                  <a:lnTo>
                    <a:pt x="185" y="88"/>
                  </a:lnTo>
                  <a:lnTo>
                    <a:pt x="185" y="88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6"/>
                  </a:lnTo>
                  <a:lnTo>
                    <a:pt x="185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9"/>
                  </a:lnTo>
                  <a:lnTo>
                    <a:pt x="174" y="99"/>
                  </a:lnTo>
                  <a:lnTo>
                    <a:pt x="174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1"/>
                  </a:lnTo>
                  <a:lnTo>
                    <a:pt x="174" y="104"/>
                  </a:lnTo>
                  <a:lnTo>
                    <a:pt x="174" y="104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6" y="107"/>
                  </a:lnTo>
                  <a:lnTo>
                    <a:pt x="163" y="107"/>
                  </a:lnTo>
                  <a:lnTo>
                    <a:pt x="163" y="107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58" y="104"/>
                  </a:lnTo>
                  <a:lnTo>
                    <a:pt x="158" y="104"/>
                  </a:lnTo>
                  <a:lnTo>
                    <a:pt x="161" y="104"/>
                  </a:lnTo>
                  <a:lnTo>
                    <a:pt x="161" y="107"/>
                  </a:lnTo>
                  <a:lnTo>
                    <a:pt x="161" y="107"/>
                  </a:lnTo>
                  <a:lnTo>
                    <a:pt x="163" y="109"/>
                  </a:lnTo>
                  <a:lnTo>
                    <a:pt x="163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9" y="109"/>
                  </a:lnTo>
                  <a:lnTo>
                    <a:pt x="169" y="109"/>
                  </a:lnTo>
                  <a:lnTo>
                    <a:pt x="166" y="112"/>
                  </a:lnTo>
                  <a:lnTo>
                    <a:pt x="166" y="115"/>
                  </a:lnTo>
                  <a:lnTo>
                    <a:pt x="166" y="117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1" y="120"/>
                  </a:lnTo>
                  <a:lnTo>
                    <a:pt x="161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58" y="125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1" y="133"/>
                  </a:lnTo>
                  <a:lnTo>
                    <a:pt x="158" y="133"/>
                  </a:lnTo>
                  <a:lnTo>
                    <a:pt x="158" y="136"/>
                  </a:lnTo>
                  <a:lnTo>
                    <a:pt x="158" y="139"/>
                  </a:lnTo>
                  <a:lnTo>
                    <a:pt x="158" y="139"/>
                  </a:lnTo>
                  <a:lnTo>
                    <a:pt x="155" y="139"/>
                  </a:lnTo>
                  <a:lnTo>
                    <a:pt x="153" y="139"/>
                  </a:lnTo>
                  <a:lnTo>
                    <a:pt x="153" y="141"/>
                  </a:lnTo>
                  <a:lnTo>
                    <a:pt x="150" y="141"/>
                  </a:lnTo>
                  <a:lnTo>
                    <a:pt x="150" y="141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7"/>
                  </a:lnTo>
                  <a:lnTo>
                    <a:pt x="147" y="149"/>
                  </a:lnTo>
                  <a:lnTo>
                    <a:pt x="147" y="149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2" y="155"/>
                  </a:lnTo>
                  <a:lnTo>
                    <a:pt x="142" y="157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7" y="157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5"/>
                  </a:lnTo>
                  <a:lnTo>
                    <a:pt x="145" y="168"/>
                  </a:lnTo>
                  <a:lnTo>
                    <a:pt x="142" y="168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39" y="173"/>
                  </a:lnTo>
                  <a:lnTo>
                    <a:pt x="139" y="176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37" y="184"/>
                  </a:lnTo>
                  <a:lnTo>
                    <a:pt x="137" y="187"/>
                  </a:lnTo>
                  <a:lnTo>
                    <a:pt x="137" y="189"/>
                  </a:lnTo>
                  <a:lnTo>
                    <a:pt x="137" y="195"/>
                  </a:lnTo>
                  <a:lnTo>
                    <a:pt x="134" y="200"/>
                  </a:lnTo>
                  <a:lnTo>
                    <a:pt x="134" y="203"/>
                  </a:lnTo>
                  <a:lnTo>
                    <a:pt x="134" y="205"/>
                  </a:lnTo>
                  <a:lnTo>
                    <a:pt x="134" y="208"/>
                  </a:lnTo>
                  <a:lnTo>
                    <a:pt x="134" y="211"/>
                  </a:lnTo>
                  <a:lnTo>
                    <a:pt x="134" y="213"/>
                  </a:lnTo>
                  <a:lnTo>
                    <a:pt x="134" y="216"/>
                  </a:lnTo>
                  <a:lnTo>
                    <a:pt x="134" y="221"/>
                  </a:lnTo>
                  <a:lnTo>
                    <a:pt x="134" y="224"/>
                  </a:lnTo>
                  <a:lnTo>
                    <a:pt x="131" y="229"/>
                  </a:lnTo>
                  <a:lnTo>
                    <a:pt x="131" y="229"/>
                  </a:lnTo>
                  <a:lnTo>
                    <a:pt x="131" y="232"/>
                  </a:lnTo>
                  <a:lnTo>
                    <a:pt x="131" y="240"/>
                  </a:lnTo>
                  <a:lnTo>
                    <a:pt x="131" y="246"/>
                  </a:lnTo>
                  <a:lnTo>
                    <a:pt x="131" y="248"/>
                  </a:lnTo>
                  <a:lnTo>
                    <a:pt x="134" y="254"/>
                  </a:lnTo>
                  <a:lnTo>
                    <a:pt x="134" y="256"/>
                  </a:lnTo>
                  <a:lnTo>
                    <a:pt x="134" y="259"/>
                  </a:lnTo>
                  <a:lnTo>
                    <a:pt x="134" y="262"/>
                  </a:lnTo>
                  <a:lnTo>
                    <a:pt x="137" y="264"/>
                  </a:lnTo>
                  <a:lnTo>
                    <a:pt x="137" y="267"/>
                  </a:lnTo>
                  <a:lnTo>
                    <a:pt x="137" y="270"/>
                  </a:lnTo>
                  <a:lnTo>
                    <a:pt x="137" y="272"/>
                  </a:lnTo>
                  <a:lnTo>
                    <a:pt x="139" y="275"/>
                  </a:lnTo>
                  <a:lnTo>
                    <a:pt x="139" y="280"/>
                  </a:lnTo>
                  <a:lnTo>
                    <a:pt x="142" y="286"/>
                  </a:lnTo>
                  <a:lnTo>
                    <a:pt x="142" y="286"/>
                  </a:lnTo>
                  <a:lnTo>
                    <a:pt x="142" y="291"/>
                  </a:lnTo>
                  <a:lnTo>
                    <a:pt x="145" y="294"/>
                  </a:lnTo>
                  <a:lnTo>
                    <a:pt x="147" y="296"/>
                  </a:lnTo>
                  <a:lnTo>
                    <a:pt x="147" y="299"/>
                  </a:lnTo>
                  <a:lnTo>
                    <a:pt x="150" y="299"/>
                  </a:lnTo>
                  <a:lnTo>
                    <a:pt x="150" y="302"/>
                  </a:lnTo>
                  <a:lnTo>
                    <a:pt x="150" y="302"/>
                  </a:lnTo>
                  <a:lnTo>
                    <a:pt x="150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5" y="304"/>
                  </a:lnTo>
                  <a:lnTo>
                    <a:pt x="153" y="307"/>
                  </a:lnTo>
                  <a:lnTo>
                    <a:pt x="153" y="310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5" y="312"/>
                  </a:lnTo>
                  <a:lnTo>
                    <a:pt x="155" y="312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2"/>
                  </a:lnTo>
                  <a:lnTo>
                    <a:pt x="153" y="312"/>
                  </a:lnTo>
                  <a:lnTo>
                    <a:pt x="150" y="312"/>
                  </a:lnTo>
                  <a:lnTo>
                    <a:pt x="150" y="312"/>
                  </a:lnTo>
                  <a:lnTo>
                    <a:pt x="150" y="312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3" y="318"/>
                  </a:lnTo>
                  <a:lnTo>
                    <a:pt x="153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7" y="320"/>
                  </a:lnTo>
                  <a:lnTo>
                    <a:pt x="147" y="320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2" y="323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39" y="323"/>
                  </a:lnTo>
                  <a:lnTo>
                    <a:pt x="139" y="320"/>
                  </a:lnTo>
                  <a:lnTo>
                    <a:pt x="139" y="320"/>
                  </a:lnTo>
                  <a:lnTo>
                    <a:pt x="137" y="318"/>
                  </a:lnTo>
                  <a:lnTo>
                    <a:pt x="137" y="318"/>
                  </a:lnTo>
                  <a:lnTo>
                    <a:pt x="134" y="315"/>
                  </a:lnTo>
                  <a:lnTo>
                    <a:pt x="134" y="312"/>
                  </a:lnTo>
                  <a:lnTo>
                    <a:pt x="131" y="312"/>
                  </a:lnTo>
                  <a:lnTo>
                    <a:pt x="131" y="312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29" y="315"/>
                  </a:lnTo>
                  <a:lnTo>
                    <a:pt x="129" y="312"/>
                  </a:lnTo>
                  <a:lnTo>
                    <a:pt x="129" y="312"/>
                  </a:lnTo>
                  <a:lnTo>
                    <a:pt x="129" y="312"/>
                  </a:lnTo>
                  <a:lnTo>
                    <a:pt x="129" y="310"/>
                  </a:lnTo>
                  <a:lnTo>
                    <a:pt x="129" y="307"/>
                  </a:lnTo>
                  <a:lnTo>
                    <a:pt x="129" y="307"/>
                  </a:lnTo>
                  <a:lnTo>
                    <a:pt x="126" y="307"/>
                  </a:lnTo>
                  <a:lnTo>
                    <a:pt x="126" y="307"/>
                  </a:lnTo>
                  <a:lnTo>
                    <a:pt x="126" y="304"/>
                  </a:lnTo>
                  <a:lnTo>
                    <a:pt x="126" y="307"/>
                  </a:lnTo>
                  <a:lnTo>
                    <a:pt x="126" y="307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9" y="315"/>
                  </a:lnTo>
                  <a:lnTo>
                    <a:pt x="129" y="315"/>
                  </a:lnTo>
                  <a:lnTo>
                    <a:pt x="129" y="315"/>
                  </a:lnTo>
                  <a:lnTo>
                    <a:pt x="129" y="318"/>
                  </a:lnTo>
                  <a:lnTo>
                    <a:pt x="131" y="318"/>
                  </a:lnTo>
                  <a:lnTo>
                    <a:pt x="134" y="318"/>
                  </a:lnTo>
                  <a:lnTo>
                    <a:pt x="134" y="318"/>
                  </a:lnTo>
                  <a:lnTo>
                    <a:pt x="134" y="315"/>
                  </a:lnTo>
                  <a:lnTo>
                    <a:pt x="134" y="318"/>
                  </a:lnTo>
                  <a:lnTo>
                    <a:pt x="137" y="318"/>
                  </a:lnTo>
                  <a:lnTo>
                    <a:pt x="137" y="318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0"/>
                  </a:lnTo>
                  <a:lnTo>
                    <a:pt x="137" y="323"/>
                  </a:lnTo>
                  <a:lnTo>
                    <a:pt x="137" y="323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4" y="326"/>
                  </a:lnTo>
                  <a:lnTo>
                    <a:pt x="134" y="326"/>
                  </a:lnTo>
                  <a:lnTo>
                    <a:pt x="131" y="326"/>
                  </a:lnTo>
                  <a:lnTo>
                    <a:pt x="131" y="323"/>
                  </a:lnTo>
                  <a:lnTo>
                    <a:pt x="131" y="323"/>
                  </a:lnTo>
                  <a:lnTo>
                    <a:pt x="131" y="323"/>
                  </a:lnTo>
                  <a:lnTo>
                    <a:pt x="131" y="320"/>
                  </a:lnTo>
                  <a:lnTo>
                    <a:pt x="129" y="320"/>
                  </a:lnTo>
                  <a:lnTo>
                    <a:pt x="129" y="320"/>
                  </a:lnTo>
                  <a:lnTo>
                    <a:pt x="126" y="318"/>
                  </a:lnTo>
                  <a:lnTo>
                    <a:pt x="126" y="315"/>
                  </a:lnTo>
                  <a:lnTo>
                    <a:pt x="126" y="315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3" y="312"/>
                  </a:lnTo>
                  <a:lnTo>
                    <a:pt x="121" y="312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07"/>
                  </a:lnTo>
                  <a:lnTo>
                    <a:pt x="121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21" y="310"/>
                  </a:lnTo>
                  <a:lnTo>
                    <a:pt x="121" y="310"/>
                  </a:lnTo>
                  <a:lnTo>
                    <a:pt x="121" y="312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18" y="307"/>
                  </a:lnTo>
                  <a:lnTo>
                    <a:pt x="115" y="307"/>
                  </a:lnTo>
                  <a:lnTo>
                    <a:pt x="115" y="304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1" y="302"/>
                  </a:lnTo>
                  <a:lnTo>
                    <a:pt x="118" y="302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302"/>
                  </a:lnTo>
                  <a:lnTo>
                    <a:pt x="121" y="302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6"/>
                  </a:lnTo>
                  <a:lnTo>
                    <a:pt x="121" y="296"/>
                  </a:lnTo>
                  <a:lnTo>
                    <a:pt x="118" y="296"/>
                  </a:lnTo>
                  <a:lnTo>
                    <a:pt x="118" y="296"/>
                  </a:lnTo>
                  <a:lnTo>
                    <a:pt x="118" y="296"/>
                  </a:lnTo>
                  <a:lnTo>
                    <a:pt x="118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3" y="299"/>
                  </a:lnTo>
                  <a:lnTo>
                    <a:pt x="113" y="296"/>
                  </a:lnTo>
                  <a:lnTo>
                    <a:pt x="113" y="296"/>
                  </a:lnTo>
                  <a:lnTo>
                    <a:pt x="113" y="296"/>
                  </a:lnTo>
                  <a:lnTo>
                    <a:pt x="113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4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6"/>
                  </a:lnTo>
                  <a:lnTo>
                    <a:pt x="110" y="299"/>
                  </a:lnTo>
                  <a:lnTo>
                    <a:pt x="110" y="299"/>
                  </a:lnTo>
                  <a:lnTo>
                    <a:pt x="110" y="299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6"/>
                  </a:lnTo>
                  <a:lnTo>
                    <a:pt x="107" y="299"/>
                  </a:lnTo>
                  <a:lnTo>
                    <a:pt x="107" y="299"/>
                  </a:lnTo>
                  <a:lnTo>
                    <a:pt x="107" y="302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07" y="302"/>
                  </a:lnTo>
                  <a:lnTo>
                    <a:pt x="107" y="302"/>
                  </a:lnTo>
                  <a:lnTo>
                    <a:pt x="107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07" y="304"/>
                  </a:lnTo>
                  <a:lnTo>
                    <a:pt x="107" y="304"/>
                  </a:lnTo>
                  <a:lnTo>
                    <a:pt x="110" y="304"/>
                  </a:lnTo>
                  <a:lnTo>
                    <a:pt x="110" y="307"/>
                  </a:lnTo>
                  <a:lnTo>
                    <a:pt x="110" y="307"/>
                  </a:lnTo>
                  <a:lnTo>
                    <a:pt x="110" y="307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0" y="304"/>
                  </a:lnTo>
                  <a:lnTo>
                    <a:pt x="113" y="304"/>
                  </a:lnTo>
                  <a:lnTo>
                    <a:pt x="110" y="304"/>
                  </a:lnTo>
                  <a:lnTo>
                    <a:pt x="110" y="302"/>
                  </a:lnTo>
                  <a:lnTo>
                    <a:pt x="110" y="302"/>
                  </a:lnTo>
                  <a:lnTo>
                    <a:pt x="113" y="302"/>
                  </a:lnTo>
                  <a:lnTo>
                    <a:pt x="113" y="302"/>
                  </a:lnTo>
                  <a:lnTo>
                    <a:pt x="113" y="302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5" y="310"/>
                  </a:lnTo>
                  <a:lnTo>
                    <a:pt x="113" y="307"/>
                  </a:lnTo>
                  <a:lnTo>
                    <a:pt x="113" y="307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3" y="315"/>
                  </a:lnTo>
                  <a:lnTo>
                    <a:pt x="113" y="315"/>
                  </a:lnTo>
                  <a:lnTo>
                    <a:pt x="113" y="315"/>
                  </a:lnTo>
                  <a:lnTo>
                    <a:pt x="113" y="312"/>
                  </a:lnTo>
                  <a:lnTo>
                    <a:pt x="113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10" y="312"/>
                  </a:lnTo>
                  <a:lnTo>
                    <a:pt x="107" y="312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7"/>
                  </a:lnTo>
                  <a:lnTo>
                    <a:pt x="105" y="307"/>
                  </a:lnTo>
                  <a:lnTo>
                    <a:pt x="105" y="304"/>
                  </a:lnTo>
                  <a:lnTo>
                    <a:pt x="105" y="304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2" y="302"/>
                  </a:lnTo>
                  <a:lnTo>
                    <a:pt x="102" y="302"/>
                  </a:lnTo>
                  <a:lnTo>
                    <a:pt x="102" y="299"/>
                  </a:lnTo>
                  <a:lnTo>
                    <a:pt x="102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302"/>
                  </a:lnTo>
                  <a:lnTo>
                    <a:pt x="102" y="302"/>
                  </a:lnTo>
                  <a:lnTo>
                    <a:pt x="102" y="302"/>
                  </a:lnTo>
                  <a:lnTo>
                    <a:pt x="102" y="304"/>
                  </a:lnTo>
                  <a:lnTo>
                    <a:pt x="102" y="304"/>
                  </a:lnTo>
                  <a:lnTo>
                    <a:pt x="102" y="307"/>
                  </a:lnTo>
                  <a:lnTo>
                    <a:pt x="102" y="307"/>
                  </a:lnTo>
                  <a:lnTo>
                    <a:pt x="102" y="307"/>
                  </a:lnTo>
                  <a:lnTo>
                    <a:pt x="99" y="304"/>
                  </a:lnTo>
                  <a:lnTo>
                    <a:pt x="99" y="304"/>
                  </a:lnTo>
                  <a:lnTo>
                    <a:pt x="99" y="302"/>
                  </a:lnTo>
                  <a:lnTo>
                    <a:pt x="99" y="302"/>
                  </a:lnTo>
                  <a:lnTo>
                    <a:pt x="99" y="299"/>
                  </a:lnTo>
                  <a:lnTo>
                    <a:pt x="97" y="299"/>
                  </a:lnTo>
                  <a:lnTo>
                    <a:pt x="97" y="296"/>
                  </a:lnTo>
                  <a:lnTo>
                    <a:pt x="97" y="296"/>
                  </a:lnTo>
                  <a:lnTo>
                    <a:pt x="97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6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299"/>
                  </a:lnTo>
                  <a:lnTo>
                    <a:pt x="94" y="302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7"/>
                  </a:lnTo>
                  <a:lnTo>
                    <a:pt x="97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7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4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9" y="299"/>
                  </a:lnTo>
                  <a:lnTo>
                    <a:pt x="86" y="299"/>
                  </a:lnTo>
                  <a:lnTo>
                    <a:pt x="86" y="299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6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6" y="294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91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89" y="296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8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6"/>
                  </a:lnTo>
                  <a:lnTo>
                    <a:pt x="89" y="288"/>
                  </a:lnTo>
                  <a:lnTo>
                    <a:pt x="89" y="288"/>
                  </a:lnTo>
                  <a:lnTo>
                    <a:pt x="91" y="288"/>
                  </a:lnTo>
                  <a:lnTo>
                    <a:pt x="91" y="291"/>
                  </a:lnTo>
                  <a:lnTo>
                    <a:pt x="91" y="291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4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91" y="296"/>
                  </a:lnTo>
                  <a:lnTo>
                    <a:pt x="89" y="294"/>
                  </a:lnTo>
                  <a:lnTo>
                    <a:pt x="89" y="294"/>
                  </a:lnTo>
                  <a:lnTo>
                    <a:pt x="89" y="291"/>
                  </a:lnTo>
                  <a:lnTo>
                    <a:pt x="89" y="291"/>
                  </a:lnTo>
                  <a:lnTo>
                    <a:pt x="89" y="288"/>
                  </a:lnTo>
                  <a:lnTo>
                    <a:pt x="89" y="288"/>
                  </a:lnTo>
                  <a:lnTo>
                    <a:pt x="86" y="288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3"/>
                  </a:lnTo>
                  <a:lnTo>
                    <a:pt x="86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3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0"/>
                  </a:lnTo>
                  <a:lnTo>
                    <a:pt x="81" y="283"/>
                  </a:lnTo>
                  <a:lnTo>
                    <a:pt x="78" y="283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3" y="275"/>
                  </a:lnTo>
                  <a:lnTo>
                    <a:pt x="73" y="272"/>
                  </a:lnTo>
                  <a:lnTo>
                    <a:pt x="73" y="272"/>
                  </a:lnTo>
                  <a:lnTo>
                    <a:pt x="73" y="272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67" y="267"/>
                  </a:lnTo>
                  <a:lnTo>
                    <a:pt x="67" y="270"/>
                  </a:lnTo>
                  <a:lnTo>
                    <a:pt x="67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2"/>
                  </a:lnTo>
                  <a:lnTo>
                    <a:pt x="70" y="272"/>
                  </a:lnTo>
                  <a:lnTo>
                    <a:pt x="70" y="272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3" y="275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0"/>
                  </a:lnTo>
                  <a:lnTo>
                    <a:pt x="75" y="280"/>
                  </a:lnTo>
                  <a:lnTo>
                    <a:pt x="75" y="280"/>
                  </a:lnTo>
                  <a:lnTo>
                    <a:pt x="78" y="280"/>
                  </a:lnTo>
                  <a:lnTo>
                    <a:pt x="78" y="280"/>
                  </a:lnTo>
                  <a:lnTo>
                    <a:pt x="78" y="283"/>
                  </a:lnTo>
                  <a:lnTo>
                    <a:pt x="78" y="283"/>
                  </a:lnTo>
                  <a:lnTo>
                    <a:pt x="81" y="283"/>
                  </a:lnTo>
                  <a:lnTo>
                    <a:pt x="81" y="283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8" y="28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6"/>
                  </a:lnTo>
                  <a:lnTo>
                    <a:pt x="73" y="286"/>
                  </a:lnTo>
                  <a:lnTo>
                    <a:pt x="73" y="288"/>
                  </a:lnTo>
                  <a:lnTo>
                    <a:pt x="75" y="288"/>
                  </a:lnTo>
                  <a:lnTo>
                    <a:pt x="73" y="291"/>
                  </a:lnTo>
                  <a:lnTo>
                    <a:pt x="73" y="291"/>
                  </a:lnTo>
                  <a:lnTo>
                    <a:pt x="73" y="291"/>
                  </a:lnTo>
                  <a:lnTo>
                    <a:pt x="73" y="294"/>
                  </a:lnTo>
                  <a:lnTo>
                    <a:pt x="70" y="294"/>
                  </a:lnTo>
                  <a:lnTo>
                    <a:pt x="73" y="294"/>
                  </a:lnTo>
                  <a:lnTo>
                    <a:pt x="70" y="294"/>
                  </a:lnTo>
                  <a:lnTo>
                    <a:pt x="70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7" y="291"/>
                  </a:lnTo>
                  <a:lnTo>
                    <a:pt x="65" y="291"/>
                  </a:lnTo>
                  <a:lnTo>
                    <a:pt x="65" y="288"/>
                  </a:lnTo>
                  <a:lnTo>
                    <a:pt x="65" y="286"/>
                  </a:lnTo>
                  <a:lnTo>
                    <a:pt x="65" y="286"/>
                  </a:lnTo>
                  <a:lnTo>
                    <a:pt x="65" y="283"/>
                  </a:lnTo>
                  <a:lnTo>
                    <a:pt x="62" y="283"/>
                  </a:lnTo>
                  <a:lnTo>
                    <a:pt x="62" y="280"/>
                  </a:lnTo>
                  <a:lnTo>
                    <a:pt x="62" y="280"/>
                  </a:lnTo>
                  <a:lnTo>
                    <a:pt x="62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59" y="272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62" y="270"/>
                  </a:lnTo>
                  <a:lnTo>
                    <a:pt x="62" y="267"/>
                  </a:lnTo>
                  <a:lnTo>
                    <a:pt x="62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4"/>
                  </a:lnTo>
                  <a:lnTo>
                    <a:pt x="59" y="264"/>
                  </a:lnTo>
                  <a:lnTo>
                    <a:pt x="59" y="264"/>
                  </a:lnTo>
                  <a:lnTo>
                    <a:pt x="59" y="262"/>
                  </a:lnTo>
                  <a:lnTo>
                    <a:pt x="59" y="262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7" y="259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4"/>
                  </a:lnTo>
                  <a:lnTo>
                    <a:pt x="57" y="264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4"/>
                  </a:lnTo>
                  <a:lnTo>
                    <a:pt x="54" y="264"/>
                  </a:lnTo>
                  <a:lnTo>
                    <a:pt x="51" y="264"/>
                  </a:lnTo>
                  <a:lnTo>
                    <a:pt x="51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70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57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7" y="272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5"/>
                  </a:lnTo>
                  <a:lnTo>
                    <a:pt x="57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9" y="278"/>
                  </a:lnTo>
                  <a:lnTo>
                    <a:pt x="57" y="278"/>
                  </a:lnTo>
                  <a:lnTo>
                    <a:pt x="57" y="278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2"/>
                  </a:lnTo>
                  <a:lnTo>
                    <a:pt x="51" y="272"/>
                  </a:lnTo>
                  <a:lnTo>
                    <a:pt x="51" y="270"/>
                  </a:lnTo>
                  <a:lnTo>
                    <a:pt x="54" y="270"/>
                  </a:lnTo>
                  <a:lnTo>
                    <a:pt x="54" y="270"/>
                  </a:lnTo>
                  <a:lnTo>
                    <a:pt x="54" y="267"/>
                  </a:lnTo>
                  <a:lnTo>
                    <a:pt x="51" y="267"/>
                  </a:lnTo>
                  <a:lnTo>
                    <a:pt x="51" y="264"/>
                  </a:lnTo>
                  <a:lnTo>
                    <a:pt x="51" y="264"/>
                  </a:lnTo>
                  <a:lnTo>
                    <a:pt x="49" y="262"/>
                  </a:lnTo>
                  <a:lnTo>
                    <a:pt x="49" y="262"/>
                  </a:lnTo>
                  <a:lnTo>
                    <a:pt x="49" y="259"/>
                  </a:lnTo>
                  <a:lnTo>
                    <a:pt x="46" y="259"/>
                  </a:lnTo>
                  <a:lnTo>
                    <a:pt x="46" y="259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3" y="262"/>
                  </a:lnTo>
                  <a:lnTo>
                    <a:pt x="43" y="262"/>
                  </a:lnTo>
                  <a:lnTo>
                    <a:pt x="43" y="259"/>
                  </a:lnTo>
                  <a:lnTo>
                    <a:pt x="41" y="259"/>
                  </a:lnTo>
                  <a:lnTo>
                    <a:pt x="41" y="256"/>
                  </a:lnTo>
                  <a:lnTo>
                    <a:pt x="41" y="259"/>
                  </a:lnTo>
                  <a:lnTo>
                    <a:pt x="41" y="259"/>
                  </a:lnTo>
                  <a:lnTo>
                    <a:pt x="38" y="259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38" y="254"/>
                  </a:lnTo>
                  <a:lnTo>
                    <a:pt x="38" y="251"/>
                  </a:lnTo>
                  <a:lnTo>
                    <a:pt x="38" y="248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51"/>
                  </a:lnTo>
                  <a:lnTo>
                    <a:pt x="35" y="248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3" y="248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27" y="243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2" y="238"/>
                  </a:lnTo>
                  <a:lnTo>
                    <a:pt x="22" y="238"/>
                  </a:lnTo>
                  <a:lnTo>
                    <a:pt x="22" y="235"/>
                  </a:lnTo>
                  <a:lnTo>
                    <a:pt x="22" y="232"/>
                  </a:lnTo>
                  <a:lnTo>
                    <a:pt x="22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5" y="235"/>
                  </a:lnTo>
                  <a:lnTo>
                    <a:pt x="27" y="235"/>
                  </a:lnTo>
                  <a:lnTo>
                    <a:pt x="27" y="235"/>
                  </a:lnTo>
                  <a:lnTo>
                    <a:pt x="30" y="235"/>
                  </a:lnTo>
                  <a:lnTo>
                    <a:pt x="30" y="235"/>
                  </a:lnTo>
                  <a:lnTo>
                    <a:pt x="30" y="235"/>
                  </a:lnTo>
                  <a:lnTo>
                    <a:pt x="30" y="238"/>
                  </a:lnTo>
                  <a:lnTo>
                    <a:pt x="30" y="238"/>
                  </a:lnTo>
                  <a:lnTo>
                    <a:pt x="30" y="238"/>
                  </a:lnTo>
                  <a:lnTo>
                    <a:pt x="30" y="240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0"/>
                  </a:lnTo>
                  <a:lnTo>
                    <a:pt x="33" y="238"/>
                  </a:lnTo>
                  <a:lnTo>
                    <a:pt x="35" y="238"/>
                  </a:lnTo>
                  <a:lnTo>
                    <a:pt x="35" y="235"/>
                  </a:lnTo>
                  <a:lnTo>
                    <a:pt x="38" y="235"/>
                  </a:lnTo>
                  <a:lnTo>
                    <a:pt x="38" y="235"/>
                  </a:lnTo>
                  <a:lnTo>
                    <a:pt x="41" y="232"/>
                  </a:lnTo>
                  <a:lnTo>
                    <a:pt x="41" y="229"/>
                  </a:lnTo>
                  <a:lnTo>
                    <a:pt x="38" y="227"/>
                  </a:lnTo>
                  <a:lnTo>
                    <a:pt x="38" y="224"/>
                  </a:lnTo>
                  <a:lnTo>
                    <a:pt x="38" y="221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9"/>
                  </a:lnTo>
                  <a:lnTo>
                    <a:pt x="41" y="219"/>
                  </a:lnTo>
                  <a:lnTo>
                    <a:pt x="41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6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21"/>
                  </a:lnTo>
                  <a:lnTo>
                    <a:pt x="49" y="224"/>
                  </a:lnTo>
                  <a:lnTo>
                    <a:pt x="49" y="224"/>
                  </a:lnTo>
                  <a:lnTo>
                    <a:pt x="49" y="227"/>
                  </a:lnTo>
                  <a:lnTo>
                    <a:pt x="51" y="227"/>
                  </a:lnTo>
                  <a:lnTo>
                    <a:pt x="51" y="227"/>
                  </a:lnTo>
                  <a:lnTo>
                    <a:pt x="51" y="224"/>
                  </a:lnTo>
                  <a:lnTo>
                    <a:pt x="51" y="224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51" y="219"/>
                  </a:lnTo>
                  <a:lnTo>
                    <a:pt x="51" y="216"/>
                  </a:lnTo>
                  <a:lnTo>
                    <a:pt x="51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7" y="219"/>
                  </a:lnTo>
                  <a:lnTo>
                    <a:pt x="57" y="219"/>
                  </a:lnTo>
                  <a:lnTo>
                    <a:pt x="57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4"/>
                  </a:lnTo>
                  <a:lnTo>
                    <a:pt x="57" y="224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1" y="221"/>
                  </a:lnTo>
                  <a:lnTo>
                    <a:pt x="51" y="221"/>
                  </a:lnTo>
                  <a:lnTo>
                    <a:pt x="54" y="221"/>
                  </a:lnTo>
                  <a:lnTo>
                    <a:pt x="54" y="224"/>
                  </a:lnTo>
                  <a:lnTo>
                    <a:pt x="57" y="224"/>
                  </a:lnTo>
                  <a:lnTo>
                    <a:pt x="57" y="224"/>
                  </a:lnTo>
                  <a:lnTo>
                    <a:pt x="59" y="227"/>
                  </a:lnTo>
                  <a:lnTo>
                    <a:pt x="62" y="227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59" y="224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19"/>
                  </a:lnTo>
                  <a:lnTo>
                    <a:pt x="57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2" y="216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7" y="221"/>
                  </a:lnTo>
                  <a:lnTo>
                    <a:pt x="67" y="224"/>
                  </a:lnTo>
                  <a:lnTo>
                    <a:pt x="67" y="224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19"/>
                  </a:lnTo>
                  <a:lnTo>
                    <a:pt x="65" y="219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2" y="213"/>
                  </a:lnTo>
                  <a:lnTo>
                    <a:pt x="62" y="213"/>
                  </a:lnTo>
                  <a:lnTo>
                    <a:pt x="65" y="211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3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2" y="211"/>
                  </a:lnTo>
                  <a:lnTo>
                    <a:pt x="62" y="211"/>
                  </a:lnTo>
                  <a:lnTo>
                    <a:pt x="62" y="211"/>
                  </a:lnTo>
                  <a:lnTo>
                    <a:pt x="59" y="213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7" y="213"/>
                  </a:lnTo>
                  <a:lnTo>
                    <a:pt x="54" y="213"/>
                  </a:lnTo>
                  <a:lnTo>
                    <a:pt x="54" y="211"/>
                  </a:lnTo>
                  <a:lnTo>
                    <a:pt x="57" y="208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08"/>
                  </a:lnTo>
                  <a:lnTo>
                    <a:pt x="54" y="211"/>
                  </a:lnTo>
                  <a:lnTo>
                    <a:pt x="54" y="213"/>
                  </a:lnTo>
                  <a:lnTo>
                    <a:pt x="54" y="213"/>
                  </a:lnTo>
                  <a:lnTo>
                    <a:pt x="51" y="213"/>
                  </a:lnTo>
                  <a:lnTo>
                    <a:pt x="51" y="213"/>
                  </a:lnTo>
                  <a:lnTo>
                    <a:pt x="51" y="213"/>
                  </a:lnTo>
                  <a:lnTo>
                    <a:pt x="49" y="211"/>
                  </a:lnTo>
                  <a:lnTo>
                    <a:pt x="49" y="211"/>
                  </a:lnTo>
                  <a:lnTo>
                    <a:pt x="51" y="208"/>
                  </a:lnTo>
                  <a:lnTo>
                    <a:pt x="51" y="208"/>
                  </a:lnTo>
                  <a:lnTo>
                    <a:pt x="49" y="208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3"/>
                  </a:lnTo>
                  <a:lnTo>
                    <a:pt x="46" y="200"/>
                  </a:lnTo>
                  <a:lnTo>
                    <a:pt x="46" y="197"/>
                  </a:lnTo>
                  <a:lnTo>
                    <a:pt x="46" y="195"/>
                  </a:lnTo>
                  <a:lnTo>
                    <a:pt x="46" y="197"/>
                  </a:lnTo>
                  <a:lnTo>
                    <a:pt x="49" y="197"/>
                  </a:lnTo>
                  <a:lnTo>
                    <a:pt x="49" y="197"/>
                  </a:lnTo>
                  <a:lnTo>
                    <a:pt x="49" y="195"/>
                  </a:lnTo>
                  <a:lnTo>
                    <a:pt x="51" y="197"/>
                  </a:lnTo>
                  <a:lnTo>
                    <a:pt x="51" y="197"/>
                  </a:lnTo>
                  <a:lnTo>
                    <a:pt x="51" y="197"/>
                  </a:lnTo>
                  <a:lnTo>
                    <a:pt x="54" y="197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7" y="192"/>
                  </a:lnTo>
                  <a:lnTo>
                    <a:pt x="57" y="192"/>
                  </a:lnTo>
                  <a:lnTo>
                    <a:pt x="59" y="189"/>
                  </a:lnTo>
                  <a:lnTo>
                    <a:pt x="59" y="189"/>
                  </a:lnTo>
                  <a:lnTo>
                    <a:pt x="62" y="189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7" y="189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3" y="187"/>
                  </a:lnTo>
                  <a:lnTo>
                    <a:pt x="73" y="184"/>
                  </a:lnTo>
                  <a:lnTo>
                    <a:pt x="70" y="184"/>
                  </a:lnTo>
                  <a:lnTo>
                    <a:pt x="67" y="184"/>
                  </a:lnTo>
                  <a:lnTo>
                    <a:pt x="67" y="187"/>
                  </a:lnTo>
                  <a:lnTo>
                    <a:pt x="65" y="187"/>
                  </a:lnTo>
                  <a:lnTo>
                    <a:pt x="65" y="187"/>
                  </a:lnTo>
                  <a:lnTo>
                    <a:pt x="62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9"/>
                  </a:lnTo>
                  <a:lnTo>
                    <a:pt x="54" y="192"/>
                  </a:lnTo>
                  <a:lnTo>
                    <a:pt x="51" y="192"/>
                  </a:lnTo>
                  <a:lnTo>
                    <a:pt x="51" y="195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9" y="195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6" y="189"/>
                  </a:lnTo>
                  <a:lnTo>
                    <a:pt x="46" y="189"/>
                  </a:lnTo>
                  <a:lnTo>
                    <a:pt x="43" y="189"/>
                  </a:lnTo>
                  <a:lnTo>
                    <a:pt x="46" y="192"/>
                  </a:lnTo>
                  <a:lnTo>
                    <a:pt x="46" y="192"/>
                  </a:lnTo>
                  <a:lnTo>
                    <a:pt x="43" y="192"/>
                  </a:lnTo>
                  <a:lnTo>
                    <a:pt x="41" y="189"/>
                  </a:lnTo>
                  <a:lnTo>
                    <a:pt x="41" y="1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4" name="Freeform 8859">
              <a:extLst>
                <a:ext uri="{FF2B5EF4-FFF2-40B4-BE49-F238E27FC236}">
                  <a16:creationId xmlns:a16="http://schemas.microsoft.com/office/drawing/2014/main" id="{55BD8785-2281-194E-A093-C836694AA5DF}"/>
                </a:ext>
              </a:extLst>
            </p:cNvPr>
            <p:cNvSpPr/>
            <p:nvPr/>
          </p:nvSpPr>
          <p:spPr bwMode="auto">
            <a:xfrm>
              <a:off x="4272754" y="1452565"/>
              <a:ext cx="920750" cy="446088"/>
            </a:xfrm>
            <a:custGeom>
              <a:avLst/>
              <a:gdLst>
                <a:gd name="T0" fmla="*/ 534 w 580"/>
                <a:gd name="T1" fmla="*/ 3 h 281"/>
                <a:gd name="T2" fmla="*/ 575 w 580"/>
                <a:gd name="T3" fmla="*/ 19 h 281"/>
                <a:gd name="T4" fmla="*/ 567 w 580"/>
                <a:gd name="T5" fmla="*/ 59 h 281"/>
                <a:gd name="T6" fmla="*/ 545 w 580"/>
                <a:gd name="T7" fmla="*/ 80 h 281"/>
                <a:gd name="T8" fmla="*/ 505 w 580"/>
                <a:gd name="T9" fmla="*/ 96 h 281"/>
                <a:gd name="T10" fmla="*/ 460 w 580"/>
                <a:gd name="T11" fmla="*/ 104 h 281"/>
                <a:gd name="T12" fmla="*/ 414 w 580"/>
                <a:gd name="T13" fmla="*/ 110 h 281"/>
                <a:gd name="T14" fmla="*/ 388 w 580"/>
                <a:gd name="T15" fmla="*/ 104 h 281"/>
                <a:gd name="T16" fmla="*/ 348 w 580"/>
                <a:gd name="T17" fmla="*/ 118 h 281"/>
                <a:gd name="T18" fmla="*/ 321 w 580"/>
                <a:gd name="T19" fmla="*/ 123 h 281"/>
                <a:gd name="T20" fmla="*/ 302 w 580"/>
                <a:gd name="T21" fmla="*/ 131 h 281"/>
                <a:gd name="T22" fmla="*/ 283 w 580"/>
                <a:gd name="T23" fmla="*/ 136 h 281"/>
                <a:gd name="T24" fmla="*/ 273 w 580"/>
                <a:gd name="T25" fmla="*/ 136 h 281"/>
                <a:gd name="T26" fmla="*/ 257 w 580"/>
                <a:gd name="T27" fmla="*/ 144 h 281"/>
                <a:gd name="T28" fmla="*/ 257 w 580"/>
                <a:gd name="T29" fmla="*/ 158 h 281"/>
                <a:gd name="T30" fmla="*/ 230 w 580"/>
                <a:gd name="T31" fmla="*/ 155 h 281"/>
                <a:gd name="T32" fmla="*/ 219 w 580"/>
                <a:gd name="T33" fmla="*/ 166 h 281"/>
                <a:gd name="T34" fmla="*/ 211 w 580"/>
                <a:gd name="T35" fmla="*/ 171 h 281"/>
                <a:gd name="T36" fmla="*/ 187 w 580"/>
                <a:gd name="T37" fmla="*/ 169 h 281"/>
                <a:gd name="T38" fmla="*/ 182 w 580"/>
                <a:gd name="T39" fmla="*/ 203 h 281"/>
                <a:gd name="T40" fmla="*/ 171 w 580"/>
                <a:gd name="T41" fmla="*/ 209 h 281"/>
                <a:gd name="T42" fmla="*/ 169 w 580"/>
                <a:gd name="T43" fmla="*/ 211 h 281"/>
                <a:gd name="T44" fmla="*/ 153 w 580"/>
                <a:gd name="T45" fmla="*/ 222 h 281"/>
                <a:gd name="T46" fmla="*/ 139 w 580"/>
                <a:gd name="T47" fmla="*/ 203 h 281"/>
                <a:gd name="T48" fmla="*/ 137 w 580"/>
                <a:gd name="T49" fmla="*/ 235 h 281"/>
                <a:gd name="T50" fmla="*/ 110 w 580"/>
                <a:gd name="T51" fmla="*/ 219 h 281"/>
                <a:gd name="T52" fmla="*/ 121 w 580"/>
                <a:gd name="T53" fmla="*/ 249 h 281"/>
                <a:gd name="T54" fmla="*/ 97 w 580"/>
                <a:gd name="T55" fmla="*/ 230 h 281"/>
                <a:gd name="T56" fmla="*/ 99 w 580"/>
                <a:gd name="T57" fmla="*/ 265 h 281"/>
                <a:gd name="T58" fmla="*/ 75 w 580"/>
                <a:gd name="T59" fmla="*/ 278 h 281"/>
                <a:gd name="T60" fmla="*/ 59 w 580"/>
                <a:gd name="T61" fmla="*/ 249 h 281"/>
                <a:gd name="T62" fmla="*/ 38 w 580"/>
                <a:gd name="T63" fmla="*/ 249 h 281"/>
                <a:gd name="T64" fmla="*/ 6 w 580"/>
                <a:gd name="T65" fmla="*/ 235 h 281"/>
                <a:gd name="T66" fmla="*/ 11 w 580"/>
                <a:gd name="T67" fmla="*/ 217 h 281"/>
                <a:gd name="T68" fmla="*/ 56 w 580"/>
                <a:gd name="T69" fmla="*/ 211 h 281"/>
                <a:gd name="T70" fmla="*/ 32 w 580"/>
                <a:gd name="T71" fmla="*/ 203 h 281"/>
                <a:gd name="T72" fmla="*/ 8 w 580"/>
                <a:gd name="T73" fmla="*/ 182 h 281"/>
                <a:gd name="T74" fmla="*/ 51 w 580"/>
                <a:gd name="T75" fmla="*/ 177 h 281"/>
                <a:gd name="T76" fmla="*/ 83 w 580"/>
                <a:gd name="T77" fmla="*/ 171 h 281"/>
                <a:gd name="T78" fmla="*/ 86 w 580"/>
                <a:gd name="T79" fmla="*/ 171 h 281"/>
                <a:gd name="T80" fmla="*/ 86 w 580"/>
                <a:gd name="T81" fmla="*/ 155 h 281"/>
                <a:gd name="T82" fmla="*/ 86 w 580"/>
                <a:gd name="T83" fmla="*/ 144 h 281"/>
                <a:gd name="T84" fmla="*/ 118 w 580"/>
                <a:gd name="T85" fmla="*/ 144 h 281"/>
                <a:gd name="T86" fmla="*/ 102 w 580"/>
                <a:gd name="T87" fmla="*/ 126 h 281"/>
                <a:gd name="T88" fmla="*/ 139 w 580"/>
                <a:gd name="T89" fmla="*/ 126 h 281"/>
                <a:gd name="T90" fmla="*/ 139 w 580"/>
                <a:gd name="T91" fmla="*/ 120 h 281"/>
                <a:gd name="T92" fmla="*/ 145 w 580"/>
                <a:gd name="T93" fmla="*/ 104 h 281"/>
                <a:gd name="T94" fmla="*/ 147 w 580"/>
                <a:gd name="T95" fmla="*/ 96 h 281"/>
                <a:gd name="T96" fmla="*/ 137 w 580"/>
                <a:gd name="T97" fmla="*/ 78 h 281"/>
                <a:gd name="T98" fmla="*/ 155 w 580"/>
                <a:gd name="T99" fmla="*/ 86 h 281"/>
                <a:gd name="T100" fmla="*/ 190 w 580"/>
                <a:gd name="T101" fmla="*/ 64 h 281"/>
                <a:gd name="T102" fmla="*/ 211 w 580"/>
                <a:gd name="T103" fmla="*/ 56 h 281"/>
                <a:gd name="T104" fmla="*/ 238 w 580"/>
                <a:gd name="T105" fmla="*/ 46 h 281"/>
                <a:gd name="T106" fmla="*/ 273 w 580"/>
                <a:gd name="T107" fmla="*/ 35 h 281"/>
                <a:gd name="T108" fmla="*/ 307 w 580"/>
                <a:gd name="T109" fmla="*/ 32 h 281"/>
                <a:gd name="T110" fmla="*/ 315 w 580"/>
                <a:gd name="T111" fmla="*/ 40 h 281"/>
                <a:gd name="T112" fmla="*/ 337 w 580"/>
                <a:gd name="T113" fmla="*/ 19 h 281"/>
                <a:gd name="T114" fmla="*/ 374 w 580"/>
                <a:gd name="T115" fmla="*/ 30 h 281"/>
                <a:gd name="T116" fmla="*/ 390 w 580"/>
                <a:gd name="T117" fmla="*/ 40 h 281"/>
                <a:gd name="T118" fmla="*/ 438 w 580"/>
                <a:gd name="T119" fmla="*/ 40 h 281"/>
                <a:gd name="T120" fmla="*/ 468 w 580"/>
                <a:gd name="T121" fmla="*/ 35 h 281"/>
                <a:gd name="T122" fmla="*/ 489 w 580"/>
                <a:gd name="T123" fmla="*/ 1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0" h="281" extrusionOk="0">
                  <a:moveTo>
                    <a:pt x="497" y="14"/>
                  </a:moveTo>
                  <a:lnTo>
                    <a:pt x="497" y="14"/>
                  </a:lnTo>
                  <a:lnTo>
                    <a:pt x="497" y="14"/>
                  </a:lnTo>
                  <a:lnTo>
                    <a:pt x="497" y="14"/>
                  </a:lnTo>
                  <a:lnTo>
                    <a:pt x="500" y="14"/>
                  </a:lnTo>
                  <a:lnTo>
                    <a:pt x="500" y="14"/>
                  </a:lnTo>
                  <a:lnTo>
                    <a:pt x="502" y="14"/>
                  </a:lnTo>
                  <a:lnTo>
                    <a:pt x="502" y="11"/>
                  </a:lnTo>
                  <a:lnTo>
                    <a:pt x="505" y="11"/>
                  </a:lnTo>
                  <a:lnTo>
                    <a:pt x="505" y="11"/>
                  </a:lnTo>
                  <a:lnTo>
                    <a:pt x="505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10" y="8"/>
                  </a:lnTo>
                  <a:lnTo>
                    <a:pt x="510" y="8"/>
                  </a:lnTo>
                  <a:lnTo>
                    <a:pt x="513" y="6"/>
                  </a:lnTo>
                  <a:lnTo>
                    <a:pt x="513" y="6"/>
                  </a:lnTo>
                  <a:lnTo>
                    <a:pt x="516" y="6"/>
                  </a:lnTo>
                  <a:lnTo>
                    <a:pt x="516" y="6"/>
                  </a:lnTo>
                  <a:lnTo>
                    <a:pt x="518" y="6"/>
                  </a:lnTo>
                  <a:lnTo>
                    <a:pt x="518" y="6"/>
                  </a:lnTo>
                  <a:lnTo>
                    <a:pt x="521" y="3"/>
                  </a:lnTo>
                  <a:lnTo>
                    <a:pt x="524" y="6"/>
                  </a:lnTo>
                  <a:lnTo>
                    <a:pt x="526" y="6"/>
                  </a:lnTo>
                  <a:lnTo>
                    <a:pt x="526" y="6"/>
                  </a:lnTo>
                  <a:lnTo>
                    <a:pt x="529" y="3"/>
                  </a:lnTo>
                  <a:lnTo>
                    <a:pt x="529" y="3"/>
                  </a:lnTo>
                  <a:lnTo>
                    <a:pt x="532" y="0"/>
                  </a:lnTo>
                  <a:lnTo>
                    <a:pt x="532" y="0"/>
                  </a:lnTo>
                  <a:lnTo>
                    <a:pt x="534" y="3"/>
                  </a:lnTo>
                  <a:lnTo>
                    <a:pt x="534" y="3"/>
                  </a:lnTo>
                  <a:lnTo>
                    <a:pt x="537" y="3"/>
                  </a:lnTo>
                  <a:lnTo>
                    <a:pt x="542" y="3"/>
                  </a:lnTo>
                  <a:lnTo>
                    <a:pt x="545" y="0"/>
                  </a:lnTo>
                  <a:lnTo>
                    <a:pt x="545" y="0"/>
                  </a:lnTo>
                  <a:lnTo>
                    <a:pt x="550" y="0"/>
                  </a:lnTo>
                  <a:lnTo>
                    <a:pt x="550" y="0"/>
                  </a:lnTo>
                  <a:lnTo>
                    <a:pt x="553" y="0"/>
                  </a:lnTo>
                  <a:lnTo>
                    <a:pt x="553" y="0"/>
                  </a:lnTo>
                  <a:lnTo>
                    <a:pt x="556" y="0"/>
                  </a:lnTo>
                  <a:lnTo>
                    <a:pt x="558" y="0"/>
                  </a:lnTo>
                  <a:lnTo>
                    <a:pt x="558" y="3"/>
                  </a:lnTo>
                  <a:lnTo>
                    <a:pt x="561" y="3"/>
                  </a:lnTo>
                  <a:lnTo>
                    <a:pt x="564" y="3"/>
                  </a:lnTo>
                  <a:lnTo>
                    <a:pt x="564" y="6"/>
                  </a:lnTo>
                  <a:lnTo>
                    <a:pt x="564" y="6"/>
                  </a:lnTo>
                  <a:lnTo>
                    <a:pt x="564" y="8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9" y="11"/>
                  </a:lnTo>
                  <a:lnTo>
                    <a:pt x="569" y="11"/>
                  </a:lnTo>
                  <a:lnTo>
                    <a:pt x="572" y="11"/>
                  </a:lnTo>
                  <a:lnTo>
                    <a:pt x="572" y="11"/>
                  </a:lnTo>
                  <a:lnTo>
                    <a:pt x="572" y="14"/>
                  </a:lnTo>
                  <a:lnTo>
                    <a:pt x="572" y="16"/>
                  </a:lnTo>
                  <a:lnTo>
                    <a:pt x="572" y="16"/>
                  </a:lnTo>
                  <a:lnTo>
                    <a:pt x="575" y="16"/>
                  </a:lnTo>
                  <a:lnTo>
                    <a:pt x="575" y="16"/>
                  </a:lnTo>
                  <a:lnTo>
                    <a:pt x="575" y="16"/>
                  </a:lnTo>
                  <a:lnTo>
                    <a:pt x="575" y="19"/>
                  </a:lnTo>
                  <a:lnTo>
                    <a:pt x="577" y="22"/>
                  </a:lnTo>
                  <a:lnTo>
                    <a:pt x="577" y="22"/>
                  </a:lnTo>
                  <a:lnTo>
                    <a:pt x="577" y="22"/>
                  </a:lnTo>
                  <a:lnTo>
                    <a:pt x="577" y="24"/>
                  </a:lnTo>
                  <a:lnTo>
                    <a:pt x="580" y="24"/>
                  </a:lnTo>
                  <a:lnTo>
                    <a:pt x="577" y="24"/>
                  </a:lnTo>
                  <a:lnTo>
                    <a:pt x="577" y="27"/>
                  </a:lnTo>
                  <a:lnTo>
                    <a:pt x="577" y="27"/>
                  </a:lnTo>
                  <a:lnTo>
                    <a:pt x="577" y="30"/>
                  </a:lnTo>
                  <a:lnTo>
                    <a:pt x="577" y="32"/>
                  </a:lnTo>
                  <a:lnTo>
                    <a:pt x="577" y="32"/>
                  </a:lnTo>
                  <a:lnTo>
                    <a:pt x="577" y="32"/>
                  </a:lnTo>
                  <a:lnTo>
                    <a:pt x="580" y="35"/>
                  </a:lnTo>
                  <a:lnTo>
                    <a:pt x="580" y="35"/>
                  </a:lnTo>
                  <a:lnTo>
                    <a:pt x="580" y="35"/>
                  </a:lnTo>
                  <a:lnTo>
                    <a:pt x="577" y="38"/>
                  </a:lnTo>
                  <a:lnTo>
                    <a:pt x="577" y="40"/>
                  </a:lnTo>
                  <a:lnTo>
                    <a:pt x="577" y="43"/>
                  </a:lnTo>
                  <a:lnTo>
                    <a:pt x="577" y="43"/>
                  </a:lnTo>
                  <a:lnTo>
                    <a:pt x="580" y="43"/>
                  </a:lnTo>
                  <a:lnTo>
                    <a:pt x="580" y="46"/>
                  </a:lnTo>
                  <a:lnTo>
                    <a:pt x="577" y="46"/>
                  </a:lnTo>
                  <a:lnTo>
                    <a:pt x="575" y="48"/>
                  </a:lnTo>
                  <a:lnTo>
                    <a:pt x="572" y="48"/>
                  </a:lnTo>
                  <a:lnTo>
                    <a:pt x="572" y="51"/>
                  </a:lnTo>
                  <a:lnTo>
                    <a:pt x="572" y="51"/>
                  </a:lnTo>
                  <a:lnTo>
                    <a:pt x="569" y="54"/>
                  </a:lnTo>
                  <a:lnTo>
                    <a:pt x="569" y="54"/>
                  </a:lnTo>
                  <a:lnTo>
                    <a:pt x="569" y="56"/>
                  </a:lnTo>
                  <a:lnTo>
                    <a:pt x="569" y="59"/>
                  </a:lnTo>
                  <a:lnTo>
                    <a:pt x="567" y="59"/>
                  </a:lnTo>
                  <a:lnTo>
                    <a:pt x="567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9" y="62"/>
                  </a:lnTo>
                  <a:lnTo>
                    <a:pt x="567" y="62"/>
                  </a:lnTo>
                  <a:lnTo>
                    <a:pt x="567" y="64"/>
                  </a:lnTo>
                  <a:lnTo>
                    <a:pt x="567" y="64"/>
                  </a:lnTo>
                  <a:lnTo>
                    <a:pt x="564" y="64"/>
                  </a:lnTo>
                  <a:lnTo>
                    <a:pt x="564" y="67"/>
                  </a:lnTo>
                  <a:lnTo>
                    <a:pt x="561" y="67"/>
                  </a:lnTo>
                  <a:lnTo>
                    <a:pt x="561" y="67"/>
                  </a:lnTo>
                  <a:lnTo>
                    <a:pt x="561" y="70"/>
                  </a:lnTo>
                  <a:lnTo>
                    <a:pt x="561" y="70"/>
                  </a:lnTo>
                  <a:lnTo>
                    <a:pt x="558" y="72"/>
                  </a:lnTo>
                  <a:lnTo>
                    <a:pt x="558" y="72"/>
                  </a:lnTo>
                  <a:lnTo>
                    <a:pt x="556" y="72"/>
                  </a:lnTo>
                  <a:lnTo>
                    <a:pt x="556" y="72"/>
                  </a:lnTo>
                  <a:lnTo>
                    <a:pt x="556" y="75"/>
                  </a:lnTo>
                  <a:lnTo>
                    <a:pt x="553" y="75"/>
                  </a:lnTo>
                  <a:lnTo>
                    <a:pt x="553" y="75"/>
                  </a:lnTo>
                  <a:lnTo>
                    <a:pt x="550" y="75"/>
                  </a:lnTo>
                  <a:lnTo>
                    <a:pt x="550" y="75"/>
                  </a:lnTo>
                  <a:lnTo>
                    <a:pt x="550" y="75"/>
                  </a:lnTo>
                  <a:lnTo>
                    <a:pt x="550" y="78"/>
                  </a:lnTo>
                  <a:lnTo>
                    <a:pt x="550" y="78"/>
                  </a:lnTo>
                  <a:lnTo>
                    <a:pt x="550" y="78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8" y="80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3"/>
                  </a:lnTo>
                  <a:lnTo>
                    <a:pt x="542" y="86"/>
                  </a:lnTo>
                  <a:lnTo>
                    <a:pt x="542" y="86"/>
                  </a:lnTo>
                  <a:lnTo>
                    <a:pt x="542" y="86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40" y="88"/>
                  </a:lnTo>
                  <a:lnTo>
                    <a:pt x="540" y="86"/>
                  </a:lnTo>
                  <a:lnTo>
                    <a:pt x="540" y="86"/>
                  </a:lnTo>
                  <a:lnTo>
                    <a:pt x="537" y="88"/>
                  </a:lnTo>
                  <a:lnTo>
                    <a:pt x="534" y="88"/>
                  </a:lnTo>
                  <a:lnTo>
                    <a:pt x="532" y="88"/>
                  </a:lnTo>
                  <a:lnTo>
                    <a:pt x="529" y="88"/>
                  </a:lnTo>
                  <a:lnTo>
                    <a:pt x="526" y="88"/>
                  </a:lnTo>
                  <a:lnTo>
                    <a:pt x="524" y="88"/>
                  </a:lnTo>
                  <a:lnTo>
                    <a:pt x="524" y="88"/>
                  </a:lnTo>
                  <a:lnTo>
                    <a:pt x="521" y="91"/>
                  </a:lnTo>
                  <a:lnTo>
                    <a:pt x="521" y="91"/>
                  </a:lnTo>
                  <a:lnTo>
                    <a:pt x="518" y="91"/>
                  </a:lnTo>
                  <a:lnTo>
                    <a:pt x="516" y="91"/>
                  </a:lnTo>
                  <a:lnTo>
                    <a:pt x="513" y="91"/>
                  </a:lnTo>
                  <a:lnTo>
                    <a:pt x="513" y="94"/>
                  </a:lnTo>
                  <a:lnTo>
                    <a:pt x="510" y="94"/>
                  </a:lnTo>
                  <a:lnTo>
                    <a:pt x="508" y="96"/>
                  </a:lnTo>
                  <a:lnTo>
                    <a:pt x="505" y="96"/>
                  </a:lnTo>
                  <a:lnTo>
                    <a:pt x="502" y="96"/>
                  </a:lnTo>
                  <a:lnTo>
                    <a:pt x="500" y="96"/>
                  </a:lnTo>
                  <a:lnTo>
                    <a:pt x="497" y="99"/>
                  </a:lnTo>
                  <a:lnTo>
                    <a:pt x="494" y="96"/>
                  </a:lnTo>
                  <a:lnTo>
                    <a:pt x="494" y="99"/>
                  </a:lnTo>
                  <a:lnTo>
                    <a:pt x="492" y="99"/>
                  </a:lnTo>
                  <a:lnTo>
                    <a:pt x="489" y="96"/>
                  </a:lnTo>
                  <a:lnTo>
                    <a:pt x="486" y="99"/>
                  </a:lnTo>
                  <a:lnTo>
                    <a:pt x="484" y="99"/>
                  </a:lnTo>
                  <a:lnTo>
                    <a:pt x="484" y="99"/>
                  </a:lnTo>
                  <a:lnTo>
                    <a:pt x="481" y="102"/>
                  </a:lnTo>
                  <a:lnTo>
                    <a:pt x="481" y="102"/>
                  </a:lnTo>
                  <a:lnTo>
                    <a:pt x="478" y="102"/>
                  </a:lnTo>
                  <a:lnTo>
                    <a:pt x="478" y="102"/>
                  </a:lnTo>
                  <a:lnTo>
                    <a:pt x="478" y="102"/>
                  </a:lnTo>
                  <a:lnTo>
                    <a:pt x="476" y="99"/>
                  </a:lnTo>
                  <a:lnTo>
                    <a:pt x="476" y="102"/>
                  </a:lnTo>
                  <a:lnTo>
                    <a:pt x="476" y="102"/>
                  </a:lnTo>
                  <a:lnTo>
                    <a:pt x="473" y="102"/>
                  </a:lnTo>
                  <a:lnTo>
                    <a:pt x="473" y="102"/>
                  </a:lnTo>
                  <a:lnTo>
                    <a:pt x="470" y="102"/>
                  </a:lnTo>
                  <a:lnTo>
                    <a:pt x="470" y="102"/>
                  </a:lnTo>
                  <a:lnTo>
                    <a:pt x="470" y="104"/>
                  </a:lnTo>
                  <a:lnTo>
                    <a:pt x="468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5" y="102"/>
                  </a:lnTo>
                  <a:lnTo>
                    <a:pt x="465" y="102"/>
                  </a:lnTo>
                  <a:lnTo>
                    <a:pt x="462" y="104"/>
                  </a:lnTo>
                  <a:lnTo>
                    <a:pt x="462" y="104"/>
                  </a:lnTo>
                  <a:lnTo>
                    <a:pt x="460" y="104"/>
                  </a:lnTo>
                  <a:lnTo>
                    <a:pt x="457" y="104"/>
                  </a:lnTo>
                  <a:lnTo>
                    <a:pt x="457" y="104"/>
                  </a:lnTo>
                  <a:lnTo>
                    <a:pt x="454" y="104"/>
                  </a:lnTo>
                  <a:lnTo>
                    <a:pt x="454" y="104"/>
                  </a:lnTo>
                  <a:lnTo>
                    <a:pt x="452" y="104"/>
                  </a:lnTo>
                  <a:lnTo>
                    <a:pt x="449" y="104"/>
                  </a:lnTo>
                  <a:lnTo>
                    <a:pt x="449" y="104"/>
                  </a:lnTo>
                  <a:lnTo>
                    <a:pt x="449" y="104"/>
                  </a:lnTo>
                  <a:lnTo>
                    <a:pt x="446" y="104"/>
                  </a:lnTo>
                  <a:lnTo>
                    <a:pt x="444" y="107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6" y="107"/>
                  </a:lnTo>
                  <a:lnTo>
                    <a:pt x="436" y="107"/>
                  </a:lnTo>
                  <a:lnTo>
                    <a:pt x="436" y="110"/>
                  </a:lnTo>
                  <a:lnTo>
                    <a:pt x="433" y="110"/>
                  </a:lnTo>
                  <a:lnTo>
                    <a:pt x="433" y="110"/>
                  </a:lnTo>
                  <a:lnTo>
                    <a:pt x="430" y="110"/>
                  </a:lnTo>
                  <a:lnTo>
                    <a:pt x="430" y="110"/>
                  </a:lnTo>
                  <a:lnTo>
                    <a:pt x="428" y="110"/>
                  </a:lnTo>
                  <a:lnTo>
                    <a:pt x="428" y="110"/>
                  </a:lnTo>
                  <a:lnTo>
                    <a:pt x="425" y="110"/>
                  </a:lnTo>
                  <a:lnTo>
                    <a:pt x="425" y="110"/>
                  </a:lnTo>
                  <a:lnTo>
                    <a:pt x="422" y="110"/>
                  </a:lnTo>
                  <a:lnTo>
                    <a:pt x="420" y="110"/>
                  </a:lnTo>
                  <a:lnTo>
                    <a:pt x="417" y="110"/>
                  </a:lnTo>
                  <a:lnTo>
                    <a:pt x="417" y="110"/>
                  </a:lnTo>
                  <a:lnTo>
                    <a:pt x="414" y="110"/>
                  </a:lnTo>
                  <a:lnTo>
                    <a:pt x="412" y="110"/>
                  </a:lnTo>
                  <a:lnTo>
                    <a:pt x="409" y="110"/>
                  </a:lnTo>
                  <a:lnTo>
                    <a:pt x="406" y="110"/>
                  </a:lnTo>
                  <a:lnTo>
                    <a:pt x="406" y="110"/>
                  </a:lnTo>
                  <a:lnTo>
                    <a:pt x="404" y="110"/>
                  </a:lnTo>
                  <a:lnTo>
                    <a:pt x="404" y="110"/>
                  </a:lnTo>
                  <a:lnTo>
                    <a:pt x="401" y="110"/>
                  </a:lnTo>
                  <a:lnTo>
                    <a:pt x="398" y="110"/>
                  </a:lnTo>
                  <a:lnTo>
                    <a:pt x="398" y="110"/>
                  </a:lnTo>
                  <a:lnTo>
                    <a:pt x="398" y="112"/>
                  </a:lnTo>
                  <a:lnTo>
                    <a:pt x="396" y="112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90" y="112"/>
                  </a:lnTo>
                  <a:lnTo>
                    <a:pt x="390" y="112"/>
                  </a:lnTo>
                  <a:lnTo>
                    <a:pt x="388" y="115"/>
                  </a:lnTo>
                  <a:lnTo>
                    <a:pt x="388" y="112"/>
                  </a:lnTo>
                  <a:lnTo>
                    <a:pt x="388" y="112"/>
                  </a:lnTo>
                  <a:lnTo>
                    <a:pt x="390" y="112"/>
                  </a:lnTo>
                  <a:lnTo>
                    <a:pt x="390" y="112"/>
                  </a:lnTo>
                  <a:lnTo>
                    <a:pt x="390" y="110"/>
                  </a:lnTo>
                  <a:lnTo>
                    <a:pt x="390" y="110"/>
                  </a:lnTo>
                  <a:lnTo>
                    <a:pt x="390" y="110"/>
                  </a:lnTo>
                  <a:lnTo>
                    <a:pt x="390" y="107"/>
                  </a:lnTo>
                  <a:lnTo>
                    <a:pt x="390" y="107"/>
                  </a:lnTo>
                  <a:lnTo>
                    <a:pt x="390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5" y="102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7"/>
                  </a:lnTo>
                  <a:lnTo>
                    <a:pt x="388" y="107"/>
                  </a:lnTo>
                  <a:lnTo>
                    <a:pt x="388" y="110"/>
                  </a:lnTo>
                  <a:lnTo>
                    <a:pt x="385" y="110"/>
                  </a:lnTo>
                  <a:lnTo>
                    <a:pt x="385" y="110"/>
                  </a:lnTo>
                  <a:lnTo>
                    <a:pt x="382" y="110"/>
                  </a:lnTo>
                  <a:lnTo>
                    <a:pt x="382" y="110"/>
                  </a:lnTo>
                  <a:lnTo>
                    <a:pt x="380" y="112"/>
                  </a:lnTo>
                  <a:lnTo>
                    <a:pt x="380" y="112"/>
                  </a:lnTo>
                  <a:lnTo>
                    <a:pt x="377" y="112"/>
                  </a:lnTo>
                  <a:lnTo>
                    <a:pt x="377" y="115"/>
                  </a:lnTo>
                  <a:lnTo>
                    <a:pt x="374" y="115"/>
                  </a:lnTo>
                  <a:lnTo>
                    <a:pt x="374" y="115"/>
                  </a:lnTo>
                  <a:lnTo>
                    <a:pt x="374" y="115"/>
                  </a:lnTo>
                  <a:lnTo>
                    <a:pt x="372" y="115"/>
                  </a:lnTo>
                  <a:lnTo>
                    <a:pt x="369" y="115"/>
                  </a:lnTo>
                  <a:lnTo>
                    <a:pt x="369" y="115"/>
                  </a:lnTo>
                  <a:lnTo>
                    <a:pt x="369" y="112"/>
                  </a:lnTo>
                  <a:lnTo>
                    <a:pt x="366" y="112"/>
                  </a:lnTo>
                  <a:lnTo>
                    <a:pt x="364" y="112"/>
                  </a:lnTo>
                  <a:lnTo>
                    <a:pt x="364" y="112"/>
                  </a:lnTo>
                  <a:lnTo>
                    <a:pt x="361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3" y="118"/>
                  </a:lnTo>
                  <a:lnTo>
                    <a:pt x="350" y="118"/>
                  </a:lnTo>
                  <a:lnTo>
                    <a:pt x="348" y="118"/>
                  </a:lnTo>
                  <a:lnTo>
                    <a:pt x="348" y="118"/>
                  </a:lnTo>
                  <a:lnTo>
                    <a:pt x="345" y="118"/>
                  </a:lnTo>
                  <a:lnTo>
                    <a:pt x="345" y="118"/>
                  </a:lnTo>
                  <a:lnTo>
                    <a:pt x="342" y="118"/>
                  </a:lnTo>
                  <a:lnTo>
                    <a:pt x="342" y="118"/>
                  </a:lnTo>
                  <a:lnTo>
                    <a:pt x="342" y="118"/>
                  </a:lnTo>
                  <a:lnTo>
                    <a:pt x="340" y="120"/>
                  </a:lnTo>
                  <a:lnTo>
                    <a:pt x="340" y="120"/>
                  </a:lnTo>
                  <a:lnTo>
                    <a:pt x="337" y="120"/>
                  </a:lnTo>
                  <a:lnTo>
                    <a:pt x="337" y="120"/>
                  </a:lnTo>
                  <a:lnTo>
                    <a:pt x="337" y="118"/>
                  </a:lnTo>
                  <a:lnTo>
                    <a:pt x="337" y="118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2" y="118"/>
                  </a:lnTo>
                  <a:lnTo>
                    <a:pt x="332" y="115"/>
                  </a:lnTo>
                  <a:lnTo>
                    <a:pt x="332" y="115"/>
                  </a:lnTo>
                  <a:lnTo>
                    <a:pt x="329" y="115"/>
                  </a:lnTo>
                  <a:lnTo>
                    <a:pt x="329" y="115"/>
                  </a:lnTo>
                  <a:lnTo>
                    <a:pt x="329" y="118"/>
                  </a:lnTo>
                  <a:lnTo>
                    <a:pt x="329" y="118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4" y="120"/>
                  </a:lnTo>
                  <a:lnTo>
                    <a:pt x="324" y="120"/>
                  </a:lnTo>
                  <a:lnTo>
                    <a:pt x="324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0"/>
                  </a:lnTo>
                  <a:lnTo>
                    <a:pt x="321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5" y="123"/>
                  </a:lnTo>
                  <a:lnTo>
                    <a:pt x="315" y="123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28"/>
                  </a:lnTo>
                  <a:lnTo>
                    <a:pt x="313" y="131"/>
                  </a:lnTo>
                  <a:lnTo>
                    <a:pt x="310" y="131"/>
                  </a:lnTo>
                  <a:lnTo>
                    <a:pt x="310" y="131"/>
                  </a:lnTo>
                  <a:lnTo>
                    <a:pt x="310" y="131"/>
                  </a:lnTo>
                  <a:lnTo>
                    <a:pt x="307" y="131"/>
                  </a:lnTo>
                  <a:lnTo>
                    <a:pt x="307" y="134"/>
                  </a:lnTo>
                  <a:lnTo>
                    <a:pt x="307" y="134"/>
                  </a:lnTo>
                  <a:lnTo>
                    <a:pt x="305" y="134"/>
                  </a:lnTo>
                  <a:lnTo>
                    <a:pt x="305" y="134"/>
                  </a:lnTo>
                  <a:lnTo>
                    <a:pt x="305" y="134"/>
                  </a:lnTo>
                  <a:lnTo>
                    <a:pt x="302" y="134"/>
                  </a:lnTo>
                  <a:lnTo>
                    <a:pt x="302" y="131"/>
                  </a:lnTo>
                  <a:lnTo>
                    <a:pt x="305" y="131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6"/>
                  </a:lnTo>
                  <a:lnTo>
                    <a:pt x="307" y="126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7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299" y="128"/>
                  </a:lnTo>
                  <a:lnTo>
                    <a:pt x="297" y="128"/>
                  </a:lnTo>
                  <a:lnTo>
                    <a:pt x="297" y="131"/>
                  </a:lnTo>
                  <a:lnTo>
                    <a:pt x="294" y="134"/>
                  </a:lnTo>
                  <a:lnTo>
                    <a:pt x="294" y="134"/>
                  </a:lnTo>
                  <a:lnTo>
                    <a:pt x="291" y="134"/>
                  </a:lnTo>
                  <a:lnTo>
                    <a:pt x="291" y="134"/>
                  </a:lnTo>
                  <a:lnTo>
                    <a:pt x="289" y="134"/>
                  </a:lnTo>
                  <a:lnTo>
                    <a:pt x="289" y="134"/>
                  </a:lnTo>
                  <a:lnTo>
                    <a:pt x="286" y="134"/>
                  </a:lnTo>
                  <a:lnTo>
                    <a:pt x="283" y="134"/>
                  </a:lnTo>
                  <a:lnTo>
                    <a:pt x="283" y="134"/>
                  </a:lnTo>
                  <a:lnTo>
                    <a:pt x="283" y="136"/>
                  </a:lnTo>
                  <a:lnTo>
                    <a:pt x="281" y="136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5" y="144"/>
                  </a:lnTo>
                  <a:lnTo>
                    <a:pt x="273" y="144"/>
                  </a:lnTo>
                  <a:lnTo>
                    <a:pt x="273" y="142"/>
                  </a:lnTo>
                  <a:lnTo>
                    <a:pt x="273" y="142"/>
                  </a:lnTo>
                  <a:lnTo>
                    <a:pt x="273" y="142"/>
                  </a:lnTo>
                  <a:lnTo>
                    <a:pt x="273" y="139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6"/>
                  </a:lnTo>
                  <a:lnTo>
                    <a:pt x="275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3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67" y="136"/>
                  </a:lnTo>
                  <a:lnTo>
                    <a:pt x="270" y="139"/>
                  </a:lnTo>
                  <a:lnTo>
                    <a:pt x="270" y="139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5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7" y="144"/>
                  </a:lnTo>
                  <a:lnTo>
                    <a:pt x="257" y="144"/>
                  </a:lnTo>
                  <a:lnTo>
                    <a:pt x="257" y="142"/>
                  </a:lnTo>
                  <a:lnTo>
                    <a:pt x="254" y="142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7" y="147"/>
                  </a:lnTo>
                  <a:lnTo>
                    <a:pt x="259" y="147"/>
                  </a:lnTo>
                  <a:lnTo>
                    <a:pt x="259" y="150"/>
                  </a:lnTo>
                  <a:lnTo>
                    <a:pt x="262" y="150"/>
                  </a:lnTo>
                  <a:lnTo>
                    <a:pt x="265" y="150"/>
                  </a:lnTo>
                  <a:lnTo>
                    <a:pt x="267" y="153"/>
                  </a:lnTo>
                  <a:lnTo>
                    <a:pt x="267" y="153"/>
                  </a:lnTo>
                  <a:lnTo>
                    <a:pt x="270" y="153"/>
                  </a:lnTo>
                  <a:lnTo>
                    <a:pt x="267" y="155"/>
                  </a:lnTo>
                  <a:lnTo>
                    <a:pt x="267" y="158"/>
                  </a:lnTo>
                  <a:lnTo>
                    <a:pt x="267" y="158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5" y="163"/>
                  </a:lnTo>
                  <a:lnTo>
                    <a:pt x="262" y="163"/>
                  </a:lnTo>
                  <a:lnTo>
                    <a:pt x="262" y="161"/>
                  </a:lnTo>
                  <a:lnTo>
                    <a:pt x="259" y="161"/>
                  </a:lnTo>
                  <a:lnTo>
                    <a:pt x="257" y="161"/>
                  </a:lnTo>
                  <a:lnTo>
                    <a:pt x="257" y="161"/>
                  </a:lnTo>
                  <a:lnTo>
                    <a:pt x="257" y="158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1" y="158"/>
                  </a:lnTo>
                  <a:lnTo>
                    <a:pt x="251" y="158"/>
                  </a:lnTo>
                  <a:lnTo>
                    <a:pt x="251" y="161"/>
                  </a:lnTo>
                  <a:lnTo>
                    <a:pt x="251" y="163"/>
                  </a:lnTo>
                  <a:lnTo>
                    <a:pt x="254" y="163"/>
                  </a:lnTo>
                  <a:lnTo>
                    <a:pt x="254" y="166"/>
                  </a:lnTo>
                  <a:lnTo>
                    <a:pt x="254" y="169"/>
                  </a:lnTo>
                  <a:lnTo>
                    <a:pt x="251" y="169"/>
                  </a:lnTo>
                  <a:lnTo>
                    <a:pt x="249" y="169"/>
                  </a:lnTo>
                  <a:lnTo>
                    <a:pt x="249" y="171"/>
                  </a:lnTo>
                  <a:lnTo>
                    <a:pt x="246" y="171"/>
                  </a:lnTo>
                  <a:lnTo>
                    <a:pt x="243" y="169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38" y="169"/>
                  </a:lnTo>
                  <a:lnTo>
                    <a:pt x="238" y="166"/>
                  </a:lnTo>
                  <a:lnTo>
                    <a:pt x="235" y="166"/>
                  </a:lnTo>
                  <a:lnTo>
                    <a:pt x="235" y="163"/>
                  </a:lnTo>
                  <a:lnTo>
                    <a:pt x="233" y="166"/>
                  </a:lnTo>
                  <a:lnTo>
                    <a:pt x="233" y="163"/>
                  </a:lnTo>
                  <a:lnTo>
                    <a:pt x="233" y="163"/>
                  </a:lnTo>
                  <a:lnTo>
                    <a:pt x="233" y="161"/>
                  </a:lnTo>
                  <a:lnTo>
                    <a:pt x="230" y="161"/>
                  </a:lnTo>
                  <a:lnTo>
                    <a:pt x="230" y="158"/>
                  </a:lnTo>
                  <a:lnTo>
                    <a:pt x="230" y="158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8"/>
                  </a:lnTo>
                  <a:lnTo>
                    <a:pt x="230" y="158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6"/>
                  </a:lnTo>
                  <a:lnTo>
                    <a:pt x="233" y="166"/>
                  </a:lnTo>
                  <a:lnTo>
                    <a:pt x="233" y="169"/>
                  </a:lnTo>
                  <a:lnTo>
                    <a:pt x="233" y="169"/>
                  </a:lnTo>
                  <a:lnTo>
                    <a:pt x="233" y="171"/>
                  </a:lnTo>
                  <a:lnTo>
                    <a:pt x="233" y="171"/>
                  </a:lnTo>
                  <a:lnTo>
                    <a:pt x="233" y="174"/>
                  </a:lnTo>
                  <a:lnTo>
                    <a:pt x="233" y="174"/>
                  </a:lnTo>
                  <a:lnTo>
                    <a:pt x="233" y="177"/>
                  </a:lnTo>
                  <a:lnTo>
                    <a:pt x="233" y="177"/>
                  </a:lnTo>
                  <a:lnTo>
                    <a:pt x="233" y="179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27" y="182"/>
                  </a:lnTo>
                  <a:lnTo>
                    <a:pt x="227" y="182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2" y="171"/>
                  </a:lnTo>
                  <a:lnTo>
                    <a:pt x="219" y="169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9" y="163"/>
                  </a:lnTo>
                  <a:lnTo>
                    <a:pt x="219" y="163"/>
                  </a:lnTo>
                  <a:lnTo>
                    <a:pt x="217" y="161"/>
                  </a:lnTo>
                  <a:lnTo>
                    <a:pt x="217" y="161"/>
                  </a:lnTo>
                  <a:lnTo>
                    <a:pt x="217" y="158"/>
                  </a:lnTo>
                  <a:lnTo>
                    <a:pt x="217" y="155"/>
                  </a:lnTo>
                  <a:lnTo>
                    <a:pt x="217" y="155"/>
                  </a:lnTo>
                  <a:lnTo>
                    <a:pt x="217" y="155"/>
                  </a:lnTo>
                  <a:lnTo>
                    <a:pt x="214" y="158"/>
                  </a:lnTo>
                  <a:lnTo>
                    <a:pt x="214" y="158"/>
                  </a:lnTo>
                  <a:lnTo>
                    <a:pt x="214" y="161"/>
                  </a:lnTo>
                  <a:lnTo>
                    <a:pt x="214" y="163"/>
                  </a:lnTo>
                  <a:lnTo>
                    <a:pt x="214" y="166"/>
                  </a:lnTo>
                  <a:lnTo>
                    <a:pt x="214" y="166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7" y="171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4" y="166"/>
                  </a:lnTo>
                  <a:lnTo>
                    <a:pt x="214" y="166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09" y="166"/>
                  </a:lnTo>
                  <a:lnTo>
                    <a:pt x="209" y="166"/>
                  </a:lnTo>
                  <a:lnTo>
                    <a:pt x="209" y="169"/>
                  </a:lnTo>
                  <a:lnTo>
                    <a:pt x="211" y="169"/>
                  </a:lnTo>
                  <a:lnTo>
                    <a:pt x="211" y="169"/>
                  </a:lnTo>
                  <a:lnTo>
                    <a:pt x="211" y="171"/>
                  </a:lnTo>
                  <a:lnTo>
                    <a:pt x="211" y="174"/>
                  </a:lnTo>
                  <a:lnTo>
                    <a:pt x="209" y="174"/>
                  </a:lnTo>
                  <a:lnTo>
                    <a:pt x="209" y="177"/>
                  </a:lnTo>
                  <a:lnTo>
                    <a:pt x="209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6" y="179"/>
                  </a:lnTo>
                  <a:lnTo>
                    <a:pt x="206" y="179"/>
                  </a:lnTo>
                  <a:lnTo>
                    <a:pt x="206" y="182"/>
                  </a:lnTo>
                  <a:lnTo>
                    <a:pt x="203" y="182"/>
                  </a:lnTo>
                  <a:lnTo>
                    <a:pt x="203" y="185"/>
                  </a:lnTo>
                  <a:lnTo>
                    <a:pt x="203" y="185"/>
                  </a:lnTo>
                  <a:lnTo>
                    <a:pt x="203" y="187"/>
                  </a:lnTo>
                  <a:lnTo>
                    <a:pt x="203" y="190"/>
                  </a:lnTo>
                  <a:lnTo>
                    <a:pt x="201" y="190"/>
                  </a:lnTo>
                  <a:lnTo>
                    <a:pt x="198" y="187"/>
                  </a:lnTo>
                  <a:lnTo>
                    <a:pt x="198" y="185"/>
                  </a:lnTo>
                  <a:lnTo>
                    <a:pt x="198" y="185"/>
                  </a:lnTo>
                  <a:lnTo>
                    <a:pt x="195" y="185"/>
                  </a:lnTo>
                  <a:lnTo>
                    <a:pt x="195" y="182"/>
                  </a:lnTo>
                  <a:lnTo>
                    <a:pt x="193" y="182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4"/>
                  </a:lnTo>
                  <a:lnTo>
                    <a:pt x="190" y="174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87" y="171"/>
                  </a:lnTo>
                  <a:lnTo>
                    <a:pt x="187" y="169"/>
                  </a:lnTo>
                  <a:lnTo>
                    <a:pt x="187" y="169"/>
                  </a:lnTo>
                  <a:lnTo>
                    <a:pt x="185" y="169"/>
                  </a:lnTo>
                  <a:lnTo>
                    <a:pt x="185" y="166"/>
                  </a:lnTo>
                  <a:lnTo>
                    <a:pt x="185" y="166"/>
                  </a:lnTo>
                  <a:lnTo>
                    <a:pt x="182" y="163"/>
                  </a:lnTo>
                  <a:lnTo>
                    <a:pt x="182" y="163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5" y="171"/>
                  </a:lnTo>
                  <a:lnTo>
                    <a:pt x="185" y="174"/>
                  </a:lnTo>
                  <a:lnTo>
                    <a:pt x="187" y="174"/>
                  </a:lnTo>
                  <a:lnTo>
                    <a:pt x="187" y="177"/>
                  </a:lnTo>
                  <a:lnTo>
                    <a:pt x="187" y="179"/>
                  </a:lnTo>
                  <a:lnTo>
                    <a:pt x="187" y="182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5" y="187"/>
                  </a:lnTo>
                  <a:lnTo>
                    <a:pt x="185" y="190"/>
                  </a:lnTo>
                  <a:lnTo>
                    <a:pt x="185" y="193"/>
                  </a:lnTo>
                  <a:lnTo>
                    <a:pt x="185" y="193"/>
                  </a:lnTo>
                  <a:lnTo>
                    <a:pt x="185" y="195"/>
                  </a:lnTo>
                  <a:lnTo>
                    <a:pt x="182" y="195"/>
                  </a:lnTo>
                  <a:lnTo>
                    <a:pt x="185" y="198"/>
                  </a:lnTo>
                  <a:lnTo>
                    <a:pt x="182" y="198"/>
                  </a:lnTo>
                  <a:lnTo>
                    <a:pt x="182" y="201"/>
                  </a:lnTo>
                  <a:lnTo>
                    <a:pt x="182" y="201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82" y="203"/>
                  </a:lnTo>
                  <a:lnTo>
                    <a:pt x="182" y="206"/>
                  </a:lnTo>
                  <a:lnTo>
                    <a:pt x="179" y="206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3"/>
                  </a:lnTo>
                  <a:lnTo>
                    <a:pt x="174" y="203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6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4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9" y="206"/>
                  </a:lnTo>
                  <a:lnTo>
                    <a:pt x="166" y="206"/>
                  </a:lnTo>
                  <a:lnTo>
                    <a:pt x="166" y="206"/>
                  </a:lnTo>
                  <a:lnTo>
                    <a:pt x="166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9" y="203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6" y="203"/>
                  </a:lnTo>
                  <a:lnTo>
                    <a:pt x="166" y="203"/>
                  </a:lnTo>
                  <a:lnTo>
                    <a:pt x="166" y="206"/>
                  </a:lnTo>
                  <a:lnTo>
                    <a:pt x="166" y="206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9" y="209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4"/>
                  </a:lnTo>
                  <a:lnTo>
                    <a:pt x="169" y="214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3" y="211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1" y="214"/>
                  </a:lnTo>
                  <a:lnTo>
                    <a:pt x="163" y="214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09"/>
                  </a:lnTo>
                  <a:lnTo>
                    <a:pt x="161" y="211"/>
                  </a:lnTo>
                  <a:lnTo>
                    <a:pt x="158" y="211"/>
                  </a:lnTo>
                  <a:lnTo>
                    <a:pt x="158" y="214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8" y="217"/>
                  </a:lnTo>
                  <a:lnTo>
                    <a:pt x="158" y="219"/>
                  </a:lnTo>
                  <a:lnTo>
                    <a:pt x="158" y="219"/>
                  </a:lnTo>
                  <a:lnTo>
                    <a:pt x="158" y="222"/>
                  </a:lnTo>
                  <a:lnTo>
                    <a:pt x="155" y="222"/>
                  </a:lnTo>
                  <a:lnTo>
                    <a:pt x="155" y="222"/>
                  </a:lnTo>
                  <a:lnTo>
                    <a:pt x="153" y="222"/>
                  </a:lnTo>
                  <a:lnTo>
                    <a:pt x="153" y="222"/>
                  </a:lnTo>
                  <a:lnTo>
                    <a:pt x="153" y="222"/>
                  </a:lnTo>
                  <a:lnTo>
                    <a:pt x="150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47" y="219"/>
                  </a:lnTo>
                  <a:lnTo>
                    <a:pt x="147" y="217"/>
                  </a:lnTo>
                  <a:lnTo>
                    <a:pt x="147" y="217"/>
                  </a:lnTo>
                  <a:lnTo>
                    <a:pt x="147" y="214"/>
                  </a:lnTo>
                  <a:lnTo>
                    <a:pt x="145" y="211"/>
                  </a:lnTo>
                  <a:lnTo>
                    <a:pt x="145" y="211"/>
                  </a:lnTo>
                  <a:lnTo>
                    <a:pt x="145" y="209"/>
                  </a:lnTo>
                  <a:lnTo>
                    <a:pt x="145" y="206"/>
                  </a:lnTo>
                  <a:lnTo>
                    <a:pt x="142" y="203"/>
                  </a:lnTo>
                  <a:lnTo>
                    <a:pt x="145" y="203"/>
                  </a:lnTo>
                  <a:lnTo>
                    <a:pt x="145" y="201"/>
                  </a:lnTo>
                  <a:lnTo>
                    <a:pt x="145" y="198"/>
                  </a:lnTo>
                  <a:lnTo>
                    <a:pt x="145" y="198"/>
                  </a:lnTo>
                  <a:lnTo>
                    <a:pt x="145" y="195"/>
                  </a:lnTo>
                  <a:lnTo>
                    <a:pt x="145" y="193"/>
                  </a:lnTo>
                  <a:lnTo>
                    <a:pt x="145" y="19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39" y="193"/>
                  </a:lnTo>
                  <a:lnTo>
                    <a:pt x="142" y="195"/>
                  </a:lnTo>
                  <a:lnTo>
                    <a:pt x="139" y="198"/>
                  </a:lnTo>
                  <a:lnTo>
                    <a:pt x="139" y="201"/>
                  </a:lnTo>
                  <a:lnTo>
                    <a:pt x="139" y="201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4" y="201"/>
                  </a:lnTo>
                  <a:lnTo>
                    <a:pt x="134" y="201"/>
                  </a:lnTo>
                  <a:lnTo>
                    <a:pt x="131" y="201"/>
                  </a:lnTo>
                  <a:lnTo>
                    <a:pt x="131" y="203"/>
                  </a:lnTo>
                  <a:lnTo>
                    <a:pt x="134" y="203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9" y="206"/>
                  </a:lnTo>
                  <a:lnTo>
                    <a:pt x="139" y="209"/>
                  </a:lnTo>
                  <a:lnTo>
                    <a:pt x="139" y="211"/>
                  </a:lnTo>
                  <a:lnTo>
                    <a:pt x="139" y="214"/>
                  </a:lnTo>
                  <a:lnTo>
                    <a:pt x="139" y="217"/>
                  </a:lnTo>
                  <a:lnTo>
                    <a:pt x="139" y="219"/>
                  </a:lnTo>
                  <a:lnTo>
                    <a:pt x="142" y="222"/>
                  </a:lnTo>
                  <a:lnTo>
                    <a:pt x="142" y="225"/>
                  </a:lnTo>
                  <a:lnTo>
                    <a:pt x="142" y="225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7" y="233"/>
                  </a:lnTo>
                  <a:lnTo>
                    <a:pt x="137" y="235"/>
                  </a:lnTo>
                  <a:lnTo>
                    <a:pt x="137" y="235"/>
                  </a:lnTo>
                  <a:lnTo>
                    <a:pt x="137" y="238"/>
                  </a:lnTo>
                  <a:lnTo>
                    <a:pt x="134" y="241"/>
                  </a:lnTo>
                  <a:lnTo>
                    <a:pt x="134" y="241"/>
                  </a:lnTo>
                  <a:lnTo>
                    <a:pt x="131" y="241"/>
                  </a:lnTo>
                  <a:lnTo>
                    <a:pt x="131" y="243"/>
                  </a:lnTo>
                  <a:lnTo>
                    <a:pt x="129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1"/>
                  </a:lnTo>
                  <a:lnTo>
                    <a:pt x="126" y="241"/>
                  </a:lnTo>
                  <a:lnTo>
                    <a:pt x="126" y="241"/>
                  </a:lnTo>
                  <a:lnTo>
                    <a:pt x="126" y="238"/>
                  </a:lnTo>
                  <a:lnTo>
                    <a:pt x="126" y="238"/>
                  </a:lnTo>
                  <a:lnTo>
                    <a:pt x="126" y="235"/>
                  </a:lnTo>
                  <a:lnTo>
                    <a:pt x="126" y="233"/>
                  </a:lnTo>
                  <a:lnTo>
                    <a:pt x="126" y="233"/>
                  </a:lnTo>
                  <a:lnTo>
                    <a:pt x="126" y="230"/>
                  </a:lnTo>
                  <a:lnTo>
                    <a:pt x="126" y="230"/>
                  </a:lnTo>
                  <a:lnTo>
                    <a:pt x="123" y="227"/>
                  </a:lnTo>
                  <a:lnTo>
                    <a:pt x="121" y="227"/>
                  </a:lnTo>
                  <a:lnTo>
                    <a:pt x="121" y="225"/>
                  </a:lnTo>
                  <a:lnTo>
                    <a:pt x="118" y="225"/>
                  </a:lnTo>
                  <a:lnTo>
                    <a:pt x="118" y="222"/>
                  </a:lnTo>
                  <a:lnTo>
                    <a:pt x="115" y="222"/>
                  </a:lnTo>
                  <a:lnTo>
                    <a:pt x="115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0" y="217"/>
                  </a:lnTo>
                  <a:lnTo>
                    <a:pt x="107" y="217"/>
                  </a:lnTo>
                  <a:lnTo>
                    <a:pt x="105" y="217"/>
                  </a:lnTo>
                  <a:lnTo>
                    <a:pt x="105" y="214"/>
                  </a:lnTo>
                  <a:lnTo>
                    <a:pt x="105" y="214"/>
                  </a:lnTo>
                  <a:lnTo>
                    <a:pt x="105" y="211"/>
                  </a:lnTo>
                  <a:lnTo>
                    <a:pt x="102" y="211"/>
                  </a:lnTo>
                  <a:lnTo>
                    <a:pt x="102" y="214"/>
                  </a:lnTo>
                  <a:lnTo>
                    <a:pt x="102" y="214"/>
                  </a:lnTo>
                  <a:lnTo>
                    <a:pt x="102" y="217"/>
                  </a:lnTo>
                  <a:lnTo>
                    <a:pt x="105" y="219"/>
                  </a:lnTo>
                  <a:lnTo>
                    <a:pt x="107" y="219"/>
                  </a:lnTo>
                  <a:lnTo>
                    <a:pt x="107" y="219"/>
                  </a:lnTo>
                  <a:lnTo>
                    <a:pt x="110" y="219"/>
                  </a:lnTo>
                  <a:lnTo>
                    <a:pt x="113" y="222"/>
                  </a:lnTo>
                  <a:lnTo>
                    <a:pt x="113" y="225"/>
                  </a:lnTo>
                  <a:lnTo>
                    <a:pt x="115" y="225"/>
                  </a:lnTo>
                  <a:lnTo>
                    <a:pt x="115" y="225"/>
                  </a:lnTo>
                  <a:lnTo>
                    <a:pt x="115" y="227"/>
                  </a:lnTo>
                  <a:lnTo>
                    <a:pt x="118" y="230"/>
                  </a:lnTo>
                  <a:lnTo>
                    <a:pt x="118" y="230"/>
                  </a:lnTo>
                  <a:lnTo>
                    <a:pt x="121" y="233"/>
                  </a:lnTo>
                  <a:lnTo>
                    <a:pt x="121" y="235"/>
                  </a:lnTo>
                  <a:lnTo>
                    <a:pt x="121" y="235"/>
                  </a:lnTo>
                  <a:lnTo>
                    <a:pt x="121" y="238"/>
                  </a:lnTo>
                  <a:lnTo>
                    <a:pt x="121" y="241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21" y="246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1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5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107" y="257"/>
                  </a:lnTo>
                  <a:lnTo>
                    <a:pt x="105" y="254"/>
                  </a:lnTo>
                  <a:lnTo>
                    <a:pt x="102" y="251"/>
                  </a:lnTo>
                  <a:lnTo>
                    <a:pt x="102" y="251"/>
                  </a:lnTo>
                  <a:lnTo>
                    <a:pt x="102" y="249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1"/>
                  </a:lnTo>
                  <a:lnTo>
                    <a:pt x="99" y="238"/>
                  </a:lnTo>
                  <a:lnTo>
                    <a:pt x="99" y="235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97" y="230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4" y="238"/>
                  </a:lnTo>
                  <a:lnTo>
                    <a:pt x="97" y="238"/>
                  </a:lnTo>
                  <a:lnTo>
                    <a:pt x="97" y="241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6"/>
                  </a:lnTo>
                  <a:lnTo>
                    <a:pt x="97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7" y="246"/>
                  </a:lnTo>
                  <a:lnTo>
                    <a:pt x="97" y="249"/>
                  </a:lnTo>
                  <a:lnTo>
                    <a:pt x="97" y="249"/>
                  </a:lnTo>
                  <a:lnTo>
                    <a:pt x="99" y="251"/>
                  </a:lnTo>
                  <a:lnTo>
                    <a:pt x="99" y="254"/>
                  </a:lnTo>
                  <a:lnTo>
                    <a:pt x="99" y="254"/>
                  </a:lnTo>
                  <a:lnTo>
                    <a:pt x="102" y="257"/>
                  </a:lnTo>
                  <a:lnTo>
                    <a:pt x="102" y="259"/>
                  </a:lnTo>
                  <a:lnTo>
                    <a:pt x="102" y="259"/>
                  </a:lnTo>
                  <a:lnTo>
                    <a:pt x="102" y="262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9" y="265"/>
                  </a:lnTo>
                  <a:lnTo>
                    <a:pt x="97" y="265"/>
                  </a:lnTo>
                  <a:lnTo>
                    <a:pt x="97" y="265"/>
                  </a:lnTo>
                  <a:lnTo>
                    <a:pt x="97" y="267"/>
                  </a:lnTo>
                  <a:lnTo>
                    <a:pt x="94" y="267"/>
                  </a:lnTo>
                  <a:lnTo>
                    <a:pt x="94" y="267"/>
                  </a:lnTo>
                  <a:lnTo>
                    <a:pt x="91" y="270"/>
                  </a:lnTo>
                  <a:lnTo>
                    <a:pt x="89" y="270"/>
                  </a:lnTo>
                  <a:lnTo>
                    <a:pt x="89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6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3"/>
                  </a:lnTo>
                  <a:lnTo>
                    <a:pt x="83" y="270"/>
                  </a:lnTo>
                  <a:lnTo>
                    <a:pt x="83" y="267"/>
                  </a:lnTo>
                  <a:lnTo>
                    <a:pt x="80" y="267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0" y="270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80" y="273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2" y="278"/>
                  </a:lnTo>
                  <a:lnTo>
                    <a:pt x="72" y="278"/>
                  </a:lnTo>
                  <a:lnTo>
                    <a:pt x="70" y="275"/>
                  </a:lnTo>
                  <a:lnTo>
                    <a:pt x="70" y="275"/>
                  </a:lnTo>
                  <a:lnTo>
                    <a:pt x="67" y="275"/>
                  </a:lnTo>
                  <a:lnTo>
                    <a:pt x="67" y="273"/>
                  </a:lnTo>
                  <a:lnTo>
                    <a:pt x="64" y="273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59" y="270"/>
                  </a:lnTo>
                  <a:lnTo>
                    <a:pt x="59" y="267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9" y="262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57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62" y="251"/>
                  </a:lnTo>
                  <a:lnTo>
                    <a:pt x="62" y="251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7"/>
                  </a:lnTo>
                  <a:lnTo>
                    <a:pt x="59" y="257"/>
                  </a:lnTo>
                  <a:lnTo>
                    <a:pt x="56" y="259"/>
                  </a:lnTo>
                  <a:lnTo>
                    <a:pt x="56" y="259"/>
                  </a:lnTo>
                  <a:lnTo>
                    <a:pt x="56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4" y="259"/>
                  </a:lnTo>
                  <a:lnTo>
                    <a:pt x="51" y="259"/>
                  </a:lnTo>
                  <a:lnTo>
                    <a:pt x="51" y="257"/>
                  </a:lnTo>
                  <a:lnTo>
                    <a:pt x="51" y="257"/>
                  </a:lnTo>
                  <a:lnTo>
                    <a:pt x="48" y="254"/>
                  </a:lnTo>
                  <a:lnTo>
                    <a:pt x="48" y="254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3" y="254"/>
                  </a:lnTo>
                  <a:lnTo>
                    <a:pt x="43" y="251"/>
                  </a:lnTo>
                  <a:lnTo>
                    <a:pt x="40" y="251"/>
                  </a:lnTo>
                  <a:lnTo>
                    <a:pt x="40" y="251"/>
                  </a:lnTo>
                  <a:lnTo>
                    <a:pt x="38" y="251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38" y="241"/>
                  </a:lnTo>
                  <a:lnTo>
                    <a:pt x="35" y="241"/>
                  </a:lnTo>
                  <a:lnTo>
                    <a:pt x="35" y="238"/>
                  </a:lnTo>
                  <a:lnTo>
                    <a:pt x="35" y="238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0" y="235"/>
                  </a:lnTo>
                  <a:lnTo>
                    <a:pt x="30" y="233"/>
                  </a:lnTo>
                  <a:lnTo>
                    <a:pt x="30" y="233"/>
                  </a:lnTo>
                  <a:lnTo>
                    <a:pt x="30" y="233"/>
                  </a:lnTo>
                  <a:lnTo>
                    <a:pt x="27" y="233"/>
                  </a:lnTo>
                  <a:lnTo>
                    <a:pt x="27" y="233"/>
                  </a:lnTo>
                  <a:lnTo>
                    <a:pt x="24" y="233"/>
                  </a:lnTo>
                  <a:lnTo>
                    <a:pt x="24" y="233"/>
                  </a:lnTo>
                  <a:lnTo>
                    <a:pt x="22" y="233"/>
                  </a:lnTo>
                  <a:lnTo>
                    <a:pt x="22" y="233"/>
                  </a:lnTo>
                  <a:lnTo>
                    <a:pt x="19" y="233"/>
                  </a:lnTo>
                  <a:lnTo>
                    <a:pt x="19" y="233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4" y="233"/>
                  </a:lnTo>
                  <a:lnTo>
                    <a:pt x="14" y="233"/>
                  </a:lnTo>
                  <a:lnTo>
                    <a:pt x="11" y="233"/>
                  </a:lnTo>
                  <a:lnTo>
                    <a:pt x="8" y="233"/>
                  </a:lnTo>
                  <a:lnTo>
                    <a:pt x="8" y="235"/>
                  </a:lnTo>
                  <a:lnTo>
                    <a:pt x="6" y="235"/>
                  </a:lnTo>
                  <a:lnTo>
                    <a:pt x="3" y="235"/>
                  </a:lnTo>
                  <a:lnTo>
                    <a:pt x="3" y="235"/>
                  </a:lnTo>
                  <a:lnTo>
                    <a:pt x="3" y="233"/>
                  </a:lnTo>
                  <a:lnTo>
                    <a:pt x="0" y="233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3" y="227"/>
                  </a:lnTo>
                  <a:lnTo>
                    <a:pt x="6" y="227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4" y="225"/>
                  </a:lnTo>
                  <a:lnTo>
                    <a:pt x="14" y="225"/>
                  </a:lnTo>
                  <a:lnTo>
                    <a:pt x="16" y="225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1" y="219"/>
                  </a:lnTo>
                  <a:lnTo>
                    <a:pt x="11" y="219"/>
                  </a:lnTo>
                  <a:lnTo>
                    <a:pt x="11" y="219"/>
                  </a:lnTo>
                  <a:lnTo>
                    <a:pt x="11" y="217"/>
                  </a:lnTo>
                  <a:lnTo>
                    <a:pt x="14" y="217"/>
                  </a:lnTo>
                  <a:lnTo>
                    <a:pt x="14" y="217"/>
                  </a:lnTo>
                  <a:lnTo>
                    <a:pt x="16" y="217"/>
                  </a:lnTo>
                  <a:lnTo>
                    <a:pt x="16" y="214"/>
                  </a:lnTo>
                  <a:lnTo>
                    <a:pt x="19" y="211"/>
                  </a:lnTo>
                  <a:lnTo>
                    <a:pt x="22" y="211"/>
                  </a:lnTo>
                  <a:lnTo>
                    <a:pt x="24" y="211"/>
                  </a:lnTo>
                  <a:lnTo>
                    <a:pt x="27" y="211"/>
                  </a:lnTo>
                  <a:lnTo>
                    <a:pt x="30" y="211"/>
                  </a:lnTo>
                  <a:lnTo>
                    <a:pt x="30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5" y="209"/>
                  </a:lnTo>
                  <a:lnTo>
                    <a:pt x="35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40" y="211"/>
                  </a:lnTo>
                  <a:lnTo>
                    <a:pt x="43" y="211"/>
                  </a:lnTo>
                  <a:lnTo>
                    <a:pt x="46" y="211"/>
                  </a:lnTo>
                  <a:lnTo>
                    <a:pt x="46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4" y="211"/>
                  </a:lnTo>
                  <a:lnTo>
                    <a:pt x="54" y="211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4" y="211"/>
                  </a:lnTo>
                  <a:lnTo>
                    <a:pt x="54" y="209"/>
                  </a:lnTo>
                  <a:lnTo>
                    <a:pt x="54" y="209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51" y="209"/>
                  </a:lnTo>
                  <a:lnTo>
                    <a:pt x="48" y="209"/>
                  </a:lnTo>
                  <a:lnTo>
                    <a:pt x="48" y="209"/>
                  </a:lnTo>
                  <a:lnTo>
                    <a:pt x="48" y="209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3" y="209"/>
                  </a:lnTo>
                  <a:lnTo>
                    <a:pt x="43" y="209"/>
                  </a:lnTo>
                  <a:lnTo>
                    <a:pt x="40" y="206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38" y="209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40" y="206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8" y="203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5" y="203"/>
                  </a:lnTo>
                  <a:lnTo>
                    <a:pt x="35" y="203"/>
                  </a:lnTo>
                  <a:lnTo>
                    <a:pt x="32" y="203"/>
                  </a:lnTo>
                  <a:lnTo>
                    <a:pt x="30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4" y="203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22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9" y="206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4" y="203"/>
                  </a:lnTo>
                  <a:lnTo>
                    <a:pt x="14" y="203"/>
                  </a:lnTo>
                  <a:lnTo>
                    <a:pt x="14" y="203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5"/>
                  </a:lnTo>
                  <a:lnTo>
                    <a:pt x="11" y="193"/>
                  </a:lnTo>
                  <a:lnTo>
                    <a:pt x="11" y="193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4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9" y="185"/>
                  </a:lnTo>
                  <a:lnTo>
                    <a:pt x="22" y="185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7" y="179"/>
                  </a:lnTo>
                  <a:lnTo>
                    <a:pt x="30" y="177"/>
                  </a:lnTo>
                  <a:lnTo>
                    <a:pt x="32" y="177"/>
                  </a:lnTo>
                  <a:lnTo>
                    <a:pt x="35" y="177"/>
                  </a:lnTo>
                  <a:lnTo>
                    <a:pt x="38" y="174"/>
                  </a:lnTo>
                  <a:lnTo>
                    <a:pt x="38" y="177"/>
                  </a:lnTo>
                  <a:lnTo>
                    <a:pt x="40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6" y="177"/>
                  </a:lnTo>
                  <a:lnTo>
                    <a:pt x="46" y="177"/>
                  </a:lnTo>
                  <a:lnTo>
                    <a:pt x="48" y="177"/>
                  </a:lnTo>
                  <a:lnTo>
                    <a:pt x="48" y="177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1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48" y="169"/>
                  </a:lnTo>
                  <a:lnTo>
                    <a:pt x="51" y="169"/>
                  </a:lnTo>
                  <a:lnTo>
                    <a:pt x="56" y="166"/>
                  </a:lnTo>
                  <a:lnTo>
                    <a:pt x="59" y="166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7" y="163"/>
                  </a:lnTo>
                  <a:lnTo>
                    <a:pt x="67" y="161"/>
                  </a:lnTo>
                  <a:lnTo>
                    <a:pt x="70" y="161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75" y="163"/>
                  </a:lnTo>
                  <a:lnTo>
                    <a:pt x="75" y="166"/>
                  </a:lnTo>
                  <a:lnTo>
                    <a:pt x="75" y="169"/>
                  </a:lnTo>
                  <a:lnTo>
                    <a:pt x="78" y="169"/>
                  </a:lnTo>
                  <a:lnTo>
                    <a:pt x="78" y="171"/>
                  </a:lnTo>
                  <a:lnTo>
                    <a:pt x="78" y="171"/>
                  </a:lnTo>
                  <a:lnTo>
                    <a:pt x="80" y="171"/>
                  </a:lnTo>
                  <a:lnTo>
                    <a:pt x="83" y="171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2"/>
                  </a:lnTo>
                  <a:lnTo>
                    <a:pt x="91" y="182"/>
                  </a:lnTo>
                  <a:lnTo>
                    <a:pt x="91" y="179"/>
                  </a:lnTo>
                  <a:lnTo>
                    <a:pt x="91" y="177"/>
                  </a:lnTo>
                  <a:lnTo>
                    <a:pt x="91" y="177"/>
                  </a:lnTo>
                  <a:lnTo>
                    <a:pt x="91" y="177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6" y="171"/>
                  </a:lnTo>
                  <a:lnTo>
                    <a:pt x="86" y="171"/>
                  </a:lnTo>
                  <a:lnTo>
                    <a:pt x="86" y="169"/>
                  </a:lnTo>
                  <a:lnTo>
                    <a:pt x="86" y="166"/>
                  </a:lnTo>
                  <a:lnTo>
                    <a:pt x="86" y="166"/>
                  </a:lnTo>
                  <a:lnTo>
                    <a:pt x="83" y="166"/>
                  </a:lnTo>
                  <a:lnTo>
                    <a:pt x="83" y="163"/>
                  </a:lnTo>
                  <a:lnTo>
                    <a:pt x="83" y="163"/>
                  </a:lnTo>
                  <a:lnTo>
                    <a:pt x="80" y="161"/>
                  </a:lnTo>
                  <a:lnTo>
                    <a:pt x="80" y="161"/>
                  </a:lnTo>
                  <a:lnTo>
                    <a:pt x="80" y="158"/>
                  </a:lnTo>
                  <a:lnTo>
                    <a:pt x="78" y="158"/>
                  </a:lnTo>
                  <a:lnTo>
                    <a:pt x="78" y="158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5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8" y="153"/>
                  </a:lnTo>
                  <a:lnTo>
                    <a:pt x="78" y="153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3" y="153"/>
                  </a:lnTo>
                  <a:lnTo>
                    <a:pt x="80" y="153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3" y="153"/>
                  </a:lnTo>
                  <a:lnTo>
                    <a:pt x="83" y="155"/>
                  </a:lnTo>
                  <a:lnTo>
                    <a:pt x="86" y="155"/>
                  </a:lnTo>
                  <a:lnTo>
                    <a:pt x="89" y="155"/>
                  </a:lnTo>
                  <a:lnTo>
                    <a:pt x="89" y="158"/>
                  </a:lnTo>
                  <a:lnTo>
                    <a:pt x="91" y="158"/>
                  </a:lnTo>
                  <a:lnTo>
                    <a:pt x="91" y="158"/>
                  </a:lnTo>
                  <a:lnTo>
                    <a:pt x="94" y="158"/>
                  </a:lnTo>
                  <a:lnTo>
                    <a:pt x="91" y="158"/>
                  </a:lnTo>
                  <a:lnTo>
                    <a:pt x="91" y="158"/>
                  </a:lnTo>
                  <a:lnTo>
                    <a:pt x="94" y="161"/>
                  </a:lnTo>
                  <a:lnTo>
                    <a:pt x="94" y="161"/>
                  </a:lnTo>
                  <a:lnTo>
                    <a:pt x="97" y="158"/>
                  </a:lnTo>
                  <a:lnTo>
                    <a:pt x="97" y="158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91" y="150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89" y="147"/>
                  </a:lnTo>
                  <a:lnTo>
                    <a:pt x="86" y="147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39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4" y="139"/>
                  </a:lnTo>
                  <a:lnTo>
                    <a:pt x="94" y="139"/>
                  </a:lnTo>
                  <a:lnTo>
                    <a:pt x="94" y="142"/>
                  </a:lnTo>
                  <a:lnTo>
                    <a:pt x="97" y="139"/>
                  </a:lnTo>
                  <a:lnTo>
                    <a:pt x="97" y="142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5" y="142"/>
                  </a:lnTo>
                  <a:lnTo>
                    <a:pt x="105" y="144"/>
                  </a:lnTo>
                  <a:lnTo>
                    <a:pt x="107" y="144"/>
                  </a:lnTo>
                  <a:lnTo>
                    <a:pt x="107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3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8" y="147"/>
                  </a:lnTo>
                  <a:lnTo>
                    <a:pt x="118" y="147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6"/>
                  </a:lnTo>
                  <a:lnTo>
                    <a:pt x="113" y="136"/>
                  </a:lnTo>
                  <a:lnTo>
                    <a:pt x="113" y="136"/>
                  </a:lnTo>
                  <a:lnTo>
                    <a:pt x="113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5" y="131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2" y="126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5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10" y="120"/>
                  </a:lnTo>
                  <a:lnTo>
                    <a:pt x="110" y="118"/>
                  </a:lnTo>
                  <a:lnTo>
                    <a:pt x="113" y="118"/>
                  </a:lnTo>
                  <a:lnTo>
                    <a:pt x="115" y="118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21" y="120"/>
                  </a:lnTo>
                  <a:lnTo>
                    <a:pt x="121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9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4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8"/>
                  </a:lnTo>
                  <a:lnTo>
                    <a:pt x="137" y="126"/>
                  </a:lnTo>
                  <a:lnTo>
                    <a:pt x="139" y="126"/>
                  </a:lnTo>
                  <a:lnTo>
                    <a:pt x="139" y="128"/>
                  </a:lnTo>
                  <a:lnTo>
                    <a:pt x="139" y="128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7" y="134"/>
                  </a:lnTo>
                  <a:lnTo>
                    <a:pt x="147" y="134"/>
                  </a:lnTo>
                  <a:lnTo>
                    <a:pt x="147" y="134"/>
                  </a:lnTo>
                  <a:lnTo>
                    <a:pt x="150" y="134"/>
                  </a:lnTo>
                  <a:lnTo>
                    <a:pt x="150" y="134"/>
                  </a:lnTo>
                  <a:lnTo>
                    <a:pt x="153" y="134"/>
                  </a:lnTo>
                  <a:lnTo>
                    <a:pt x="153" y="131"/>
                  </a:lnTo>
                  <a:lnTo>
                    <a:pt x="150" y="131"/>
                  </a:lnTo>
                  <a:lnTo>
                    <a:pt x="150" y="131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45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6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2" y="118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7" y="115"/>
                  </a:lnTo>
                  <a:lnTo>
                    <a:pt x="137" y="112"/>
                  </a:lnTo>
                  <a:lnTo>
                    <a:pt x="134" y="112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31" y="112"/>
                  </a:lnTo>
                  <a:lnTo>
                    <a:pt x="129" y="112"/>
                  </a:lnTo>
                  <a:lnTo>
                    <a:pt x="129" y="110"/>
                  </a:lnTo>
                  <a:lnTo>
                    <a:pt x="126" y="112"/>
                  </a:lnTo>
                  <a:lnTo>
                    <a:pt x="126" y="110"/>
                  </a:lnTo>
                  <a:lnTo>
                    <a:pt x="126" y="107"/>
                  </a:lnTo>
                  <a:lnTo>
                    <a:pt x="126" y="104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7" y="102"/>
                  </a:lnTo>
                  <a:lnTo>
                    <a:pt x="139" y="102"/>
                  </a:lnTo>
                  <a:lnTo>
                    <a:pt x="139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5" y="102"/>
                  </a:lnTo>
                  <a:lnTo>
                    <a:pt x="145" y="104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50" y="104"/>
                  </a:lnTo>
                  <a:lnTo>
                    <a:pt x="153" y="104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99"/>
                  </a:lnTo>
                  <a:lnTo>
                    <a:pt x="153" y="99"/>
                  </a:lnTo>
                  <a:lnTo>
                    <a:pt x="153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5" y="102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5" y="99"/>
                  </a:lnTo>
                  <a:lnTo>
                    <a:pt x="145" y="99"/>
                  </a:lnTo>
                  <a:lnTo>
                    <a:pt x="145" y="96"/>
                  </a:lnTo>
                  <a:lnTo>
                    <a:pt x="145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50" y="94"/>
                  </a:lnTo>
                  <a:lnTo>
                    <a:pt x="150" y="94"/>
                  </a:lnTo>
                  <a:lnTo>
                    <a:pt x="153" y="94"/>
                  </a:lnTo>
                  <a:lnTo>
                    <a:pt x="153" y="94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3" y="91"/>
                  </a:lnTo>
                  <a:lnTo>
                    <a:pt x="150" y="91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37" y="91"/>
                  </a:lnTo>
                  <a:lnTo>
                    <a:pt x="137" y="91"/>
                  </a:lnTo>
                  <a:lnTo>
                    <a:pt x="134" y="88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42" y="80"/>
                  </a:lnTo>
                  <a:lnTo>
                    <a:pt x="142" y="78"/>
                  </a:lnTo>
                  <a:lnTo>
                    <a:pt x="139" y="78"/>
                  </a:lnTo>
                  <a:lnTo>
                    <a:pt x="139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8"/>
                  </a:lnTo>
                  <a:lnTo>
                    <a:pt x="137" y="75"/>
                  </a:lnTo>
                  <a:lnTo>
                    <a:pt x="139" y="75"/>
                  </a:lnTo>
                  <a:lnTo>
                    <a:pt x="139" y="72"/>
                  </a:lnTo>
                  <a:lnTo>
                    <a:pt x="142" y="72"/>
                  </a:lnTo>
                  <a:lnTo>
                    <a:pt x="142" y="70"/>
                  </a:lnTo>
                  <a:lnTo>
                    <a:pt x="142" y="70"/>
                  </a:lnTo>
                  <a:lnTo>
                    <a:pt x="145" y="70"/>
                  </a:lnTo>
                  <a:lnTo>
                    <a:pt x="145" y="67"/>
                  </a:lnTo>
                  <a:lnTo>
                    <a:pt x="147" y="67"/>
                  </a:lnTo>
                  <a:lnTo>
                    <a:pt x="147" y="67"/>
                  </a:lnTo>
                  <a:lnTo>
                    <a:pt x="150" y="67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5" y="72"/>
                  </a:lnTo>
                  <a:lnTo>
                    <a:pt x="153" y="72"/>
                  </a:lnTo>
                  <a:lnTo>
                    <a:pt x="150" y="72"/>
                  </a:lnTo>
                  <a:lnTo>
                    <a:pt x="150" y="75"/>
                  </a:lnTo>
                  <a:lnTo>
                    <a:pt x="153" y="75"/>
                  </a:lnTo>
                  <a:lnTo>
                    <a:pt x="155" y="75"/>
                  </a:lnTo>
                  <a:lnTo>
                    <a:pt x="158" y="72"/>
                  </a:lnTo>
                  <a:lnTo>
                    <a:pt x="158" y="75"/>
                  </a:lnTo>
                  <a:lnTo>
                    <a:pt x="155" y="78"/>
                  </a:lnTo>
                  <a:lnTo>
                    <a:pt x="155" y="78"/>
                  </a:lnTo>
                  <a:lnTo>
                    <a:pt x="155" y="80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8" y="86"/>
                  </a:lnTo>
                  <a:lnTo>
                    <a:pt x="161" y="86"/>
                  </a:lnTo>
                  <a:lnTo>
                    <a:pt x="163" y="83"/>
                  </a:lnTo>
                  <a:lnTo>
                    <a:pt x="166" y="83"/>
                  </a:lnTo>
                  <a:lnTo>
                    <a:pt x="169" y="80"/>
                  </a:lnTo>
                  <a:lnTo>
                    <a:pt x="169" y="78"/>
                  </a:lnTo>
                  <a:lnTo>
                    <a:pt x="171" y="78"/>
                  </a:lnTo>
                  <a:lnTo>
                    <a:pt x="171" y="78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0"/>
                  </a:lnTo>
                  <a:lnTo>
                    <a:pt x="174" y="70"/>
                  </a:lnTo>
                  <a:lnTo>
                    <a:pt x="174" y="67"/>
                  </a:lnTo>
                  <a:lnTo>
                    <a:pt x="174" y="67"/>
                  </a:lnTo>
                  <a:lnTo>
                    <a:pt x="177" y="64"/>
                  </a:lnTo>
                  <a:lnTo>
                    <a:pt x="179" y="62"/>
                  </a:lnTo>
                  <a:lnTo>
                    <a:pt x="182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5" y="62"/>
                  </a:lnTo>
                  <a:lnTo>
                    <a:pt x="187" y="62"/>
                  </a:lnTo>
                  <a:lnTo>
                    <a:pt x="187" y="59"/>
                  </a:lnTo>
                  <a:lnTo>
                    <a:pt x="187" y="62"/>
                  </a:lnTo>
                  <a:lnTo>
                    <a:pt x="190" y="62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3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70"/>
                  </a:lnTo>
                  <a:lnTo>
                    <a:pt x="195" y="70"/>
                  </a:lnTo>
                  <a:lnTo>
                    <a:pt x="198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201" y="78"/>
                  </a:lnTo>
                  <a:lnTo>
                    <a:pt x="203" y="78"/>
                  </a:lnTo>
                  <a:lnTo>
                    <a:pt x="203" y="78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5"/>
                  </a:lnTo>
                  <a:lnTo>
                    <a:pt x="206" y="75"/>
                  </a:lnTo>
                  <a:lnTo>
                    <a:pt x="206" y="72"/>
                  </a:lnTo>
                  <a:lnTo>
                    <a:pt x="206" y="70"/>
                  </a:lnTo>
                  <a:lnTo>
                    <a:pt x="206" y="70"/>
                  </a:lnTo>
                  <a:lnTo>
                    <a:pt x="209" y="67"/>
                  </a:lnTo>
                  <a:lnTo>
                    <a:pt x="209" y="64"/>
                  </a:lnTo>
                  <a:lnTo>
                    <a:pt x="209" y="64"/>
                  </a:lnTo>
                  <a:lnTo>
                    <a:pt x="209" y="62"/>
                  </a:lnTo>
                  <a:lnTo>
                    <a:pt x="206" y="62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9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19" y="54"/>
                  </a:lnTo>
                  <a:lnTo>
                    <a:pt x="222" y="54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7" y="56"/>
                  </a:lnTo>
                  <a:lnTo>
                    <a:pt x="227" y="56"/>
                  </a:lnTo>
                  <a:lnTo>
                    <a:pt x="227" y="56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30" y="54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5" y="48"/>
                  </a:lnTo>
                  <a:lnTo>
                    <a:pt x="225" y="48"/>
                  </a:lnTo>
                  <a:lnTo>
                    <a:pt x="225" y="46"/>
                  </a:lnTo>
                  <a:lnTo>
                    <a:pt x="225" y="46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30" y="43"/>
                  </a:lnTo>
                  <a:lnTo>
                    <a:pt x="230" y="46"/>
                  </a:lnTo>
                  <a:lnTo>
                    <a:pt x="235" y="46"/>
                  </a:lnTo>
                  <a:lnTo>
                    <a:pt x="235" y="46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41" y="46"/>
                  </a:lnTo>
                  <a:lnTo>
                    <a:pt x="243" y="46"/>
                  </a:lnTo>
                  <a:lnTo>
                    <a:pt x="246" y="46"/>
                  </a:lnTo>
                  <a:lnTo>
                    <a:pt x="246" y="46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6" y="40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4" y="40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7" y="35"/>
                  </a:lnTo>
                  <a:lnTo>
                    <a:pt x="259" y="35"/>
                  </a:lnTo>
                  <a:lnTo>
                    <a:pt x="259" y="35"/>
                  </a:lnTo>
                  <a:lnTo>
                    <a:pt x="262" y="35"/>
                  </a:lnTo>
                  <a:lnTo>
                    <a:pt x="262" y="35"/>
                  </a:lnTo>
                  <a:lnTo>
                    <a:pt x="265" y="35"/>
                  </a:lnTo>
                  <a:lnTo>
                    <a:pt x="265" y="35"/>
                  </a:lnTo>
                  <a:lnTo>
                    <a:pt x="265" y="35"/>
                  </a:lnTo>
                  <a:lnTo>
                    <a:pt x="267" y="38"/>
                  </a:lnTo>
                  <a:lnTo>
                    <a:pt x="267" y="38"/>
                  </a:lnTo>
                  <a:lnTo>
                    <a:pt x="270" y="38"/>
                  </a:lnTo>
                  <a:lnTo>
                    <a:pt x="270" y="35"/>
                  </a:lnTo>
                  <a:lnTo>
                    <a:pt x="270" y="35"/>
                  </a:lnTo>
                  <a:lnTo>
                    <a:pt x="273" y="35"/>
                  </a:lnTo>
                  <a:lnTo>
                    <a:pt x="273" y="35"/>
                  </a:lnTo>
                  <a:lnTo>
                    <a:pt x="273" y="38"/>
                  </a:lnTo>
                  <a:lnTo>
                    <a:pt x="275" y="38"/>
                  </a:lnTo>
                  <a:lnTo>
                    <a:pt x="275" y="35"/>
                  </a:lnTo>
                  <a:lnTo>
                    <a:pt x="275" y="35"/>
                  </a:lnTo>
                  <a:lnTo>
                    <a:pt x="275" y="35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8" y="32"/>
                  </a:lnTo>
                  <a:lnTo>
                    <a:pt x="278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1" y="35"/>
                  </a:lnTo>
                  <a:lnTo>
                    <a:pt x="283" y="35"/>
                  </a:lnTo>
                  <a:lnTo>
                    <a:pt x="283" y="35"/>
                  </a:lnTo>
                  <a:lnTo>
                    <a:pt x="286" y="38"/>
                  </a:lnTo>
                  <a:lnTo>
                    <a:pt x="286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1" y="38"/>
                  </a:lnTo>
                  <a:lnTo>
                    <a:pt x="294" y="38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302" y="35"/>
                  </a:lnTo>
                  <a:lnTo>
                    <a:pt x="302" y="35"/>
                  </a:lnTo>
                  <a:lnTo>
                    <a:pt x="305" y="38"/>
                  </a:lnTo>
                  <a:lnTo>
                    <a:pt x="305" y="38"/>
                  </a:lnTo>
                  <a:lnTo>
                    <a:pt x="307" y="38"/>
                  </a:lnTo>
                  <a:lnTo>
                    <a:pt x="307" y="35"/>
                  </a:lnTo>
                  <a:lnTo>
                    <a:pt x="307" y="35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5" y="30"/>
                  </a:lnTo>
                  <a:lnTo>
                    <a:pt x="302" y="30"/>
                  </a:lnTo>
                  <a:lnTo>
                    <a:pt x="302" y="27"/>
                  </a:lnTo>
                  <a:lnTo>
                    <a:pt x="302" y="27"/>
                  </a:lnTo>
                  <a:lnTo>
                    <a:pt x="305" y="27"/>
                  </a:lnTo>
                  <a:lnTo>
                    <a:pt x="310" y="24"/>
                  </a:lnTo>
                  <a:lnTo>
                    <a:pt x="310" y="24"/>
                  </a:lnTo>
                  <a:lnTo>
                    <a:pt x="313" y="24"/>
                  </a:lnTo>
                  <a:lnTo>
                    <a:pt x="315" y="24"/>
                  </a:lnTo>
                  <a:lnTo>
                    <a:pt x="318" y="24"/>
                  </a:lnTo>
                  <a:lnTo>
                    <a:pt x="318" y="24"/>
                  </a:lnTo>
                  <a:lnTo>
                    <a:pt x="321" y="27"/>
                  </a:lnTo>
                  <a:lnTo>
                    <a:pt x="324" y="27"/>
                  </a:lnTo>
                  <a:lnTo>
                    <a:pt x="324" y="27"/>
                  </a:lnTo>
                  <a:lnTo>
                    <a:pt x="326" y="27"/>
                  </a:lnTo>
                  <a:lnTo>
                    <a:pt x="326" y="30"/>
                  </a:lnTo>
                  <a:lnTo>
                    <a:pt x="324" y="30"/>
                  </a:lnTo>
                  <a:lnTo>
                    <a:pt x="321" y="30"/>
                  </a:lnTo>
                  <a:lnTo>
                    <a:pt x="318" y="32"/>
                  </a:lnTo>
                  <a:lnTo>
                    <a:pt x="318" y="32"/>
                  </a:lnTo>
                  <a:lnTo>
                    <a:pt x="315" y="35"/>
                  </a:lnTo>
                  <a:lnTo>
                    <a:pt x="313" y="35"/>
                  </a:lnTo>
                  <a:lnTo>
                    <a:pt x="313" y="35"/>
                  </a:lnTo>
                  <a:lnTo>
                    <a:pt x="313" y="35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3" y="38"/>
                  </a:lnTo>
                  <a:lnTo>
                    <a:pt x="315" y="40"/>
                  </a:lnTo>
                  <a:lnTo>
                    <a:pt x="315" y="40"/>
                  </a:lnTo>
                  <a:lnTo>
                    <a:pt x="315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21" y="38"/>
                  </a:lnTo>
                  <a:lnTo>
                    <a:pt x="324" y="35"/>
                  </a:lnTo>
                  <a:lnTo>
                    <a:pt x="324" y="38"/>
                  </a:lnTo>
                  <a:lnTo>
                    <a:pt x="326" y="38"/>
                  </a:lnTo>
                  <a:lnTo>
                    <a:pt x="329" y="38"/>
                  </a:lnTo>
                  <a:lnTo>
                    <a:pt x="329" y="38"/>
                  </a:lnTo>
                  <a:lnTo>
                    <a:pt x="332" y="38"/>
                  </a:lnTo>
                  <a:lnTo>
                    <a:pt x="332" y="38"/>
                  </a:lnTo>
                  <a:lnTo>
                    <a:pt x="332" y="35"/>
                  </a:lnTo>
                  <a:lnTo>
                    <a:pt x="332" y="35"/>
                  </a:lnTo>
                  <a:lnTo>
                    <a:pt x="334" y="35"/>
                  </a:lnTo>
                  <a:lnTo>
                    <a:pt x="334" y="32"/>
                  </a:lnTo>
                  <a:lnTo>
                    <a:pt x="337" y="32"/>
                  </a:lnTo>
                  <a:lnTo>
                    <a:pt x="337" y="32"/>
                  </a:lnTo>
                  <a:lnTo>
                    <a:pt x="337" y="30"/>
                  </a:lnTo>
                  <a:lnTo>
                    <a:pt x="334" y="30"/>
                  </a:lnTo>
                  <a:lnTo>
                    <a:pt x="332" y="30"/>
                  </a:lnTo>
                  <a:lnTo>
                    <a:pt x="332" y="27"/>
                  </a:lnTo>
                  <a:lnTo>
                    <a:pt x="332" y="27"/>
                  </a:lnTo>
                  <a:lnTo>
                    <a:pt x="332" y="24"/>
                  </a:lnTo>
                  <a:lnTo>
                    <a:pt x="334" y="24"/>
                  </a:lnTo>
                  <a:lnTo>
                    <a:pt x="334" y="22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7" y="19"/>
                  </a:lnTo>
                  <a:lnTo>
                    <a:pt x="337" y="19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40" y="16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5" y="14"/>
                  </a:lnTo>
                  <a:lnTo>
                    <a:pt x="342" y="16"/>
                  </a:lnTo>
                  <a:lnTo>
                    <a:pt x="345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3" y="16"/>
                  </a:lnTo>
                  <a:lnTo>
                    <a:pt x="353" y="16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6" y="19"/>
                  </a:lnTo>
                  <a:lnTo>
                    <a:pt x="358" y="16"/>
                  </a:lnTo>
                  <a:lnTo>
                    <a:pt x="358" y="19"/>
                  </a:lnTo>
                  <a:lnTo>
                    <a:pt x="358" y="19"/>
                  </a:lnTo>
                  <a:lnTo>
                    <a:pt x="358" y="22"/>
                  </a:lnTo>
                  <a:lnTo>
                    <a:pt x="361" y="22"/>
                  </a:lnTo>
                  <a:lnTo>
                    <a:pt x="364" y="22"/>
                  </a:lnTo>
                  <a:lnTo>
                    <a:pt x="364" y="22"/>
                  </a:lnTo>
                  <a:lnTo>
                    <a:pt x="364" y="22"/>
                  </a:lnTo>
                  <a:lnTo>
                    <a:pt x="364" y="24"/>
                  </a:lnTo>
                  <a:lnTo>
                    <a:pt x="366" y="24"/>
                  </a:lnTo>
                  <a:lnTo>
                    <a:pt x="369" y="27"/>
                  </a:lnTo>
                  <a:lnTo>
                    <a:pt x="372" y="27"/>
                  </a:lnTo>
                  <a:lnTo>
                    <a:pt x="372" y="30"/>
                  </a:lnTo>
                  <a:lnTo>
                    <a:pt x="372" y="30"/>
                  </a:lnTo>
                  <a:lnTo>
                    <a:pt x="374" y="30"/>
                  </a:lnTo>
                  <a:lnTo>
                    <a:pt x="374" y="30"/>
                  </a:lnTo>
                  <a:lnTo>
                    <a:pt x="374" y="30"/>
                  </a:lnTo>
                  <a:lnTo>
                    <a:pt x="377" y="30"/>
                  </a:lnTo>
                  <a:lnTo>
                    <a:pt x="377" y="32"/>
                  </a:lnTo>
                  <a:lnTo>
                    <a:pt x="377" y="35"/>
                  </a:lnTo>
                  <a:lnTo>
                    <a:pt x="374" y="35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38"/>
                  </a:lnTo>
                  <a:lnTo>
                    <a:pt x="374" y="40"/>
                  </a:lnTo>
                  <a:lnTo>
                    <a:pt x="374" y="40"/>
                  </a:lnTo>
                  <a:lnTo>
                    <a:pt x="377" y="40"/>
                  </a:lnTo>
                  <a:lnTo>
                    <a:pt x="377" y="40"/>
                  </a:lnTo>
                  <a:lnTo>
                    <a:pt x="380" y="40"/>
                  </a:lnTo>
                  <a:lnTo>
                    <a:pt x="380" y="38"/>
                  </a:lnTo>
                  <a:lnTo>
                    <a:pt x="380" y="38"/>
                  </a:lnTo>
                  <a:lnTo>
                    <a:pt x="380" y="38"/>
                  </a:lnTo>
                  <a:lnTo>
                    <a:pt x="382" y="38"/>
                  </a:lnTo>
                  <a:lnTo>
                    <a:pt x="382" y="38"/>
                  </a:lnTo>
                  <a:lnTo>
                    <a:pt x="385" y="38"/>
                  </a:lnTo>
                  <a:lnTo>
                    <a:pt x="385" y="38"/>
                  </a:lnTo>
                  <a:lnTo>
                    <a:pt x="385" y="38"/>
                  </a:lnTo>
                  <a:lnTo>
                    <a:pt x="385" y="35"/>
                  </a:lnTo>
                  <a:lnTo>
                    <a:pt x="385" y="35"/>
                  </a:lnTo>
                  <a:lnTo>
                    <a:pt x="388" y="35"/>
                  </a:lnTo>
                  <a:lnTo>
                    <a:pt x="388" y="35"/>
                  </a:lnTo>
                  <a:lnTo>
                    <a:pt x="388" y="38"/>
                  </a:lnTo>
                  <a:lnTo>
                    <a:pt x="388" y="38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43"/>
                  </a:lnTo>
                  <a:lnTo>
                    <a:pt x="390" y="43"/>
                  </a:lnTo>
                  <a:lnTo>
                    <a:pt x="393" y="43"/>
                  </a:lnTo>
                  <a:lnTo>
                    <a:pt x="396" y="43"/>
                  </a:lnTo>
                  <a:lnTo>
                    <a:pt x="396" y="43"/>
                  </a:lnTo>
                  <a:lnTo>
                    <a:pt x="398" y="40"/>
                  </a:lnTo>
                  <a:lnTo>
                    <a:pt x="404" y="40"/>
                  </a:lnTo>
                  <a:lnTo>
                    <a:pt x="406" y="40"/>
                  </a:lnTo>
                  <a:lnTo>
                    <a:pt x="409" y="40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2" y="38"/>
                  </a:lnTo>
                  <a:lnTo>
                    <a:pt x="414" y="38"/>
                  </a:lnTo>
                  <a:lnTo>
                    <a:pt x="417" y="35"/>
                  </a:lnTo>
                  <a:lnTo>
                    <a:pt x="420" y="38"/>
                  </a:lnTo>
                  <a:lnTo>
                    <a:pt x="420" y="38"/>
                  </a:lnTo>
                  <a:lnTo>
                    <a:pt x="422" y="38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2" y="43"/>
                  </a:lnTo>
                  <a:lnTo>
                    <a:pt x="425" y="43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30" y="43"/>
                  </a:lnTo>
                  <a:lnTo>
                    <a:pt x="430" y="40"/>
                  </a:lnTo>
                  <a:lnTo>
                    <a:pt x="433" y="40"/>
                  </a:lnTo>
                  <a:lnTo>
                    <a:pt x="436" y="40"/>
                  </a:lnTo>
                  <a:lnTo>
                    <a:pt x="436" y="40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38" y="40"/>
                  </a:lnTo>
                  <a:lnTo>
                    <a:pt x="438" y="40"/>
                  </a:lnTo>
                  <a:lnTo>
                    <a:pt x="438" y="38"/>
                  </a:lnTo>
                  <a:lnTo>
                    <a:pt x="441" y="38"/>
                  </a:lnTo>
                  <a:lnTo>
                    <a:pt x="441" y="40"/>
                  </a:lnTo>
                  <a:lnTo>
                    <a:pt x="441" y="40"/>
                  </a:lnTo>
                  <a:lnTo>
                    <a:pt x="444" y="40"/>
                  </a:lnTo>
                  <a:lnTo>
                    <a:pt x="444" y="43"/>
                  </a:lnTo>
                  <a:lnTo>
                    <a:pt x="444" y="43"/>
                  </a:lnTo>
                  <a:lnTo>
                    <a:pt x="446" y="43"/>
                  </a:lnTo>
                  <a:lnTo>
                    <a:pt x="446" y="40"/>
                  </a:lnTo>
                  <a:lnTo>
                    <a:pt x="444" y="40"/>
                  </a:lnTo>
                  <a:lnTo>
                    <a:pt x="446" y="38"/>
                  </a:lnTo>
                  <a:lnTo>
                    <a:pt x="446" y="38"/>
                  </a:lnTo>
                  <a:lnTo>
                    <a:pt x="446" y="38"/>
                  </a:lnTo>
                  <a:lnTo>
                    <a:pt x="449" y="35"/>
                  </a:lnTo>
                  <a:lnTo>
                    <a:pt x="449" y="35"/>
                  </a:lnTo>
                  <a:lnTo>
                    <a:pt x="452" y="35"/>
                  </a:lnTo>
                  <a:lnTo>
                    <a:pt x="452" y="35"/>
                  </a:lnTo>
                  <a:lnTo>
                    <a:pt x="452" y="32"/>
                  </a:lnTo>
                  <a:lnTo>
                    <a:pt x="454" y="32"/>
                  </a:lnTo>
                  <a:lnTo>
                    <a:pt x="454" y="32"/>
                  </a:lnTo>
                  <a:lnTo>
                    <a:pt x="457" y="32"/>
                  </a:lnTo>
                  <a:lnTo>
                    <a:pt x="460" y="32"/>
                  </a:lnTo>
                  <a:lnTo>
                    <a:pt x="460" y="32"/>
                  </a:lnTo>
                  <a:lnTo>
                    <a:pt x="460" y="35"/>
                  </a:lnTo>
                  <a:lnTo>
                    <a:pt x="462" y="35"/>
                  </a:lnTo>
                  <a:lnTo>
                    <a:pt x="462" y="38"/>
                  </a:lnTo>
                  <a:lnTo>
                    <a:pt x="465" y="35"/>
                  </a:lnTo>
                  <a:lnTo>
                    <a:pt x="465" y="35"/>
                  </a:lnTo>
                  <a:lnTo>
                    <a:pt x="468" y="35"/>
                  </a:lnTo>
                  <a:lnTo>
                    <a:pt x="468" y="32"/>
                  </a:lnTo>
                  <a:lnTo>
                    <a:pt x="470" y="32"/>
                  </a:lnTo>
                  <a:lnTo>
                    <a:pt x="470" y="30"/>
                  </a:lnTo>
                  <a:lnTo>
                    <a:pt x="473" y="30"/>
                  </a:lnTo>
                  <a:lnTo>
                    <a:pt x="473" y="30"/>
                  </a:lnTo>
                  <a:lnTo>
                    <a:pt x="476" y="27"/>
                  </a:lnTo>
                  <a:lnTo>
                    <a:pt x="476" y="30"/>
                  </a:lnTo>
                  <a:lnTo>
                    <a:pt x="476" y="30"/>
                  </a:lnTo>
                  <a:lnTo>
                    <a:pt x="478" y="32"/>
                  </a:lnTo>
                  <a:lnTo>
                    <a:pt x="481" y="32"/>
                  </a:lnTo>
                  <a:lnTo>
                    <a:pt x="481" y="35"/>
                  </a:lnTo>
                  <a:lnTo>
                    <a:pt x="481" y="35"/>
                  </a:lnTo>
                  <a:lnTo>
                    <a:pt x="484" y="38"/>
                  </a:lnTo>
                  <a:lnTo>
                    <a:pt x="486" y="38"/>
                  </a:lnTo>
                  <a:lnTo>
                    <a:pt x="486" y="40"/>
                  </a:lnTo>
                  <a:lnTo>
                    <a:pt x="489" y="40"/>
                  </a:lnTo>
                  <a:lnTo>
                    <a:pt x="489" y="38"/>
                  </a:lnTo>
                  <a:lnTo>
                    <a:pt x="489" y="35"/>
                  </a:lnTo>
                  <a:lnTo>
                    <a:pt x="489" y="35"/>
                  </a:lnTo>
                  <a:lnTo>
                    <a:pt x="489" y="32"/>
                  </a:lnTo>
                  <a:lnTo>
                    <a:pt x="489" y="30"/>
                  </a:lnTo>
                  <a:lnTo>
                    <a:pt x="489" y="30"/>
                  </a:lnTo>
                  <a:lnTo>
                    <a:pt x="489" y="27"/>
                  </a:lnTo>
                  <a:lnTo>
                    <a:pt x="489" y="27"/>
                  </a:lnTo>
                  <a:lnTo>
                    <a:pt x="489" y="24"/>
                  </a:lnTo>
                  <a:lnTo>
                    <a:pt x="489" y="24"/>
                  </a:lnTo>
                  <a:lnTo>
                    <a:pt x="489" y="22"/>
                  </a:lnTo>
                  <a:lnTo>
                    <a:pt x="486" y="22"/>
                  </a:lnTo>
                  <a:lnTo>
                    <a:pt x="486" y="22"/>
                  </a:lnTo>
                  <a:lnTo>
                    <a:pt x="486" y="19"/>
                  </a:lnTo>
                  <a:lnTo>
                    <a:pt x="489" y="19"/>
                  </a:lnTo>
                  <a:lnTo>
                    <a:pt x="489" y="16"/>
                  </a:lnTo>
                  <a:lnTo>
                    <a:pt x="492" y="16"/>
                  </a:lnTo>
                  <a:lnTo>
                    <a:pt x="494" y="14"/>
                  </a:lnTo>
                  <a:lnTo>
                    <a:pt x="494" y="14"/>
                  </a:lnTo>
                  <a:lnTo>
                    <a:pt x="497" y="1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5" name="Freeform 8860">
              <a:extLst>
                <a:ext uri="{FF2B5EF4-FFF2-40B4-BE49-F238E27FC236}">
                  <a16:creationId xmlns:a16="http://schemas.microsoft.com/office/drawing/2014/main" id="{EBD93E5B-DF6A-8040-BA2D-F97EE232226B}"/>
                </a:ext>
              </a:extLst>
            </p:cNvPr>
            <p:cNvSpPr/>
            <p:nvPr/>
          </p:nvSpPr>
          <p:spPr bwMode="auto">
            <a:xfrm>
              <a:off x="8736803" y="1138241"/>
              <a:ext cx="246063" cy="131763"/>
            </a:xfrm>
            <a:custGeom>
              <a:avLst/>
              <a:gdLst>
                <a:gd name="T0" fmla="*/ 0 w 155"/>
                <a:gd name="T1" fmla="*/ 43 h 83"/>
                <a:gd name="T2" fmla="*/ 6 w 155"/>
                <a:gd name="T3" fmla="*/ 49 h 83"/>
                <a:gd name="T4" fmla="*/ 6 w 155"/>
                <a:gd name="T5" fmla="*/ 54 h 83"/>
                <a:gd name="T6" fmla="*/ 8 w 155"/>
                <a:gd name="T7" fmla="*/ 62 h 83"/>
                <a:gd name="T8" fmla="*/ 11 w 155"/>
                <a:gd name="T9" fmla="*/ 67 h 83"/>
                <a:gd name="T10" fmla="*/ 14 w 155"/>
                <a:gd name="T11" fmla="*/ 75 h 83"/>
                <a:gd name="T12" fmla="*/ 22 w 155"/>
                <a:gd name="T13" fmla="*/ 81 h 83"/>
                <a:gd name="T14" fmla="*/ 35 w 155"/>
                <a:gd name="T15" fmla="*/ 81 h 83"/>
                <a:gd name="T16" fmla="*/ 48 w 155"/>
                <a:gd name="T17" fmla="*/ 81 h 83"/>
                <a:gd name="T18" fmla="*/ 62 w 155"/>
                <a:gd name="T19" fmla="*/ 81 h 83"/>
                <a:gd name="T20" fmla="*/ 78 w 155"/>
                <a:gd name="T21" fmla="*/ 81 h 83"/>
                <a:gd name="T22" fmla="*/ 91 w 155"/>
                <a:gd name="T23" fmla="*/ 83 h 83"/>
                <a:gd name="T24" fmla="*/ 102 w 155"/>
                <a:gd name="T25" fmla="*/ 83 h 83"/>
                <a:gd name="T26" fmla="*/ 115 w 155"/>
                <a:gd name="T27" fmla="*/ 78 h 83"/>
                <a:gd name="T28" fmla="*/ 128 w 155"/>
                <a:gd name="T29" fmla="*/ 67 h 83"/>
                <a:gd name="T30" fmla="*/ 139 w 155"/>
                <a:gd name="T31" fmla="*/ 59 h 83"/>
                <a:gd name="T32" fmla="*/ 142 w 155"/>
                <a:gd name="T33" fmla="*/ 49 h 83"/>
                <a:gd name="T34" fmla="*/ 147 w 155"/>
                <a:gd name="T35" fmla="*/ 41 h 83"/>
                <a:gd name="T36" fmla="*/ 155 w 155"/>
                <a:gd name="T37" fmla="*/ 33 h 83"/>
                <a:gd name="T38" fmla="*/ 153 w 155"/>
                <a:gd name="T39" fmla="*/ 22 h 83"/>
                <a:gd name="T40" fmla="*/ 147 w 155"/>
                <a:gd name="T41" fmla="*/ 16 h 83"/>
                <a:gd name="T42" fmla="*/ 145 w 155"/>
                <a:gd name="T43" fmla="*/ 11 h 83"/>
                <a:gd name="T44" fmla="*/ 145 w 155"/>
                <a:gd name="T45" fmla="*/ 6 h 83"/>
                <a:gd name="T46" fmla="*/ 142 w 155"/>
                <a:gd name="T47" fmla="*/ 0 h 83"/>
                <a:gd name="T48" fmla="*/ 139 w 155"/>
                <a:gd name="T49" fmla="*/ 6 h 83"/>
                <a:gd name="T50" fmla="*/ 139 w 155"/>
                <a:gd name="T51" fmla="*/ 11 h 83"/>
                <a:gd name="T52" fmla="*/ 136 w 155"/>
                <a:gd name="T53" fmla="*/ 11 h 83"/>
                <a:gd name="T54" fmla="*/ 134 w 155"/>
                <a:gd name="T55" fmla="*/ 11 h 83"/>
                <a:gd name="T56" fmla="*/ 128 w 155"/>
                <a:gd name="T57" fmla="*/ 11 h 83"/>
                <a:gd name="T58" fmla="*/ 126 w 155"/>
                <a:gd name="T59" fmla="*/ 11 h 83"/>
                <a:gd name="T60" fmla="*/ 115 w 155"/>
                <a:gd name="T61" fmla="*/ 11 h 83"/>
                <a:gd name="T62" fmla="*/ 107 w 155"/>
                <a:gd name="T63" fmla="*/ 14 h 83"/>
                <a:gd name="T64" fmla="*/ 99 w 155"/>
                <a:gd name="T65" fmla="*/ 16 h 83"/>
                <a:gd name="T66" fmla="*/ 91 w 155"/>
                <a:gd name="T67" fmla="*/ 22 h 83"/>
                <a:gd name="T68" fmla="*/ 88 w 155"/>
                <a:gd name="T69" fmla="*/ 30 h 83"/>
                <a:gd name="T70" fmla="*/ 86 w 155"/>
                <a:gd name="T71" fmla="*/ 35 h 83"/>
                <a:gd name="T72" fmla="*/ 80 w 155"/>
                <a:gd name="T73" fmla="*/ 38 h 83"/>
                <a:gd name="T74" fmla="*/ 75 w 155"/>
                <a:gd name="T75" fmla="*/ 35 h 83"/>
                <a:gd name="T76" fmla="*/ 70 w 155"/>
                <a:gd name="T77" fmla="*/ 27 h 83"/>
                <a:gd name="T78" fmla="*/ 64 w 155"/>
                <a:gd name="T79" fmla="*/ 22 h 83"/>
                <a:gd name="T80" fmla="*/ 56 w 155"/>
                <a:gd name="T81" fmla="*/ 24 h 83"/>
                <a:gd name="T82" fmla="*/ 51 w 155"/>
                <a:gd name="T83" fmla="*/ 30 h 83"/>
                <a:gd name="T84" fmla="*/ 46 w 155"/>
                <a:gd name="T85" fmla="*/ 30 h 83"/>
                <a:gd name="T86" fmla="*/ 40 w 155"/>
                <a:gd name="T87" fmla="*/ 33 h 83"/>
                <a:gd name="T88" fmla="*/ 35 w 155"/>
                <a:gd name="T89" fmla="*/ 35 h 83"/>
                <a:gd name="T90" fmla="*/ 38 w 155"/>
                <a:gd name="T91" fmla="*/ 41 h 83"/>
                <a:gd name="T92" fmla="*/ 35 w 155"/>
                <a:gd name="T93" fmla="*/ 41 h 83"/>
                <a:gd name="T94" fmla="*/ 35 w 155"/>
                <a:gd name="T95" fmla="*/ 46 h 83"/>
                <a:gd name="T96" fmla="*/ 38 w 155"/>
                <a:gd name="T97" fmla="*/ 46 h 83"/>
                <a:gd name="T98" fmla="*/ 35 w 155"/>
                <a:gd name="T99" fmla="*/ 49 h 83"/>
                <a:gd name="T100" fmla="*/ 30 w 155"/>
                <a:gd name="T101" fmla="*/ 54 h 83"/>
                <a:gd name="T102" fmla="*/ 24 w 155"/>
                <a:gd name="T103" fmla="*/ 54 h 83"/>
                <a:gd name="T104" fmla="*/ 16 w 155"/>
                <a:gd name="T105" fmla="*/ 51 h 83"/>
                <a:gd name="T106" fmla="*/ 14 w 155"/>
                <a:gd name="T107" fmla="*/ 46 h 83"/>
                <a:gd name="T108" fmla="*/ 14 w 155"/>
                <a:gd name="T109" fmla="*/ 41 h 83"/>
                <a:gd name="T110" fmla="*/ 11 w 155"/>
                <a:gd name="T111" fmla="*/ 38 h 83"/>
                <a:gd name="T112" fmla="*/ 6 w 155"/>
                <a:gd name="T113" fmla="*/ 3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5" h="83" extrusionOk="0">
                  <a:moveTo>
                    <a:pt x="0" y="38"/>
                  </a:moveTo>
                  <a:lnTo>
                    <a:pt x="0" y="38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11" y="65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70"/>
                  </a:lnTo>
                  <a:lnTo>
                    <a:pt x="14" y="70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6" y="78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9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4" y="81"/>
                  </a:lnTo>
                  <a:lnTo>
                    <a:pt x="27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2" y="81"/>
                  </a:lnTo>
                  <a:lnTo>
                    <a:pt x="35" y="81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40" y="81"/>
                  </a:lnTo>
                  <a:lnTo>
                    <a:pt x="43" y="81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1" y="81"/>
                  </a:lnTo>
                  <a:lnTo>
                    <a:pt x="56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2" y="78"/>
                  </a:lnTo>
                  <a:lnTo>
                    <a:pt x="75" y="78"/>
                  </a:lnTo>
                  <a:lnTo>
                    <a:pt x="78" y="81"/>
                  </a:lnTo>
                  <a:lnTo>
                    <a:pt x="80" y="81"/>
                  </a:lnTo>
                  <a:lnTo>
                    <a:pt x="83" y="81"/>
                  </a:lnTo>
                  <a:lnTo>
                    <a:pt x="86" y="81"/>
                  </a:lnTo>
                  <a:lnTo>
                    <a:pt x="86" y="83"/>
                  </a:lnTo>
                  <a:lnTo>
                    <a:pt x="88" y="83"/>
                  </a:lnTo>
                  <a:lnTo>
                    <a:pt x="91" y="83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102" y="83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7" y="81"/>
                  </a:lnTo>
                  <a:lnTo>
                    <a:pt x="110" y="78"/>
                  </a:lnTo>
                  <a:lnTo>
                    <a:pt x="112" y="78"/>
                  </a:lnTo>
                  <a:lnTo>
                    <a:pt x="115" y="78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20" y="75"/>
                  </a:lnTo>
                  <a:lnTo>
                    <a:pt x="126" y="73"/>
                  </a:lnTo>
                  <a:lnTo>
                    <a:pt x="126" y="70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6" y="62"/>
                  </a:lnTo>
                  <a:lnTo>
                    <a:pt x="139" y="62"/>
                  </a:lnTo>
                  <a:lnTo>
                    <a:pt x="139" y="59"/>
                  </a:lnTo>
                  <a:lnTo>
                    <a:pt x="139" y="59"/>
                  </a:lnTo>
                  <a:lnTo>
                    <a:pt x="139" y="57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1"/>
                  </a:lnTo>
                  <a:lnTo>
                    <a:pt x="142" y="49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5" y="43"/>
                  </a:lnTo>
                  <a:lnTo>
                    <a:pt x="145" y="43"/>
                  </a:lnTo>
                  <a:lnTo>
                    <a:pt x="147" y="41"/>
                  </a:lnTo>
                  <a:lnTo>
                    <a:pt x="147" y="41"/>
                  </a:lnTo>
                  <a:lnTo>
                    <a:pt x="150" y="38"/>
                  </a:lnTo>
                  <a:lnTo>
                    <a:pt x="150" y="38"/>
                  </a:lnTo>
                  <a:lnTo>
                    <a:pt x="150" y="35"/>
                  </a:lnTo>
                  <a:lnTo>
                    <a:pt x="150" y="33"/>
                  </a:lnTo>
                  <a:lnTo>
                    <a:pt x="153" y="33"/>
                  </a:lnTo>
                  <a:lnTo>
                    <a:pt x="155" y="33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27"/>
                  </a:lnTo>
                  <a:lnTo>
                    <a:pt x="153" y="27"/>
                  </a:lnTo>
                  <a:lnTo>
                    <a:pt x="153" y="22"/>
                  </a:lnTo>
                  <a:lnTo>
                    <a:pt x="150" y="22"/>
                  </a:lnTo>
                  <a:lnTo>
                    <a:pt x="147" y="22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9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4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42" y="3"/>
                  </a:lnTo>
                  <a:lnTo>
                    <a:pt x="142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8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4"/>
                  </a:lnTo>
                  <a:lnTo>
                    <a:pt x="136" y="14"/>
                  </a:lnTo>
                  <a:lnTo>
                    <a:pt x="136" y="14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4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3" y="8"/>
                  </a:lnTo>
                  <a:lnTo>
                    <a:pt x="118" y="6"/>
                  </a:lnTo>
                  <a:lnTo>
                    <a:pt x="115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99" y="16"/>
                  </a:lnTo>
                  <a:lnTo>
                    <a:pt x="96" y="16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1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7"/>
                  </a:lnTo>
                  <a:lnTo>
                    <a:pt x="88" y="27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8" y="38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27"/>
                  </a:lnTo>
                  <a:lnTo>
                    <a:pt x="70" y="24"/>
                  </a:lnTo>
                  <a:lnTo>
                    <a:pt x="67" y="24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0" y="30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6" name="Freeform 8861">
              <a:extLst>
                <a:ext uri="{FF2B5EF4-FFF2-40B4-BE49-F238E27FC236}">
                  <a16:creationId xmlns:a16="http://schemas.microsoft.com/office/drawing/2014/main" id="{2BAF38F7-B8C9-844C-BEF5-719DF292D4DF}"/>
                </a:ext>
              </a:extLst>
            </p:cNvPr>
            <p:cNvSpPr/>
            <p:nvPr/>
          </p:nvSpPr>
          <p:spPr bwMode="auto">
            <a:xfrm>
              <a:off x="8330403" y="1228727"/>
              <a:ext cx="377825" cy="309562"/>
            </a:xfrm>
            <a:custGeom>
              <a:avLst/>
              <a:gdLst>
                <a:gd name="T0" fmla="*/ 19 w 238"/>
                <a:gd name="T1" fmla="*/ 155 h 195"/>
                <a:gd name="T2" fmla="*/ 35 w 238"/>
                <a:gd name="T3" fmla="*/ 171 h 195"/>
                <a:gd name="T4" fmla="*/ 53 w 238"/>
                <a:gd name="T5" fmla="*/ 179 h 195"/>
                <a:gd name="T6" fmla="*/ 67 w 238"/>
                <a:gd name="T7" fmla="*/ 184 h 195"/>
                <a:gd name="T8" fmla="*/ 80 w 238"/>
                <a:gd name="T9" fmla="*/ 195 h 195"/>
                <a:gd name="T10" fmla="*/ 93 w 238"/>
                <a:gd name="T11" fmla="*/ 195 h 195"/>
                <a:gd name="T12" fmla="*/ 117 w 238"/>
                <a:gd name="T13" fmla="*/ 192 h 195"/>
                <a:gd name="T14" fmla="*/ 117 w 238"/>
                <a:gd name="T15" fmla="*/ 168 h 195"/>
                <a:gd name="T16" fmla="*/ 112 w 238"/>
                <a:gd name="T17" fmla="*/ 157 h 195"/>
                <a:gd name="T18" fmla="*/ 117 w 238"/>
                <a:gd name="T19" fmla="*/ 152 h 195"/>
                <a:gd name="T20" fmla="*/ 131 w 238"/>
                <a:gd name="T21" fmla="*/ 157 h 195"/>
                <a:gd name="T22" fmla="*/ 136 w 238"/>
                <a:gd name="T23" fmla="*/ 160 h 195"/>
                <a:gd name="T24" fmla="*/ 157 w 238"/>
                <a:gd name="T25" fmla="*/ 136 h 195"/>
                <a:gd name="T26" fmla="*/ 171 w 238"/>
                <a:gd name="T27" fmla="*/ 114 h 195"/>
                <a:gd name="T28" fmla="*/ 184 w 238"/>
                <a:gd name="T29" fmla="*/ 112 h 195"/>
                <a:gd name="T30" fmla="*/ 179 w 238"/>
                <a:gd name="T31" fmla="*/ 114 h 195"/>
                <a:gd name="T32" fmla="*/ 195 w 238"/>
                <a:gd name="T33" fmla="*/ 122 h 195"/>
                <a:gd name="T34" fmla="*/ 200 w 238"/>
                <a:gd name="T35" fmla="*/ 117 h 195"/>
                <a:gd name="T36" fmla="*/ 211 w 238"/>
                <a:gd name="T37" fmla="*/ 106 h 195"/>
                <a:gd name="T38" fmla="*/ 224 w 238"/>
                <a:gd name="T39" fmla="*/ 90 h 195"/>
                <a:gd name="T40" fmla="*/ 203 w 238"/>
                <a:gd name="T41" fmla="*/ 88 h 195"/>
                <a:gd name="T42" fmla="*/ 176 w 238"/>
                <a:gd name="T43" fmla="*/ 85 h 195"/>
                <a:gd name="T44" fmla="*/ 157 w 238"/>
                <a:gd name="T45" fmla="*/ 74 h 195"/>
                <a:gd name="T46" fmla="*/ 144 w 238"/>
                <a:gd name="T47" fmla="*/ 56 h 195"/>
                <a:gd name="T48" fmla="*/ 141 w 238"/>
                <a:gd name="T49" fmla="*/ 48 h 195"/>
                <a:gd name="T50" fmla="*/ 139 w 238"/>
                <a:gd name="T51" fmla="*/ 42 h 195"/>
                <a:gd name="T52" fmla="*/ 141 w 238"/>
                <a:gd name="T53" fmla="*/ 37 h 195"/>
                <a:gd name="T54" fmla="*/ 160 w 238"/>
                <a:gd name="T55" fmla="*/ 26 h 195"/>
                <a:gd name="T56" fmla="*/ 163 w 238"/>
                <a:gd name="T57" fmla="*/ 53 h 195"/>
                <a:gd name="T58" fmla="*/ 171 w 238"/>
                <a:gd name="T59" fmla="*/ 69 h 195"/>
                <a:gd name="T60" fmla="*/ 182 w 238"/>
                <a:gd name="T61" fmla="*/ 77 h 195"/>
                <a:gd name="T62" fmla="*/ 195 w 238"/>
                <a:gd name="T63" fmla="*/ 82 h 195"/>
                <a:gd name="T64" fmla="*/ 214 w 238"/>
                <a:gd name="T65" fmla="*/ 80 h 195"/>
                <a:gd name="T66" fmla="*/ 232 w 238"/>
                <a:gd name="T67" fmla="*/ 69 h 195"/>
                <a:gd name="T68" fmla="*/ 238 w 238"/>
                <a:gd name="T69" fmla="*/ 53 h 195"/>
                <a:gd name="T70" fmla="*/ 232 w 238"/>
                <a:gd name="T71" fmla="*/ 37 h 195"/>
                <a:gd name="T72" fmla="*/ 224 w 238"/>
                <a:gd name="T73" fmla="*/ 21 h 195"/>
                <a:gd name="T74" fmla="*/ 227 w 238"/>
                <a:gd name="T75" fmla="*/ 2 h 195"/>
                <a:gd name="T76" fmla="*/ 200 w 238"/>
                <a:gd name="T77" fmla="*/ 2 h 195"/>
                <a:gd name="T78" fmla="*/ 171 w 238"/>
                <a:gd name="T79" fmla="*/ 0 h 195"/>
                <a:gd name="T80" fmla="*/ 141 w 238"/>
                <a:gd name="T81" fmla="*/ 16 h 195"/>
                <a:gd name="T82" fmla="*/ 109 w 238"/>
                <a:gd name="T83" fmla="*/ 8 h 195"/>
                <a:gd name="T84" fmla="*/ 93 w 238"/>
                <a:gd name="T85" fmla="*/ 5 h 195"/>
                <a:gd name="T86" fmla="*/ 99 w 238"/>
                <a:gd name="T87" fmla="*/ 16 h 195"/>
                <a:gd name="T88" fmla="*/ 96 w 238"/>
                <a:gd name="T89" fmla="*/ 40 h 195"/>
                <a:gd name="T90" fmla="*/ 109 w 238"/>
                <a:gd name="T91" fmla="*/ 58 h 195"/>
                <a:gd name="T92" fmla="*/ 109 w 238"/>
                <a:gd name="T93" fmla="*/ 66 h 195"/>
                <a:gd name="T94" fmla="*/ 96 w 238"/>
                <a:gd name="T95" fmla="*/ 69 h 195"/>
                <a:gd name="T96" fmla="*/ 83 w 238"/>
                <a:gd name="T97" fmla="*/ 56 h 195"/>
                <a:gd name="T98" fmla="*/ 67 w 238"/>
                <a:gd name="T99" fmla="*/ 56 h 195"/>
                <a:gd name="T100" fmla="*/ 45 w 238"/>
                <a:gd name="T101" fmla="*/ 45 h 195"/>
                <a:gd name="T102" fmla="*/ 24 w 238"/>
                <a:gd name="T103" fmla="*/ 34 h 195"/>
                <a:gd name="T104" fmla="*/ 19 w 238"/>
                <a:gd name="T105" fmla="*/ 56 h 195"/>
                <a:gd name="T106" fmla="*/ 11 w 238"/>
                <a:gd name="T107" fmla="*/ 56 h 195"/>
                <a:gd name="T108" fmla="*/ 3 w 238"/>
                <a:gd name="T109" fmla="*/ 80 h 195"/>
                <a:gd name="T110" fmla="*/ 13 w 238"/>
                <a:gd name="T111" fmla="*/ 98 h 195"/>
                <a:gd name="T112" fmla="*/ 5 w 238"/>
                <a:gd name="T113" fmla="*/ 104 h 195"/>
                <a:gd name="T114" fmla="*/ 13 w 238"/>
                <a:gd name="T115" fmla="*/ 122 h 195"/>
                <a:gd name="T116" fmla="*/ 19 w 238"/>
                <a:gd name="T117" fmla="*/ 133 h 195"/>
                <a:gd name="T118" fmla="*/ 21 w 238"/>
                <a:gd name="T119" fmla="*/ 144 h 195"/>
                <a:gd name="T120" fmla="*/ 32 w 238"/>
                <a:gd name="T121" fmla="*/ 144 h 195"/>
                <a:gd name="T122" fmla="*/ 21 w 238"/>
                <a:gd name="T123" fmla="*/ 14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195" extrusionOk="0">
                  <a:moveTo>
                    <a:pt x="21" y="149"/>
                  </a:move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19" y="149"/>
                  </a:lnTo>
                  <a:lnTo>
                    <a:pt x="19" y="149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6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7"/>
                  </a:lnTo>
                  <a:lnTo>
                    <a:pt x="19" y="157"/>
                  </a:lnTo>
                  <a:lnTo>
                    <a:pt x="21" y="157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63"/>
                  </a:lnTo>
                  <a:lnTo>
                    <a:pt x="24" y="163"/>
                  </a:lnTo>
                  <a:lnTo>
                    <a:pt x="27" y="165"/>
                  </a:lnTo>
                  <a:lnTo>
                    <a:pt x="29" y="165"/>
                  </a:lnTo>
                  <a:lnTo>
                    <a:pt x="29" y="165"/>
                  </a:lnTo>
                  <a:lnTo>
                    <a:pt x="32" y="168"/>
                  </a:lnTo>
                  <a:lnTo>
                    <a:pt x="32" y="168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35" y="173"/>
                  </a:lnTo>
                  <a:lnTo>
                    <a:pt x="37" y="173"/>
                  </a:lnTo>
                  <a:lnTo>
                    <a:pt x="40" y="173"/>
                  </a:lnTo>
                  <a:lnTo>
                    <a:pt x="43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61" y="179"/>
                  </a:lnTo>
                  <a:lnTo>
                    <a:pt x="64" y="181"/>
                  </a:lnTo>
                  <a:lnTo>
                    <a:pt x="67" y="181"/>
                  </a:lnTo>
                  <a:lnTo>
                    <a:pt x="67" y="181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7" y="187"/>
                  </a:lnTo>
                  <a:lnTo>
                    <a:pt x="69" y="187"/>
                  </a:lnTo>
                  <a:lnTo>
                    <a:pt x="69" y="187"/>
                  </a:lnTo>
                  <a:lnTo>
                    <a:pt x="72" y="187"/>
                  </a:lnTo>
                  <a:lnTo>
                    <a:pt x="72" y="189"/>
                  </a:lnTo>
                  <a:lnTo>
                    <a:pt x="75" y="189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0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88" y="195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3" y="195"/>
                  </a:lnTo>
                  <a:lnTo>
                    <a:pt x="93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9" y="192"/>
                  </a:lnTo>
                  <a:lnTo>
                    <a:pt x="101" y="192"/>
                  </a:lnTo>
                  <a:lnTo>
                    <a:pt x="104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9" y="192"/>
                  </a:lnTo>
                  <a:lnTo>
                    <a:pt x="112" y="192"/>
                  </a:lnTo>
                  <a:lnTo>
                    <a:pt x="112" y="192"/>
                  </a:lnTo>
                  <a:lnTo>
                    <a:pt x="115" y="192"/>
                  </a:lnTo>
                  <a:lnTo>
                    <a:pt x="117" y="192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20" y="187"/>
                  </a:lnTo>
                  <a:lnTo>
                    <a:pt x="120" y="184"/>
                  </a:lnTo>
                  <a:lnTo>
                    <a:pt x="123" y="181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0" y="176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17" y="171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5" y="165"/>
                  </a:lnTo>
                  <a:lnTo>
                    <a:pt x="115" y="163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20" y="149"/>
                  </a:lnTo>
                  <a:lnTo>
                    <a:pt x="120" y="149"/>
                  </a:lnTo>
                  <a:lnTo>
                    <a:pt x="123" y="152"/>
                  </a:lnTo>
                  <a:lnTo>
                    <a:pt x="123" y="152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7"/>
                  </a:lnTo>
                  <a:lnTo>
                    <a:pt x="131" y="157"/>
                  </a:lnTo>
                  <a:lnTo>
                    <a:pt x="131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3"/>
                  </a:lnTo>
                  <a:lnTo>
                    <a:pt x="133" y="160"/>
                  </a:lnTo>
                  <a:lnTo>
                    <a:pt x="136" y="160"/>
                  </a:lnTo>
                  <a:lnTo>
                    <a:pt x="136" y="160"/>
                  </a:lnTo>
                  <a:lnTo>
                    <a:pt x="136" y="160"/>
                  </a:lnTo>
                  <a:lnTo>
                    <a:pt x="136" y="157"/>
                  </a:lnTo>
                  <a:lnTo>
                    <a:pt x="139" y="157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1" y="152"/>
                  </a:lnTo>
                  <a:lnTo>
                    <a:pt x="141" y="149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7" y="144"/>
                  </a:lnTo>
                  <a:lnTo>
                    <a:pt x="152" y="139"/>
                  </a:lnTo>
                  <a:lnTo>
                    <a:pt x="157" y="136"/>
                  </a:lnTo>
                  <a:lnTo>
                    <a:pt x="157" y="136"/>
                  </a:lnTo>
                  <a:lnTo>
                    <a:pt x="163" y="131"/>
                  </a:lnTo>
                  <a:lnTo>
                    <a:pt x="163" y="128"/>
                  </a:lnTo>
                  <a:lnTo>
                    <a:pt x="166" y="128"/>
                  </a:lnTo>
                  <a:lnTo>
                    <a:pt x="166" y="125"/>
                  </a:lnTo>
                  <a:lnTo>
                    <a:pt x="168" y="125"/>
                  </a:lnTo>
                  <a:lnTo>
                    <a:pt x="168" y="125"/>
                  </a:lnTo>
                  <a:lnTo>
                    <a:pt x="168" y="125"/>
                  </a:lnTo>
                  <a:lnTo>
                    <a:pt x="166" y="122"/>
                  </a:lnTo>
                  <a:lnTo>
                    <a:pt x="168" y="120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71" y="114"/>
                  </a:lnTo>
                  <a:lnTo>
                    <a:pt x="174" y="114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9" y="109"/>
                  </a:lnTo>
                  <a:lnTo>
                    <a:pt x="179" y="109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4" y="114"/>
                  </a:lnTo>
                  <a:lnTo>
                    <a:pt x="184" y="114"/>
                  </a:lnTo>
                  <a:lnTo>
                    <a:pt x="18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82" y="120"/>
                  </a:lnTo>
                  <a:lnTo>
                    <a:pt x="184" y="122"/>
                  </a:lnTo>
                  <a:lnTo>
                    <a:pt x="187" y="122"/>
                  </a:lnTo>
                  <a:lnTo>
                    <a:pt x="190" y="122"/>
                  </a:lnTo>
                  <a:lnTo>
                    <a:pt x="192" y="122"/>
                  </a:lnTo>
                  <a:lnTo>
                    <a:pt x="195" y="122"/>
                  </a:lnTo>
                  <a:lnTo>
                    <a:pt x="195" y="122"/>
                  </a:lnTo>
                  <a:lnTo>
                    <a:pt x="198" y="122"/>
                  </a:lnTo>
                  <a:lnTo>
                    <a:pt x="198" y="125"/>
                  </a:lnTo>
                  <a:lnTo>
                    <a:pt x="198" y="122"/>
                  </a:lnTo>
                  <a:lnTo>
                    <a:pt x="198" y="122"/>
                  </a:lnTo>
                  <a:lnTo>
                    <a:pt x="200" y="122"/>
                  </a:lnTo>
                  <a:lnTo>
                    <a:pt x="200" y="120"/>
                  </a:lnTo>
                  <a:lnTo>
                    <a:pt x="203" y="120"/>
                  </a:lnTo>
                  <a:lnTo>
                    <a:pt x="203" y="117"/>
                  </a:lnTo>
                  <a:lnTo>
                    <a:pt x="203" y="114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0" y="117"/>
                  </a:lnTo>
                  <a:lnTo>
                    <a:pt x="200" y="114"/>
                  </a:lnTo>
                  <a:lnTo>
                    <a:pt x="200" y="114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3" y="109"/>
                  </a:lnTo>
                  <a:lnTo>
                    <a:pt x="203" y="109"/>
                  </a:lnTo>
                  <a:lnTo>
                    <a:pt x="206" y="112"/>
                  </a:lnTo>
                  <a:lnTo>
                    <a:pt x="206" y="109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06"/>
                  </a:lnTo>
                  <a:lnTo>
                    <a:pt x="211" y="106"/>
                  </a:lnTo>
                  <a:lnTo>
                    <a:pt x="211" y="106"/>
                  </a:lnTo>
                  <a:lnTo>
                    <a:pt x="214" y="104"/>
                  </a:lnTo>
                  <a:lnTo>
                    <a:pt x="214" y="104"/>
                  </a:lnTo>
                  <a:lnTo>
                    <a:pt x="216" y="101"/>
                  </a:lnTo>
                  <a:lnTo>
                    <a:pt x="219" y="101"/>
                  </a:lnTo>
                  <a:lnTo>
                    <a:pt x="219" y="101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2" y="96"/>
                  </a:lnTo>
                  <a:lnTo>
                    <a:pt x="222" y="96"/>
                  </a:lnTo>
                  <a:lnTo>
                    <a:pt x="224" y="93"/>
                  </a:lnTo>
                  <a:lnTo>
                    <a:pt x="224" y="90"/>
                  </a:lnTo>
                  <a:lnTo>
                    <a:pt x="224" y="90"/>
                  </a:lnTo>
                  <a:lnTo>
                    <a:pt x="224" y="90"/>
                  </a:lnTo>
                  <a:lnTo>
                    <a:pt x="222" y="88"/>
                  </a:lnTo>
                  <a:lnTo>
                    <a:pt x="222" y="88"/>
                  </a:lnTo>
                  <a:lnTo>
                    <a:pt x="219" y="88"/>
                  </a:lnTo>
                  <a:lnTo>
                    <a:pt x="219" y="85"/>
                  </a:lnTo>
                  <a:lnTo>
                    <a:pt x="216" y="85"/>
                  </a:lnTo>
                  <a:lnTo>
                    <a:pt x="216" y="85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4" y="88"/>
                  </a:lnTo>
                  <a:lnTo>
                    <a:pt x="211" y="88"/>
                  </a:lnTo>
                  <a:lnTo>
                    <a:pt x="208" y="88"/>
                  </a:lnTo>
                  <a:lnTo>
                    <a:pt x="206" y="88"/>
                  </a:lnTo>
                  <a:lnTo>
                    <a:pt x="203" y="88"/>
                  </a:lnTo>
                  <a:lnTo>
                    <a:pt x="200" y="88"/>
                  </a:lnTo>
                  <a:lnTo>
                    <a:pt x="198" y="90"/>
                  </a:lnTo>
                  <a:lnTo>
                    <a:pt x="195" y="90"/>
                  </a:lnTo>
                  <a:lnTo>
                    <a:pt x="192" y="90"/>
                  </a:lnTo>
                  <a:lnTo>
                    <a:pt x="192" y="90"/>
                  </a:lnTo>
                  <a:lnTo>
                    <a:pt x="190" y="90"/>
                  </a:lnTo>
                  <a:lnTo>
                    <a:pt x="190" y="93"/>
                  </a:lnTo>
                  <a:lnTo>
                    <a:pt x="187" y="93"/>
                  </a:lnTo>
                  <a:lnTo>
                    <a:pt x="184" y="90"/>
                  </a:lnTo>
                  <a:lnTo>
                    <a:pt x="182" y="90"/>
                  </a:lnTo>
                  <a:lnTo>
                    <a:pt x="182" y="88"/>
                  </a:lnTo>
                  <a:lnTo>
                    <a:pt x="176" y="85"/>
                  </a:lnTo>
                  <a:lnTo>
                    <a:pt x="176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2"/>
                  </a:lnTo>
                  <a:lnTo>
                    <a:pt x="171" y="82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66" y="77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0" y="77"/>
                  </a:lnTo>
                  <a:lnTo>
                    <a:pt x="160" y="74"/>
                  </a:lnTo>
                  <a:lnTo>
                    <a:pt x="157" y="74"/>
                  </a:lnTo>
                  <a:lnTo>
                    <a:pt x="155" y="72"/>
                  </a:lnTo>
                  <a:lnTo>
                    <a:pt x="155" y="69"/>
                  </a:lnTo>
                  <a:lnTo>
                    <a:pt x="155" y="69"/>
                  </a:lnTo>
                  <a:lnTo>
                    <a:pt x="152" y="66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7" y="58"/>
                  </a:lnTo>
                  <a:lnTo>
                    <a:pt x="147" y="58"/>
                  </a:lnTo>
                  <a:lnTo>
                    <a:pt x="147" y="56"/>
                  </a:lnTo>
                  <a:lnTo>
                    <a:pt x="144" y="56"/>
                  </a:lnTo>
                  <a:lnTo>
                    <a:pt x="144" y="53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9" y="45"/>
                  </a:lnTo>
                  <a:lnTo>
                    <a:pt x="139" y="42"/>
                  </a:lnTo>
                  <a:lnTo>
                    <a:pt x="141" y="42"/>
                  </a:lnTo>
                  <a:lnTo>
                    <a:pt x="141" y="42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7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4"/>
                  </a:lnTo>
                  <a:lnTo>
                    <a:pt x="144" y="34"/>
                  </a:lnTo>
                  <a:lnTo>
                    <a:pt x="144" y="32"/>
                  </a:lnTo>
                  <a:lnTo>
                    <a:pt x="147" y="32"/>
                  </a:lnTo>
                  <a:lnTo>
                    <a:pt x="147" y="32"/>
                  </a:lnTo>
                  <a:lnTo>
                    <a:pt x="147" y="32"/>
                  </a:lnTo>
                  <a:lnTo>
                    <a:pt x="149" y="29"/>
                  </a:lnTo>
                  <a:lnTo>
                    <a:pt x="152" y="29"/>
                  </a:lnTo>
                  <a:lnTo>
                    <a:pt x="152" y="29"/>
                  </a:lnTo>
                  <a:lnTo>
                    <a:pt x="155" y="26"/>
                  </a:lnTo>
                  <a:lnTo>
                    <a:pt x="157" y="26"/>
                  </a:lnTo>
                  <a:lnTo>
                    <a:pt x="160" y="26"/>
                  </a:lnTo>
                  <a:lnTo>
                    <a:pt x="163" y="26"/>
                  </a:lnTo>
                  <a:lnTo>
                    <a:pt x="166" y="29"/>
                  </a:lnTo>
                  <a:lnTo>
                    <a:pt x="166" y="32"/>
                  </a:lnTo>
                  <a:lnTo>
                    <a:pt x="166" y="34"/>
                  </a:lnTo>
                  <a:lnTo>
                    <a:pt x="166" y="37"/>
                  </a:lnTo>
                  <a:lnTo>
                    <a:pt x="166" y="40"/>
                  </a:lnTo>
                  <a:lnTo>
                    <a:pt x="166" y="42"/>
                  </a:lnTo>
                  <a:lnTo>
                    <a:pt x="166" y="45"/>
                  </a:lnTo>
                  <a:lnTo>
                    <a:pt x="163" y="48"/>
                  </a:lnTo>
                  <a:lnTo>
                    <a:pt x="163" y="48"/>
                  </a:lnTo>
                  <a:lnTo>
                    <a:pt x="163" y="50"/>
                  </a:lnTo>
                  <a:lnTo>
                    <a:pt x="163" y="53"/>
                  </a:lnTo>
                  <a:lnTo>
                    <a:pt x="163" y="53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3" y="56"/>
                  </a:lnTo>
                  <a:lnTo>
                    <a:pt x="163" y="58"/>
                  </a:lnTo>
                  <a:lnTo>
                    <a:pt x="166" y="58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4"/>
                  </a:lnTo>
                  <a:lnTo>
                    <a:pt x="166" y="66"/>
                  </a:lnTo>
                  <a:lnTo>
                    <a:pt x="168" y="66"/>
                  </a:lnTo>
                  <a:lnTo>
                    <a:pt x="168" y="69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76" y="69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7" y="77"/>
                  </a:lnTo>
                  <a:lnTo>
                    <a:pt x="187" y="80"/>
                  </a:lnTo>
                  <a:lnTo>
                    <a:pt x="190" y="80"/>
                  </a:lnTo>
                  <a:lnTo>
                    <a:pt x="190" y="82"/>
                  </a:lnTo>
                  <a:lnTo>
                    <a:pt x="190" y="82"/>
                  </a:lnTo>
                  <a:lnTo>
                    <a:pt x="190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8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3" y="82"/>
                  </a:lnTo>
                  <a:lnTo>
                    <a:pt x="206" y="82"/>
                  </a:lnTo>
                  <a:lnTo>
                    <a:pt x="206" y="85"/>
                  </a:lnTo>
                  <a:lnTo>
                    <a:pt x="208" y="85"/>
                  </a:lnTo>
                  <a:lnTo>
                    <a:pt x="208" y="82"/>
                  </a:lnTo>
                  <a:lnTo>
                    <a:pt x="211" y="82"/>
                  </a:lnTo>
                  <a:lnTo>
                    <a:pt x="211" y="80"/>
                  </a:lnTo>
                  <a:lnTo>
                    <a:pt x="214" y="80"/>
                  </a:lnTo>
                  <a:lnTo>
                    <a:pt x="214" y="80"/>
                  </a:lnTo>
                  <a:lnTo>
                    <a:pt x="214" y="80"/>
                  </a:lnTo>
                  <a:lnTo>
                    <a:pt x="216" y="77"/>
                  </a:lnTo>
                  <a:lnTo>
                    <a:pt x="219" y="74"/>
                  </a:lnTo>
                  <a:lnTo>
                    <a:pt x="222" y="77"/>
                  </a:lnTo>
                  <a:lnTo>
                    <a:pt x="222" y="77"/>
                  </a:lnTo>
                  <a:lnTo>
                    <a:pt x="224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4"/>
                  </a:lnTo>
                  <a:lnTo>
                    <a:pt x="230" y="74"/>
                  </a:lnTo>
                  <a:lnTo>
                    <a:pt x="230" y="72"/>
                  </a:lnTo>
                  <a:lnTo>
                    <a:pt x="232" y="72"/>
                  </a:lnTo>
                  <a:lnTo>
                    <a:pt x="232" y="69"/>
                  </a:lnTo>
                  <a:lnTo>
                    <a:pt x="232" y="69"/>
                  </a:lnTo>
                  <a:lnTo>
                    <a:pt x="235" y="69"/>
                  </a:lnTo>
                  <a:lnTo>
                    <a:pt x="235" y="66"/>
                  </a:lnTo>
                  <a:lnTo>
                    <a:pt x="235" y="66"/>
                  </a:lnTo>
                  <a:lnTo>
                    <a:pt x="235" y="64"/>
                  </a:lnTo>
                  <a:lnTo>
                    <a:pt x="235" y="61"/>
                  </a:lnTo>
                  <a:lnTo>
                    <a:pt x="235" y="61"/>
                  </a:lnTo>
                  <a:lnTo>
                    <a:pt x="235" y="58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3"/>
                  </a:lnTo>
                  <a:lnTo>
                    <a:pt x="238" y="53"/>
                  </a:lnTo>
                  <a:lnTo>
                    <a:pt x="238" y="50"/>
                  </a:lnTo>
                  <a:lnTo>
                    <a:pt x="235" y="50"/>
                  </a:lnTo>
                  <a:lnTo>
                    <a:pt x="235" y="48"/>
                  </a:lnTo>
                  <a:lnTo>
                    <a:pt x="235" y="48"/>
                  </a:lnTo>
                  <a:lnTo>
                    <a:pt x="235" y="45"/>
                  </a:lnTo>
                  <a:lnTo>
                    <a:pt x="235" y="45"/>
                  </a:lnTo>
                  <a:lnTo>
                    <a:pt x="232" y="42"/>
                  </a:lnTo>
                  <a:lnTo>
                    <a:pt x="232" y="42"/>
                  </a:lnTo>
                  <a:lnTo>
                    <a:pt x="235" y="40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2" y="37"/>
                  </a:lnTo>
                  <a:lnTo>
                    <a:pt x="232" y="37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27" y="34"/>
                  </a:lnTo>
                  <a:lnTo>
                    <a:pt x="227" y="32"/>
                  </a:lnTo>
                  <a:lnTo>
                    <a:pt x="224" y="32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4" y="26"/>
                  </a:lnTo>
                  <a:lnTo>
                    <a:pt x="224" y="26"/>
                  </a:lnTo>
                  <a:lnTo>
                    <a:pt x="224" y="24"/>
                  </a:lnTo>
                  <a:lnTo>
                    <a:pt x="224" y="21"/>
                  </a:lnTo>
                  <a:lnTo>
                    <a:pt x="224" y="21"/>
                  </a:lnTo>
                  <a:lnTo>
                    <a:pt x="224" y="18"/>
                  </a:lnTo>
                  <a:lnTo>
                    <a:pt x="224" y="16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0"/>
                  </a:lnTo>
                  <a:lnTo>
                    <a:pt x="230" y="8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2" y="5"/>
                  </a:lnTo>
                  <a:lnTo>
                    <a:pt x="230" y="5"/>
                  </a:lnTo>
                  <a:lnTo>
                    <a:pt x="230" y="2"/>
                  </a:lnTo>
                  <a:lnTo>
                    <a:pt x="227" y="2"/>
                  </a:lnTo>
                  <a:lnTo>
                    <a:pt x="224" y="2"/>
                  </a:lnTo>
                  <a:lnTo>
                    <a:pt x="224" y="2"/>
                  </a:lnTo>
                  <a:lnTo>
                    <a:pt x="219" y="2"/>
                  </a:lnTo>
                  <a:lnTo>
                    <a:pt x="219" y="2"/>
                  </a:lnTo>
                  <a:lnTo>
                    <a:pt x="216" y="2"/>
                  </a:lnTo>
                  <a:lnTo>
                    <a:pt x="214" y="2"/>
                  </a:lnTo>
                  <a:lnTo>
                    <a:pt x="211" y="2"/>
                  </a:lnTo>
                  <a:lnTo>
                    <a:pt x="211" y="2"/>
                  </a:lnTo>
                  <a:lnTo>
                    <a:pt x="208" y="2"/>
                  </a:lnTo>
                  <a:lnTo>
                    <a:pt x="206" y="2"/>
                  </a:lnTo>
                  <a:lnTo>
                    <a:pt x="206" y="0"/>
                  </a:lnTo>
                  <a:lnTo>
                    <a:pt x="203" y="0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5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84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79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71" y="0"/>
                  </a:lnTo>
                  <a:lnTo>
                    <a:pt x="168" y="2"/>
                  </a:lnTo>
                  <a:lnTo>
                    <a:pt x="166" y="2"/>
                  </a:lnTo>
                  <a:lnTo>
                    <a:pt x="166" y="5"/>
                  </a:lnTo>
                  <a:lnTo>
                    <a:pt x="163" y="5"/>
                  </a:lnTo>
                  <a:lnTo>
                    <a:pt x="163" y="8"/>
                  </a:lnTo>
                  <a:lnTo>
                    <a:pt x="160" y="10"/>
                  </a:lnTo>
                  <a:lnTo>
                    <a:pt x="157" y="13"/>
                  </a:lnTo>
                  <a:lnTo>
                    <a:pt x="155" y="13"/>
                  </a:lnTo>
                  <a:lnTo>
                    <a:pt x="152" y="16"/>
                  </a:lnTo>
                  <a:lnTo>
                    <a:pt x="147" y="16"/>
                  </a:lnTo>
                  <a:lnTo>
                    <a:pt x="144" y="16"/>
                  </a:lnTo>
                  <a:lnTo>
                    <a:pt x="141" y="18"/>
                  </a:lnTo>
                  <a:lnTo>
                    <a:pt x="141" y="16"/>
                  </a:lnTo>
                  <a:lnTo>
                    <a:pt x="139" y="16"/>
                  </a:lnTo>
                  <a:lnTo>
                    <a:pt x="136" y="16"/>
                  </a:lnTo>
                  <a:lnTo>
                    <a:pt x="133" y="16"/>
                  </a:lnTo>
                  <a:lnTo>
                    <a:pt x="131" y="13"/>
                  </a:lnTo>
                  <a:lnTo>
                    <a:pt x="128" y="13"/>
                  </a:lnTo>
                  <a:lnTo>
                    <a:pt x="125" y="10"/>
                  </a:lnTo>
                  <a:lnTo>
                    <a:pt x="123" y="10"/>
                  </a:lnTo>
                  <a:lnTo>
                    <a:pt x="120" y="10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2" y="8"/>
                  </a:lnTo>
                  <a:lnTo>
                    <a:pt x="109" y="8"/>
                  </a:lnTo>
                  <a:lnTo>
                    <a:pt x="107" y="5"/>
                  </a:lnTo>
                  <a:lnTo>
                    <a:pt x="104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96" y="2"/>
                  </a:lnTo>
                  <a:lnTo>
                    <a:pt x="93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88" y="2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3" y="5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9" y="10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6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88" y="21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34"/>
                  </a:lnTo>
                  <a:lnTo>
                    <a:pt x="93" y="37"/>
                  </a:lnTo>
                  <a:lnTo>
                    <a:pt x="93" y="40"/>
                  </a:lnTo>
                  <a:lnTo>
                    <a:pt x="96" y="40"/>
                  </a:lnTo>
                  <a:lnTo>
                    <a:pt x="99" y="42"/>
                  </a:lnTo>
                  <a:lnTo>
                    <a:pt x="99" y="45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101" y="48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7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12" y="58"/>
                  </a:lnTo>
                  <a:lnTo>
                    <a:pt x="109" y="61"/>
                  </a:lnTo>
                  <a:lnTo>
                    <a:pt x="109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5" y="61"/>
                  </a:lnTo>
                  <a:lnTo>
                    <a:pt x="115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09" y="66"/>
                  </a:lnTo>
                  <a:lnTo>
                    <a:pt x="109" y="66"/>
                  </a:lnTo>
                  <a:lnTo>
                    <a:pt x="109" y="66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1" y="69"/>
                  </a:lnTo>
                  <a:lnTo>
                    <a:pt x="99" y="69"/>
                  </a:lnTo>
                  <a:lnTo>
                    <a:pt x="99" y="72"/>
                  </a:lnTo>
                  <a:lnTo>
                    <a:pt x="96" y="72"/>
                  </a:lnTo>
                  <a:lnTo>
                    <a:pt x="93" y="72"/>
                  </a:lnTo>
                  <a:lnTo>
                    <a:pt x="96" y="69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4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7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69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3"/>
                  </a:lnTo>
                  <a:lnTo>
                    <a:pt x="67" y="50"/>
                  </a:lnTo>
                  <a:lnTo>
                    <a:pt x="64" y="50"/>
                  </a:lnTo>
                  <a:lnTo>
                    <a:pt x="64" y="48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3" y="48"/>
                  </a:lnTo>
                  <a:lnTo>
                    <a:pt x="48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0" y="45"/>
                  </a:lnTo>
                  <a:lnTo>
                    <a:pt x="37" y="45"/>
                  </a:lnTo>
                  <a:lnTo>
                    <a:pt x="35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19" y="40"/>
                  </a:lnTo>
                  <a:lnTo>
                    <a:pt x="19" y="42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3" y="61"/>
                  </a:lnTo>
                  <a:lnTo>
                    <a:pt x="13" y="64"/>
                  </a:lnTo>
                  <a:lnTo>
                    <a:pt x="13" y="66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1" y="72"/>
                  </a:lnTo>
                  <a:lnTo>
                    <a:pt x="8" y="72"/>
                  </a:lnTo>
                  <a:lnTo>
                    <a:pt x="5" y="74"/>
                  </a:lnTo>
                  <a:lnTo>
                    <a:pt x="3" y="77"/>
                  </a:lnTo>
                  <a:lnTo>
                    <a:pt x="3" y="80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3" y="88"/>
                  </a:lnTo>
                  <a:lnTo>
                    <a:pt x="3" y="90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8" y="93"/>
                  </a:lnTo>
                  <a:lnTo>
                    <a:pt x="8" y="96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6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1" y="101"/>
                  </a:lnTo>
                  <a:lnTo>
                    <a:pt x="11" y="104"/>
                  </a:lnTo>
                  <a:lnTo>
                    <a:pt x="8" y="10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3" y="106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5" y="114"/>
                  </a:lnTo>
                  <a:lnTo>
                    <a:pt x="11" y="117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3" y="122"/>
                  </a:lnTo>
                  <a:lnTo>
                    <a:pt x="16" y="122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6" y="131"/>
                  </a:lnTo>
                  <a:lnTo>
                    <a:pt x="16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19" y="133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41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4" y="144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9" y="141"/>
                  </a:lnTo>
                  <a:lnTo>
                    <a:pt x="29" y="141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7" name="Freeform 8862">
              <a:extLst>
                <a:ext uri="{FF2B5EF4-FFF2-40B4-BE49-F238E27FC236}">
                  <a16:creationId xmlns:a16="http://schemas.microsoft.com/office/drawing/2014/main" id="{DD6F740E-9BAD-AE42-AED2-AAE9B8C7E35D}"/>
                </a:ext>
              </a:extLst>
            </p:cNvPr>
            <p:cNvSpPr/>
            <p:nvPr/>
          </p:nvSpPr>
          <p:spPr bwMode="auto">
            <a:xfrm>
              <a:off x="8601866" y="1550990"/>
              <a:ext cx="55562" cy="66675"/>
            </a:xfrm>
            <a:custGeom>
              <a:avLst/>
              <a:gdLst>
                <a:gd name="T0" fmla="*/ 24 w 35"/>
                <a:gd name="T1" fmla="*/ 42 h 42"/>
                <a:gd name="T2" fmla="*/ 21 w 35"/>
                <a:gd name="T3" fmla="*/ 42 h 42"/>
                <a:gd name="T4" fmla="*/ 19 w 35"/>
                <a:gd name="T5" fmla="*/ 40 h 42"/>
                <a:gd name="T6" fmla="*/ 16 w 35"/>
                <a:gd name="T7" fmla="*/ 40 h 42"/>
                <a:gd name="T8" fmla="*/ 16 w 35"/>
                <a:gd name="T9" fmla="*/ 37 h 42"/>
                <a:gd name="T10" fmla="*/ 13 w 35"/>
                <a:gd name="T11" fmla="*/ 37 h 42"/>
                <a:gd name="T12" fmla="*/ 11 w 35"/>
                <a:gd name="T13" fmla="*/ 34 h 42"/>
                <a:gd name="T14" fmla="*/ 8 w 35"/>
                <a:gd name="T15" fmla="*/ 34 h 42"/>
                <a:gd name="T16" fmla="*/ 5 w 35"/>
                <a:gd name="T17" fmla="*/ 32 h 42"/>
                <a:gd name="T18" fmla="*/ 5 w 35"/>
                <a:gd name="T19" fmla="*/ 29 h 42"/>
                <a:gd name="T20" fmla="*/ 3 w 35"/>
                <a:gd name="T21" fmla="*/ 26 h 42"/>
                <a:gd name="T22" fmla="*/ 3 w 35"/>
                <a:gd name="T23" fmla="*/ 24 h 42"/>
                <a:gd name="T24" fmla="*/ 0 w 35"/>
                <a:gd name="T25" fmla="*/ 21 h 42"/>
                <a:gd name="T26" fmla="*/ 0 w 35"/>
                <a:gd name="T27" fmla="*/ 18 h 42"/>
                <a:gd name="T28" fmla="*/ 0 w 35"/>
                <a:gd name="T29" fmla="*/ 13 h 42"/>
                <a:gd name="T30" fmla="*/ 3 w 35"/>
                <a:gd name="T31" fmla="*/ 10 h 42"/>
                <a:gd name="T32" fmla="*/ 3 w 35"/>
                <a:gd name="T33" fmla="*/ 8 h 42"/>
                <a:gd name="T34" fmla="*/ 5 w 35"/>
                <a:gd name="T35" fmla="*/ 8 h 42"/>
                <a:gd name="T36" fmla="*/ 8 w 35"/>
                <a:gd name="T37" fmla="*/ 5 h 42"/>
                <a:gd name="T38" fmla="*/ 11 w 35"/>
                <a:gd name="T39" fmla="*/ 2 h 42"/>
                <a:gd name="T40" fmla="*/ 13 w 35"/>
                <a:gd name="T41" fmla="*/ 0 h 42"/>
                <a:gd name="T42" fmla="*/ 16 w 35"/>
                <a:gd name="T43" fmla="*/ 0 h 42"/>
                <a:gd name="T44" fmla="*/ 21 w 35"/>
                <a:gd name="T45" fmla="*/ 0 h 42"/>
                <a:gd name="T46" fmla="*/ 27 w 35"/>
                <a:gd name="T47" fmla="*/ 2 h 42"/>
                <a:gd name="T48" fmla="*/ 27 w 35"/>
                <a:gd name="T49" fmla="*/ 5 h 42"/>
                <a:gd name="T50" fmla="*/ 29 w 35"/>
                <a:gd name="T51" fmla="*/ 5 h 42"/>
                <a:gd name="T52" fmla="*/ 29 w 35"/>
                <a:gd name="T53" fmla="*/ 8 h 42"/>
                <a:gd name="T54" fmla="*/ 29 w 35"/>
                <a:gd name="T55" fmla="*/ 10 h 42"/>
                <a:gd name="T56" fmla="*/ 29 w 35"/>
                <a:gd name="T57" fmla="*/ 10 h 42"/>
                <a:gd name="T58" fmla="*/ 29 w 35"/>
                <a:gd name="T59" fmla="*/ 10 h 42"/>
                <a:gd name="T60" fmla="*/ 32 w 35"/>
                <a:gd name="T61" fmla="*/ 13 h 42"/>
                <a:gd name="T62" fmla="*/ 32 w 35"/>
                <a:gd name="T63" fmla="*/ 16 h 42"/>
                <a:gd name="T64" fmla="*/ 32 w 35"/>
                <a:gd name="T65" fmla="*/ 16 h 42"/>
                <a:gd name="T66" fmla="*/ 35 w 35"/>
                <a:gd name="T67" fmla="*/ 18 h 42"/>
                <a:gd name="T68" fmla="*/ 35 w 35"/>
                <a:gd name="T69" fmla="*/ 21 h 42"/>
                <a:gd name="T70" fmla="*/ 35 w 35"/>
                <a:gd name="T71" fmla="*/ 24 h 42"/>
                <a:gd name="T72" fmla="*/ 35 w 35"/>
                <a:gd name="T73" fmla="*/ 24 h 42"/>
                <a:gd name="T74" fmla="*/ 35 w 35"/>
                <a:gd name="T75" fmla="*/ 26 h 42"/>
                <a:gd name="T76" fmla="*/ 32 w 35"/>
                <a:gd name="T77" fmla="*/ 29 h 42"/>
                <a:gd name="T78" fmla="*/ 32 w 35"/>
                <a:gd name="T79" fmla="*/ 29 h 42"/>
                <a:gd name="T80" fmla="*/ 32 w 35"/>
                <a:gd name="T81" fmla="*/ 29 h 42"/>
                <a:gd name="T82" fmla="*/ 32 w 35"/>
                <a:gd name="T83" fmla="*/ 32 h 42"/>
                <a:gd name="T84" fmla="*/ 29 w 35"/>
                <a:gd name="T85" fmla="*/ 32 h 42"/>
                <a:gd name="T86" fmla="*/ 29 w 35"/>
                <a:gd name="T87" fmla="*/ 34 h 42"/>
                <a:gd name="T88" fmla="*/ 27 w 35"/>
                <a:gd name="T89" fmla="*/ 34 h 42"/>
                <a:gd name="T90" fmla="*/ 27 w 35"/>
                <a:gd name="T91" fmla="*/ 37 h 42"/>
                <a:gd name="T92" fmla="*/ 27 w 35"/>
                <a:gd name="T93" fmla="*/ 40 h 42"/>
                <a:gd name="T94" fmla="*/ 27 w 35"/>
                <a:gd name="T95" fmla="*/ 40 h 42"/>
                <a:gd name="T96" fmla="*/ 24 w 35"/>
                <a:gd name="T9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" h="42" extrusionOk="0">
                  <a:moveTo>
                    <a:pt x="24" y="42"/>
                  </a:moveTo>
                  <a:lnTo>
                    <a:pt x="24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11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2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5" y="8"/>
                  </a:lnTo>
                  <a:lnTo>
                    <a:pt x="5" y="5"/>
                  </a:lnTo>
                  <a:lnTo>
                    <a:pt x="8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8" name="Freeform 8863">
              <a:extLst>
                <a:ext uri="{FF2B5EF4-FFF2-40B4-BE49-F238E27FC236}">
                  <a16:creationId xmlns:a16="http://schemas.microsoft.com/office/drawing/2014/main" id="{EA045C9C-7506-B14B-967D-6AFA9C183F30}"/>
                </a:ext>
              </a:extLst>
            </p:cNvPr>
            <p:cNvSpPr/>
            <p:nvPr/>
          </p:nvSpPr>
          <p:spPr bwMode="auto">
            <a:xfrm>
              <a:off x="8652665" y="1576390"/>
              <a:ext cx="190501" cy="147639"/>
            </a:xfrm>
            <a:custGeom>
              <a:avLst/>
              <a:gdLst>
                <a:gd name="T0" fmla="*/ 16 w 120"/>
                <a:gd name="T1" fmla="*/ 18 h 93"/>
                <a:gd name="T2" fmla="*/ 19 w 120"/>
                <a:gd name="T3" fmla="*/ 18 h 93"/>
                <a:gd name="T4" fmla="*/ 24 w 120"/>
                <a:gd name="T5" fmla="*/ 16 h 93"/>
                <a:gd name="T6" fmla="*/ 27 w 120"/>
                <a:gd name="T7" fmla="*/ 10 h 93"/>
                <a:gd name="T8" fmla="*/ 29 w 120"/>
                <a:gd name="T9" fmla="*/ 5 h 93"/>
                <a:gd name="T10" fmla="*/ 35 w 120"/>
                <a:gd name="T11" fmla="*/ 0 h 93"/>
                <a:gd name="T12" fmla="*/ 43 w 120"/>
                <a:gd name="T13" fmla="*/ 2 h 93"/>
                <a:gd name="T14" fmla="*/ 51 w 120"/>
                <a:gd name="T15" fmla="*/ 0 h 93"/>
                <a:gd name="T16" fmla="*/ 69 w 120"/>
                <a:gd name="T17" fmla="*/ 2 h 93"/>
                <a:gd name="T18" fmla="*/ 77 w 120"/>
                <a:gd name="T19" fmla="*/ 5 h 93"/>
                <a:gd name="T20" fmla="*/ 88 w 120"/>
                <a:gd name="T21" fmla="*/ 10 h 93"/>
                <a:gd name="T22" fmla="*/ 99 w 120"/>
                <a:gd name="T23" fmla="*/ 13 h 93"/>
                <a:gd name="T24" fmla="*/ 107 w 120"/>
                <a:gd name="T25" fmla="*/ 18 h 93"/>
                <a:gd name="T26" fmla="*/ 107 w 120"/>
                <a:gd name="T27" fmla="*/ 24 h 93"/>
                <a:gd name="T28" fmla="*/ 109 w 120"/>
                <a:gd name="T29" fmla="*/ 29 h 93"/>
                <a:gd name="T30" fmla="*/ 117 w 120"/>
                <a:gd name="T31" fmla="*/ 37 h 93"/>
                <a:gd name="T32" fmla="*/ 120 w 120"/>
                <a:gd name="T33" fmla="*/ 42 h 93"/>
                <a:gd name="T34" fmla="*/ 117 w 120"/>
                <a:gd name="T35" fmla="*/ 42 h 93"/>
                <a:gd name="T36" fmla="*/ 115 w 120"/>
                <a:gd name="T37" fmla="*/ 48 h 93"/>
                <a:gd name="T38" fmla="*/ 107 w 120"/>
                <a:gd name="T39" fmla="*/ 50 h 93"/>
                <a:gd name="T40" fmla="*/ 99 w 120"/>
                <a:gd name="T41" fmla="*/ 53 h 93"/>
                <a:gd name="T42" fmla="*/ 93 w 120"/>
                <a:gd name="T43" fmla="*/ 56 h 93"/>
                <a:gd name="T44" fmla="*/ 88 w 120"/>
                <a:gd name="T45" fmla="*/ 58 h 93"/>
                <a:gd name="T46" fmla="*/ 85 w 120"/>
                <a:gd name="T47" fmla="*/ 58 h 93"/>
                <a:gd name="T48" fmla="*/ 75 w 120"/>
                <a:gd name="T49" fmla="*/ 61 h 93"/>
                <a:gd name="T50" fmla="*/ 69 w 120"/>
                <a:gd name="T51" fmla="*/ 64 h 93"/>
                <a:gd name="T52" fmla="*/ 61 w 120"/>
                <a:gd name="T53" fmla="*/ 66 h 93"/>
                <a:gd name="T54" fmla="*/ 53 w 120"/>
                <a:gd name="T55" fmla="*/ 66 h 93"/>
                <a:gd name="T56" fmla="*/ 43 w 120"/>
                <a:gd name="T57" fmla="*/ 66 h 93"/>
                <a:gd name="T58" fmla="*/ 40 w 120"/>
                <a:gd name="T59" fmla="*/ 69 h 93"/>
                <a:gd name="T60" fmla="*/ 35 w 120"/>
                <a:gd name="T61" fmla="*/ 66 h 93"/>
                <a:gd name="T62" fmla="*/ 29 w 120"/>
                <a:gd name="T63" fmla="*/ 69 h 93"/>
                <a:gd name="T64" fmla="*/ 24 w 120"/>
                <a:gd name="T65" fmla="*/ 72 h 93"/>
                <a:gd name="T66" fmla="*/ 21 w 120"/>
                <a:gd name="T67" fmla="*/ 75 h 93"/>
                <a:gd name="T68" fmla="*/ 16 w 120"/>
                <a:gd name="T69" fmla="*/ 77 h 93"/>
                <a:gd name="T70" fmla="*/ 13 w 120"/>
                <a:gd name="T71" fmla="*/ 83 h 93"/>
                <a:gd name="T72" fmla="*/ 13 w 120"/>
                <a:gd name="T73" fmla="*/ 85 h 93"/>
                <a:gd name="T74" fmla="*/ 13 w 120"/>
                <a:gd name="T75" fmla="*/ 85 h 93"/>
                <a:gd name="T76" fmla="*/ 11 w 120"/>
                <a:gd name="T77" fmla="*/ 91 h 93"/>
                <a:gd name="T78" fmla="*/ 5 w 120"/>
                <a:gd name="T79" fmla="*/ 93 h 93"/>
                <a:gd name="T80" fmla="*/ 3 w 120"/>
                <a:gd name="T81" fmla="*/ 91 h 93"/>
                <a:gd name="T82" fmla="*/ 0 w 120"/>
                <a:gd name="T83" fmla="*/ 88 h 93"/>
                <a:gd name="T84" fmla="*/ 0 w 120"/>
                <a:gd name="T85" fmla="*/ 85 h 93"/>
                <a:gd name="T86" fmla="*/ 0 w 120"/>
                <a:gd name="T87" fmla="*/ 83 h 93"/>
                <a:gd name="T88" fmla="*/ 5 w 120"/>
                <a:gd name="T89" fmla="*/ 80 h 93"/>
                <a:gd name="T90" fmla="*/ 8 w 120"/>
                <a:gd name="T91" fmla="*/ 77 h 93"/>
                <a:gd name="T92" fmla="*/ 11 w 120"/>
                <a:gd name="T93" fmla="*/ 75 h 93"/>
                <a:gd name="T94" fmla="*/ 13 w 120"/>
                <a:gd name="T95" fmla="*/ 75 h 93"/>
                <a:gd name="T96" fmla="*/ 16 w 120"/>
                <a:gd name="T97" fmla="*/ 69 h 93"/>
                <a:gd name="T98" fmla="*/ 19 w 120"/>
                <a:gd name="T99" fmla="*/ 64 h 93"/>
                <a:gd name="T100" fmla="*/ 19 w 120"/>
                <a:gd name="T101" fmla="*/ 58 h 93"/>
                <a:gd name="T102" fmla="*/ 19 w 120"/>
                <a:gd name="T103" fmla="*/ 53 h 93"/>
                <a:gd name="T104" fmla="*/ 16 w 120"/>
                <a:gd name="T105" fmla="*/ 48 h 93"/>
                <a:gd name="T106" fmla="*/ 16 w 120"/>
                <a:gd name="T107" fmla="*/ 42 h 93"/>
                <a:gd name="T108" fmla="*/ 13 w 120"/>
                <a:gd name="T109" fmla="*/ 34 h 93"/>
                <a:gd name="T110" fmla="*/ 13 w 120"/>
                <a:gd name="T111" fmla="*/ 29 h 93"/>
                <a:gd name="T112" fmla="*/ 13 w 120"/>
                <a:gd name="T113" fmla="*/ 26 h 93"/>
                <a:gd name="T114" fmla="*/ 13 w 120"/>
                <a:gd name="T115" fmla="*/ 21 h 93"/>
                <a:gd name="T116" fmla="*/ 13 w 120"/>
                <a:gd name="T117" fmla="*/ 1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0" h="93" extrusionOk="0"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3"/>
                  </a:lnTo>
                  <a:lnTo>
                    <a:pt x="24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29" y="5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4" y="2"/>
                  </a:lnTo>
                  <a:lnTo>
                    <a:pt x="69" y="2"/>
                  </a:lnTo>
                  <a:lnTo>
                    <a:pt x="69" y="5"/>
                  </a:lnTo>
                  <a:lnTo>
                    <a:pt x="72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80" y="8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8" y="10"/>
                  </a:lnTo>
                  <a:lnTo>
                    <a:pt x="91" y="10"/>
                  </a:lnTo>
                  <a:lnTo>
                    <a:pt x="93" y="10"/>
                  </a:lnTo>
                  <a:lnTo>
                    <a:pt x="96" y="13"/>
                  </a:lnTo>
                  <a:lnTo>
                    <a:pt x="99" y="13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6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12" y="34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7" y="37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20" y="40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0"/>
                  </a:lnTo>
                  <a:lnTo>
                    <a:pt x="112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4" y="50"/>
                  </a:lnTo>
                  <a:lnTo>
                    <a:pt x="104" y="53"/>
                  </a:lnTo>
                  <a:lnTo>
                    <a:pt x="101" y="53"/>
                  </a:lnTo>
                  <a:lnTo>
                    <a:pt x="99" y="53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3" y="53"/>
                  </a:lnTo>
                  <a:lnTo>
                    <a:pt x="93" y="56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3" y="61"/>
                  </a:lnTo>
                  <a:lnTo>
                    <a:pt x="80" y="61"/>
                  </a:lnTo>
                  <a:lnTo>
                    <a:pt x="77" y="61"/>
                  </a:lnTo>
                  <a:lnTo>
                    <a:pt x="75" y="61"/>
                  </a:lnTo>
                  <a:lnTo>
                    <a:pt x="72" y="61"/>
                  </a:lnTo>
                  <a:lnTo>
                    <a:pt x="72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7" y="66"/>
                  </a:lnTo>
                  <a:lnTo>
                    <a:pt x="64" y="66"/>
                  </a:lnTo>
                  <a:lnTo>
                    <a:pt x="61" y="66"/>
                  </a:lnTo>
                  <a:lnTo>
                    <a:pt x="61" y="66"/>
                  </a:lnTo>
                  <a:lnTo>
                    <a:pt x="59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5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5" y="66"/>
                  </a:lnTo>
                  <a:lnTo>
                    <a:pt x="35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1" y="72"/>
                  </a:lnTo>
                  <a:lnTo>
                    <a:pt x="21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5" y="91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0" y="91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3" y="83"/>
                  </a:lnTo>
                  <a:lnTo>
                    <a:pt x="3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6" y="37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49" name="Freeform 8864">
              <a:extLst>
                <a:ext uri="{FF2B5EF4-FFF2-40B4-BE49-F238E27FC236}">
                  <a16:creationId xmlns:a16="http://schemas.microsoft.com/office/drawing/2014/main" id="{E21D4234-0471-AB42-B214-B7C4F6508FC1}"/>
                </a:ext>
              </a:extLst>
            </p:cNvPr>
            <p:cNvSpPr/>
            <p:nvPr/>
          </p:nvSpPr>
          <p:spPr bwMode="auto">
            <a:xfrm>
              <a:off x="1119981" y="5495925"/>
              <a:ext cx="198437" cy="147639"/>
            </a:xfrm>
            <a:custGeom>
              <a:avLst/>
              <a:gdLst>
                <a:gd name="T0" fmla="*/ 109 w 125"/>
                <a:gd name="T1" fmla="*/ 29 h 93"/>
                <a:gd name="T2" fmla="*/ 106 w 125"/>
                <a:gd name="T3" fmla="*/ 27 h 93"/>
                <a:gd name="T4" fmla="*/ 90 w 125"/>
                <a:gd name="T5" fmla="*/ 35 h 93"/>
                <a:gd name="T6" fmla="*/ 93 w 125"/>
                <a:gd name="T7" fmla="*/ 40 h 93"/>
                <a:gd name="T8" fmla="*/ 88 w 125"/>
                <a:gd name="T9" fmla="*/ 59 h 93"/>
                <a:gd name="T10" fmla="*/ 90 w 125"/>
                <a:gd name="T11" fmla="*/ 67 h 93"/>
                <a:gd name="T12" fmla="*/ 93 w 125"/>
                <a:gd name="T13" fmla="*/ 69 h 93"/>
                <a:gd name="T14" fmla="*/ 93 w 125"/>
                <a:gd name="T15" fmla="*/ 75 h 93"/>
                <a:gd name="T16" fmla="*/ 90 w 125"/>
                <a:gd name="T17" fmla="*/ 88 h 93"/>
                <a:gd name="T18" fmla="*/ 85 w 125"/>
                <a:gd name="T19" fmla="*/ 91 h 93"/>
                <a:gd name="T20" fmla="*/ 77 w 125"/>
                <a:gd name="T21" fmla="*/ 91 h 93"/>
                <a:gd name="T22" fmla="*/ 72 w 125"/>
                <a:gd name="T23" fmla="*/ 88 h 93"/>
                <a:gd name="T24" fmla="*/ 69 w 125"/>
                <a:gd name="T25" fmla="*/ 85 h 93"/>
                <a:gd name="T26" fmla="*/ 66 w 125"/>
                <a:gd name="T27" fmla="*/ 93 h 93"/>
                <a:gd name="T28" fmla="*/ 58 w 125"/>
                <a:gd name="T29" fmla="*/ 88 h 93"/>
                <a:gd name="T30" fmla="*/ 56 w 125"/>
                <a:gd name="T31" fmla="*/ 91 h 93"/>
                <a:gd name="T32" fmla="*/ 50 w 125"/>
                <a:gd name="T33" fmla="*/ 88 h 93"/>
                <a:gd name="T34" fmla="*/ 42 w 125"/>
                <a:gd name="T35" fmla="*/ 85 h 93"/>
                <a:gd name="T36" fmla="*/ 34 w 125"/>
                <a:gd name="T37" fmla="*/ 88 h 93"/>
                <a:gd name="T38" fmla="*/ 29 w 125"/>
                <a:gd name="T39" fmla="*/ 85 h 93"/>
                <a:gd name="T40" fmla="*/ 21 w 125"/>
                <a:gd name="T41" fmla="*/ 83 h 93"/>
                <a:gd name="T42" fmla="*/ 16 w 125"/>
                <a:gd name="T43" fmla="*/ 83 h 93"/>
                <a:gd name="T44" fmla="*/ 10 w 125"/>
                <a:gd name="T45" fmla="*/ 75 h 93"/>
                <a:gd name="T46" fmla="*/ 5 w 125"/>
                <a:gd name="T47" fmla="*/ 69 h 93"/>
                <a:gd name="T48" fmla="*/ 8 w 125"/>
                <a:gd name="T49" fmla="*/ 67 h 93"/>
                <a:gd name="T50" fmla="*/ 16 w 125"/>
                <a:gd name="T51" fmla="*/ 64 h 93"/>
                <a:gd name="T52" fmla="*/ 13 w 125"/>
                <a:gd name="T53" fmla="*/ 59 h 93"/>
                <a:gd name="T54" fmla="*/ 10 w 125"/>
                <a:gd name="T55" fmla="*/ 51 h 93"/>
                <a:gd name="T56" fmla="*/ 5 w 125"/>
                <a:gd name="T57" fmla="*/ 43 h 93"/>
                <a:gd name="T58" fmla="*/ 2 w 125"/>
                <a:gd name="T59" fmla="*/ 35 h 93"/>
                <a:gd name="T60" fmla="*/ 8 w 125"/>
                <a:gd name="T61" fmla="*/ 32 h 93"/>
                <a:gd name="T62" fmla="*/ 10 w 125"/>
                <a:gd name="T63" fmla="*/ 40 h 93"/>
                <a:gd name="T64" fmla="*/ 21 w 125"/>
                <a:gd name="T65" fmla="*/ 35 h 93"/>
                <a:gd name="T66" fmla="*/ 32 w 125"/>
                <a:gd name="T67" fmla="*/ 32 h 93"/>
                <a:gd name="T68" fmla="*/ 42 w 125"/>
                <a:gd name="T69" fmla="*/ 21 h 93"/>
                <a:gd name="T70" fmla="*/ 45 w 125"/>
                <a:gd name="T71" fmla="*/ 29 h 93"/>
                <a:gd name="T72" fmla="*/ 50 w 125"/>
                <a:gd name="T73" fmla="*/ 32 h 93"/>
                <a:gd name="T74" fmla="*/ 58 w 125"/>
                <a:gd name="T75" fmla="*/ 27 h 93"/>
                <a:gd name="T76" fmla="*/ 69 w 125"/>
                <a:gd name="T77" fmla="*/ 24 h 93"/>
                <a:gd name="T78" fmla="*/ 69 w 125"/>
                <a:gd name="T79" fmla="*/ 29 h 93"/>
                <a:gd name="T80" fmla="*/ 80 w 125"/>
                <a:gd name="T81" fmla="*/ 32 h 93"/>
                <a:gd name="T82" fmla="*/ 85 w 125"/>
                <a:gd name="T83" fmla="*/ 29 h 93"/>
                <a:gd name="T84" fmla="*/ 90 w 125"/>
                <a:gd name="T85" fmla="*/ 27 h 93"/>
                <a:gd name="T86" fmla="*/ 93 w 125"/>
                <a:gd name="T87" fmla="*/ 13 h 93"/>
                <a:gd name="T88" fmla="*/ 90 w 125"/>
                <a:gd name="T89" fmla="*/ 5 h 93"/>
                <a:gd name="T90" fmla="*/ 98 w 125"/>
                <a:gd name="T91" fmla="*/ 3 h 93"/>
                <a:gd name="T92" fmla="*/ 104 w 125"/>
                <a:gd name="T93" fmla="*/ 5 h 93"/>
                <a:gd name="T94" fmla="*/ 109 w 125"/>
                <a:gd name="T95" fmla="*/ 8 h 93"/>
                <a:gd name="T96" fmla="*/ 120 w 125"/>
                <a:gd name="T97" fmla="*/ 13 h 93"/>
                <a:gd name="T98" fmla="*/ 122 w 125"/>
                <a:gd name="T99" fmla="*/ 21 h 93"/>
                <a:gd name="T100" fmla="*/ 122 w 125"/>
                <a:gd name="T101" fmla="*/ 29 h 93"/>
                <a:gd name="T102" fmla="*/ 120 w 125"/>
                <a:gd name="T103" fmla="*/ 2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5" h="93" extrusionOk="0">
                  <a:moveTo>
                    <a:pt x="120" y="32"/>
                  </a:moveTo>
                  <a:lnTo>
                    <a:pt x="114" y="35"/>
                  </a:lnTo>
                  <a:lnTo>
                    <a:pt x="112" y="35"/>
                  </a:lnTo>
                  <a:lnTo>
                    <a:pt x="114" y="32"/>
                  </a:lnTo>
                  <a:lnTo>
                    <a:pt x="109" y="29"/>
                  </a:lnTo>
                  <a:lnTo>
                    <a:pt x="106" y="35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1" y="32"/>
                  </a:lnTo>
                  <a:lnTo>
                    <a:pt x="106" y="27"/>
                  </a:lnTo>
                  <a:lnTo>
                    <a:pt x="98" y="24"/>
                  </a:lnTo>
                  <a:lnTo>
                    <a:pt x="93" y="29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5"/>
                  </a:lnTo>
                  <a:lnTo>
                    <a:pt x="88" y="35"/>
                  </a:lnTo>
                  <a:lnTo>
                    <a:pt x="88" y="37"/>
                  </a:lnTo>
                  <a:lnTo>
                    <a:pt x="88" y="40"/>
                  </a:lnTo>
                  <a:lnTo>
                    <a:pt x="90" y="37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82" y="53"/>
                  </a:lnTo>
                  <a:lnTo>
                    <a:pt x="85" y="59"/>
                  </a:lnTo>
                  <a:lnTo>
                    <a:pt x="88" y="59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90" y="56"/>
                  </a:lnTo>
                  <a:lnTo>
                    <a:pt x="90" y="61"/>
                  </a:lnTo>
                  <a:lnTo>
                    <a:pt x="90" y="64"/>
                  </a:lnTo>
                  <a:lnTo>
                    <a:pt x="90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7"/>
                  </a:lnTo>
                  <a:lnTo>
                    <a:pt x="93" y="80"/>
                  </a:lnTo>
                  <a:lnTo>
                    <a:pt x="93" y="85"/>
                  </a:lnTo>
                  <a:lnTo>
                    <a:pt x="90" y="85"/>
                  </a:lnTo>
                  <a:lnTo>
                    <a:pt x="90" y="88"/>
                  </a:lnTo>
                  <a:lnTo>
                    <a:pt x="90" y="91"/>
                  </a:lnTo>
                  <a:lnTo>
                    <a:pt x="88" y="91"/>
                  </a:lnTo>
                  <a:lnTo>
                    <a:pt x="88" y="93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2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77" y="93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6" y="91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4" y="93"/>
                  </a:lnTo>
                  <a:lnTo>
                    <a:pt x="64" y="93"/>
                  </a:lnTo>
                  <a:lnTo>
                    <a:pt x="61" y="91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1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5" y="83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7" y="85"/>
                  </a:lnTo>
                  <a:lnTo>
                    <a:pt x="37" y="85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6" y="83"/>
                  </a:lnTo>
                  <a:lnTo>
                    <a:pt x="13" y="83"/>
                  </a:lnTo>
                  <a:lnTo>
                    <a:pt x="13" y="80"/>
                  </a:lnTo>
                  <a:lnTo>
                    <a:pt x="13" y="77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5" y="72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3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1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6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1"/>
                  </a:lnTo>
                  <a:lnTo>
                    <a:pt x="8" y="48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5" y="43"/>
                  </a:lnTo>
                  <a:lnTo>
                    <a:pt x="5" y="40"/>
                  </a:lnTo>
                  <a:lnTo>
                    <a:pt x="2" y="40"/>
                  </a:lnTo>
                  <a:lnTo>
                    <a:pt x="2" y="37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0" y="37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3" y="37"/>
                  </a:lnTo>
                  <a:lnTo>
                    <a:pt x="16" y="37"/>
                  </a:lnTo>
                  <a:lnTo>
                    <a:pt x="18" y="37"/>
                  </a:lnTo>
                  <a:lnTo>
                    <a:pt x="18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4" y="32"/>
                  </a:lnTo>
                  <a:lnTo>
                    <a:pt x="26" y="32"/>
                  </a:lnTo>
                  <a:lnTo>
                    <a:pt x="29" y="32"/>
                  </a:lnTo>
                  <a:lnTo>
                    <a:pt x="32" y="32"/>
                  </a:lnTo>
                  <a:lnTo>
                    <a:pt x="32" y="29"/>
                  </a:lnTo>
                  <a:lnTo>
                    <a:pt x="34" y="27"/>
                  </a:lnTo>
                  <a:lnTo>
                    <a:pt x="37" y="24"/>
                  </a:lnTo>
                  <a:lnTo>
                    <a:pt x="40" y="24"/>
                  </a:lnTo>
                  <a:lnTo>
                    <a:pt x="42" y="21"/>
                  </a:lnTo>
                  <a:lnTo>
                    <a:pt x="45" y="21"/>
                  </a:lnTo>
                  <a:lnTo>
                    <a:pt x="48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3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5"/>
                  </a:lnTo>
                  <a:lnTo>
                    <a:pt x="56" y="35"/>
                  </a:lnTo>
                  <a:lnTo>
                    <a:pt x="58" y="32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69" y="21"/>
                  </a:lnTo>
                  <a:lnTo>
                    <a:pt x="69" y="24"/>
                  </a:lnTo>
                  <a:lnTo>
                    <a:pt x="69" y="27"/>
                  </a:lnTo>
                  <a:lnTo>
                    <a:pt x="69" y="29"/>
                  </a:lnTo>
                  <a:lnTo>
                    <a:pt x="66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2" y="29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5" y="35"/>
                  </a:lnTo>
                  <a:lnTo>
                    <a:pt x="85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90" y="29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6" y="24"/>
                  </a:lnTo>
                  <a:lnTo>
                    <a:pt x="93" y="21"/>
                  </a:lnTo>
                  <a:lnTo>
                    <a:pt x="96" y="16"/>
                  </a:lnTo>
                  <a:lnTo>
                    <a:pt x="96" y="13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8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5"/>
                  </a:lnTo>
                  <a:lnTo>
                    <a:pt x="104" y="5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2" y="11"/>
                  </a:lnTo>
                  <a:lnTo>
                    <a:pt x="114" y="11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6"/>
                  </a:lnTo>
                  <a:lnTo>
                    <a:pt x="122" y="19"/>
                  </a:lnTo>
                  <a:lnTo>
                    <a:pt x="125" y="19"/>
                  </a:lnTo>
                  <a:lnTo>
                    <a:pt x="122" y="21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17" y="29"/>
                  </a:lnTo>
                  <a:lnTo>
                    <a:pt x="120" y="29"/>
                  </a:lnTo>
                  <a:lnTo>
                    <a:pt x="120" y="3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0" name="Freeform 8865">
              <a:extLst>
                <a:ext uri="{FF2B5EF4-FFF2-40B4-BE49-F238E27FC236}">
                  <a16:creationId xmlns:a16="http://schemas.microsoft.com/office/drawing/2014/main" id="{CC5B7CC1-8510-F449-ABB8-D0A882C8EDC5}"/>
                </a:ext>
              </a:extLst>
            </p:cNvPr>
            <p:cNvSpPr/>
            <p:nvPr/>
          </p:nvSpPr>
          <p:spPr bwMode="auto">
            <a:xfrm>
              <a:off x="5333203" y="5665789"/>
              <a:ext cx="555625" cy="542925"/>
            </a:xfrm>
            <a:custGeom>
              <a:avLst/>
              <a:gdLst>
                <a:gd name="T0" fmla="*/ 176 w 350"/>
                <a:gd name="T1" fmla="*/ 8 h 342"/>
                <a:gd name="T2" fmla="*/ 179 w 350"/>
                <a:gd name="T3" fmla="*/ 32 h 342"/>
                <a:gd name="T4" fmla="*/ 160 w 350"/>
                <a:gd name="T5" fmla="*/ 45 h 342"/>
                <a:gd name="T6" fmla="*/ 144 w 350"/>
                <a:gd name="T7" fmla="*/ 56 h 342"/>
                <a:gd name="T8" fmla="*/ 123 w 350"/>
                <a:gd name="T9" fmla="*/ 48 h 342"/>
                <a:gd name="T10" fmla="*/ 99 w 350"/>
                <a:gd name="T11" fmla="*/ 88 h 342"/>
                <a:gd name="T12" fmla="*/ 85 w 350"/>
                <a:gd name="T13" fmla="*/ 91 h 342"/>
                <a:gd name="T14" fmla="*/ 64 w 350"/>
                <a:gd name="T15" fmla="*/ 99 h 342"/>
                <a:gd name="T16" fmla="*/ 45 w 350"/>
                <a:gd name="T17" fmla="*/ 107 h 342"/>
                <a:gd name="T18" fmla="*/ 21 w 350"/>
                <a:gd name="T19" fmla="*/ 115 h 342"/>
                <a:gd name="T20" fmla="*/ 8 w 350"/>
                <a:gd name="T21" fmla="*/ 125 h 342"/>
                <a:gd name="T22" fmla="*/ 11 w 350"/>
                <a:gd name="T23" fmla="*/ 136 h 342"/>
                <a:gd name="T24" fmla="*/ 29 w 350"/>
                <a:gd name="T25" fmla="*/ 149 h 342"/>
                <a:gd name="T26" fmla="*/ 29 w 350"/>
                <a:gd name="T27" fmla="*/ 168 h 342"/>
                <a:gd name="T28" fmla="*/ 11 w 350"/>
                <a:gd name="T29" fmla="*/ 173 h 342"/>
                <a:gd name="T30" fmla="*/ 13 w 350"/>
                <a:gd name="T31" fmla="*/ 197 h 342"/>
                <a:gd name="T32" fmla="*/ 24 w 350"/>
                <a:gd name="T33" fmla="*/ 214 h 342"/>
                <a:gd name="T34" fmla="*/ 40 w 350"/>
                <a:gd name="T35" fmla="*/ 224 h 342"/>
                <a:gd name="T36" fmla="*/ 56 w 350"/>
                <a:gd name="T37" fmla="*/ 238 h 342"/>
                <a:gd name="T38" fmla="*/ 59 w 350"/>
                <a:gd name="T39" fmla="*/ 254 h 342"/>
                <a:gd name="T40" fmla="*/ 61 w 350"/>
                <a:gd name="T41" fmla="*/ 278 h 342"/>
                <a:gd name="T42" fmla="*/ 83 w 350"/>
                <a:gd name="T43" fmla="*/ 283 h 342"/>
                <a:gd name="T44" fmla="*/ 99 w 350"/>
                <a:gd name="T45" fmla="*/ 288 h 342"/>
                <a:gd name="T46" fmla="*/ 112 w 350"/>
                <a:gd name="T47" fmla="*/ 291 h 342"/>
                <a:gd name="T48" fmla="*/ 128 w 350"/>
                <a:gd name="T49" fmla="*/ 286 h 342"/>
                <a:gd name="T50" fmla="*/ 144 w 350"/>
                <a:gd name="T51" fmla="*/ 270 h 342"/>
                <a:gd name="T52" fmla="*/ 158 w 350"/>
                <a:gd name="T53" fmla="*/ 278 h 342"/>
                <a:gd name="T54" fmla="*/ 155 w 350"/>
                <a:gd name="T55" fmla="*/ 291 h 342"/>
                <a:gd name="T56" fmla="*/ 166 w 350"/>
                <a:gd name="T57" fmla="*/ 310 h 342"/>
                <a:gd name="T58" fmla="*/ 176 w 350"/>
                <a:gd name="T59" fmla="*/ 323 h 342"/>
                <a:gd name="T60" fmla="*/ 184 w 350"/>
                <a:gd name="T61" fmla="*/ 334 h 342"/>
                <a:gd name="T62" fmla="*/ 198 w 350"/>
                <a:gd name="T63" fmla="*/ 336 h 342"/>
                <a:gd name="T64" fmla="*/ 224 w 350"/>
                <a:gd name="T65" fmla="*/ 334 h 342"/>
                <a:gd name="T66" fmla="*/ 238 w 350"/>
                <a:gd name="T67" fmla="*/ 315 h 342"/>
                <a:gd name="T68" fmla="*/ 259 w 350"/>
                <a:gd name="T69" fmla="*/ 310 h 342"/>
                <a:gd name="T70" fmla="*/ 283 w 350"/>
                <a:gd name="T71" fmla="*/ 310 h 342"/>
                <a:gd name="T72" fmla="*/ 296 w 350"/>
                <a:gd name="T73" fmla="*/ 312 h 342"/>
                <a:gd name="T74" fmla="*/ 312 w 350"/>
                <a:gd name="T75" fmla="*/ 304 h 342"/>
                <a:gd name="T76" fmla="*/ 336 w 350"/>
                <a:gd name="T77" fmla="*/ 294 h 342"/>
                <a:gd name="T78" fmla="*/ 334 w 350"/>
                <a:gd name="T79" fmla="*/ 280 h 342"/>
                <a:gd name="T80" fmla="*/ 328 w 350"/>
                <a:gd name="T81" fmla="*/ 264 h 342"/>
                <a:gd name="T82" fmla="*/ 326 w 350"/>
                <a:gd name="T83" fmla="*/ 251 h 342"/>
                <a:gd name="T84" fmla="*/ 318 w 350"/>
                <a:gd name="T85" fmla="*/ 238 h 342"/>
                <a:gd name="T86" fmla="*/ 326 w 350"/>
                <a:gd name="T87" fmla="*/ 224 h 342"/>
                <a:gd name="T88" fmla="*/ 347 w 350"/>
                <a:gd name="T89" fmla="*/ 227 h 342"/>
                <a:gd name="T90" fmla="*/ 336 w 350"/>
                <a:gd name="T91" fmla="*/ 208 h 342"/>
                <a:gd name="T92" fmla="*/ 320 w 350"/>
                <a:gd name="T93" fmla="*/ 184 h 342"/>
                <a:gd name="T94" fmla="*/ 304 w 350"/>
                <a:gd name="T95" fmla="*/ 165 h 342"/>
                <a:gd name="T96" fmla="*/ 299 w 350"/>
                <a:gd name="T97" fmla="*/ 141 h 342"/>
                <a:gd name="T98" fmla="*/ 294 w 350"/>
                <a:gd name="T99" fmla="*/ 120 h 342"/>
                <a:gd name="T100" fmla="*/ 283 w 350"/>
                <a:gd name="T101" fmla="*/ 128 h 342"/>
                <a:gd name="T102" fmla="*/ 259 w 350"/>
                <a:gd name="T103" fmla="*/ 131 h 342"/>
                <a:gd name="T104" fmla="*/ 238 w 350"/>
                <a:gd name="T105" fmla="*/ 109 h 342"/>
                <a:gd name="T106" fmla="*/ 254 w 350"/>
                <a:gd name="T107" fmla="*/ 91 h 342"/>
                <a:gd name="T108" fmla="*/ 248 w 350"/>
                <a:gd name="T109" fmla="*/ 69 h 342"/>
                <a:gd name="T110" fmla="*/ 262 w 350"/>
                <a:gd name="T111" fmla="*/ 61 h 342"/>
                <a:gd name="T112" fmla="*/ 275 w 350"/>
                <a:gd name="T113" fmla="*/ 40 h 342"/>
                <a:gd name="T114" fmla="*/ 270 w 350"/>
                <a:gd name="T115" fmla="*/ 26 h 342"/>
                <a:gd name="T116" fmla="*/ 246 w 350"/>
                <a:gd name="T117" fmla="*/ 13 h 342"/>
                <a:gd name="T118" fmla="*/ 219 w 350"/>
                <a:gd name="T119" fmla="*/ 16 h 342"/>
                <a:gd name="T120" fmla="*/ 203 w 350"/>
                <a:gd name="T121" fmla="*/ 5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0" h="342" extrusionOk="0">
                  <a:moveTo>
                    <a:pt x="203" y="5"/>
                  </a:moveTo>
                  <a:lnTo>
                    <a:pt x="200" y="2"/>
                  </a:lnTo>
                  <a:lnTo>
                    <a:pt x="200" y="0"/>
                  </a:lnTo>
                  <a:lnTo>
                    <a:pt x="198" y="2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87" y="2"/>
                  </a:lnTo>
                  <a:lnTo>
                    <a:pt x="184" y="0"/>
                  </a:lnTo>
                  <a:lnTo>
                    <a:pt x="184" y="2"/>
                  </a:lnTo>
                  <a:lnTo>
                    <a:pt x="182" y="2"/>
                  </a:lnTo>
                  <a:lnTo>
                    <a:pt x="182" y="8"/>
                  </a:lnTo>
                  <a:lnTo>
                    <a:pt x="179" y="8"/>
                  </a:lnTo>
                  <a:lnTo>
                    <a:pt x="179" y="10"/>
                  </a:lnTo>
                  <a:lnTo>
                    <a:pt x="176" y="10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13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4" y="21"/>
                  </a:lnTo>
                  <a:lnTo>
                    <a:pt x="171" y="21"/>
                  </a:lnTo>
                  <a:lnTo>
                    <a:pt x="174" y="21"/>
                  </a:lnTo>
                  <a:lnTo>
                    <a:pt x="174" y="21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4" y="32"/>
                  </a:lnTo>
                  <a:lnTo>
                    <a:pt x="179" y="32"/>
                  </a:lnTo>
                  <a:lnTo>
                    <a:pt x="176" y="42"/>
                  </a:lnTo>
                  <a:lnTo>
                    <a:pt x="179" y="42"/>
                  </a:lnTo>
                  <a:lnTo>
                    <a:pt x="176" y="45"/>
                  </a:lnTo>
                  <a:lnTo>
                    <a:pt x="176" y="45"/>
                  </a:lnTo>
                  <a:lnTo>
                    <a:pt x="174" y="45"/>
                  </a:lnTo>
                  <a:lnTo>
                    <a:pt x="176" y="48"/>
                  </a:lnTo>
                  <a:lnTo>
                    <a:pt x="174" y="48"/>
                  </a:lnTo>
                  <a:lnTo>
                    <a:pt x="174" y="50"/>
                  </a:lnTo>
                  <a:lnTo>
                    <a:pt x="171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3" y="48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58" y="50"/>
                  </a:lnTo>
                  <a:lnTo>
                    <a:pt x="155" y="53"/>
                  </a:lnTo>
                  <a:lnTo>
                    <a:pt x="155" y="53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2" y="53"/>
                  </a:lnTo>
                  <a:lnTo>
                    <a:pt x="152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47" y="53"/>
                  </a:lnTo>
                  <a:lnTo>
                    <a:pt x="147" y="53"/>
                  </a:lnTo>
                  <a:lnTo>
                    <a:pt x="144" y="53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2" y="56"/>
                  </a:lnTo>
                  <a:lnTo>
                    <a:pt x="142" y="53"/>
                  </a:lnTo>
                  <a:lnTo>
                    <a:pt x="142" y="50"/>
                  </a:lnTo>
                  <a:lnTo>
                    <a:pt x="139" y="50"/>
                  </a:lnTo>
                  <a:lnTo>
                    <a:pt x="142" y="48"/>
                  </a:lnTo>
                  <a:lnTo>
                    <a:pt x="139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45"/>
                  </a:lnTo>
                  <a:lnTo>
                    <a:pt x="131" y="45"/>
                  </a:lnTo>
                  <a:lnTo>
                    <a:pt x="128" y="45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23" y="48"/>
                  </a:lnTo>
                  <a:lnTo>
                    <a:pt x="120" y="50"/>
                  </a:lnTo>
                  <a:lnTo>
                    <a:pt x="123" y="50"/>
                  </a:lnTo>
                  <a:lnTo>
                    <a:pt x="123" y="53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09" y="77"/>
                  </a:lnTo>
                  <a:lnTo>
                    <a:pt x="107" y="77"/>
                  </a:lnTo>
                  <a:lnTo>
                    <a:pt x="107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99" y="83"/>
                  </a:lnTo>
                  <a:lnTo>
                    <a:pt x="99" y="85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91"/>
                  </a:lnTo>
                  <a:lnTo>
                    <a:pt x="99" y="91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6" y="93"/>
                  </a:lnTo>
                  <a:lnTo>
                    <a:pt x="96" y="93"/>
                  </a:lnTo>
                  <a:lnTo>
                    <a:pt x="93" y="93"/>
                  </a:lnTo>
                  <a:lnTo>
                    <a:pt x="91" y="93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5" y="91"/>
                  </a:lnTo>
                  <a:lnTo>
                    <a:pt x="83" y="93"/>
                  </a:lnTo>
                  <a:lnTo>
                    <a:pt x="85" y="96"/>
                  </a:lnTo>
                  <a:lnTo>
                    <a:pt x="80" y="99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2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7" y="96"/>
                  </a:lnTo>
                  <a:lnTo>
                    <a:pt x="64" y="96"/>
                  </a:lnTo>
                  <a:lnTo>
                    <a:pt x="64" y="99"/>
                  </a:lnTo>
                  <a:lnTo>
                    <a:pt x="64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6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3" y="107"/>
                  </a:lnTo>
                  <a:lnTo>
                    <a:pt x="43" y="109"/>
                  </a:lnTo>
                  <a:lnTo>
                    <a:pt x="40" y="109"/>
                  </a:lnTo>
                  <a:lnTo>
                    <a:pt x="40" y="109"/>
                  </a:lnTo>
                  <a:lnTo>
                    <a:pt x="37" y="109"/>
                  </a:lnTo>
                  <a:lnTo>
                    <a:pt x="35" y="109"/>
                  </a:lnTo>
                  <a:lnTo>
                    <a:pt x="35" y="112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1" y="112"/>
                  </a:lnTo>
                  <a:lnTo>
                    <a:pt x="21" y="115"/>
                  </a:lnTo>
                  <a:lnTo>
                    <a:pt x="19" y="112"/>
                  </a:lnTo>
                  <a:lnTo>
                    <a:pt x="19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20"/>
                  </a:lnTo>
                  <a:lnTo>
                    <a:pt x="13" y="123"/>
                  </a:lnTo>
                  <a:lnTo>
                    <a:pt x="13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1" y="128"/>
                  </a:lnTo>
                  <a:lnTo>
                    <a:pt x="11" y="128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8" y="125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8" y="123"/>
                  </a:lnTo>
                  <a:lnTo>
                    <a:pt x="5" y="125"/>
                  </a:lnTo>
                  <a:lnTo>
                    <a:pt x="3" y="123"/>
                  </a:lnTo>
                  <a:lnTo>
                    <a:pt x="3" y="125"/>
                  </a:lnTo>
                  <a:lnTo>
                    <a:pt x="0" y="131"/>
                  </a:lnTo>
                  <a:lnTo>
                    <a:pt x="8" y="131"/>
                  </a:lnTo>
                  <a:lnTo>
                    <a:pt x="8" y="133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4" y="139"/>
                  </a:lnTo>
                  <a:lnTo>
                    <a:pt x="27" y="141"/>
                  </a:lnTo>
                  <a:lnTo>
                    <a:pt x="29" y="141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7"/>
                  </a:lnTo>
                  <a:lnTo>
                    <a:pt x="29" y="149"/>
                  </a:lnTo>
                  <a:lnTo>
                    <a:pt x="29" y="149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5" y="152"/>
                  </a:lnTo>
                  <a:lnTo>
                    <a:pt x="35" y="152"/>
                  </a:lnTo>
                  <a:lnTo>
                    <a:pt x="37" y="155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29" y="165"/>
                  </a:lnTo>
                  <a:lnTo>
                    <a:pt x="32" y="165"/>
                  </a:lnTo>
                  <a:lnTo>
                    <a:pt x="32" y="168"/>
                  </a:lnTo>
                  <a:lnTo>
                    <a:pt x="29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4" y="165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19" y="168"/>
                  </a:lnTo>
                  <a:lnTo>
                    <a:pt x="16" y="168"/>
                  </a:lnTo>
                  <a:lnTo>
                    <a:pt x="13" y="171"/>
                  </a:lnTo>
                  <a:lnTo>
                    <a:pt x="11" y="168"/>
                  </a:lnTo>
                  <a:lnTo>
                    <a:pt x="11" y="168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1" y="173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1" y="179"/>
                  </a:lnTo>
                  <a:lnTo>
                    <a:pt x="11" y="181"/>
                  </a:lnTo>
                  <a:lnTo>
                    <a:pt x="11" y="184"/>
                  </a:lnTo>
                  <a:lnTo>
                    <a:pt x="13" y="184"/>
                  </a:lnTo>
                  <a:lnTo>
                    <a:pt x="13" y="184"/>
                  </a:lnTo>
                  <a:lnTo>
                    <a:pt x="13" y="187"/>
                  </a:lnTo>
                  <a:lnTo>
                    <a:pt x="13" y="187"/>
                  </a:lnTo>
                  <a:lnTo>
                    <a:pt x="13" y="189"/>
                  </a:lnTo>
                  <a:lnTo>
                    <a:pt x="11" y="189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11" y="195"/>
                  </a:lnTo>
                  <a:lnTo>
                    <a:pt x="13" y="197"/>
                  </a:lnTo>
                  <a:lnTo>
                    <a:pt x="13" y="200"/>
                  </a:lnTo>
                  <a:lnTo>
                    <a:pt x="13" y="203"/>
                  </a:lnTo>
                  <a:lnTo>
                    <a:pt x="13" y="205"/>
                  </a:lnTo>
                  <a:lnTo>
                    <a:pt x="13" y="208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9" y="216"/>
                  </a:lnTo>
                  <a:lnTo>
                    <a:pt x="19" y="216"/>
                  </a:lnTo>
                  <a:lnTo>
                    <a:pt x="21" y="216"/>
                  </a:lnTo>
                  <a:lnTo>
                    <a:pt x="21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7" y="214"/>
                  </a:lnTo>
                  <a:lnTo>
                    <a:pt x="27" y="214"/>
                  </a:lnTo>
                  <a:lnTo>
                    <a:pt x="27" y="216"/>
                  </a:lnTo>
                  <a:lnTo>
                    <a:pt x="29" y="219"/>
                  </a:lnTo>
                  <a:lnTo>
                    <a:pt x="29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5" y="219"/>
                  </a:lnTo>
                  <a:lnTo>
                    <a:pt x="35" y="219"/>
                  </a:lnTo>
                  <a:lnTo>
                    <a:pt x="37" y="219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40" y="224"/>
                  </a:lnTo>
                  <a:lnTo>
                    <a:pt x="40" y="224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51" y="230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6" y="235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1" y="246"/>
                  </a:lnTo>
                  <a:lnTo>
                    <a:pt x="51" y="246"/>
                  </a:lnTo>
                  <a:lnTo>
                    <a:pt x="51" y="248"/>
                  </a:lnTo>
                  <a:lnTo>
                    <a:pt x="53" y="248"/>
                  </a:lnTo>
                  <a:lnTo>
                    <a:pt x="56" y="248"/>
                  </a:lnTo>
                  <a:lnTo>
                    <a:pt x="56" y="251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6"/>
                  </a:lnTo>
                  <a:lnTo>
                    <a:pt x="59" y="259"/>
                  </a:lnTo>
                  <a:lnTo>
                    <a:pt x="59" y="259"/>
                  </a:lnTo>
                  <a:lnTo>
                    <a:pt x="59" y="262"/>
                  </a:lnTo>
                  <a:lnTo>
                    <a:pt x="59" y="262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1" y="267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2"/>
                  </a:lnTo>
                  <a:lnTo>
                    <a:pt x="61" y="275"/>
                  </a:lnTo>
                  <a:lnTo>
                    <a:pt x="61" y="275"/>
                  </a:lnTo>
                  <a:lnTo>
                    <a:pt x="61" y="278"/>
                  </a:lnTo>
                  <a:lnTo>
                    <a:pt x="64" y="278"/>
                  </a:lnTo>
                  <a:lnTo>
                    <a:pt x="64" y="278"/>
                  </a:lnTo>
                  <a:lnTo>
                    <a:pt x="64" y="280"/>
                  </a:lnTo>
                  <a:lnTo>
                    <a:pt x="64" y="280"/>
                  </a:lnTo>
                  <a:lnTo>
                    <a:pt x="67" y="280"/>
                  </a:lnTo>
                  <a:lnTo>
                    <a:pt x="69" y="280"/>
                  </a:lnTo>
                  <a:lnTo>
                    <a:pt x="72" y="280"/>
                  </a:lnTo>
                  <a:lnTo>
                    <a:pt x="72" y="278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80"/>
                  </a:lnTo>
                  <a:lnTo>
                    <a:pt x="77" y="280"/>
                  </a:lnTo>
                  <a:lnTo>
                    <a:pt x="77" y="280"/>
                  </a:lnTo>
                  <a:lnTo>
                    <a:pt x="80" y="283"/>
                  </a:lnTo>
                  <a:lnTo>
                    <a:pt x="83" y="283"/>
                  </a:lnTo>
                  <a:lnTo>
                    <a:pt x="85" y="283"/>
                  </a:lnTo>
                  <a:lnTo>
                    <a:pt x="85" y="280"/>
                  </a:lnTo>
                  <a:lnTo>
                    <a:pt x="85" y="280"/>
                  </a:lnTo>
                  <a:lnTo>
                    <a:pt x="85" y="280"/>
                  </a:lnTo>
                  <a:lnTo>
                    <a:pt x="88" y="280"/>
                  </a:lnTo>
                  <a:lnTo>
                    <a:pt x="88" y="280"/>
                  </a:lnTo>
                  <a:lnTo>
                    <a:pt x="88" y="283"/>
                  </a:lnTo>
                  <a:lnTo>
                    <a:pt x="88" y="283"/>
                  </a:lnTo>
                  <a:lnTo>
                    <a:pt x="91" y="286"/>
                  </a:lnTo>
                  <a:lnTo>
                    <a:pt x="91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6" y="286"/>
                  </a:lnTo>
                  <a:lnTo>
                    <a:pt x="96" y="28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101" y="288"/>
                  </a:lnTo>
                  <a:lnTo>
                    <a:pt x="101" y="286"/>
                  </a:lnTo>
                  <a:lnTo>
                    <a:pt x="104" y="286"/>
                  </a:lnTo>
                  <a:lnTo>
                    <a:pt x="104" y="286"/>
                  </a:lnTo>
                  <a:lnTo>
                    <a:pt x="107" y="288"/>
                  </a:lnTo>
                  <a:lnTo>
                    <a:pt x="107" y="288"/>
                  </a:lnTo>
                  <a:lnTo>
                    <a:pt x="107" y="291"/>
                  </a:lnTo>
                  <a:lnTo>
                    <a:pt x="107" y="291"/>
                  </a:lnTo>
                  <a:lnTo>
                    <a:pt x="107" y="294"/>
                  </a:lnTo>
                  <a:lnTo>
                    <a:pt x="107" y="294"/>
                  </a:lnTo>
                  <a:lnTo>
                    <a:pt x="107" y="294"/>
                  </a:lnTo>
                  <a:lnTo>
                    <a:pt x="109" y="294"/>
                  </a:lnTo>
                  <a:lnTo>
                    <a:pt x="109" y="294"/>
                  </a:lnTo>
                  <a:lnTo>
                    <a:pt x="112" y="291"/>
                  </a:lnTo>
                  <a:lnTo>
                    <a:pt x="112" y="291"/>
                  </a:lnTo>
                  <a:lnTo>
                    <a:pt x="115" y="291"/>
                  </a:lnTo>
                  <a:lnTo>
                    <a:pt x="115" y="291"/>
                  </a:lnTo>
                  <a:lnTo>
                    <a:pt x="117" y="291"/>
                  </a:lnTo>
                  <a:lnTo>
                    <a:pt x="117" y="294"/>
                  </a:lnTo>
                  <a:lnTo>
                    <a:pt x="117" y="294"/>
                  </a:lnTo>
                  <a:lnTo>
                    <a:pt x="120" y="296"/>
                  </a:lnTo>
                  <a:lnTo>
                    <a:pt x="120" y="296"/>
                  </a:lnTo>
                  <a:lnTo>
                    <a:pt x="120" y="299"/>
                  </a:lnTo>
                  <a:lnTo>
                    <a:pt x="120" y="299"/>
                  </a:lnTo>
                  <a:lnTo>
                    <a:pt x="123" y="296"/>
                  </a:lnTo>
                  <a:lnTo>
                    <a:pt x="125" y="288"/>
                  </a:lnTo>
                  <a:lnTo>
                    <a:pt x="125" y="288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31" y="286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9" y="283"/>
                  </a:lnTo>
                  <a:lnTo>
                    <a:pt x="139" y="283"/>
                  </a:lnTo>
                  <a:lnTo>
                    <a:pt x="142" y="283"/>
                  </a:lnTo>
                  <a:lnTo>
                    <a:pt x="142" y="280"/>
                  </a:lnTo>
                  <a:lnTo>
                    <a:pt x="142" y="278"/>
                  </a:lnTo>
                  <a:lnTo>
                    <a:pt x="142" y="278"/>
                  </a:lnTo>
                  <a:lnTo>
                    <a:pt x="144" y="278"/>
                  </a:lnTo>
                  <a:lnTo>
                    <a:pt x="147" y="275"/>
                  </a:lnTo>
                  <a:lnTo>
                    <a:pt x="147" y="275"/>
                  </a:lnTo>
                  <a:lnTo>
                    <a:pt x="147" y="272"/>
                  </a:lnTo>
                  <a:lnTo>
                    <a:pt x="147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7" y="270"/>
                  </a:lnTo>
                  <a:lnTo>
                    <a:pt x="150" y="270"/>
                  </a:lnTo>
                  <a:lnTo>
                    <a:pt x="152" y="270"/>
                  </a:lnTo>
                  <a:lnTo>
                    <a:pt x="152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8" y="270"/>
                  </a:lnTo>
                  <a:lnTo>
                    <a:pt x="158" y="270"/>
                  </a:lnTo>
                  <a:lnTo>
                    <a:pt x="158" y="270"/>
                  </a:lnTo>
                  <a:lnTo>
                    <a:pt x="160" y="272"/>
                  </a:lnTo>
                  <a:lnTo>
                    <a:pt x="158" y="272"/>
                  </a:lnTo>
                  <a:lnTo>
                    <a:pt x="158" y="275"/>
                  </a:lnTo>
                  <a:lnTo>
                    <a:pt x="158" y="275"/>
                  </a:lnTo>
                  <a:lnTo>
                    <a:pt x="158" y="278"/>
                  </a:lnTo>
                  <a:lnTo>
                    <a:pt x="158" y="280"/>
                  </a:lnTo>
                  <a:lnTo>
                    <a:pt x="158" y="280"/>
                  </a:lnTo>
                  <a:lnTo>
                    <a:pt x="155" y="280"/>
                  </a:lnTo>
                  <a:lnTo>
                    <a:pt x="155" y="280"/>
                  </a:lnTo>
                  <a:lnTo>
                    <a:pt x="152" y="280"/>
                  </a:lnTo>
                  <a:lnTo>
                    <a:pt x="152" y="283"/>
                  </a:lnTo>
                  <a:lnTo>
                    <a:pt x="150" y="286"/>
                  </a:lnTo>
                  <a:lnTo>
                    <a:pt x="147" y="286"/>
                  </a:lnTo>
                  <a:lnTo>
                    <a:pt x="147" y="288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50" y="291"/>
                  </a:lnTo>
                  <a:lnTo>
                    <a:pt x="152" y="291"/>
                  </a:lnTo>
                  <a:lnTo>
                    <a:pt x="155" y="291"/>
                  </a:lnTo>
                  <a:lnTo>
                    <a:pt x="155" y="291"/>
                  </a:lnTo>
                  <a:lnTo>
                    <a:pt x="155" y="294"/>
                  </a:lnTo>
                  <a:lnTo>
                    <a:pt x="158" y="294"/>
                  </a:lnTo>
                  <a:lnTo>
                    <a:pt x="160" y="294"/>
                  </a:lnTo>
                  <a:lnTo>
                    <a:pt x="160" y="296"/>
                  </a:lnTo>
                  <a:lnTo>
                    <a:pt x="160" y="296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60" y="304"/>
                  </a:lnTo>
                  <a:lnTo>
                    <a:pt x="160" y="304"/>
                  </a:lnTo>
                  <a:lnTo>
                    <a:pt x="163" y="304"/>
                  </a:lnTo>
                  <a:lnTo>
                    <a:pt x="163" y="307"/>
                  </a:lnTo>
                  <a:lnTo>
                    <a:pt x="166" y="307"/>
                  </a:lnTo>
                  <a:lnTo>
                    <a:pt x="166" y="310"/>
                  </a:lnTo>
                  <a:lnTo>
                    <a:pt x="166" y="310"/>
                  </a:lnTo>
                  <a:lnTo>
                    <a:pt x="163" y="312"/>
                  </a:lnTo>
                  <a:lnTo>
                    <a:pt x="163" y="312"/>
                  </a:lnTo>
                  <a:lnTo>
                    <a:pt x="163" y="312"/>
                  </a:lnTo>
                  <a:lnTo>
                    <a:pt x="166" y="315"/>
                  </a:lnTo>
                  <a:lnTo>
                    <a:pt x="166" y="318"/>
                  </a:lnTo>
                  <a:lnTo>
                    <a:pt x="166" y="318"/>
                  </a:lnTo>
                  <a:lnTo>
                    <a:pt x="166" y="318"/>
                  </a:lnTo>
                  <a:lnTo>
                    <a:pt x="168" y="318"/>
                  </a:lnTo>
                  <a:lnTo>
                    <a:pt x="168" y="320"/>
                  </a:lnTo>
                  <a:lnTo>
                    <a:pt x="168" y="320"/>
                  </a:lnTo>
                  <a:lnTo>
                    <a:pt x="168" y="323"/>
                  </a:lnTo>
                  <a:lnTo>
                    <a:pt x="171" y="323"/>
                  </a:lnTo>
                  <a:lnTo>
                    <a:pt x="174" y="323"/>
                  </a:lnTo>
                  <a:lnTo>
                    <a:pt x="176" y="323"/>
                  </a:lnTo>
                  <a:lnTo>
                    <a:pt x="176" y="326"/>
                  </a:lnTo>
                  <a:lnTo>
                    <a:pt x="179" y="326"/>
                  </a:lnTo>
                  <a:lnTo>
                    <a:pt x="182" y="326"/>
                  </a:lnTo>
                  <a:lnTo>
                    <a:pt x="184" y="326"/>
                  </a:lnTo>
                  <a:lnTo>
                    <a:pt x="187" y="326"/>
                  </a:lnTo>
                  <a:lnTo>
                    <a:pt x="187" y="326"/>
                  </a:lnTo>
                  <a:lnTo>
                    <a:pt x="187" y="326"/>
                  </a:lnTo>
                  <a:lnTo>
                    <a:pt x="190" y="326"/>
                  </a:lnTo>
                  <a:lnTo>
                    <a:pt x="187" y="328"/>
                  </a:lnTo>
                  <a:lnTo>
                    <a:pt x="187" y="328"/>
                  </a:lnTo>
                  <a:lnTo>
                    <a:pt x="184" y="328"/>
                  </a:lnTo>
                  <a:lnTo>
                    <a:pt x="184" y="328"/>
                  </a:lnTo>
                  <a:lnTo>
                    <a:pt x="184" y="331"/>
                  </a:lnTo>
                  <a:lnTo>
                    <a:pt x="184" y="331"/>
                  </a:lnTo>
                  <a:lnTo>
                    <a:pt x="184" y="334"/>
                  </a:lnTo>
                  <a:lnTo>
                    <a:pt x="184" y="334"/>
                  </a:lnTo>
                  <a:lnTo>
                    <a:pt x="184" y="334"/>
                  </a:lnTo>
                  <a:lnTo>
                    <a:pt x="187" y="339"/>
                  </a:lnTo>
                  <a:lnTo>
                    <a:pt x="190" y="342"/>
                  </a:lnTo>
                  <a:lnTo>
                    <a:pt x="192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8" y="342"/>
                  </a:lnTo>
                  <a:lnTo>
                    <a:pt x="198" y="339"/>
                  </a:lnTo>
                  <a:lnTo>
                    <a:pt x="195" y="339"/>
                  </a:lnTo>
                  <a:lnTo>
                    <a:pt x="195" y="339"/>
                  </a:lnTo>
                  <a:lnTo>
                    <a:pt x="195" y="339"/>
                  </a:lnTo>
                  <a:lnTo>
                    <a:pt x="198" y="336"/>
                  </a:lnTo>
                  <a:lnTo>
                    <a:pt x="198" y="336"/>
                  </a:lnTo>
                  <a:lnTo>
                    <a:pt x="198" y="336"/>
                  </a:lnTo>
                  <a:lnTo>
                    <a:pt x="198" y="339"/>
                  </a:lnTo>
                  <a:lnTo>
                    <a:pt x="200" y="339"/>
                  </a:lnTo>
                  <a:lnTo>
                    <a:pt x="200" y="339"/>
                  </a:lnTo>
                  <a:lnTo>
                    <a:pt x="203" y="336"/>
                  </a:lnTo>
                  <a:lnTo>
                    <a:pt x="206" y="336"/>
                  </a:lnTo>
                  <a:lnTo>
                    <a:pt x="208" y="336"/>
                  </a:lnTo>
                  <a:lnTo>
                    <a:pt x="211" y="336"/>
                  </a:lnTo>
                  <a:lnTo>
                    <a:pt x="211" y="336"/>
                  </a:lnTo>
                  <a:lnTo>
                    <a:pt x="214" y="336"/>
                  </a:lnTo>
                  <a:lnTo>
                    <a:pt x="214" y="336"/>
                  </a:lnTo>
                  <a:lnTo>
                    <a:pt x="216" y="336"/>
                  </a:lnTo>
                  <a:lnTo>
                    <a:pt x="219" y="336"/>
                  </a:lnTo>
                  <a:lnTo>
                    <a:pt x="222" y="336"/>
                  </a:lnTo>
                  <a:lnTo>
                    <a:pt x="222" y="336"/>
                  </a:lnTo>
                  <a:lnTo>
                    <a:pt x="224" y="334"/>
                  </a:lnTo>
                  <a:lnTo>
                    <a:pt x="227" y="334"/>
                  </a:lnTo>
                  <a:lnTo>
                    <a:pt x="227" y="334"/>
                  </a:lnTo>
                  <a:lnTo>
                    <a:pt x="230" y="331"/>
                  </a:lnTo>
                  <a:lnTo>
                    <a:pt x="232" y="331"/>
                  </a:lnTo>
                  <a:lnTo>
                    <a:pt x="232" y="331"/>
                  </a:lnTo>
                  <a:lnTo>
                    <a:pt x="235" y="328"/>
                  </a:lnTo>
                  <a:lnTo>
                    <a:pt x="235" y="328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38" y="323"/>
                  </a:lnTo>
                  <a:lnTo>
                    <a:pt x="238" y="320"/>
                  </a:lnTo>
                  <a:lnTo>
                    <a:pt x="238" y="320"/>
                  </a:lnTo>
                  <a:lnTo>
                    <a:pt x="238" y="318"/>
                  </a:lnTo>
                  <a:lnTo>
                    <a:pt x="238" y="318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40" y="315"/>
                  </a:lnTo>
                  <a:lnTo>
                    <a:pt x="240" y="312"/>
                  </a:lnTo>
                  <a:lnTo>
                    <a:pt x="240" y="310"/>
                  </a:lnTo>
                  <a:lnTo>
                    <a:pt x="243" y="310"/>
                  </a:lnTo>
                  <a:lnTo>
                    <a:pt x="246" y="310"/>
                  </a:lnTo>
                  <a:lnTo>
                    <a:pt x="246" y="310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51" y="310"/>
                  </a:lnTo>
                  <a:lnTo>
                    <a:pt x="254" y="310"/>
                  </a:lnTo>
                  <a:lnTo>
                    <a:pt x="254" y="310"/>
                  </a:lnTo>
                  <a:lnTo>
                    <a:pt x="256" y="310"/>
                  </a:lnTo>
                  <a:lnTo>
                    <a:pt x="256" y="310"/>
                  </a:lnTo>
                  <a:lnTo>
                    <a:pt x="259" y="310"/>
                  </a:lnTo>
                  <a:lnTo>
                    <a:pt x="264" y="310"/>
                  </a:lnTo>
                  <a:lnTo>
                    <a:pt x="267" y="310"/>
                  </a:lnTo>
                  <a:lnTo>
                    <a:pt x="270" y="310"/>
                  </a:lnTo>
                  <a:lnTo>
                    <a:pt x="270" y="310"/>
                  </a:lnTo>
                  <a:lnTo>
                    <a:pt x="270" y="312"/>
                  </a:lnTo>
                  <a:lnTo>
                    <a:pt x="272" y="312"/>
                  </a:lnTo>
                  <a:lnTo>
                    <a:pt x="278" y="315"/>
                  </a:lnTo>
                  <a:lnTo>
                    <a:pt x="278" y="315"/>
                  </a:lnTo>
                  <a:lnTo>
                    <a:pt x="280" y="315"/>
                  </a:lnTo>
                  <a:lnTo>
                    <a:pt x="283" y="315"/>
                  </a:lnTo>
                  <a:lnTo>
                    <a:pt x="286" y="315"/>
                  </a:lnTo>
                  <a:lnTo>
                    <a:pt x="286" y="315"/>
                  </a:lnTo>
                  <a:lnTo>
                    <a:pt x="283" y="312"/>
                  </a:lnTo>
                  <a:lnTo>
                    <a:pt x="283" y="312"/>
                  </a:lnTo>
                  <a:lnTo>
                    <a:pt x="283" y="310"/>
                  </a:lnTo>
                  <a:lnTo>
                    <a:pt x="283" y="310"/>
                  </a:lnTo>
                  <a:lnTo>
                    <a:pt x="283" y="307"/>
                  </a:lnTo>
                  <a:lnTo>
                    <a:pt x="283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6" y="307"/>
                  </a:lnTo>
                  <a:lnTo>
                    <a:pt x="288" y="310"/>
                  </a:lnTo>
                  <a:lnTo>
                    <a:pt x="288" y="312"/>
                  </a:lnTo>
                  <a:lnTo>
                    <a:pt x="288" y="312"/>
                  </a:lnTo>
                  <a:lnTo>
                    <a:pt x="291" y="312"/>
                  </a:lnTo>
                  <a:lnTo>
                    <a:pt x="291" y="312"/>
                  </a:lnTo>
                  <a:lnTo>
                    <a:pt x="294" y="312"/>
                  </a:lnTo>
                  <a:lnTo>
                    <a:pt x="296" y="312"/>
                  </a:lnTo>
                  <a:lnTo>
                    <a:pt x="296" y="312"/>
                  </a:lnTo>
                  <a:lnTo>
                    <a:pt x="299" y="312"/>
                  </a:lnTo>
                  <a:lnTo>
                    <a:pt x="302" y="310"/>
                  </a:lnTo>
                  <a:lnTo>
                    <a:pt x="302" y="310"/>
                  </a:lnTo>
                  <a:lnTo>
                    <a:pt x="304" y="307"/>
                  </a:lnTo>
                  <a:lnTo>
                    <a:pt x="304" y="307"/>
                  </a:lnTo>
                  <a:lnTo>
                    <a:pt x="302" y="304"/>
                  </a:lnTo>
                  <a:lnTo>
                    <a:pt x="302" y="302"/>
                  </a:lnTo>
                  <a:lnTo>
                    <a:pt x="304" y="302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10" y="302"/>
                  </a:lnTo>
                  <a:lnTo>
                    <a:pt x="310" y="302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8" y="299"/>
                  </a:lnTo>
                  <a:lnTo>
                    <a:pt x="318" y="299"/>
                  </a:lnTo>
                  <a:lnTo>
                    <a:pt x="318" y="299"/>
                  </a:lnTo>
                  <a:lnTo>
                    <a:pt x="320" y="299"/>
                  </a:lnTo>
                  <a:lnTo>
                    <a:pt x="320" y="299"/>
                  </a:lnTo>
                  <a:lnTo>
                    <a:pt x="323" y="296"/>
                  </a:lnTo>
                  <a:lnTo>
                    <a:pt x="326" y="296"/>
                  </a:lnTo>
                  <a:lnTo>
                    <a:pt x="328" y="296"/>
                  </a:lnTo>
                  <a:lnTo>
                    <a:pt x="331" y="296"/>
                  </a:lnTo>
                  <a:lnTo>
                    <a:pt x="334" y="294"/>
                  </a:lnTo>
                  <a:lnTo>
                    <a:pt x="336" y="294"/>
                  </a:lnTo>
                  <a:lnTo>
                    <a:pt x="336" y="294"/>
                  </a:lnTo>
                  <a:lnTo>
                    <a:pt x="336" y="291"/>
                  </a:lnTo>
                  <a:lnTo>
                    <a:pt x="336" y="291"/>
                  </a:lnTo>
                  <a:lnTo>
                    <a:pt x="336" y="291"/>
                  </a:lnTo>
                  <a:lnTo>
                    <a:pt x="334" y="291"/>
                  </a:lnTo>
                  <a:lnTo>
                    <a:pt x="334" y="288"/>
                  </a:lnTo>
                  <a:lnTo>
                    <a:pt x="334" y="288"/>
                  </a:lnTo>
                  <a:lnTo>
                    <a:pt x="331" y="288"/>
                  </a:lnTo>
                  <a:lnTo>
                    <a:pt x="331" y="288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34" y="283"/>
                  </a:lnTo>
                  <a:lnTo>
                    <a:pt x="334" y="280"/>
                  </a:lnTo>
                  <a:lnTo>
                    <a:pt x="334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80"/>
                  </a:lnTo>
                  <a:lnTo>
                    <a:pt x="331" y="278"/>
                  </a:lnTo>
                  <a:lnTo>
                    <a:pt x="331" y="278"/>
                  </a:lnTo>
                  <a:lnTo>
                    <a:pt x="331" y="275"/>
                  </a:lnTo>
                  <a:lnTo>
                    <a:pt x="331" y="275"/>
                  </a:lnTo>
                  <a:lnTo>
                    <a:pt x="328" y="270"/>
                  </a:lnTo>
                  <a:lnTo>
                    <a:pt x="331" y="270"/>
                  </a:lnTo>
                  <a:lnTo>
                    <a:pt x="331" y="270"/>
                  </a:lnTo>
                  <a:lnTo>
                    <a:pt x="331" y="267"/>
                  </a:lnTo>
                  <a:lnTo>
                    <a:pt x="328" y="267"/>
                  </a:lnTo>
                  <a:lnTo>
                    <a:pt x="328" y="267"/>
                  </a:lnTo>
                  <a:lnTo>
                    <a:pt x="328" y="264"/>
                  </a:lnTo>
                  <a:lnTo>
                    <a:pt x="328" y="264"/>
                  </a:lnTo>
                  <a:lnTo>
                    <a:pt x="326" y="264"/>
                  </a:lnTo>
                  <a:lnTo>
                    <a:pt x="326" y="262"/>
                  </a:lnTo>
                  <a:lnTo>
                    <a:pt x="326" y="262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8" y="259"/>
                  </a:lnTo>
                  <a:lnTo>
                    <a:pt x="331" y="259"/>
                  </a:lnTo>
                  <a:lnTo>
                    <a:pt x="331" y="256"/>
                  </a:lnTo>
                  <a:lnTo>
                    <a:pt x="328" y="256"/>
                  </a:lnTo>
                  <a:lnTo>
                    <a:pt x="326" y="254"/>
                  </a:lnTo>
                  <a:lnTo>
                    <a:pt x="326" y="254"/>
                  </a:lnTo>
                  <a:lnTo>
                    <a:pt x="326" y="254"/>
                  </a:lnTo>
                  <a:lnTo>
                    <a:pt x="326" y="251"/>
                  </a:lnTo>
                  <a:lnTo>
                    <a:pt x="326" y="251"/>
                  </a:lnTo>
                  <a:lnTo>
                    <a:pt x="326" y="248"/>
                  </a:lnTo>
                  <a:lnTo>
                    <a:pt x="326" y="248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0" y="246"/>
                  </a:lnTo>
                  <a:lnTo>
                    <a:pt x="320" y="248"/>
                  </a:lnTo>
                  <a:lnTo>
                    <a:pt x="318" y="248"/>
                  </a:lnTo>
                  <a:lnTo>
                    <a:pt x="318" y="248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5" y="243"/>
                  </a:lnTo>
                  <a:lnTo>
                    <a:pt x="315" y="243"/>
                  </a:lnTo>
                  <a:lnTo>
                    <a:pt x="315" y="240"/>
                  </a:lnTo>
                  <a:lnTo>
                    <a:pt x="315" y="240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20" y="238"/>
                  </a:lnTo>
                  <a:lnTo>
                    <a:pt x="320" y="235"/>
                  </a:lnTo>
                  <a:lnTo>
                    <a:pt x="318" y="235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3" y="232"/>
                  </a:lnTo>
                  <a:lnTo>
                    <a:pt x="323" y="232"/>
                  </a:lnTo>
                  <a:lnTo>
                    <a:pt x="326" y="232"/>
                  </a:lnTo>
                  <a:lnTo>
                    <a:pt x="326" y="230"/>
                  </a:lnTo>
                  <a:lnTo>
                    <a:pt x="326" y="230"/>
                  </a:lnTo>
                  <a:lnTo>
                    <a:pt x="326" y="227"/>
                  </a:lnTo>
                  <a:lnTo>
                    <a:pt x="326" y="227"/>
                  </a:lnTo>
                  <a:lnTo>
                    <a:pt x="326" y="224"/>
                  </a:lnTo>
                  <a:lnTo>
                    <a:pt x="326" y="224"/>
                  </a:lnTo>
                  <a:lnTo>
                    <a:pt x="328" y="222"/>
                  </a:lnTo>
                  <a:lnTo>
                    <a:pt x="328" y="222"/>
                  </a:lnTo>
                  <a:lnTo>
                    <a:pt x="331" y="224"/>
                  </a:lnTo>
                  <a:lnTo>
                    <a:pt x="331" y="224"/>
                  </a:lnTo>
                  <a:lnTo>
                    <a:pt x="331" y="227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6" y="230"/>
                  </a:lnTo>
                  <a:lnTo>
                    <a:pt x="336" y="230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42" y="227"/>
                  </a:lnTo>
                  <a:lnTo>
                    <a:pt x="342" y="227"/>
                  </a:lnTo>
                  <a:lnTo>
                    <a:pt x="344" y="227"/>
                  </a:lnTo>
                  <a:lnTo>
                    <a:pt x="347" y="227"/>
                  </a:lnTo>
                  <a:lnTo>
                    <a:pt x="347" y="227"/>
                  </a:lnTo>
                  <a:lnTo>
                    <a:pt x="350" y="227"/>
                  </a:lnTo>
                  <a:lnTo>
                    <a:pt x="350" y="224"/>
                  </a:lnTo>
                  <a:lnTo>
                    <a:pt x="347" y="222"/>
                  </a:lnTo>
                  <a:lnTo>
                    <a:pt x="347" y="219"/>
                  </a:lnTo>
                  <a:lnTo>
                    <a:pt x="347" y="216"/>
                  </a:lnTo>
                  <a:lnTo>
                    <a:pt x="347" y="216"/>
                  </a:lnTo>
                  <a:lnTo>
                    <a:pt x="344" y="216"/>
                  </a:lnTo>
                  <a:lnTo>
                    <a:pt x="342" y="214"/>
                  </a:lnTo>
                  <a:lnTo>
                    <a:pt x="339" y="211"/>
                  </a:lnTo>
                  <a:lnTo>
                    <a:pt x="339" y="214"/>
                  </a:lnTo>
                  <a:lnTo>
                    <a:pt x="336" y="214"/>
                  </a:lnTo>
                  <a:lnTo>
                    <a:pt x="336" y="211"/>
                  </a:lnTo>
                  <a:lnTo>
                    <a:pt x="336" y="211"/>
                  </a:lnTo>
                  <a:lnTo>
                    <a:pt x="336" y="208"/>
                  </a:lnTo>
                  <a:lnTo>
                    <a:pt x="336" y="205"/>
                  </a:lnTo>
                  <a:lnTo>
                    <a:pt x="334" y="205"/>
                  </a:lnTo>
                  <a:lnTo>
                    <a:pt x="334" y="205"/>
                  </a:lnTo>
                  <a:lnTo>
                    <a:pt x="331" y="203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8" y="197"/>
                  </a:lnTo>
                  <a:lnTo>
                    <a:pt x="328" y="195"/>
                  </a:lnTo>
                  <a:lnTo>
                    <a:pt x="326" y="192"/>
                  </a:lnTo>
                  <a:lnTo>
                    <a:pt x="326" y="189"/>
                  </a:lnTo>
                  <a:lnTo>
                    <a:pt x="323" y="189"/>
                  </a:lnTo>
                  <a:lnTo>
                    <a:pt x="323" y="189"/>
                  </a:lnTo>
                  <a:lnTo>
                    <a:pt x="323" y="187"/>
                  </a:lnTo>
                  <a:lnTo>
                    <a:pt x="323" y="184"/>
                  </a:lnTo>
                  <a:lnTo>
                    <a:pt x="320" y="184"/>
                  </a:lnTo>
                  <a:lnTo>
                    <a:pt x="320" y="181"/>
                  </a:lnTo>
                  <a:lnTo>
                    <a:pt x="318" y="184"/>
                  </a:lnTo>
                  <a:lnTo>
                    <a:pt x="318" y="184"/>
                  </a:lnTo>
                  <a:lnTo>
                    <a:pt x="315" y="181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2" y="176"/>
                  </a:lnTo>
                  <a:lnTo>
                    <a:pt x="312" y="176"/>
                  </a:lnTo>
                  <a:lnTo>
                    <a:pt x="312" y="173"/>
                  </a:lnTo>
                  <a:lnTo>
                    <a:pt x="312" y="171"/>
                  </a:lnTo>
                  <a:lnTo>
                    <a:pt x="310" y="171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4" y="165"/>
                  </a:lnTo>
                  <a:lnTo>
                    <a:pt x="304" y="165"/>
                  </a:lnTo>
                  <a:lnTo>
                    <a:pt x="304" y="163"/>
                  </a:lnTo>
                  <a:lnTo>
                    <a:pt x="304" y="160"/>
                  </a:lnTo>
                  <a:lnTo>
                    <a:pt x="302" y="160"/>
                  </a:lnTo>
                  <a:lnTo>
                    <a:pt x="304" y="157"/>
                  </a:lnTo>
                  <a:lnTo>
                    <a:pt x="304" y="155"/>
                  </a:lnTo>
                  <a:lnTo>
                    <a:pt x="304" y="155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2" y="152"/>
                  </a:lnTo>
                  <a:lnTo>
                    <a:pt x="302" y="152"/>
                  </a:lnTo>
                  <a:lnTo>
                    <a:pt x="299" y="147"/>
                  </a:lnTo>
                  <a:lnTo>
                    <a:pt x="299" y="147"/>
                  </a:lnTo>
                  <a:lnTo>
                    <a:pt x="299" y="147"/>
                  </a:lnTo>
                  <a:lnTo>
                    <a:pt x="299" y="144"/>
                  </a:lnTo>
                  <a:lnTo>
                    <a:pt x="299" y="141"/>
                  </a:lnTo>
                  <a:lnTo>
                    <a:pt x="299" y="141"/>
                  </a:lnTo>
                  <a:lnTo>
                    <a:pt x="299" y="141"/>
                  </a:lnTo>
                  <a:lnTo>
                    <a:pt x="299" y="139"/>
                  </a:lnTo>
                  <a:lnTo>
                    <a:pt x="299" y="136"/>
                  </a:lnTo>
                  <a:lnTo>
                    <a:pt x="302" y="133"/>
                  </a:lnTo>
                  <a:lnTo>
                    <a:pt x="302" y="131"/>
                  </a:lnTo>
                  <a:lnTo>
                    <a:pt x="304" y="131"/>
                  </a:lnTo>
                  <a:lnTo>
                    <a:pt x="302" y="128"/>
                  </a:lnTo>
                  <a:lnTo>
                    <a:pt x="302" y="128"/>
                  </a:lnTo>
                  <a:lnTo>
                    <a:pt x="302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0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4" y="117"/>
                  </a:lnTo>
                  <a:lnTo>
                    <a:pt x="294" y="115"/>
                  </a:lnTo>
                  <a:lnTo>
                    <a:pt x="291" y="115"/>
                  </a:lnTo>
                  <a:lnTo>
                    <a:pt x="291" y="112"/>
                  </a:lnTo>
                  <a:lnTo>
                    <a:pt x="291" y="112"/>
                  </a:lnTo>
                  <a:lnTo>
                    <a:pt x="291" y="112"/>
                  </a:lnTo>
                  <a:lnTo>
                    <a:pt x="288" y="112"/>
                  </a:lnTo>
                  <a:lnTo>
                    <a:pt x="286" y="115"/>
                  </a:lnTo>
                  <a:lnTo>
                    <a:pt x="283" y="115"/>
                  </a:lnTo>
                  <a:lnTo>
                    <a:pt x="283" y="117"/>
                  </a:lnTo>
                  <a:lnTo>
                    <a:pt x="286" y="120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0" y="128"/>
                  </a:lnTo>
                  <a:lnTo>
                    <a:pt x="280" y="128"/>
                  </a:lnTo>
                  <a:lnTo>
                    <a:pt x="278" y="131"/>
                  </a:lnTo>
                  <a:lnTo>
                    <a:pt x="278" y="133"/>
                  </a:lnTo>
                  <a:lnTo>
                    <a:pt x="275" y="133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0" y="133"/>
                  </a:lnTo>
                  <a:lnTo>
                    <a:pt x="267" y="136"/>
                  </a:lnTo>
                  <a:lnTo>
                    <a:pt x="267" y="133"/>
                  </a:lnTo>
                  <a:lnTo>
                    <a:pt x="264" y="133"/>
                  </a:lnTo>
                  <a:lnTo>
                    <a:pt x="262" y="131"/>
                  </a:lnTo>
                  <a:lnTo>
                    <a:pt x="262" y="131"/>
                  </a:lnTo>
                  <a:lnTo>
                    <a:pt x="259" y="131"/>
                  </a:lnTo>
                  <a:lnTo>
                    <a:pt x="256" y="128"/>
                  </a:lnTo>
                  <a:lnTo>
                    <a:pt x="254" y="128"/>
                  </a:lnTo>
                  <a:lnTo>
                    <a:pt x="254" y="128"/>
                  </a:lnTo>
                  <a:lnTo>
                    <a:pt x="251" y="128"/>
                  </a:lnTo>
                  <a:lnTo>
                    <a:pt x="251" y="125"/>
                  </a:lnTo>
                  <a:lnTo>
                    <a:pt x="251" y="123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48" y="120"/>
                  </a:lnTo>
                  <a:lnTo>
                    <a:pt x="246" y="117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38" y="112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38" y="109"/>
                  </a:lnTo>
                  <a:lnTo>
                    <a:pt x="240" y="107"/>
                  </a:lnTo>
                  <a:lnTo>
                    <a:pt x="240" y="107"/>
                  </a:lnTo>
                  <a:lnTo>
                    <a:pt x="243" y="104"/>
                  </a:lnTo>
                  <a:lnTo>
                    <a:pt x="246" y="104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8" y="101"/>
                  </a:lnTo>
                  <a:lnTo>
                    <a:pt x="248" y="99"/>
                  </a:lnTo>
                  <a:lnTo>
                    <a:pt x="248" y="96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54" y="93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1" y="91"/>
                  </a:lnTo>
                  <a:lnTo>
                    <a:pt x="248" y="91"/>
                  </a:lnTo>
                  <a:lnTo>
                    <a:pt x="246" y="88"/>
                  </a:lnTo>
                  <a:lnTo>
                    <a:pt x="240" y="85"/>
                  </a:lnTo>
                  <a:lnTo>
                    <a:pt x="238" y="88"/>
                  </a:lnTo>
                  <a:lnTo>
                    <a:pt x="238" y="85"/>
                  </a:lnTo>
                  <a:lnTo>
                    <a:pt x="240" y="83"/>
                  </a:lnTo>
                  <a:lnTo>
                    <a:pt x="240" y="83"/>
                  </a:lnTo>
                  <a:lnTo>
                    <a:pt x="243" y="80"/>
                  </a:lnTo>
                  <a:lnTo>
                    <a:pt x="246" y="77"/>
                  </a:lnTo>
                  <a:lnTo>
                    <a:pt x="248" y="72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48" y="69"/>
                  </a:lnTo>
                  <a:lnTo>
                    <a:pt x="251" y="69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54" y="61"/>
                  </a:lnTo>
                  <a:lnTo>
                    <a:pt x="256" y="61"/>
                  </a:lnTo>
                  <a:lnTo>
                    <a:pt x="256" y="59"/>
                  </a:lnTo>
                  <a:lnTo>
                    <a:pt x="259" y="61"/>
                  </a:lnTo>
                  <a:lnTo>
                    <a:pt x="259" y="61"/>
                  </a:lnTo>
                  <a:lnTo>
                    <a:pt x="259" y="64"/>
                  </a:lnTo>
                  <a:lnTo>
                    <a:pt x="262" y="61"/>
                  </a:lnTo>
                  <a:lnTo>
                    <a:pt x="262" y="64"/>
                  </a:lnTo>
                  <a:lnTo>
                    <a:pt x="264" y="61"/>
                  </a:lnTo>
                  <a:lnTo>
                    <a:pt x="262" y="61"/>
                  </a:lnTo>
                  <a:lnTo>
                    <a:pt x="262" y="59"/>
                  </a:lnTo>
                  <a:lnTo>
                    <a:pt x="264" y="59"/>
                  </a:lnTo>
                  <a:lnTo>
                    <a:pt x="264" y="59"/>
                  </a:lnTo>
                  <a:lnTo>
                    <a:pt x="267" y="56"/>
                  </a:lnTo>
                  <a:lnTo>
                    <a:pt x="270" y="56"/>
                  </a:lnTo>
                  <a:lnTo>
                    <a:pt x="272" y="56"/>
                  </a:lnTo>
                  <a:lnTo>
                    <a:pt x="270" y="56"/>
                  </a:lnTo>
                  <a:lnTo>
                    <a:pt x="270" y="53"/>
                  </a:lnTo>
                  <a:lnTo>
                    <a:pt x="272" y="50"/>
                  </a:lnTo>
                  <a:lnTo>
                    <a:pt x="272" y="50"/>
                  </a:lnTo>
                  <a:lnTo>
                    <a:pt x="272" y="48"/>
                  </a:lnTo>
                  <a:lnTo>
                    <a:pt x="272" y="48"/>
                  </a:lnTo>
                  <a:lnTo>
                    <a:pt x="272" y="42"/>
                  </a:lnTo>
                  <a:lnTo>
                    <a:pt x="272" y="42"/>
                  </a:lnTo>
                  <a:lnTo>
                    <a:pt x="275" y="40"/>
                  </a:lnTo>
                  <a:lnTo>
                    <a:pt x="275" y="37"/>
                  </a:lnTo>
                  <a:lnTo>
                    <a:pt x="278" y="37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5" y="26"/>
                  </a:lnTo>
                  <a:lnTo>
                    <a:pt x="275" y="26"/>
                  </a:lnTo>
                  <a:lnTo>
                    <a:pt x="272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70" y="26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4" y="29"/>
                  </a:lnTo>
                  <a:lnTo>
                    <a:pt x="259" y="26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6" y="18"/>
                  </a:lnTo>
                  <a:lnTo>
                    <a:pt x="254" y="18"/>
                  </a:lnTo>
                  <a:lnTo>
                    <a:pt x="251" y="16"/>
                  </a:lnTo>
                  <a:lnTo>
                    <a:pt x="251" y="16"/>
                  </a:lnTo>
                  <a:lnTo>
                    <a:pt x="248" y="16"/>
                  </a:lnTo>
                  <a:lnTo>
                    <a:pt x="248" y="13"/>
                  </a:lnTo>
                  <a:lnTo>
                    <a:pt x="248" y="13"/>
                  </a:lnTo>
                  <a:lnTo>
                    <a:pt x="246" y="13"/>
                  </a:lnTo>
                  <a:lnTo>
                    <a:pt x="246" y="13"/>
                  </a:lnTo>
                  <a:lnTo>
                    <a:pt x="243" y="16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0" y="18"/>
                  </a:lnTo>
                  <a:lnTo>
                    <a:pt x="238" y="18"/>
                  </a:lnTo>
                  <a:lnTo>
                    <a:pt x="238" y="21"/>
                  </a:lnTo>
                  <a:lnTo>
                    <a:pt x="235" y="21"/>
                  </a:lnTo>
                  <a:lnTo>
                    <a:pt x="232" y="24"/>
                  </a:lnTo>
                  <a:lnTo>
                    <a:pt x="230" y="24"/>
                  </a:lnTo>
                  <a:lnTo>
                    <a:pt x="230" y="21"/>
                  </a:lnTo>
                  <a:lnTo>
                    <a:pt x="227" y="18"/>
                  </a:lnTo>
                  <a:lnTo>
                    <a:pt x="224" y="18"/>
                  </a:lnTo>
                  <a:lnTo>
                    <a:pt x="222" y="18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6" y="16"/>
                  </a:lnTo>
                  <a:lnTo>
                    <a:pt x="214" y="16"/>
                  </a:lnTo>
                  <a:lnTo>
                    <a:pt x="216" y="13"/>
                  </a:lnTo>
                  <a:lnTo>
                    <a:pt x="216" y="10"/>
                  </a:lnTo>
                  <a:lnTo>
                    <a:pt x="216" y="10"/>
                  </a:lnTo>
                  <a:lnTo>
                    <a:pt x="216" y="8"/>
                  </a:lnTo>
                  <a:lnTo>
                    <a:pt x="211" y="8"/>
                  </a:lnTo>
                  <a:lnTo>
                    <a:pt x="211" y="8"/>
                  </a:lnTo>
                  <a:lnTo>
                    <a:pt x="208" y="8"/>
                  </a:lnTo>
                  <a:lnTo>
                    <a:pt x="208" y="8"/>
                  </a:lnTo>
                  <a:lnTo>
                    <a:pt x="206" y="8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3" y="5"/>
                  </a:lnTo>
                  <a:lnTo>
                    <a:pt x="203" y="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1" name="Freeform 8866">
              <a:extLst>
                <a:ext uri="{FF2B5EF4-FFF2-40B4-BE49-F238E27FC236}">
                  <a16:creationId xmlns:a16="http://schemas.microsoft.com/office/drawing/2014/main" id="{AF1C42C2-49AE-9042-A8EE-EFD8491B72D9}"/>
                </a:ext>
              </a:extLst>
            </p:cNvPr>
            <p:cNvSpPr/>
            <p:nvPr/>
          </p:nvSpPr>
          <p:spPr bwMode="auto">
            <a:xfrm>
              <a:off x="2797967" y="4329114"/>
              <a:ext cx="614362" cy="809625"/>
            </a:xfrm>
            <a:custGeom>
              <a:avLst/>
              <a:gdLst>
                <a:gd name="T0" fmla="*/ 5 w 387"/>
                <a:gd name="T1" fmla="*/ 227 h 510"/>
                <a:gd name="T2" fmla="*/ 29 w 387"/>
                <a:gd name="T3" fmla="*/ 289 h 510"/>
                <a:gd name="T4" fmla="*/ 40 w 387"/>
                <a:gd name="T5" fmla="*/ 310 h 510"/>
                <a:gd name="T6" fmla="*/ 43 w 387"/>
                <a:gd name="T7" fmla="*/ 339 h 510"/>
                <a:gd name="T8" fmla="*/ 40 w 387"/>
                <a:gd name="T9" fmla="*/ 350 h 510"/>
                <a:gd name="T10" fmla="*/ 45 w 387"/>
                <a:gd name="T11" fmla="*/ 363 h 510"/>
                <a:gd name="T12" fmla="*/ 40 w 387"/>
                <a:gd name="T13" fmla="*/ 382 h 510"/>
                <a:gd name="T14" fmla="*/ 64 w 387"/>
                <a:gd name="T15" fmla="*/ 382 h 510"/>
                <a:gd name="T16" fmla="*/ 80 w 387"/>
                <a:gd name="T17" fmla="*/ 377 h 510"/>
                <a:gd name="T18" fmla="*/ 94 w 387"/>
                <a:gd name="T19" fmla="*/ 401 h 510"/>
                <a:gd name="T20" fmla="*/ 67 w 387"/>
                <a:gd name="T21" fmla="*/ 422 h 510"/>
                <a:gd name="T22" fmla="*/ 83 w 387"/>
                <a:gd name="T23" fmla="*/ 454 h 510"/>
                <a:gd name="T24" fmla="*/ 70 w 387"/>
                <a:gd name="T25" fmla="*/ 484 h 510"/>
                <a:gd name="T26" fmla="*/ 88 w 387"/>
                <a:gd name="T27" fmla="*/ 484 h 510"/>
                <a:gd name="T28" fmla="*/ 110 w 387"/>
                <a:gd name="T29" fmla="*/ 492 h 510"/>
                <a:gd name="T30" fmla="*/ 128 w 387"/>
                <a:gd name="T31" fmla="*/ 484 h 510"/>
                <a:gd name="T32" fmla="*/ 150 w 387"/>
                <a:gd name="T33" fmla="*/ 502 h 510"/>
                <a:gd name="T34" fmla="*/ 182 w 387"/>
                <a:gd name="T35" fmla="*/ 508 h 510"/>
                <a:gd name="T36" fmla="*/ 216 w 387"/>
                <a:gd name="T37" fmla="*/ 476 h 510"/>
                <a:gd name="T38" fmla="*/ 222 w 387"/>
                <a:gd name="T39" fmla="*/ 438 h 510"/>
                <a:gd name="T40" fmla="*/ 248 w 387"/>
                <a:gd name="T41" fmla="*/ 393 h 510"/>
                <a:gd name="T42" fmla="*/ 275 w 387"/>
                <a:gd name="T43" fmla="*/ 342 h 510"/>
                <a:gd name="T44" fmla="*/ 291 w 387"/>
                <a:gd name="T45" fmla="*/ 331 h 510"/>
                <a:gd name="T46" fmla="*/ 321 w 387"/>
                <a:gd name="T47" fmla="*/ 321 h 510"/>
                <a:gd name="T48" fmla="*/ 339 w 387"/>
                <a:gd name="T49" fmla="*/ 305 h 510"/>
                <a:gd name="T50" fmla="*/ 361 w 387"/>
                <a:gd name="T51" fmla="*/ 283 h 510"/>
                <a:gd name="T52" fmla="*/ 355 w 387"/>
                <a:gd name="T53" fmla="*/ 262 h 510"/>
                <a:gd name="T54" fmla="*/ 334 w 387"/>
                <a:gd name="T55" fmla="*/ 273 h 510"/>
                <a:gd name="T56" fmla="*/ 299 w 387"/>
                <a:gd name="T57" fmla="*/ 273 h 510"/>
                <a:gd name="T58" fmla="*/ 259 w 387"/>
                <a:gd name="T59" fmla="*/ 265 h 510"/>
                <a:gd name="T60" fmla="*/ 243 w 387"/>
                <a:gd name="T61" fmla="*/ 248 h 510"/>
                <a:gd name="T62" fmla="*/ 224 w 387"/>
                <a:gd name="T63" fmla="*/ 214 h 510"/>
                <a:gd name="T64" fmla="*/ 243 w 387"/>
                <a:gd name="T65" fmla="*/ 179 h 510"/>
                <a:gd name="T66" fmla="*/ 267 w 387"/>
                <a:gd name="T67" fmla="*/ 182 h 510"/>
                <a:gd name="T68" fmla="*/ 278 w 387"/>
                <a:gd name="T69" fmla="*/ 203 h 510"/>
                <a:gd name="T70" fmla="*/ 278 w 387"/>
                <a:gd name="T71" fmla="*/ 214 h 510"/>
                <a:gd name="T72" fmla="*/ 299 w 387"/>
                <a:gd name="T73" fmla="*/ 224 h 510"/>
                <a:gd name="T74" fmla="*/ 318 w 387"/>
                <a:gd name="T75" fmla="*/ 224 h 510"/>
                <a:gd name="T76" fmla="*/ 347 w 387"/>
                <a:gd name="T77" fmla="*/ 208 h 510"/>
                <a:gd name="T78" fmla="*/ 374 w 387"/>
                <a:gd name="T79" fmla="*/ 203 h 510"/>
                <a:gd name="T80" fmla="*/ 366 w 387"/>
                <a:gd name="T81" fmla="*/ 187 h 510"/>
                <a:gd name="T82" fmla="*/ 387 w 387"/>
                <a:gd name="T83" fmla="*/ 142 h 510"/>
                <a:gd name="T84" fmla="*/ 358 w 387"/>
                <a:gd name="T85" fmla="*/ 139 h 510"/>
                <a:gd name="T86" fmla="*/ 334 w 387"/>
                <a:gd name="T87" fmla="*/ 126 h 510"/>
                <a:gd name="T88" fmla="*/ 294 w 387"/>
                <a:gd name="T89" fmla="*/ 88 h 510"/>
                <a:gd name="T90" fmla="*/ 280 w 387"/>
                <a:gd name="T91" fmla="*/ 93 h 510"/>
                <a:gd name="T92" fmla="*/ 256 w 387"/>
                <a:gd name="T93" fmla="*/ 77 h 510"/>
                <a:gd name="T94" fmla="*/ 243 w 387"/>
                <a:gd name="T95" fmla="*/ 59 h 510"/>
                <a:gd name="T96" fmla="*/ 230 w 387"/>
                <a:gd name="T97" fmla="*/ 40 h 510"/>
                <a:gd name="T98" fmla="*/ 208 w 387"/>
                <a:gd name="T99" fmla="*/ 35 h 510"/>
                <a:gd name="T100" fmla="*/ 179 w 387"/>
                <a:gd name="T101" fmla="*/ 24 h 510"/>
                <a:gd name="T102" fmla="*/ 163 w 387"/>
                <a:gd name="T103" fmla="*/ 3 h 510"/>
                <a:gd name="T104" fmla="*/ 136 w 387"/>
                <a:gd name="T105" fmla="*/ 21 h 510"/>
                <a:gd name="T106" fmla="*/ 104 w 387"/>
                <a:gd name="T107" fmla="*/ 37 h 510"/>
                <a:gd name="T108" fmla="*/ 110 w 387"/>
                <a:gd name="T109" fmla="*/ 51 h 510"/>
                <a:gd name="T110" fmla="*/ 115 w 387"/>
                <a:gd name="T111" fmla="*/ 67 h 510"/>
                <a:gd name="T112" fmla="*/ 96 w 387"/>
                <a:gd name="T113" fmla="*/ 75 h 510"/>
                <a:gd name="T114" fmla="*/ 70 w 387"/>
                <a:gd name="T115" fmla="*/ 88 h 510"/>
                <a:gd name="T116" fmla="*/ 40 w 387"/>
                <a:gd name="T117" fmla="*/ 102 h 510"/>
                <a:gd name="T118" fmla="*/ 51 w 387"/>
                <a:gd name="T119" fmla="*/ 120 h 510"/>
                <a:gd name="T120" fmla="*/ 32 w 387"/>
                <a:gd name="T121" fmla="*/ 144 h 510"/>
                <a:gd name="T122" fmla="*/ 11 w 387"/>
                <a:gd name="T123" fmla="*/ 171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7" h="510" extrusionOk="0">
                  <a:moveTo>
                    <a:pt x="5" y="192"/>
                  </a:moveTo>
                  <a:lnTo>
                    <a:pt x="5" y="192"/>
                  </a:lnTo>
                  <a:lnTo>
                    <a:pt x="5" y="198"/>
                  </a:lnTo>
                  <a:lnTo>
                    <a:pt x="5" y="200"/>
                  </a:lnTo>
                  <a:lnTo>
                    <a:pt x="5" y="200"/>
                  </a:lnTo>
                  <a:lnTo>
                    <a:pt x="5" y="203"/>
                  </a:lnTo>
                  <a:lnTo>
                    <a:pt x="5" y="206"/>
                  </a:lnTo>
                  <a:lnTo>
                    <a:pt x="3" y="208"/>
                  </a:lnTo>
                  <a:lnTo>
                    <a:pt x="3" y="211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0" y="216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3" y="222"/>
                  </a:lnTo>
                  <a:lnTo>
                    <a:pt x="3" y="222"/>
                  </a:lnTo>
                  <a:lnTo>
                    <a:pt x="3" y="224"/>
                  </a:lnTo>
                  <a:lnTo>
                    <a:pt x="5" y="227"/>
                  </a:lnTo>
                  <a:lnTo>
                    <a:pt x="5" y="227"/>
                  </a:lnTo>
                  <a:lnTo>
                    <a:pt x="8" y="230"/>
                  </a:lnTo>
                  <a:lnTo>
                    <a:pt x="8" y="235"/>
                  </a:lnTo>
                  <a:lnTo>
                    <a:pt x="8" y="248"/>
                  </a:lnTo>
                  <a:lnTo>
                    <a:pt x="8" y="248"/>
                  </a:lnTo>
                  <a:lnTo>
                    <a:pt x="11" y="251"/>
                  </a:lnTo>
                  <a:lnTo>
                    <a:pt x="11" y="251"/>
                  </a:lnTo>
                  <a:lnTo>
                    <a:pt x="8" y="259"/>
                  </a:lnTo>
                  <a:lnTo>
                    <a:pt x="13" y="267"/>
                  </a:lnTo>
                  <a:lnTo>
                    <a:pt x="16" y="267"/>
                  </a:lnTo>
                  <a:lnTo>
                    <a:pt x="19" y="267"/>
                  </a:lnTo>
                  <a:lnTo>
                    <a:pt x="21" y="267"/>
                  </a:lnTo>
                  <a:lnTo>
                    <a:pt x="21" y="270"/>
                  </a:lnTo>
                  <a:lnTo>
                    <a:pt x="29" y="278"/>
                  </a:lnTo>
                  <a:lnTo>
                    <a:pt x="29" y="281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9" y="286"/>
                  </a:lnTo>
                  <a:lnTo>
                    <a:pt x="29" y="289"/>
                  </a:lnTo>
                  <a:lnTo>
                    <a:pt x="29" y="289"/>
                  </a:lnTo>
                  <a:lnTo>
                    <a:pt x="27" y="289"/>
                  </a:lnTo>
                  <a:lnTo>
                    <a:pt x="27" y="291"/>
                  </a:lnTo>
                  <a:lnTo>
                    <a:pt x="32" y="291"/>
                  </a:lnTo>
                  <a:lnTo>
                    <a:pt x="35" y="291"/>
                  </a:lnTo>
                  <a:lnTo>
                    <a:pt x="35" y="291"/>
                  </a:lnTo>
                  <a:lnTo>
                    <a:pt x="40" y="291"/>
                  </a:lnTo>
                  <a:lnTo>
                    <a:pt x="40" y="291"/>
                  </a:lnTo>
                  <a:lnTo>
                    <a:pt x="40" y="294"/>
                  </a:lnTo>
                  <a:lnTo>
                    <a:pt x="40" y="294"/>
                  </a:lnTo>
                  <a:lnTo>
                    <a:pt x="40" y="297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0" y="302"/>
                  </a:lnTo>
                  <a:lnTo>
                    <a:pt x="40" y="305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40" y="310"/>
                  </a:lnTo>
                  <a:lnTo>
                    <a:pt x="40" y="310"/>
                  </a:lnTo>
                  <a:lnTo>
                    <a:pt x="40" y="313"/>
                  </a:lnTo>
                  <a:lnTo>
                    <a:pt x="40" y="313"/>
                  </a:lnTo>
                  <a:lnTo>
                    <a:pt x="40" y="315"/>
                  </a:lnTo>
                  <a:lnTo>
                    <a:pt x="40" y="315"/>
                  </a:lnTo>
                  <a:lnTo>
                    <a:pt x="40" y="318"/>
                  </a:lnTo>
                  <a:lnTo>
                    <a:pt x="40" y="318"/>
                  </a:lnTo>
                  <a:lnTo>
                    <a:pt x="37" y="321"/>
                  </a:lnTo>
                  <a:lnTo>
                    <a:pt x="37" y="326"/>
                  </a:lnTo>
                  <a:lnTo>
                    <a:pt x="37" y="326"/>
                  </a:lnTo>
                  <a:lnTo>
                    <a:pt x="40" y="329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37" y="334"/>
                  </a:lnTo>
                  <a:lnTo>
                    <a:pt x="37" y="334"/>
                  </a:lnTo>
                  <a:lnTo>
                    <a:pt x="37" y="337"/>
                  </a:lnTo>
                  <a:lnTo>
                    <a:pt x="35" y="337"/>
                  </a:lnTo>
                  <a:lnTo>
                    <a:pt x="37" y="339"/>
                  </a:lnTo>
                  <a:lnTo>
                    <a:pt x="40" y="337"/>
                  </a:lnTo>
                  <a:lnTo>
                    <a:pt x="43" y="339"/>
                  </a:lnTo>
                  <a:lnTo>
                    <a:pt x="43" y="337"/>
                  </a:lnTo>
                  <a:lnTo>
                    <a:pt x="45" y="337"/>
                  </a:lnTo>
                  <a:lnTo>
                    <a:pt x="45" y="339"/>
                  </a:lnTo>
                  <a:lnTo>
                    <a:pt x="48" y="339"/>
                  </a:lnTo>
                  <a:lnTo>
                    <a:pt x="51" y="339"/>
                  </a:lnTo>
                  <a:lnTo>
                    <a:pt x="51" y="339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1" y="347"/>
                  </a:lnTo>
                  <a:lnTo>
                    <a:pt x="51" y="350"/>
                  </a:lnTo>
                  <a:lnTo>
                    <a:pt x="45" y="355"/>
                  </a:lnTo>
                  <a:lnTo>
                    <a:pt x="45" y="355"/>
                  </a:lnTo>
                  <a:lnTo>
                    <a:pt x="45" y="355"/>
                  </a:lnTo>
                  <a:lnTo>
                    <a:pt x="43" y="355"/>
                  </a:lnTo>
                  <a:lnTo>
                    <a:pt x="43" y="353"/>
                  </a:lnTo>
                  <a:lnTo>
                    <a:pt x="43" y="353"/>
                  </a:lnTo>
                  <a:lnTo>
                    <a:pt x="43" y="350"/>
                  </a:lnTo>
                  <a:lnTo>
                    <a:pt x="40" y="350"/>
                  </a:lnTo>
                  <a:lnTo>
                    <a:pt x="40" y="350"/>
                  </a:lnTo>
                  <a:lnTo>
                    <a:pt x="40" y="347"/>
                  </a:lnTo>
                  <a:lnTo>
                    <a:pt x="40" y="347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5"/>
                  </a:lnTo>
                  <a:lnTo>
                    <a:pt x="37" y="355"/>
                  </a:lnTo>
                  <a:lnTo>
                    <a:pt x="37" y="358"/>
                  </a:lnTo>
                  <a:lnTo>
                    <a:pt x="37" y="358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3" y="355"/>
                  </a:lnTo>
                  <a:lnTo>
                    <a:pt x="43" y="355"/>
                  </a:lnTo>
                  <a:lnTo>
                    <a:pt x="43" y="355"/>
                  </a:lnTo>
                  <a:lnTo>
                    <a:pt x="45" y="358"/>
                  </a:lnTo>
                  <a:lnTo>
                    <a:pt x="45" y="361"/>
                  </a:lnTo>
                  <a:lnTo>
                    <a:pt x="45" y="361"/>
                  </a:lnTo>
                  <a:lnTo>
                    <a:pt x="45" y="363"/>
                  </a:lnTo>
                  <a:lnTo>
                    <a:pt x="43" y="363"/>
                  </a:lnTo>
                  <a:lnTo>
                    <a:pt x="43" y="363"/>
                  </a:lnTo>
                  <a:lnTo>
                    <a:pt x="43" y="366"/>
                  </a:lnTo>
                  <a:lnTo>
                    <a:pt x="48" y="366"/>
                  </a:lnTo>
                  <a:lnTo>
                    <a:pt x="48" y="366"/>
                  </a:lnTo>
                  <a:lnTo>
                    <a:pt x="48" y="369"/>
                  </a:lnTo>
                  <a:lnTo>
                    <a:pt x="45" y="369"/>
                  </a:lnTo>
                  <a:lnTo>
                    <a:pt x="45" y="369"/>
                  </a:lnTo>
                  <a:lnTo>
                    <a:pt x="45" y="371"/>
                  </a:lnTo>
                  <a:lnTo>
                    <a:pt x="45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5" y="374"/>
                  </a:lnTo>
                  <a:lnTo>
                    <a:pt x="43" y="374"/>
                  </a:lnTo>
                  <a:lnTo>
                    <a:pt x="43" y="374"/>
                  </a:lnTo>
                  <a:lnTo>
                    <a:pt x="40" y="377"/>
                  </a:lnTo>
                  <a:lnTo>
                    <a:pt x="43" y="377"/>
                  </a:lnTo>
                  <a:lnTo>
                    <a:pt x="43" y="379"/>
                  </a:lnTo>
                  <a:lnTo>
                    <a:pt x="40" y="382"/>
                  </a:lnTo>
                  <a:lnTo>
                    <a:pt x="40" y="385"/>
                  </a:lnTo>
                  <a:lnTo>
                    <a:pt x="43" y="387"/>
                  </a:lnTo>
                  <a:lnTo>
                    <a:pt x="43" y="387"/>
                  </a:lnTo>
                  <a:lnTo>
                    <a:pt x="45" y="390"/>
                  </a:lnTo>
                  <a:lnTo>
                    <a:pt x="48" y="387"/>
                  </a:lnTo>
                  <a:lnTo>
                    <a:pt x="48" y="387"/>
                  </a:lnTo>
                  <a:lnTo>
                    <a:pt x="48" y="393"/>
                  </a:lnTo>
                  <a:lnTo>
                    <a:pt x="51" y="393"/>
                  </a:lnTo>
                  <a:lnTo>
                    <a:pt x="51" y="393"/>
                  </a:lnTo>
                  <a:lnTo>
                    <a:pt x="53" y="393"/>
                  </a:lnTo>
                  <a:lnTo>
                    <a:pt x="53" y="393"/>
                  </a:lnTo>
                  <a:lnTo>
                    <a:pt x="56" y="395"/>
                  </a:lnTo>
                  <a:lnTo>
                    <a:pt x="59" y="393"/>
                  </a:lnTo>
                  <a:lnTo>
                    <a:pt x="59" y="390"/>
                  </a:lnTo>
                  <a:lnTo>
                    <a:pt x="59" y="390"/>
                  </a:lnTo>
                  <a:lnTo>
                    <a:pt x="59" y="387"/>
                  </a:lnTo>
                  <a:lnTo>
                    <a:pt x="62" y="385"/>
                  </a:lnTo>
                  <a:lnTo>
                    <a:pt x="62" y="382"/>
                  </a:lnTo>
                  <a:lnTo>
                    <a:pt x="64" y="382"/>
                  </a:lnTo>
                  <a:lnTo>
                    <a:pt x="64" y="379"/>
                  </a:lnTo>
                  <a:lnTo>
                    <a:pt x="67" y="379"/>
                  </a:lnTo>
                  <a:lnTo>
                    <a:pt x="67" y="382"/>
                  </a:lnTo>
                  <a:lnTo>
                    <a:pt x="64" y="385"/>
                  </a:lnTo>
                  <a:lnTo>
                    <a:pt x="67" y="385"/>
                  </a:lnTo>
                  <a:lnTo>
                    <a:pt x="67" y="385"/>
                  </a:lnTo>
                  <a:lnTo>
                    <a:pt x="67" y="382"/>
                  </a:lnTo>
                  <a:lnTo>
                    <a:pt x="70" y="382"/>
                  </a:lnTo>
                  <a:lnTo>
                    <a:pt x="70" y="382"/>
                  </a:lnTo>
                  <a:lnTo>
                    <a:pt x="72" y="382"/>
                  </a:lnTo>
                  <a:lnTo>
                    <a:pt x="72" y="379"/>
                  </a:lnTo>
                  <a:lnTo>
                    <a:pt x="75" y="379"/>
                  </a:lnTo>
                  <a:lnTo>
                    <a:pt x="75" y="379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7"/>
                  </a:lnTo>
                  <a:lnTo>
                    <a:pt x="78" y="374"/>
                  </a:lnTo>
                  <a:lnTo>
                    <a:pt x="80" y="377"/>
                  </a:lnTo>
                  <a:lnTo>
                    <a:pt x="80" y="382"/>
                  </a:lnTo>
                  <a:lnTo>
                    <a:pt x="83" y="382"/>
                  </a:lnTo>
                  <a:lnTo>
                    <a:pt x="86" y="387"/>
                  </a:lnTo>
                  <a:lnTo>
                    <a:pt x="94" y="387"/>
                  </a:lnTo>
                  <a:lnTo>
                    <a:pt x="96" y="390"/>
                  </a:lnTo>
                  <a:lnTo>
                    <a:pt x="94" y="390"/>
                  </a:lnTo>
                  <a:lnTo>
                    <a:pt x="94" y="393"/>
                  </a:lnTo>
                  <a:lnTo>
                    <a:pt x="91" y="390"/>
                  </a:lnTo>
                  <a:lnTo>
                    <a:pt x="91" y="393"/>
                  </a:lnTo>
                  <a:lnTo>
                    <a:pt x="88" y="393"/>
                  </a:lnTo>
                  <a:lnTo>
                    <a:pt x="88" y="395"/>
                  </a:lnTo>
                  <a:lnTo>
                    <a:pt x="86" y="398"/>
                  </a:lnTo>
                  <a:lnTo>
                    <a:pt x="86" y="401"/>
                  </a:lnTo>
                  <a:lnTo>
                    <a:pt x="86" y="401"/>
                  </a:lnTo>
                  <a:lnTo>
                    <a:pt x="88" y="401"/>
                  </a:lnTo>
                  <a:lnTo>
                    <a:pt x="88" y="401"/>
                  </a:lnTo>
                  <a:lnTo>
                    <a:pt x="91" y="401"/>
                  </a:lnTo>
                  <a:lnTo>
                    <a:pt x="91" y="398"/>
                  </a:lnTo>
                  <a:lnTo>
                    <a:pt x="94" y="401"/>
                  </a:lnTo>
                  <a:lnTo>
                    <a:pt x="91" y="401"/>
                  </a:lnTo>
                  <a:lnTo>
                    <a:pt x="88" y="403"/>
                  </a:lnTo>
                  <a:lnTo>
                    <a:pt x="88" y="403"/>
                  </a:lnTo>
                  <a:lnTo>
                    <a:pt x="86" y="406"/>
                  </a:lnTo>
                  <a:lnTo>
                    <a:pt x="86" y="409"/>
                  </a:lnTo>
                  <a:lnTo>
                    <a:pt x="83" y="414"/>
                  </a:lnTo>
                  <a:lnTo>
                    <a:pt x="78" y="414"/>
                  </a:lnTo>
                  <a:lnTo>
                    <a:pt x="78" y="414"/>
                  </a:lnTo>
                  <a:lnTo>
                    <a:pt x="75" y="414"/>
                  </a:lnTo>
                  <a:lnTo>
                    <a:pt x="75" y="414"/>
                  </a:lnTo>
                  <a:lnTo>
                    <a:pt x="75" y="417"/>
                  </a:lnTo>
                  <a:lnTo>
                    <a:pt x="75" y="417"/>
                  </a:lnTo>
                  <a:lnTo>
                    <a:pt x="72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70" y="417"/>
                  </a:lnTo>
                  <a:lnTo>
                    <a:pt x="67" y="420"/>
                  </a:lnTo>
                  <a:lnTo>
                    <a:pt x="67" y="422"/>
                  </a:lnTo>
                  <a:lnTo>
                    <a:pt x="64" y="422"/>
                  </a:lnTo>
                  <a:lnTo>
                    <a:pt x="67" y="425"/>
                  </a:lnTo>
                  <a:lnTo>
                    <a:pt x="72" y="428"/>
                  </a:lnTo>
                  <a:lnTo>
                    <a:pt x="75" y="422"/>
                  </a:lnTo>
                  <a:lnTo>
                    <a:pt x="80" y="422"/>
                  </a:lnTo>
                  <a:lnTo>
                    <a:pt x="83" y="425"/>
                  </a:lnTo>
                  <a:lnTo>
                    <a:pt x="78" y="425"/>
                  </a:lnTo>
                  <a:lnTo>
                    <a:pt x="78" y="428"/>
                  </a:lnTo>
                  <a:lnTo>
                    <a:pt x="80" y="428"/>
                  </a:lnTo>
                  <a:lnTo>
                    <a:pt x="83" y="430"/>
                  </a:lnTo>
                  <a:lnTo>
                    <a:pt x="86" y="433"/>
                  </a:lnTo>
                  <a:lnTo>
                    <a:pt x="83" y="436"/>
                  </a:lnTo>
                  <a:lnTo>
                    <a:pt x="86" y="436"/>
                  </a:lnTo>
                  <a:lnTo>
                    <a:pt x="88" y="441"/>
                  </a:lnTo>
                  <a:lnTo>
                    <a:pt x="80" y="449"/>
                  </a:lnTo>
                  <a:lnTo>
                    <a:pt x="86" y="452"/>
                  </a:lnTo>
                  <a:lnTo>
                    <a:pt x="83" y="454"/>
                  </a:lnTo>
                  <a:lnTo>
                    <a:pt x="83" y="454"/>
                  </a:lnTo>
                  <a:lnTo>
                    <a:pt x="83" y="454"/>
                  </a:lnTo>
                  <a:lnTo>
                    <a:pt x="80" y="454"/>
                  </a:lnTo>
                  <a:lnTo>
                    <a:pt x="78" y="454"/>
                  </a:lnTo>
                  <a:lnTo>
                    <a:pt x="72" y="460"/>
                  </a:lnTo>
                  <a:lnTo>
                    <a:pt x="75" y="462"/>
                  </a:lnTo>
                  <a:lnTo>
                    <a:pt x="75" y="462"/>
                  </a:lnTo>
                  <a:lnTo>
                    <a:pt x="75" y="465"/>
                  </a:lnTo>
                  <a:lnTo>
                    <a:pt x="75" y="465"/>
                  </a:lnTo>
                  <a:lnTo>
                    <a:pt x="78" y="465"/>
                  </a:lnTo>
                  <a:lnTo>
                    <a:pt x="78" y="468"/>
                  </a:lnTo>
                  <a:lnTo>
                    <a:pt x="78" y="468"/>
                  </a:lnTo>
                  <a:lnTo>
                    <a:pt x="78" y="470"/>
                  </a:lnTo>
                  <a:lnTo>
                    <a:pt x="78" y="470"/>
                  </a:lnTo>
                  <a:lnTo>
                    <a:pt x="75" y="473"/>
                  </a:lnTo>
                  <a:lnTo>
                    <a:pt x="75" y="476"/>
                  </a:lnTo>
                  <a:lnTo>
                    <a:pt x="75" y="478"/>
                  </a:lnTo>
                  <a:lnTo>
                    <a:pt x="75" y="478"/>
                  </a:lnTo>
                  <a:lnTo>
                    <a:pt x="72" y="481"/>
                  </a:lnTo>
                  <a:lnTo>
                    <a:pt x="72" y="481"/>
                  </a:lnTo>
                  <a:lnTo>
                    <a:pt x="70" y="484"/>
                  </a:lnTo>
                  <a:lnTo>
                    <a:pt x="70" y="484"/>
                  </a:lnTo>
                  <a:lnTo>
                    <a:pt x="75" y="486"/>
                  </a:lnTo>
                  <a:lnTo>
                    <a:pt x="75" y="484"/>
                  </a:lnTo>
                  <a:lnTo>
                    <a:pt x="78" y="486"/>
                  </a:lnTo>
                  <a:lnTo>
                    <a:pt x="80" y="484"/>
                  </a:lnTo>
                  <a:lnTo>
                    <a:pt x="80" y="481"/>
                  </a:lnTo>
                  <a:lnTo>
                    <a:pt x="83" y="476"/>
                  </a:lnTo>
                  <a:lnTo>
                    <a:pt x="80" y="470"/>
                  </a:lnTo>
                  <a:lnTo>
                    <a:pt x="80" y="470"/>
                  </a:lnTo>
                  <a:lnTo>
                    <a:pt x="83" y="470"/>
                  </a:lnTo>
                  <a:lnTo>
                    <a:pt x="83" y="473"/>
                  </a:lnTo>
                  <a:lnTo>
                    <a:pt x="86" y="476"/>
                  </a:lnTo>
                  <a:lnTo>
                    <a:pt x="88" y="476"/>
                  </a:lnTo>
                  <a:lnTo>
                    <a:pt x="88" y="476"/>
                  </a:lnTo>
                  <a:lnTo>
                    <a:pt x="88" y="476"/>
                  </a:lnTo>
                  <a:lnTo>
                    <a:pt x="91" y="478"/>
                  </a:lnTo>
                  <a:lnTo>
                    <a:pt x="88" y="481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91" y="484"/>
                  </a:lnTo>
                  <a:lnTo>
                    <a:pt x="94" y="486"/>
                  </a:lnTo>
                  <a:lnTo>
                    <a:pt x="91" y="489"/>
                  </a:lnTo>
                  <a:lnTo>
                    <a:pt x="91" y="492"/>
                  </a:lnTo>
                  <a:lnTo>
                    <a:pt x="94" y="494"/>
                  </a:lnTo>
                  <a:lnTo>
                    <a:pt x="94" y="494"/>
                  </a:lnTo>
                  <a:lnTo>
                    <a:pt x="94" y="497"/>
                  </a:lnTo>
                  <a:lnTo>
                    <a:pt x="96" y="494"/>
                  </a:lnTo>
                  <a:lnTo>
                    <a:pt x="99" y="494"/>
                  </a:lnTo>
                  <a:lnTo>
                    <a:pt x="99" y="494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2" y="494"/>
                  </a:lnTo>
                  <a:lnTo>
                    <a:pt x="104" y="494"/>
                  </a:lnTo>
                  <a:lnTo>
                    <a:pt x="107" y="494"/>
                  </a:lnTo>
                  <a:lnTo>
                    <a:pt x="107" y="494"/>
                  </a:lnTo>
                  <a:lnTo>
                    <a:pt x="107" y="494"/>
                  </a:lnTo>
                  <a:lnTo>
                    <a:pt x="110" y="492"/>
                  </a:lnTo>
                  <a:lnTo>
                    <a:pt x="110" y="489"/>
                  </a:lnTo>
                  <a:lnTo>
                    <a:pt x="112" y="489"/>
                  </a:lnTo>
                  <a:lnTo>
                    <a:pt x="112" y="486"/>
                  </a:lnTo>
                  <a:lnTo>
                    <a:pt x="112" y="486"/>
                  </a:lnTo>
                  <a:lnTo>
                    <a:pt x="112" y="489"/>
                  </a:lnTo>
                  <a:lnTo>
                    <a:pt x="115" y="489"/>
                  </a:lnTo>
                  <a:lnTo>
                    <a:pt x="118" y="492"/>
                  </a:lnTo>
                  <a:lnTo>
                    <a:pt x="120" y="492"/>
                  </a:lnTo>
                  <a:lnTo>
                    <a:pt x="120" y="492"/>
                  </a:lnTo>
                  <a:lnTo>
                    <a:pt x="123" y="492"/>
                  </a:lnTo>
                  <a:lnTo>
                    <a:pt x="126" y="492"/>
                  </a:lnTo>
                  <a:lnTo>
                    <a:pt x="126" y="489"/>
                  </a:lnTo>
                  <a:lnTo>
                    <a:pt x="126" y="489"/>
                  </a:lnTo>
                  <a:lnTo>
                    <a:pt x="126" y="486"/>
                  </a:lnTo>
                  <a:lnTo>
                    <a:pt x="126" y="486"/>
                  </a:lnTo>
                  <a:lnTo>
                    <a:pt x="128" y="486"/>
                  </a:lnTo>
                  <a:lnTo>
                    <a:pt x="131" y="484"/>
                  </a:lnTo>
                  <a:lnTo>
                    <a:pt x="128" y="484"/>
                  </a:lnTo>
                  <a:lnTo>
                    <a:pt x="128" y="484"/>
                  </a:lnTo>
                  <a:lnTo>
                    <a:pt x="131" y="481"/>
                  </a:lnTo>
                  <a:lnTo>
                    <a:pt x="131" y="484"/>
                  </a:lnTo>
                  <a:lnTo>
                    <a:pt x="134" y="484"/>
                  </a:lnTo>
                  <a:lnTo>
                    <a:pt x="134" y="484"/>
                  </a:lnTo>
                  <a:lnTo>
                    <a:pt x="134" y="486"/>
                  </a:lnTo>
                  <a:lnTo>
                    <a:pt x="139" y="489"/>
                  </a:lnTo>
                  <a:lnTo>
                    <a:pt x="142" y="489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7" y="497"/>
                  </a:lnTo>
                  <a:lnTo>
                    <a:pt x="147" y="497"/>
                  </a:lnTo>
                  <a:lnTo>
                    <a:pt x="150" y="497"/>
                  </a:lnTo>
                  <a:lnTo>
                    <a:pt x="150" y="497"/>
                  </a:lnTo>
                  <a:lnTo>
                    <a:pt x="152" y="500"/>
                  </a:lnTo>
                  <a:lnTo>
                    <a:pt x="150" y="500"/>
                  </a:lnTo>
                  <a:lnTo>
                    <a:pt x="150" y="502"/>
                  </a:lnTo>
                  <a:lnTo>
                    <a:pt x="150" y="502"/>
                  </a:lnTo>
                  <a:lnTo>
                    <a:pt x="150" y="505"/>
                  </a:lnTo>
                  <a:lnTo>
                    <a:pt x="150" y="505"/>
                  </a:lnTo>
                  <a:lnTo>
                    <a:pt x="152" y="505"/>
                  </a:lnTo>
                  <a:lnTo>
                    <a:pt x="155" y="505"/>
                  </a:lnTo>
                  <a:lnTo>
                    <a:pt x="155" y="508"/>
                  </a:lnTo>
                  <a:lnTo>
                    <a:pt x="155" y="508"/>
                  </a:lnTo>
                  <a:lnTo>
                    <a:pt x="158" y="508"/>
                  </a:lnTo>
                  <a:lnTo>
                    <a:pt x="158" y="505"/>
                  </a:lnTo>
                  <a:lnTo>
                    <a:pt x="160" y="508"/>
                  </a:lnTo>
                  <a:lnTo>
                    <a:pt x="160" y="508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6" y="505"/>
                  </a:lnTo>
                  <a:lnTo>
                    <a:pt x="174" y="510"/>
                  </a:lnTo>
                  <a:lnTo>
                    <a:pt x="174" y="510"/>
                  </a:lnTo>
                  <a:lnTo>
                    <a:pt x="176" y="510"/>
                  </a:lnTo>
                  <a:lnTo>
                    <a:pt x="179" y="510"/>
                  </a:lnTo>
                  <a:lnTo>
                    <a:pt x="182" y="508"/>
                  </a:lnTo>
                  <a:lnTo>
                    <a:pt x="182" y="508"/>
                  </a:lnTo>
                  <a:lnTo>
                    <a:pt x="184" y="508"/>
                  </a:lnTo>
                  <a:lnTo>
                    <a:pt x="184" y="502"/>
                  </a:lnTo>
                  <a:lnTo>
                    <a:pt x="187" y="502"/>
                  </a:lnTo>
                  <a:lnTo>
                    <a:pt x="192" y="492"/>
                  </a:lnTo>
                  <a:lnTo>
                    <a:pt x="195" y="492"/>
                  </a:lnTo>
                  <a:lnTo>
                    <a:pt x="195" y="489"/>
                  </a:lnTo>
                  <a:lnTo>
                    <a:pt x="195" y="486"/>
                  </a:lnTo>
                  <a:lnTo>
                    <a:pt x="195" y="481"/>
                  </a:lnTo>
                  <a:lnTo>
                    <a:pt x="195" y="478"/>
                  </a:lnTo>
                  <a:lnTo>
                    <a:pt x="198" y="476"/>
                  </a:lnTo>
                  <a:lnTo>
                    <a:pt x="203" y="470"/>
                  </a:lnTo>
                  <a:lnTo>
                    <a:pt x="206" y="470"/>
                  </a:lnTo>
                  <a:lnTo>
                    <a:pt x="206" y="473"/>
                  </a:lnTo>
                  <a:lnTo>
                    <a:pt x="211" y="476"/>
                  </a:lnTo>
                  <a:lnTo>
                    <a:pt x="214" y="476"/>
                  </a:lnTo>
                  <a:lnTo>
                    <a:pt x="214" y="476"/>
                  </a:lnTo>
                  <a:lnTo>
                    <a:pt x="216" y="476"/>
                  </a:lnTo>
                  <a:lnTo>
                    <a:pt x="216" y="476"/>
                  </a:lnTo>
                  <a:lnTo>
                    <a:pt x="216" y="473"/>
                  </a:lnTo>
                  <a:lnTo>
                    <a:pt x="219" y="473"/>
                  </a:lnTo>
                  <a:lnTo>
                    <a:pt x="219" y="473"/>
                  </a:lnTo>
                  <a:lnTo>
                    <a:pt x="219" y="470"/>
                  </a:lnTo>
                  <a:lnTo>
                    <a:pt x="214" y="468"/>
                  </a:lnTo>
                  <a:lnTo>
                    <a:pt x="216" y="460"/>
                  </a:lnTo>
                  <a:lnTo>
                    <a:pt x="214" y="460"/>
                  </a:lnTo>
                  <a:lnTo>
                    <a:pt x="216" y="457"/>
                  </a:lnTo>
                  <a:lnTo>
                    <a:pt x="214" y="454"/>
                  </a:lnTo>
                  <a:lnTo>
                    <a:pt x="216" y="452"/>
                  </a:lnTo>
                  <a:lnTo>
                    <a:pt x="219" y="452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2" y="446"/>
                  </a:lnTo>
                  <a:lnTo>
                    <a:pt x="219" y="444"/>
                  </a:lnTo>
                  <a:lnTo>
                    <a:pt x="222" y="444"/>
                  </a:lnTo>
                  <a:lnTo>
                    <a:pt x="219" y="441"/>
                  </a:lnTo>
                  <a:lnTo>
                    <a:pt x="222" y="438"/>
                  </a:lnTo>
                  <a:lnTo>
                    <a:pt x="222" y="438"/>
                  </a:lnTo>
                  <a:lnTo>
                    <a:pt x="222" y="436"/>
                  </a:lnTo>
                  <a:lnTo>
                    <a:pt x="224" y="436"/>
                  </a:lnTo>
                  <a:lnTo>
                    <a:pt x="227" y="428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30" y="422"/>
                  </a:lnTo>
                  <a:lnTo>
                    <a:pt x="230" y="420"/>
                  </a:lnTo>
                  <a:lnTo>
                    <a:pt x="232" y="420"/>
                  </a:lnTo>
                  <a:lnTo>
                    <a:pt x="232" y="417"/>
                  </a:lnTo>
                  <a:lnTo>
                    <a:pt x="235" y="417"/>
                  </a:lnTo>
                  <a:lnTo>
                    <a:pt x="235" y="414"/>
                  </a:lnTo>
                  <a:lnTo>
                    <a:pt x="238" y="414"/>
                  </a:lnTo>
                  <a:lnTo>
                    <a:pt x="240" y="409"/>
                  </a:lnTo>
                  <a:lnTo>
                    <a:pt x="246" y="411"/>
                  </a:lnTo>
                  <a:lnTo>
                    <a:pt x="248" y="411"/>
                  </a:lnTo>
                  <a:lnTo>
                    <a:pt x="248" y="409"/>
                  </a:lnTo>
                  <a:lnTo>
                    <a:pt x="246" y="406"/>
                  </a:lnTo>
                  <a:lnTo>
                    <a:pt x="251" y="395"/>
                  </a:lnTo>
                  <a:lnTo>
                    <a:pt x="248" y="393"/>
                  </a:lnTo>
                  <a:lnTo>
                    <a:pt x="251" y="387"/>
                  </a:lnTo>
                  <a:lnTo>
                    <a:pt x="251" y="387"/>
                  </a:lnTo>
                  <a:lnTo>
                    <a:pt x="262" y="369"/>
                  </a:lnTo>
                  <a:lnTo>
                    <a:pt x="262" y="366"/>
                  </a:lnTo>
                  <a:lnTo>
                    <a:pt x="262" y="363"/>
                  </a:lnTo>
                  <a:lnTo>
                    <a:pt x="259" y="361"/>
                  </a:lnTo>
                  <a:lnTo>
                    <a:pt x="259" y="358"/>
                  </a:lnTo>
                  <a:lnTo>
                    <a:pt x="262" y="358"/>
                  </a:lnTo>
                  <a:lnTo>
                    <a:pt x="262" y="355"/>
                  </a:lnTo>
                  <a:lnTo>
                    <a:pt x="264" y="355"/>
                  </a:lnTo>
                  <a:lnTo>
                    <a:pt x="267" y="355"/>
                  </a:lnTo>
                  <a:lnTo>
                    <a:pt x="267" y="353"/>
                  </a:lnTo>
                  <a:lnTo>
                    <a:pt x="267" y="350"/>
                  </a:lnTo>
                  <a:lnTo>
                    <a:pt x="270" y="347"/>
                  </a:lnTo>
                  <a:lnTo>
                    <a:pt x="270" y="347"/>
                  </a:lnTo>
                  <a:lnTo>
                    <a:pt x="270" y="345"/>
                  </a:lnTo>
                  <a:lnTo>
                    <a:pt x="272" y="345"/>
                  </a:lnTo>
                  <a:lnTo>
                    <a:pt x="272" y="345"/>
                  </a:lnTo>
                  <a:lnTo>
                    <a:pt x="275" y="342"/>
                  </a:lnTo>
                  <a:lnTo>
                    <a:pt x="275" y="339"/>
                  </a:lnTo>
                  <a:lnTo>
                    <a:pt x="275" y="339"/>
                  </a:lnTo>
                  <a:lnTo>
                    <a:pt x="275" y="337"/>
                  </a:lnTo>
                  <a:lnTo>
                    <a:pt x="278" y="337"/>
                  </a:lnTo>
                  <a:lnTo>
                    <a:pt x="278" y="334"/>
                  </a:lnTo>
                  <a:lnTo>
                    <a:pt x="280" y="334"/>
                  </a:lnTo>
                  <a:lnTo>
                    <a:pt x="280" y="331"/>
                  </a:lnTo>
                  <a:lnTo>
                    <a:pt x="280" y="331"/>
                  </a:lnTo>
                  <a:lnTo>
                    <a:pt x="278" y="331"/>
                  </a:lnTo>
                  <a:lnTo>
                    <a:pt x="280" y="329"/>
                  </a:lnTo>
                  <a:lnTo>
                    <a:pt x="280" y="329"/>
                  </a:lnTo>
                  <a:lnTo>
                    <a:pt x="283" y="329"/>
                  </a:lnTo>
                  <a:lnTo>
                    <a:pt x="283" y="331"/>
                  </a:lnTo>
                  <a:lnTo>
                    <a:pt x="286" y="331"/>
                  </a:lnTo>
                  <a:lnTo>
                    <a:pt x="286" y="331"/>
                  </a:lnTo>
                  <a:lnTo>
                    <a:pt x="288" y="331"/>
                  </a:lnTo>
                  <a:lnTo>
                    <a:pt x="288" y="334"/>
                  </a:lnTo>
                  <a:lnTo>
                    <a:pt x="288" y="334"/>
                  </a:lnTo>
                  <a:lnTo>
                    <a:pt x="291" y="331"/>
                  </a:lnTo>
                  <a:lnTo>
                    <a:pt x="291" y="331"/>
                  </a:lnTo>
                  <a:lnTo>
                    <a:pt x="294" y="331"/>
                  </a:lnTo>
                  <a:lnTo>
                    <a:pt x="294" y="331"/>
                  </a:lnTo>
                  <a:lnTo>
                    <a:pt x="294" y="331"/>
                  </a:lnTo>
                  <a:lnTo>
                    <a:pt x="297" y="329"/>
                  </a:lnTo>
                  <a:lnTo>
                    <a:pt x="297" y="329"/>
                  </a:lnTo>
                  <a:lnTo>
                    <a:pt x="299" y="329"/>
                  </a:lnTo>
                  <a:lnTo>
                    <a:pt x="302" y="326"/>
                  </a:lnTo>
                  <a:lnTo>
                    <a:pt x="302" y="323"/>
                  </a:lnTo>
                  <a:lnTo>
                    <a:pt x="305" y="323"/>
                  </a:lnTo>
                  <a:lnTo>
                    <a:pt x="305" y="321"/>
                  </a:lnTo>
                  <a:lnTo>
                    <a:pt x="307" y="318"/>
                  </a:lnTo>
                  <a:lnTo>
                    <a:pt x="310" y="318"/>
                  </a:lnTo>
                  <a:lnTo>
                    <a:pt x="310" y="318"/>
                  </a:lnTo>
                  <a:lnTo>
                    <a:pt x="310" y="318"/>
                  </a:lnTo>
                  <a:lnTo>
                    <a:pt x="313" y="321"/>
                  </a:lnTo>
                  <a:lnTo>
                    <a:pt x="315" y="321"/>
                  </a:lnTo>
                  <a:lnTo>
                    <a:pt x="318" y="321"/>
                  </a:lnTo>
                  <a:lnTo>
                    <a:pt x="321" y="321"/>
                  </a:lnTo>
                  <a:lnTo>
                    <a:pt x="323" y="323"/>
                  </a:lnTo>
                  <a:lnTo>
                    <a:pt x="323" y="323"/>
                  </a:lnTo>
                  <a:lnTo>
                    <a:pt x="323" y="326"/>
                  </a:lnTo>
                  <a:lnTo>
                    <a:pt x="323" y="326"/>
                  </a:lnTo>
                  <a:lnTo>
                    <a:pt x="326" y="331"/>
                  </a:lnTo>
                  <a:lnTo>
                    <a:pt x="329" y="329"/>
                  </a:lnTo>
                  <a:lnTo>
                    <a:pt x="329" y="329"/>
                  </a:lnTo>
                  <a:lnTo>
                    <a:pt x="331" y="326"/>
                  </a:lnTo>
                  <a:lnTo>
                    <a:pt x="331" y="323"/>
                  </a:lnTo>
                  <a:lnTo>
                    <a:pt x="334" y="323"/>
                  </a:lnTo>
                  <a:lnTo>
                    <a:pt x="337" y="323"/>
                  </a:lnTo>
                  <a:lnTo>
                    <a:pt x="337" y="318"/>
                  </a:lnTo>
                  <a:lnTo>
                    <a:pt x="337" y="315"/>
                  </a:lnTo>
                  <a:lnTo>
                    <a:pt x="334" y="313"/>
                  </a:lnTo>
                  <a:lnTo>
                    <a:pt x="334" y="313"/>
                  </a:lnTo>
                  <a:lnTo>
                    <a:pt x="334" y="310"/>
                  </a:lnTo>
                  <a:lnTo>
                    <a:pt x="339" y="307"/>
                  </a:lnTo>
                  <a:lnTo>
                    <a:pt x="339" y="307"/>
                  </a:lnTo>
                  <a:lnTo>
                    <a:pt x="339" y="305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39" y="302"/>
                  </a:lnTo>
                  <a:lnTo>
                    <a:pt x="337" y="299"/>
                  </a:lnTo>
                  <a:lnTo>
                    <a:pt x="337" y="299"/>
                  </a:lnTo>
                  <a:lnTo>
                    <a:pt x="337" y="297"/>
                  </a:lnTo>
                  <a:lnTo>
                    <a:pt x="339" y="297"/>
                  </a:lnTo>
                  <a:lnTo>
                    <a:pt x="339" y="297"/>
                  </a:lnTo>
                  <a:lnTo>
                    <a:pt x="339" y="297"/>
                  </a:lnTo>
                  <a:lnTo>
                    <a:pt x="342" y="294"/>
                  </a:lnTo>
                  <a:lnTo>
                    <a:pt x="342" y="294"/>
                  </a:lnTo>
                  <a:lnTo>
                    <a:pt x="345" y="294"/>
                  </a:lnTo>
                  <a:lnTo>
                    <a:pt x="345" y="294"/>
                  </a:lnTo>
                  <a:lnTo>
                    <a:pt x="347" y="294"/>
                  </a:lnTo>
                  <a:lnTo>
                    <a:pt x="350" y="294"/>
                  </a:lnTo>
                  <a:lnTo>
                    <a:pt x="353" y="291"/>
                  </a:lnTo>
                  <a:lnTo>
                    <a:pt x="355" y="291"/>
                  </a:lnTo>
                  <a:lnTo>
                    <a:pt x="358" y="286"/>
                  </a:lnTo>
                  <a:lnTo>
                    <a:pt x="361" y="283"/>
                  </a:lnTo>
                  <a:lnTo>
                    <a:pt x="363" y="281"/>
                  </a:lnTo>
                  <a:lnTo>
                    <a:pt x="363" y="278"/>
                  </a:lnTo>
                  <a:lnTo>
                    <a:pt x="361" y="275"/>
                  </a:lnTo>
                  <a:lnTo>
                    <a:pt x="363" y="275"/>
                  </a:lnTo>
                  <a:lnTo>
                    <a:pt x="366" y="273"/>
                  </a:lnTo>
                  <a:lnTo>
                    <a:pt x="366" y="273"/>
                  </a:lnTo>
                  <a:lnTo>
                    <a:pt x="369" y="273"/>
                  </a:lnTo>
                  <a:lnTo>
                    <a:pt x="369" y="270"/>
                  </a:lnTo>
                  <a:lnTo>
                    <a:pt x="366" y="270"/>
                  </a:lnTo>
                  <a:lnTo>
                    <a:pt x="363" y="270"/>
                  </a:lnTo>
                  <a:lnTo>
                    <a:pt x="363" y="270"/>
                  </a:lnTo>
                  <a:lnTo>
                    <a:pt x="361" y="270"/>
                  </a:lnTo>
                  <a:lnTo>
                    <a:pt x="361" y="270"/>
                  </a:lnTo>
                  <a:lnTo>
                    <a:pt x="358" y="267"/>
                  </a:lnTo>
                  <a:lnTo>
                    <a:pt x="358" y="265"/>
                  </a:lnTo>
                  <a:lnTo>
                    <a:pt x="358" y="265"/>
                  </a:lnTo>
                  <a:lnTo>
                    <a:pt x="355" y="265"/>
                  </a:lnTo>
                  <a:lnTo>
                    <a:pt x="355" y="262"/>
                  </a:lnTo>
                  <a:lnTo>
                    <a:pt x="355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3" y="262"/>
                  </a:lnTo>
                  <a:lnTo>
                    <a:pt x="350" y="262"/>
                  </a:lnTo>
                  <a:lnTo>
                    <a:pt x="350" y="265"/>
                  </a:lnTo>
                  <a:lnTo>
                    <a:pt x="350" y="265"/>
                  </a:lnTo>
                  <a:lnTo>
                    <a:pt x="347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2" y="265"/>
                  </a:lnTo>
                  <a:lnTo>
                    <a:pt x="342" y="267"/>
                  </a:lnTo>
                  <a:lnTo>
                    <a:pt x="342" y="270"/>
                  </a:lnTo>
                  <a:lnTo>
                    <a:pt x="342" y="270"/>
                  </a:lnTo>
                  <a:lnTo>
                    <a:pt x="339" y="270"/>
                  </a:lnTo>
                  <a:lnTo>
                    <a:pt x="337" y="270"/>
                  </a:lnTo>
                  <a:lnTo>
                    <a:pt x="337" y="273"/>
                  </a:lnTo>
                  <a:lnTo>
                    <a:pt x="334" y="273"/>
                  </a:lnTo>
                  <a:lnTo>
                    <a:pt x="331" y="273"/>
                  </a:lnTo>
                  <a:lnTo>
                    <a:pt x="331" y="273"/>
                  </a:lnTo>
                  <a:lnTo>
                    <a:pt x="329" y="273"/>
                  </a:lnTo>
                  <a:lnTo>
                    <a:pt x="326" y="275"/>
                  </a:lnTo>
                  <a:lnTo>
                    <a:pt x="326" y="275"/>
                  </a:lnTo>
                  <a:lnTo>
                    <a:pt x="326" y="278"/>
                  </a:lnTo>
                  <a:lnTo>
                    <a:pt x="323" y="278"/>
                  </a:lnTo>
                  <a:lnTo>
                    <a:pt x="323" y="278"/>
                  </a:lnTo>
                  <a:lnTo>
                    <a:pt x="321" y="275"/>
                  </a:lnTo>
                  <a:lnTo>
                    <a:pt x="318" y="275"/>
                  </a:lnTo>
                  <a:lnTo>
                    <a:pt x="315" y="273"/>
                  </a:lnTo>
                  <a:lnTo>
                    <a:pt x="315" y="273"/>
                  </a:lnTo>
                  <a:lnTo>
                    <a:pt x="313" y="273"/>
                  </a:lnTo>
                  <a:lnTo>
                    <a:pt x="310" y="273"/>
                  </a:lnTo>
                  <a:lnTo>
                    <a:pt x="307" y="273"/>
                  </a:lnTo>
                  <a:lnTo>
                    <a:pt x="305" y="273"/>
                  </a:lnTo>
                  <a:lnTo>
                    <a:pt x="305" y="273"/>
                  </a:lnTo>
                  <a:lnTo>
                    <a:pt x="302" y="273"/>
                  </a:lnTo>
                  <a:lnTo>
                    <a:pt x="299" y="273"/>
                  </a:lnTo>
                  <a:lnTo>
                    <a:pt x="299" y="273"/>
                  </a:lnTo>
                  <a:lnTo>
                    <a:pt x="297" y="273"/>
                  </a:lnTo>
                  <a:lnTo>
                    <a:pt x="297" y="273"/>
                  </a:lnTo>
                  <a:lnTo>
                    <a:pt x="294" y="273"/>
                  </a:lnTo>
                  <a:lnTo>
                    <a:pt x="294" y="273"/>
                  </a:lnTo>
                  <a:lnTo>
                    <a:pt x="291" y="273"/>
                  </a:lnTo>
                  <a:lnTo>
                    <a:pt x="291" y="275"/>
                  </a:lnTo>
                  <a:lnTo>
                    <a:pt x="291" y="275"/>
                  </a:lnTo>
                  <a:lnTo>
                    <a:pt x="288" y="278"/>
                  </a:lnTo>
                  <a:lnTo>
                    <a:pt x="283" y="275"/>
                  </a:lnTo>
                  <a:lnTo>
                    <a:pt x="275" y="265"/>
                  </a:lnTo>
                  <a:lnTo>
                    <a:pt x="270" y="265"/>
                  </a:lnTo>
                  <a:lnTo>
                    <a:pt x="270" y="265"/>
                  </a:lnTo>
                  <a:lnTo>
                    <a:pt x="267" y="265"/>
                  </a:lnTo>
                  <a:lnTo>
                    <a:pt x="264" y="265"/>
                  </a:lnTo>
                  <a:lnTo>
                    <a:pt x="264" y="262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59" y="265"/>
                  </a:lnTo>
                  <a:lnTo>
                    <a:pt x="256" y="267"/>
                  </a:lnTo>
                  <a:lnTo>
                    <a:pt x="254" y="267"/>
                  </a:lnTo>
                  <a:lnTo>
                    <a:pt x="251" y="267"/>
                  </a:lnTo>
                  <a:lnTo>
                    <a:pt x="248" y="267"/>
                  </a:lnTo>
                  <a:lnTo>
                    <a:pt x="246" y="267"/>
                  </a:lnTo>
                  <a:lnTo>
                    <a:pt x="246" y="267"/>
                  </a:lnTo>
                  <a:lnTo>
                    <a:pt x="246" y="265"/>
                  </a:lnTo>
                  <a:lnTo>
                    <a:pt x="246" y="262"/>
                  </a:lnTo>
                  <a:lnTo>
                    <a:pt x="246" y="262"/>
                  </a:lnTo>
                  <a:lnTo>
                    <a:pt x="243" y="259"/>
                  </a:lnTo>
                  <a:lnTo>
                    <a:pt x="243" y="257"/>
                  </a:lnTo>
                  <a:lnTo>
                    <a:pt x="243" y="257"/>
                  </a:lnTo>
                  <a:lnTo>
                    <a:pt x="240" y="254"/>
                  </a:lnTo>
                  <a:lnTo>
                    <a:pt x="240" y="254"/>
                  </a:lnTo>
                  <a:lnTo>
                    <a:pt x="240" y="254"/>
                  </a:lnTo>
                  <a:lnTo>
                    <a:pt x="240" y="251"/>
                  </a:lnTo>
                  <a:lnTo>
                    <a:pt x="240" y="251"/>
                  </a:lnTo>
                  <a:lnTo>
                    <a:pt x="243" y="248"/>
                  </a:lnTo>
                  <a:lnTo>
                    <a:pt x="243" y="248"/>
                  </a:lnTo>
                  <a:lnTo>
                    <a:pt x="243" y="246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8" y="232"/>
                  </a:lnTo>
                  <a:lnTo>
                    <a:pt x="235" y="232"/>
                  </a:lnTo>
                  <a:lnTo>
                    <a:pt x="235" y="232"/>
                  </a:lnTo>
                  <a:lnTo>
                    <a:pt x="238" y="230"/>
                  </a:lnTo>
                  <a:lnTo>
                    <a:pt x="235" y="227"/>
                  </a:lnTo>
                  <a:lnTo>
                    <a:pt x="235" y="227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2" y="224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27" y="219"/>
                  </a:lnTo>
                  <a:lnTo>
                    <a:pt x="227" y="219"/>
                  </a:lnTo>
                  <a:lnTo>
                    <a:pt x="224" y="216"/>
                  </a:lnTo>
                  <a:lnTo>
                    <a:pt x="224" y="214"/>
                  </a:lnTo>
                  <a:lnTo>
                    <a:pt x="224" y="211"/>
                  </a:lnTo>
                  <a:lnTo>
                    <a:pt x="224" y="208"/>
                  </a:lnTo>
                  <a:lnTo>
                    <a:pt x="224" y="206"/>
                  </a:lnTo>
                  <a:lnTo>
                    <a:pt x="227" y="206"/>
                  </a:lnTo>
                  <a:lnTo>
                    <a:pt x="230" y="206"/>
                  </a:lnTo>
                  <a:lnTo>
                    <a:pt x="232" y="203"/>
                  </a:lnTo>
                  <a:lnTo>
                    <a:pt x="235" y="203"/>
                  </a:lnTo>
                  <a:lnTo>
                    <a:pt x="235" y="200"/>
                  </a:lnTo>
                  <a:lnTo>
                    <a:pt x="232" y="200"/>
                  </a:lnTo>
                  <a:lnTo>
                    <a:pt x="232" y="190"/>
                  </a:lnTo>
                  <a:lnTo>
                    <a:pt x="235" y="187"/>
                  </a:lnTo>
                  <a:lnTo>
                    <a:pt x="235" y="184"/>
                  </a:lnTo>
                  <a:lnTo>
                    <a:pt x="238" y="184"/>
                  </a:lnTo>
                  <a:lnTo>
                    <a:pt x="240" y="184"/>
                  </a:lnTo>
                  <a:lnTo>
                    <a:pt x="243" y="182"/>
                  </a:lnTo>
                  <a:lnTo>
                    <a:pt x="240" y="182"/>
                  </a:lnTo>
                  <a:lnTo>
                    <a:pt x="240" y="179"/>
                  </a:lnTo>
                  <a:lnTo>
                    <a:pt x="240" y="179"/>
                  </a:lnTo>
                  <a:lnTo>
                    <a:pt x="243" y="179"/>
                  </a:lnTo>
                  <a:lnTo>
                    <a:pt x="243" y="179"/>
                  </a:lnTo>
                  <a:lnTo>
                    <a:pt x="243" y="179"/>
                  </a:lnTo>
                  <a:lnTo>
                    <a:pt x="243" y="176"/>
                  </a:lnTo>
                  <a:lnTo>
                    <a:pt x="246" y="176"/>
                  </a:lnTo>
                  <a:lnTo>
                    <a:pt x="248" y="176"/>
                  </a:lnTo>
                  <a:lnTo>
                    <a:pt x="248" y="176"/>
                  </a:lnTo>
                  <a:lnTo>
                    <a:pt x="248" y="176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4" y="176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62" y="176"/>
                  </a:lnTo>
                  <a:lnTo>
                    <a:pt x="262" y="176"/>
                  </a:lnTo>
                  <a:lnTo>
                    <a:pt x="264" y="179"/>
                  </a:lnTo>
                  <a:lnTo>
                    <a:pt x="267" y="182"/>
                  </a:lnTo>
                  <a:lnTo>
                    <a:pt x="267" y="182"/>
                  </a:lnTo>
                  <a:lnTo>
                    <a:pt x="270" y="184"/>
                  </a:lnTo>
                  <a:lnTo>
                    <a:pt x="275" y="184"/>
                  </a:lnTo>
                  <a:lnTo>
                    <a:pt x="278" y="187"/>
                  </a:lnTo>
                  <a:lnTo>
                    <a:pt x="280" y="187"/>
                  </a:lnTo>
                  <a:lnTo>
                    <a:pt x="280" y="190"/>
                  </a:lnTo>
                  <a:lnTo>
                    <a:pt x="283" y="190"/>
                  </a:lnTo>
                  <a:lnTo>
                    <a:pt x="283" y="190"/>
                  </a:lnTo>
                  <a:lnTo>
                    <a:pt x="286" y="192"/>
                  </a:lnTo>
                  <a:lnTo>
                    <a:pt x="286" y="195"/>
                  </a:lnTo>
                  <a:lnTo>
                    <a:pt x="286" y="198"/>
                  </a:lnTo>
                  <a:lnTo>
                    <a:pt x="288" y="198"/>
                  </a:lnTo>
                  <a:lnTo>
                    <a:pt x="288" y="200"/>
                  </a:lnTo>
                  <a:lnTo>
                    <a:pt x="288" y="200"/>
                  </a:lnTo>
                  <a:lnTo>
                    <a:pt x="286" y="200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78" y="200"/>
                  </a:lnTo>
                  <a:lnTo>
                    <a:pt x="278" y="203"/>
                  </a:lnTo>
                  <a:lnTo>
                    <a:pt x="278" y="206"/>
                  </a:lnTo>
                  <a:lnTo>
                    <a:pt x="275" y="206"/>
                  </a:lnTo>
                  <a:lnTo>
                    <a:pt x="278" y="208"/>
                  </a:lnTo>
                  <a:lnTo>
                    <a:pt x="278" y="211"/>
                  </a:lnTo>
                  <a:lnTo>
                    <a:pt x="275" y="211"/>
                  </a:lnTo>
                  <a:lnTo>
                    <a:pt x="275" y="214"/>
                  </a:lnTo>
                  <a:lnTo>
                    <a:pt x="272" y="216"/>
                  </a:lnTo>
                  <a:lnTo>
                    <a:pt x="270" y="219"/>
                  </a:lnTo>
                  <a:lnTo>
                    <a:pt x="267" y="219"/>
                  </a:lnTo>
                  <a:lnTo>
                    <a:pt x="270" y="222"/>
                  </a:lnTo>
                  <a:lnTo>
                    <a:pt x="270" y="224"/>
                  </a:lnTo>
                  <a:lnTo>
                    <a:pt x="272" y="224"/>
                  </a:lnTo>
                  <a:lnTo>
                    <a:pt x="275" y="224"/>
                  </a:lnTo>
                  <a:lnTo>
                    <a:pt x="275" y="224"/>
                  </a:lnTo>
                  <a:lnTo>
                    <a:pt x="278" y="222"/>
                  </a:lnTo>
                  <a:lnTo>
                    <a:pt x="278" y="219"/>
                  </a:lnTo>
                  <a:lnTo>
                    <a:pt x="278" y="216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80" y="216"/>
                  </a:lnTo>
                  <a:lnTo>
                    <a:pt x="288" y="206"/>
                  </a:lnTo>
                  <a:lnTo>
                    <a:pt x="291" y="206"/>
                  </a:lnTo>
                  <a:lnTo>
                    <a:pt x="291" y="206"/>
                  </a:lnTo>
                  <a:lnTo>
                    <a:pt x="294" y="206"/>
                  </a:lnTo>
                  <a:lnTo>
                    <a:pt x="297" y="208"/>
                  </a:lnTo>
                  <a:lnTo>
                    <a:pt x="297" y="211"/>
                  </a:lnTo>
                  <a:lnTo>
                    <a:pt x="297" y="211"/>
                  </a:lnTo>
                  <a:lnTo>
                    <a:pt x="297" y="214"/>
                  </a:lnTo>
                  <a:lnTo>
                    <a:pt x="297" y="214"/>
                  </a:lnTo>
                  <a:lnTo>
                    <a:pt x="297" y="216"/>
                  </a:lnTo>
                  <a:lnTo>
                    <a:pt x="297" y="219"/>
                  </a:lnTo>
                  <a:lnTo>
                    <a:pt x="297" y="219"/>
                  </a:lnTo>
                  <a:lnTo>
                    <a:pt x="297" y="222"/>
                  </a:lnTo>
                  <a:lnTo>
                    <a:pt x="297" y="224"/>
                  </a:lnTo>
                  <a:lnTo>
                    <a:pt x="294" y="224"/>
                  </a:lnTo>
                  <a:lnTo>
                    <a:pt x="297" y="224"/>
                  </a:lnTo>
                  <a:lnTo>
                    <a:pt x="297" y="224"/>
                  </a:lnTo>
                  <a:lnTo>
                    <a:pt x="299" y="224"/>
                  </a:lnTo>
                  <a:lnTo>
                    <a:pt x="302" y="224"/>
                  </a:lnTo>
                  <a:lnTo>
                    <a:pt x="302" y="224"/>
                  </a:lnTo>
                  <a:lnTo>
                    <a:pt x="302" y="227"/>
                  </a:lnTo>
                  <a:lnTo>
                    <a:pt x="299" y="227"/>
                  </a:lnTo>
                  <a:lnTo>
                    <a:pt x="299" y="230"/>
                  </a:lnTo>
                  <a:lnTo>
                    <a:pt x="299" y="230"/>
                  </a:lnTo>
                  <a:lnTo>
                    <a:pt x="302" y="232"/>
                  </a:lnTo>
                  <a:lnTo>
                    <a:pt x="305" y="235"/>
                  </a:lnTo>
                  <a:lnTo>
                    <a:pt x="307" y="232"/>
                  </a:lnTo>
                  <a:lnTo>
                    <a:pt x="307" y="235"/>
                  </a:lnTo>
                  <a:lnTo>
                    <a:pt x="310" y="232"/>
                  </a:lnTo>
                  <a:lnTo>
                    <a:pt x="313" y="232"/>
                  </a:lnTo>
                  <a:lnTo>
                    <a:pt x="315" y="232"/>
                  </a:lnTo>
                  <a:lnTo>
                    <a:pt x="318" y="232"/>
                  </a:lnTo>
                  <a:lnTo>
                    <a:pt x="321" y="230"/>
                  </a:lnTo>
                  <a:lnTo>
                    <a:pt x="318" y="230"/>
                  </a:lnTo>
                  <a:lnTo>
                    <a:pt x="318" y="230"/>
                  </a:lnTo>
                  <a:lnTo>
                    <a:pt x="315" y="227"/>
                  </a:lnTo>
                  <a:lnTo>
                    <a:pt x="318" y="224"/>
                  </a:lnTo>
                  <a:lnTo>
                    <a:pt x="318" y="222"/>
                  </a:lnTo>
                  <a:lnTo>
                    <a:pt x="315" y="222"/>
                  </a:lnTo>
                  <a:lnTo>
                    <a:pt x="313" y="219"/>
                  </a:lnTo>
                  <a:lnTo>
                    <a:pt x="310" y="216"/>
                  </a:lnTo>
                  <a:lnTo>
                    <a:pt x="315" y="219"/>
                  </a:lnTo>
                  <a:lnTo>
                    <a:pt x="321" y="214"/>
                  </a:lnTo>
                  <a:lnTo>
                    <a:pt x="318" y="211"/>
                  </a:lnTo>
                  <a:lnTo>
                    <a:pt x="321" y="206"/>
                  </a:lnTo>
                  <a:lnTo>
                    <a:pt x="331" y="211"/>
                  </a:lnTo>
                  <a:lnTo>
                    <a:pt x="331" y="211"/>
                  </a:lnTo>
                  <a:lnTo>
                    <a:pt x="326" y="208"/>
                  </a:lnTo>
                  <a:lnTo>
                    <a:pt x="329" y="206"/>
                  </a:lnTo>
                  <a:lnTo>
                    <a:pt x="329" y="206"/>
                  </a:lnTo>
                  <a:lnTo>
                    <a:pt x="331" y="208"/>
                  </a:lnTo>
                  <a:lnTo>
                    <a:pt x="334" y="211"/>
                  </a:lnTo>
                  <a:lnTo>
                    <a:pt x="331" y="214"/>
                  </a:lnTo>
                  <a:lnTo>
                    <a:pt x="345" y="211"/>
                  </a:lnTo>
                  <a:lnTo>
                    <a:pt x="347" y="208"/>
                  </a:lnTo>
                  <a:lnTo>
                    <a:pt x="347" y="208"/>
                  </a:lnTo>
                  <a:lnTo>
                    <a:pt x="345" y="206"/>
                  </a:lnTo>
                  <a:lnTo>
                    <a:pt x="347" y="206"/>
                  </a:lnTo>
                  <a:lnTo>
                    <a:pt x="347" y="206"/>
                  </a:lnTo>
                  <a:lnTo>
                    <a:pt x="350" y="206"/>
                  </a:lnTo>
                  <a:lnTo>
                    <a:pt x="350" y="203"/>
                  </a:lnTo>
                  <a:lnTo>
                    <a:pt x="350" y="200"/>
                  </a:lnTo>
                  <a:lnTo>
                    <a:pt x="358" y="203"/>
                  </a:lnTo>
                  <a:lnTo>
                    <a:pt x="361" y="206"/>
                  </a:lnTo>
                  <a:lnTo>
                    <a:pt x="361" y="203"/>
                  </a:lnTo>
                  <a:lnTo>
                    <a:pt x="361" y="203"/>
                  </a:lnTo>
                  <a:lnTo>
                    <a:pt x="363" y="203"/>
                  </a:lnTo>
                  <a:lnTo>
                    <a:pt x="363" y="206"/>
                  </a:lnTo>
                  <a:lnTo>
                    <a:pt x="363" y="206"/>
                  </a:lnTo>
                  <a:lnTo>
                    <a:pt x="366" y="206"/>
                  </a:lnTo>
                  <a:lnTo>
                    <a:pt x="366" y="203"/>
                  </a:lnTo>
                  <a:lnTo>
                    <a:pt x="369" y="206"/>
                  </a:lnTo>
                  <a:lnTo>
                    <a:pt x="371" y="206"/>
                  </a:lnTo>
                  <a:lnTo>
                    <a:pt x="374" y="203"/>
                  </a:lnTo>
                  <a:lnTo>
                    <a:pt x="374" y="203"/>
                  </a:lnTo>
                  <a:lnTo>
                    <a:pt x="377" y="203"/>
                  </a:lnTo>
                  <a:lnTo>
                    <a:pt x="379" y="203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71" y="198"/>
                  </a:lnTo>
                  <a:lnTo>
                    <a:pt x="371" y="195"/>
                  </a:lnTo>
                  <a:lnTo>
                    <a:pt x="371" y="190"/>
                  </a:lnTo>
                  <a:lnTo>
                    <a:pt x="369" y="190"/>
                  </a:lnTo>
                  <a:lnTo>
                    <a:pt x="369" y="190"/>
                  </a:lnTo>
                  <a:lnTo>
                    <a:pt x="366" y="192"/>
                  </a:lnTo>
                  <a:lnTo>
                    <a:pt x="366" y="192"/>
                  </a:lnTo>
                  <a:lnTo>
                    <a:pt x="363" y="192"/>
                  </a:lnTo>
                  <a:lnTo>
                    <a:pt x="361" y="192"/>
                  </a:lnTo>
                  <a:lnTo>
                    <a:pt x="361" y="190"/>
                  </a:lnTo>
                  <a:lnTo>
                    <a:pt x="361" y="190"/>
                  </a:lnTo>
                  <a:lnTo>
                    <a:pt x="363" y="190"/>
                  </a:lnTo>
                  <a:lnTo>
                    <a:pt x="363" y="187"/>
                  </a:lnTo>
                  <a:lnTo>
                    <a:pt x="363" y="187"/>
                  </a:lnTo>
                  <a:lnTo>
                    <a:pt x="366" y="187"/>
                  </a:lnTo>
                  <a:lnTo>
                    <a:pt x="366" y="184"/>
                  </a:lnTo>
                  <a:lnTo>
                    <a:pt x="363" y="184"/>
                  </a:lnTo>
                  <a:lnTo>
                    <a:pt x="366" y="184"/>
                  </a:lnTo>
                  <a:lnTo>
                    <a:pt x="366" y="182"/>
                  </a:lnTo>
                  <a:lnTo>
                    <a:pt x="366" y="179"/>
                  </a:lnTo>
                  <a:lnTo>
                    <a:pt x="369" y="179"/>
                  </a:lnTo>
                  <a:lnTo>
                    <a:pt x="371" y="176"/>
                  </a:lnTo>
                  <a:lnTo>
                    <a:pt x="361" y="171"/>
                  </a:lnTo>
                  <a:lnTo>
                    <a:pt x="363" y="168"/>
                  </a:lnTo>
                  <a:lnTo>
                    <a:pt x="363" y="168"/>
                  </a:lnTo>
                  <a:lnTo>
                    <a:pt x="366" y="168"/>
                  </a:lnTo>
                  <a:lnTo>
                    <a:pt x="371" y="158"/>
                  </a:lnTo>
                  <a:lnTo>
                    <a:pt x="371" y="158"/>
                  </a:lnTo>
                  <a:lnTo>
                    <a:pt x="369" y="155"/>
                  </a:lnTo>
                  <a:lnTo>
                    <a:pt x="371" y="155"/>
                  </a:lnTo>
                  <a:lnTo>
                    <a:pt x="371" y="152"/>
                  </a:lnTo>
                  <a:lnTo>
                    <a:pt x="371" y="150"/>
                  </a:lnTo>
                  <a:lnTo>
                    <a:pt x="377" y="152"/>
                  </a:lnTo>
                  <a:lnTo>
                    <a:pt x="387" y="142"/>
                  </a:lnTo>
                  <a:lnTo>
                    <a:pt x="385" y="139"/>
                  </a:lnTo>
                  <a:lnTo>
                    <a:pt x="382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4" y="139"/>
                  </a:lnTo>
                  <a:lnTo>
                    <a:pt x="374" y="139"/>
                  </a:lnTo>
                  <a:lnTo>
                    <a:pt x="371" y="136"/>
                  </a:lnTo>
                  <a:lnTo>
                    <a:pt x="371" y="134"/>
                  </a:lnTo>
                  <a:lnTo>
                    <a:pt x="371" y="134"/>
                  </a:lnTo>
                  <a:lnTo>
                    <a:pt x="369" y="136"/>
                  </a:lnTo>
                  <a:lnTo>
                    <a:pt x="369" y="139"/>
                  </a:lnTo>
                  <a:lnTo>
                    <a:pt x="366" y="139"/>
                  </a:lnTo>
                  <a:lnTo>
                    <a:pt x="366" y="142"/>
                  </a:lnTo>
                  <a:lnTo>
                    <a:pt x="361" y="142"/>
                  </a:lnTo>
                  <a:lnTo>
                    <a:pt x="358" y="142"/>
                  </a:lnTo>
                  <a:lnTo>
                    <a:pt x="361" y="139"/>
                  </a:lnTo>
                  <a:lnTo>
                    <a:pt x="358" y="139"/>
                  </a:lnTo>
                  <a:lnTo>
                    <a:pt x="358" y="136"/>
                  </a:lnTo>
                  <a:lnTo>
                    <a:pt x="353" y="134"/>
                  </a:lnTo>
                  <a:lnTo>
                    <a:pt x="353" y="131"/>
                  </a:lnTo>
                  <a:lnTo>
                    <a:pt x="350" y="131"/>
                  </a:lnTo>
                  <a:lnTo>
                    <a:pt x="350" y="128"/>
                  </a:lnTo>
                  <a:lnTo>
                    <a:pt x="350" y="128"/>
                  </a:lnTo>
                  <a:lnTo>
                    <a:pt x="347" y="126"/>
                  </a:lnTo>
                  <a:lnTo>
                    <a:pt x="347" y="123"/>
                  </a:lnTo>
                  <a:lnTo>
                    <a:pt x="345" y="123"/>
                  </a:lnTo>
                  <a:lnTo>
                    <a:pt x="345" y="123"/>
                  </a:lnTo>
                  <a:lnTo>
                    <a:pt x="345" y="123"/>
                  </a:lnTo>
                  <a:lnTo>
                    <a:pt x="342" y="123"/>
                  </a:lnTo>
                  <a:lnTo>
                    <a:pt x="342" y="126"/>
                  </a:lnTo>
                  <a:lnTo>
                    <a:pt x="339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4" y="126"/>
                  </a:lnTo>
                  <a:lnTo>
                    <a:pt x="331" y="126"/>
                  </a:lnTo>
                  <a:lnTo>
                    <a:pt x="334" y="126"/>
                  </a:lnTo>
                  <a:lnTo>
                    <a:pt x="334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29" y="123"/>
                  </a:lnTo>
                  <a:lnTo>
                    <a:pt x="329" y="123"/>
                  </a:lnTo>
                  <a:lnTo>
                    <a:pt x="329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18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1" y="118"/>
                  </a:lnTo>
                  <a:lnTo>
                    <a:pt x="315" y="118"/>
                  </a:lnTo>
                  <a:lnTo>
                    <a:pt x="313" y="115"/>
                  </a:lnTo>
                  <a:lnTo>
                    <a:pt x="313" y="112"/>
                  </a:lnTo>
                  <a:lnTo>
                    <a:pt x="313" y="112"/>
                  </a:lnTo>
                  <a:lnTo>
                    <a:pt x="310" y="110"/>
                  </a:lnTo>
                  <a:lnTo>
                    <a:pt x="307" y="110"/>
                  </a:lnTo>
                  <a:lnTo>
                    <a:pt x="294" y="88"/>
                  </a:lnTo>
                  <a:lnTo>
                    <a:pt x="294" y="88"/>
                  </a:lnTo>
                  <a:lnTo>
                    <a:pt x="297" y="88"/>
                  </a:lnTo>
                  <a:lnTo>
                    <a:pt x="297" y="85"/>
                  </a:lnTo>
                  <a:lnTo>
                    <a:pt x="297" y="85"/>
                  </a:lnTo>
                  <a:lnTo>
                    <a:pt x="294" y="83"/>
                  </a:lnTo>
                  <a:lnTo>
                    <a:pt x="294" y="85"/>
                  </a:lnTo>
                  <a:lnTo>
                    <a:pt x="291" y="85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88" y="83"/>
                  </a:lnTo>
                  <a:lnTo>
                    <a:pt x="288" y="88"/>
                  </a:lnTo>
                  <a:lnTo>
                    <a:pt x="286" y="85"/>
                  </a:lnTo>
                  <a:lnTo>
                    <a:pt x="283" y="88"/>
                  </a:lnTo>
                  <a:lnTo>
                    <a:pt x="283" y="88"/>
                  </a:lnTo>
                  <a:lnTo>
                    <a:pt x="280" y="91"/>
                  </a:lnTo>
                  <a:lnTo>
                    <a:pt x="280" y="91"/>
                  </a:lnTo>
                  <a:lnTo>
                    <a:pt x="280" y="91"/>
                  </a:lnTo>
                  <a:lnTo>
                    <a:pt x="280" y="93"/>
                  </a:lnTo>
                  <a:lnTo>
                    <a:pt x="283" y="93"/>
                  </a:lnTo>
                  <a:lnTo>
                    <a:pt x="283" y="93"/>
                  </a:lnTo>
                  <a:lnTo>
                    <a:pt x="280" y="93"/>
                  </a:lnTo>
                  <a:lnTo>
                    <a:pt x="280" y="93"/>
                  </a:lnTo>
                  <a:lnTo>
                    <a:pt x="275" y="93"/>
                  </a:lnTo>
                  <a:lnTo>
                    <a:pt x="270" y="91"/>
                  </a:lnTo>
                  <a:lnTo>
                    <a:pt x="270" y="93"/>
                  </a:lnTo>
                  <a:lnTo>
                    <a:pt x="267" y="93"/>
                  </a:lnTo>
                  <a:lnTo>
                    <a:pt x="267" y="93"/>
                  </a:lnTo>
                  <a:lnTo>
                    <a:pt x="264" y="93"/>
                  </a:lnTo>
                  <a:lnTo>
                    <a:pt x="262" y="91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2" y="91"/>
                  </a:lnTo>
                  <a:lnTo>
                    <a:pt x="259" y="91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0"/>
                  </a:lnTo>
                  <a:lnTo>
                    <a:pt x="256" y="77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2"/>
                  </a:lnTo>
                  <a:lnTo>
                    <a:pt x="254" y="72"/>
                  </a:lnTo>
                  <a:lnTo>
                    <a:pt x="254" y="67"/>
                  </a:lnTo>
                  <a:lnTo>
                    <a:pt x="254" y="64"/>
                  </a:lnTo>
                  <a:lnTo>
                    <a:pt x="256" y="64"/>
                  </a:lnTo>
                  <a:lnTo>
                    <a:pt x="256" y="61"/>
                  </a:lnTo>
                  <a:lnTo>
                    <a:pt x="256" y="61"/>
                  </a:lnTo>
                  <a:lnTo>
                    <a:pt x="254" y="61"/>
                  </a:lnTo>
                  <a:lnTo>
                    <a:pt x="254" y="61"/>
                  </a:lnTo>
                  <a:lnTo>
                    <a:pt x="251" y="61"/>
                  </a:lnTo>
                  <a:lnTo>
                    <a:pt x="251" y="61"/>
                  </a:lnTo>
                  <a:lnTo>
                    <a:pt x="251" y="59"/>
                  </a:lnTo>
                  <a:lnTo>
                    <a:pt x="251" y="56"/>
                  </a:lnTo>
                  <a:lnTo>
                    <a:pt x="248" y="56"/>
                  </a:lnTo>
                  <a:lnTo>
                    <a:pt x="248" y="59"/>
                  </a:lnTo>
                  <a:lnTo>
                    <a:pt x="243" y="59"/>
                  </a:lnTo>
                  <a:lnTo>
                    <a:pt x="243" y="61"/>
                  </a:lnTo>
                  <a:lnTo>
                    <a:pt x="240" y="59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59"/>
                  </a:lnTo>
                  <a:lnTo>
                    <a:pt x="238" y="59"/>
                  </a:lnTo>
                  <a:lnTo>
                    <a:pt x="235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0" y="59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30" y="53"/>
                  </a:lnTo>
                  <a:lnTo>
                    <a:pt x="230" y="53"/>
                  </a:lnTo>
                  <a:lnTo>
                    <a:pt x="230" y="51"/>
                  </a:lnTo>
                  <a:lnTo>
                    <a:pt x="227" y="48"/>
                  </a:lnTo>
                  <a:lnTo>
                    <a:pt x="227" y="45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40"/>
                  </a:lnTo>
                  <a:lnTo>
                    <a:pt x="230" y="37"/>
                  </a:lnTo>
                  <a:lnTo>
                    <a:pt x="230" y="37"/>
                  </a:lnTo>
                  <a:lnTo>
                    <a:pt x="227" y="37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2" y="37"/>
                  </a:lnTo>
                  <a:lnTo>
                    <a:pt x="222" y="37"/>
                  </a:lnTo>
                  <a:lnTo>
                    <a:pt x="222" y="37"/>
                  </a:lnTo>
                  <a:lnTo>
                    <a:pt x="219" y="35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6" y="37"/>
                  </a:lnTo>
                  <a:lnTo>
                    <a:pt x="214" y="37"/>
                  </a:lnTo>
                  <a:lnTo>
                    <a:pt x="211" y="37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08" y="37"/>
                  </a:lnTo>
                  <a:lnTo>
                    <a:pt x="206" y="37"/>
                  </a:lnTo>
                  <a:lnTo>
                    <a:pt x="203" y="37"/>
                  </a:lnTo>
                  <a:lnTo>
                    <a:pt x="200" y="40"/>
                  </a:lnTo>
                  <a:lnTo>
                    <a:pt x="198" y="37"/>
                  </a:lnTo>
                  <a:lnTo>
                    <a:pt x="195" y="37"/>
                  </a:lnTo>
                  <a:lnTo>
                    <a:pt x="192" y="35"/>
                  </a:lnTo>
                  <a:lnTo>
                    <a:pt x="192" y="32"/>
                  </a:lnTo>
                  <a:lnTo>
                    <a:pt x="192" y="29"/>
                  </a:lnTo>
                  <a:lnTo>
                    <a:pt x="192" y="32"/>
                  </a:lnTo>
                  <a:lnTo>
                    <a:pt x="190" y="32"/>
                  </a:lnTo>
                  <a:lnTo>
                    <a:pt x="190" y="35"/>
                  </a:lnTo>
                  <a:lnTo>
                    <a:pt x="187" y="35"/>
                  </a:lnTo>
                  <a:lnTo>
                    <a:pt x="187" y="32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4"/>
                  </a:lnTo>
                  <a:lnTo>
                    <a:pt x="179" y="24"/>
                  </a:lnTo>
                  <a:lnTo>
                    <a:pt x="179" y="21"/>
                  </a:lnTo>
                  <a:lnTo>
                    <a:pt x="176" y="19"/>
                  </a:lnTo>
                  <a:lnTo>
                    <a:pt x="174" y="19"/>
                  </a:lnTo>
                  <a:lnTo>
                    <a:pt x="174" y="16"/>
                  </a:lnTo>
                  <a:lnTo>
                    <a:pt x="171" y="16"/>
                  </a:lnTo>
                  <a:lnTo>
                    <a:pt x="171" y="13"/>
                  </a:lnTo>
                  <a:lnTo>
                    <a:pt x="171" y="11"/>
                  </a:lnTo>
                  <a:lnTo>
                    <a:pt x="171" y="8"/>
                  </a:lnTo>
                  <a:lnTo>
                    <a:pt x="171" y="5"/>
                  </a:lnTo>
                  <a:lnTo>
                    <a:pt x="168" y="3"/>
                  </a:lnTo>
                  <a:lnTo>
                    <a:pt x="171" y="3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6" y="0"/>
                  </a:lnTo>
                  <a:lnTo>
                    <a:pt x="166" y="3"/>
                  </a:lnTo>
                  <a:lnTo>
                    <a:pt x="163" y="3"/>
                  </a:lnTo>
                  <a:lnTo>
                    <a:pt x="163" y="3"/>
                  </a:lnTo>
                  <a:lnTo>
                    <a:pt x="163" y="5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58" y="8"/>
                  </a:lnTo>
                  <a:lnTo>
                    <a:pt x="158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3"/>
                  </a:lnTo>
                  <a:lnTo>
                    <a:pt x="152" y="16"/>
                  </a:lnTo>
                  <a:lnTo>
                    <a:pt x="150" y="16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36" y="21"/>
                  </a:lnTo>
                  <a:lnTo>
                    <a:pt x="134" y="24"/>
                  </a:lnTo>
                  <a:lnTo>
                    <a:pt x="131" y="24"/>
                  </a:lnTo>
                  <a:lnTo>
                    <a:pt x="128" y="24"/>
                  </a:lnTo>
                  <a:lnTo>
                    <a:pt x="126" y="27"/>
                  </a:lnTo>
                  <a:lnTo>
                    <a:pt x="123" y="29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5" y="29"/>
                  </a:lnTo>
                  <a:lnTo>
                    <a:pt x="112" y="24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07" y="29"/>
                  </a:lnTo>
                  <a:lnTo>
                    <a:pt x="107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07" y="40"/>
                  </a:lnTo>
                  <a:lnTo>
                    <a:pt x="110" y="40"/>
                  </a:lnTo>
                  <a:lnTo>
                    <a:pt x="110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3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9"/>
                  </a:lnTo>
                  <a:lnTo>
                    <a:pt x="112" y="59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8" y="64"/>
                  </a:lnTo>
                  <a:lnTo>
                    <a:pt x="118" y="67"/>
                  </a:lnTo>
                  <a:lnTo>
                    <a:pt x="115" y="67"/>
                  </a:lnTo>
                  <a:lnTo>
                    <a:pt x="115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2" y="72"/>
                  </a:lnTo>
                  <a:lnTo>
                    <a:pt x="102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0" y="85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5" y="85"/>
                  </a:lnTo>
                  <a:lnTo>
                    <a:pt x="72" y="85"/>
                  </a:lnTo>
                  <a:lnTo>
                    <a:pt x="72" y="88"/>
                  </a:lnTo>
                  <a:lnTo>
                    <a:pt x="70" y="91"/>
                  </a:lnTo>
                  <a:lnTo>
                    <a:pt x="70" y="88"/>
                  </a:lnTo>
                  <a:lnTo>
                    <a:pt x="64" y="88"/>
                  </a:lnTo>
                  <a:lnTo>
                    <a:pt x="64" y="93"/>
                  </a:lnTo>
                  <a:lnTo>
                    <a:pt x="56" y="91"/>
                  </a:lnTo>
                  <a:lnTo>
                    <a:pt x="56" y="88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48" y="91"/>
                  </a:lnTo>
                  <a:lnTo>
                    <a:pt x="45" y="91"/>
                  </a:lnTo>
                  <a:lnTo>
                    <a:pt x="45" y="88"/>
                  </a:lnTo>
                  <a:lnTo>
                    <a:pt x="43" y="88"/>
                  </a:lnTo>
                  <a:lnTo>
                    <a:pt x="40" y="88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40" y="93"/>
                  </a:lnTo>
                  <a:lnTo>
                    <a:pt x="40" y="96"/>
                  </a:lnTo>
                  <a:lnTo>
                    <a:pt x="40" y="99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7"/>
                  </a:lnTo>
                  <a:lnTo>
                    <a:pt x="45" y="107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5"/>
                  </a:lnTo>
                  <a:lnTo>
                    <a:pt x="43" y="11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3"/>
                  </a:lnTo>
                  <a:lnTo>
                    <a:pt x="48" y="123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3" y="134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0" y="139"/>
                  </a:lnTo>
                  <a:lnTo>
                    <a:pt x="37" y="139"/>
                  </a:lnTo>
                  <a:lnTo>
                    <a:pt x="37" y="139"/>
                  </a:lnTo>
                  <a:lnTo>
                    <a:pt x="35" y="142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29" y="144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7" y="144"/>
                  </a:lnTo>
                  <a:lnTo>
                    <a:pt x="24" y="144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1" y="152"/>
                  </a:lnTo>
                  <a:lnTo>
                    <a:pt x="19" y="152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6" y="158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4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9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5" y="184"/>
                  </a:lnTo>
                  <a:lnTo>
                    <a:pt x="5" y="187"/>
                  </a:lnTo>
                  <a:lnTo>
                    <a:pt x="5" y="190"/>
                  </a:lnTo>
                  <a:lnTo>
                    <a:pt x="5" y="19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2" name="Freeform 8867">
              <a:extLst>
                <a:ext uri="{FF2B5EF4-FFF2-40B4-BE49-F238E27FC236}">
                  <a16:creationId xmlns:a16="http://schemas.microsoft.com/office/drawing/2014/main" id="{2B7318BC-95D8-C649-A079-B24062F24453}"/>
                </a:ext>
              </a:extLst>
            </p:cNvPr>
            <p:cNvSpPr/>
            <p:nvPr/>
          </p:nvSpPr>
          <p:spPr bwMode="auto">
            <a:xfrm>
              <a:off x="3153567" y="3621089"/>
              <a:ext cx="250825" cy="436563"/>
            </a:xfrm>
            <a:custGeom>
              <a:avLst/>
              <a:gdLst>
                <a:gd name="T0" fmla="*/ 11 w 158"/>
                <a:gd name="T1" fmla="*/ 235 h 275"/>
                <a:gd name="T2" fmla="*/ 11 w 158"/>
                <a:gd name="T3" fmla="*/ 230 h 275"/>
                <a:gd name="T4" fmla="*/ 11 w 158"/>
                <a:gd name="T5" fmla="*/ 224 h 275"/>
                <a:gd name="T6" fmla="*/ 11 w 158"/>
                <a:gd name="T7" fmla="*/ 216 h 275"/>
                <a:gd name="T8" fmla="*/ 19 w 158"/>
                <a:gd name="T9" fmla="*/ 208 h 275"/>
                <a:gd name="T10" fmla="*/ 24 w 158"/>
                <a:gd name="T11" fmla="*/ 205 h 275"/>
                <a:gd name="T12" fmla="*/ 19 w 158"/>
                <a:gd name="T13" fmla="*/ 195 h 275"/>
                <a:gd name="T14" fmla="*/ 11 w 158"/>
                <a:gd name="T15" fmla="*/ 192 h 275"/>
                <a:gd name="T16" fmla="*/ 6 w 158"/>
                <a:gd name="T17" fmla="*/ 189 h 275"/>
                <a:gd name="T18" fmla="*/ 8 w 158"/>
                <a:gd name="T19" fmla="*/ 165 h 275"/>
                <a:gd name="T20" fmla="*/ 38 w 158"/>
                <a:gd name="T21" fmla="*/ 147 h 275"/>
                <a:gd name="T22" fmla="*/ 59 w 158"/>
                <a:gd name="T23" fmla="*/ 104 h 275"/>
                <a:gd name="T24" fmla="*/ 56 w 158"/>
                <a:gd name="T25" fmla="*/ 96 h 275"/>
                <a:gd name="T26" fmla="*/ 8 w 158"/>
                <a:gd name="T27" fmla="*/ 75 h 275"/>
                <a:gd name="T28" fmla="*/ 14 w 158"/>
                <a:gd name="T29" fmla="*/ 61 h 275"/>
                <a:gd name="T30" fmla="*/ 16 w 158"/>
                <a:gd name="T31" fmla="*/ 50 h 275"/>
                <a:gd name="T32" fmla="*/ 19 w 158"/>
                <a:gd name="T33" fmla="*/ 0 h 275"/>
                <a:gd name="T34" fmla="*/ 70 w 158"/>
                <a:gd name="T35" fmla="*/ 5 h 275"/>
                <a:gd name="T36" fmla="*/ 107 w 158"/>
                <a:gd name="T37" fmla="*/ 37 h 275"/>
                <a:gd name="T38" fmla="*/ 153 w 158"/>
                <a:gd name="T39" fmla="*/ 83 h 275"/>
                <a:gd name="T40" fmla="*/ 142 w 158"/>
                <a:gd name="T41" fmla="*/ 120 h 275"/>
                <a:gd name="T42" fmla="*/ 134 w 158"/>
                <a:gd name="T43" fmla="*/ 136 h 275"/>
                <a:gd name="T44" fmla="*/ 139 w 158"/>
                <a:gd name="T45" fmla="*/ 136 h 275"/>
                <a:gd name="T46" fmla="*/ 139 w 158"/>
                <a:gd name="T47" fmla="*/ 165 h 275"/>
                <a:gd name="T48" fmla="*/ 131 w 158"/>
                <a:gd name="T49" fmla="*/ 165 h 275"/>
                <a:gd name="T50" fmla="*/ 121 w 158"/>
                <a:gd name="T51" fmla="*/ 179 h 275"/>
                <a:gd name="T52" fmla="*/ 113 w 158"/>
                <a:gd name="T53" fmla="*/ 203 h 275"/>
                <a:gd name="T54" fmla="*/ 110 w 158"/>
                <a:gd name="T55" fmla="*/ 224 h 275"/>
                <a:gd name="T56" fmla="*/ 121 w 158"/>
                <a:gd name="T57" fmla="*/ 235 h 275"/>
                <a:gd name="T58" fmla="*/ 134 w 158"/>
                <a:gd name="T59" fmla="*/ 238 h 275"/>
                <a:gd name="T60" fmla="*/ 134 w 158"/>
                <a:gd name="T61" fmla="*/ 238 h 275"/>
                <a:gd name="T62" fmla="*/ 134 w 158"/>
                <a:gd name="T63" fmla="*/ 248 h 275"/>
                <a:gd name="T64" fmla="*/ 129 w 158"/>
                <a:gd name="T65" fmla="*/ 259 h 275"/>
                <a:gd name="T66" fmla="*/ 110 w 158"/>
                <a:gd name="T67" fmla="*/ 259 h 275"/>
                <a:gd name="T68" fmla="*/ 102 w 158"/>
                <a:gd name="T69" fmla="*/ 262 h 275"/>
                <a:gd name="T70" fmla="*/ 91 w 158"/>
                <a:gd name="T71" fmla="*/ 262 h 275"/>
                <a:gd name="T72" fmla="*/ 83 w 158"/>
                <a:gd name="T73" fmla="*/ 264 h 275"/>
                <a:gd name="T74" fmla="*/ 78 w 158"/>
                <a:gd name="T75" fmla="*/ 256 h 275"/>
                <a:gd name="T76" fmla="*/ 75 w 158"/>
                <a:gd name="T77" fmla="*/ 262 h 275"/>
                <a:gd name="T78" fmla="*/ 67 w 158"/>
                <a:gd name="T79" fmla="*/ 259 h 275"/>
                <a:gd name="T80" fmla="*/ 59 w 158"/>
                <a:gd name="T81" fmla="*/ 251 h 275"/>
                <a:gd name="T82" fmla="*/ 54 w 158"/>
                <a:gd name="T83" fmla="*/ 254 h 275"/>
                <a:gd name="T84" fmla="*/ 54 w 158"/>
                <a:gd name="T85" fmla="*/ 259 h 275"/>
                <a:gd name="T86" fmla="*/ 48 w 158"/>
                <a:gd name="T87" fmla="*/ 267 h 275"/>
                <a:gd name="T88" fmla="*/ 43 w 158"/>
                <a:gd name="T89" fmla="*/ 270 h 275"/>
                <a:gd name="T90" fmla="*/ 40 w 158"/>
                <a:gd name="T91" fmla="*/ 267 h 275"/>
                <a:gd name="T92" fmla="*/ 32 w 158"/>
                <a:gd name="T93" fmla="*/ 259 h 275"/>
                <a:gd name="T94" fmla="*/ 24 w 158"/>
                <a:gd name="T95" fmla="*/ 251 h 275"/>
                <a:gd name="T96" fmla="*/ 14 w 158"/>
                <a:gd name="T97" fmla="*/ 238 h 275"/>
                <a:gd name="T98" fmla="*/ 11 w 158"/>
                <a:gd name="T99" fmla="*/ 238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8" h="275" extrusionOk="0">
                  <a:moveTo>
                    <a:pt x="11" y="238"/>
                  </a:moveTo>
                  <a:lnTo>
                    <a:pt x="11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4" y="232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8" y="227"/>
                  </a:lnTo>
                  <a:lnTo>
                    <a:pt x="8" y="227"/>
                  </a:lnTo>
                  <a:lnTo>
                    <a:pt x="11" y="224"/>
                  </a:lnTo>
                  <a:lnTo>
                    <a:pt x="11" y="222"/>
                  </a:lnTo>
                  <a:lnTo>
                    <a:pt x="11" y="219"/>
                  </a:lnTo>
                  <a:lnTo>
                    <a:pt x="8" y="216"/>
                  </a:lnTo>
                  <a:lnTo>
                    <a:pt x="11" y="216"/>
                  </a:lnTo>
                  <a:lnTo>
                    <a:pt x="16" y="211"/>
                  </a:lnTo>
                  <a:lnTo>
                    <a:pt x="19" y="211"/>
                  </a:lnTo>
                  <a:lnTo>
                    <a:pt x="19" y="211"/>
                  </a:lnTo>
                  <a:lnTo>
                    <a:pt x="19" y="208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4" y="203"/>
                  </a:lnTo>
                  <a:lnTo>
                    <a:pt x="22" y="200"/>
                  </a:lnTo>
                  <a:lnTo>
                    <a:pt x="22" y="195"/>
                  </a:lnTo>
                  <a:lnTo>
                    <a:pt x="19" y="195"/>
                  </a:lnTo>
                  <a:lnTo>
                    <a:pt x="19" y="200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11" y="192"/>
                  </a:lnTo>
                  <a:lnTo>
                    <a:pt x="8" y="192"/>
                  </a:lnTo>
                  <a:lnTo>
                    <a:pt x="6" y="192"/>
                  </a:lnTo>
                  <a:lnTo>
                    <a:pt x="6" y="189"/>
                  </a:lnTo>
                  <a:lnTo>
                    <a:pt x="6" y="189"/>
                  </a:lnTo>
                  <a:lnTo>
                    <a:pt x="3" y="184"/>
                  </a:lnTo>
                  <a:lnTo>
                    <a:pt x="3" y="173"/>
                  </a:lnTo>
                  <a:lnTo>
                    <a:pt x="3" y="168"/>
                  </a:lnTo>
                  <a:lnTo>
                    <a:pt x="8" y="165"/>
                  </a:lnTo>
                  <a:lnTo>
                    <a:pt x="11" y="165"/>
                  </a:lnTo>
                  <a:lnTo>
                    <a:pt x="16" y="160"/>
                  </a:lnTo>
                  <a:lnTo>
                    <a:pt x="32" y="141"/>
                  </a:lnTo>
                  <a:lnTo>
                    <a:pt x="38" y="147"/>
                  </a:lnTo>
                  <a:lnTo>
                    <a:pt x="56" y="120"/>
                  </a:lnTo>
                  <a:lnTo>
                    <a:pt x="56" y="112"/>
                  </a:lnTo>
                  <a:lnTo>
                    <a:pt x="59" y="107"/>
                  </a:lnTo>
                  <a:lnTo>
                    <a:pt x="59" y="104"/>
                  </a:lnTo>
                  <a:lnTo>
                    <a:pt x="56" y="104"/>
                  </a:lnTo>
                  <a:lnTo>
                    <a:pt x="56" y="101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4" y="93"/>
                  </a:lnTo>
                  <a:lnTo>
                    <a:pt x="48" y="99"/>
                  </a:lnTo>
                  <a:lnTo>
                    <a:pt x="8" y="75"/>
                  </a:lnTo>
                  <a:lnTo>
                    <a:pt x="6" y="69"/>
                  </a:lnTo>
                  <a:lnTo>
                    <a:pt x="8" y="67"/>
                  </a:lnTo>
                  <a:lnTo>
                    <a:pt x="11" y="64"/>
                  </a:lnTo>
                  <a:lnTo>
                    <a:pt x="14" y="61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4" y="56"/>
                  </a:lnTo>
                  <a:lnTo>
                    <a:pt x="16" y="50"/>
                  </a:lnTo>
                  <a:lnTo>
                    <a:pt x="8" y="42"/>
                  </a:lnTo>
                  <a:lnTo>
                    <a:pt x="14" y="37"/>
                  </a:lnTo>
                  <a:lnTo>
                    <a:pt x="0" y="24"/>
                  </a:lnTo>
                  <a:lnTo>
                    <a:pt x="19" y="0"/>
                  </a:lnTo>
                  <a:lnTo>
                    <a:pt x="35" y="16"/>
                  </a:lnTo>
                  <a:lnTo>
                    <a:pt x="46" y="2"/>
                  </a:lnTo>
                  <a:lnTo>
                    <a:pt x="59" y="16"/>
                  </a:lnTo>
                  <a:lnTo>
                    <a:pt x="70" y="5"/>
                  </a:lnTo>
                  <a:lnTo>
                    <a:pt x="91" y="21"/>
                  </a:lnTo>
                  <a:lnTo>
                    <a:pt x="81" y="32"/>
                  </a:lnTo>
                  <a:lnTo>
                    <a:pt x="99" y="48"/>
                  </a:lnTo>
                  <a:lnTo>
                    <a:pt x="107" y="37"/>
                  </a:lnTo>
                  <a:lnTo>
                    <a:pt x="150" y="72"/>
                  </a:lnTo>
                  <a:lnTo>
                    <a:pt x="158" y="75"/>
                  </a:lnTo>
                  <a:lnTo>
                    <a:pt x="155" y="83"/>
                  </a:lnTo>
                  <a:lnTo>
                    <a:pt x="153" y="83"/>
                  </a:lnTo>
                  <a:lnTo>
                    <a:pt x="142" y="99"/>
                  </a:lnTo>
                  <a:lnTo>
                    <a:pt x="142" y="101"/>
                  </a:lnTo>
                  <a:lnTo>
                    <a:pt x="134" y="112"/>
                  </a:lnTo>
                  <a:lnTo>
                    <a:pt x="142" y="120"/>
                  </a:lnTo>
                  <a:lnTo>
                    <a:pt x="131" y="136"/>
                  </a:lnTo>
                  <a:lnTo>
                    <a:pt x="131" y="136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7" y="136"/>
                  </a:lnTo>
                  <a:lnTo>
                    <a:pt x="137" y="133"/>
                  </a:lnTo>
                  <a:lnTo>
                    <a:pt x="139" y="133"/>
                  </a:lnTo>
                  <a:lnTo>
                    <a:pt x="139" y="136"/>
                  </a:lnTo>
                  <a:lnTo>
                    <a:pt x="142" y="136"/>
                  </a:lnTo>
                  <a:lnTo>
                    <a:pt x="139" y="149"/>
                  </a:lnTo>
                  <a:lnTo>
                    <a:pt x="147" y="157"/>
                  </a:lnTo>
                  <a:lnTo>
                    <a:pt x="139" y="165"/>
                  </a:lnTo>
                  <a:lnTo>
                    <a:pt x="131" y="160"/>
                  </a:lnTo>
                  <a:lnTo>
                    <a:pt x="131" y="163"/>
                  </a:lnTo>
                  <a:lnTo>
                    <a:pt x="134" y="163"/>
                  </a:lnTo>
                  <a:lnTo>
                    <a:pt x="131" y="165"/>
                  </a:lnTo>
                  <a:lnTo>
                    <a:pt x="129" y="163"/>
                  </a:lnTo>
                  <a:lnTo>
                    <a:pt x="123" y="171"/>
                  </a:lnTo>
                  <a:lnTo>
                    <a:pt x="123" y="173"/>
                  </a:lnTo>
                  <a:lnTo>
                    <a:pt x="121" y="179"/>
                  </a:lnTo>
                  <a:lnTo>
                    <a:pt x="123" y="181"/>
                  </a:lnTo>
                  <a:lnTo>
                    <a:pt x="115" y="189"/>
                  </a:lnTo>
                  <a:lnTo>
                    <a:pt x="118" y="195"/>
                  </a:lnTo>
                  <a:lnTo>
                    <a:pt x="113" y="203"/>
                  </a:lnTo>
                  <a:lnTo>
                    <a:pt x="118" y="208"/>
                  </a:lnTo>
                  <a:lnTo>
                    <a:pt x="110" y="219"/>
                  </a:lnTo>
                  <a:lnTo>
                    <a:pt x="113" y="224"/>
                  </a:lnTo>
                  <a:lnTo>
                    <a:pt x="110" y="224"/>
                  </a:lnTo>
                  <a:lnTo>
                    <a:pt x="115" y="232"/>
                  </a:lnTo>
                  <a:lnTo>
                    <a:pt x="113" y="235"/>
                  </a:lnTo>
                  <a:lnTo>
                    <a:pt x="118" y="238"/>
                  </a:lnTo>
                  <a:lnTo>
                    <a:pt x="121" y="235"/>
                  </a:lnTo>
                  <a:lnTo>
                    <a:pt x="123" y="238"/>
                  </a:lnTo>
                  <a:lnTo>
                    <a:pt x="126" y="235"/>
                  </a:lnTo>
                  <a:lnTo>
                    <a:pt x="131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7" y="238"/>
                  </a:lnTo>
                  <a:lnTo>
                    <a:pt x="134" y="238"/>
                  </a:lnTo>
                  <a:lnTo>
                    <a:pt x="139" y="243"/>
                  </a:lnTo>
                  <a:lnTo>
                    <a:pt x="139" y="246"/>
                  </a:lnTo>
                  <a:lnTo>
                    <a:pt x="137" y="246"/>
                  </a:lnTo>
                  <a:lnTo>
                    <a:pt x="134" y="248"/>
                  </a:lnTo>
                  <a:lnTo>
                    <a:pt x="134" y="251"/>
                  </a:lnTo>
                  <a:lnTo>
                    <a:pt x="131" y="254"/>
                  </a:lnTo>
                  <a:lnTo>
                    <a:pt x="129" y="256"/>
                  </a:lnTo>
                  <a:lnTo>
                    <a:pt x="129" y="259"/>
                  </a:lnTo>
                  <a:lnTo>
                    <a:pt x="129" y="270"/>
                  </a:lnTo>
                  <a:lnTo>
                    <a:pt x="126" y="272"/>
                  </a:lnTo>
                  <a:lnTo>
                    <a:pt x="123" y="275"/>
                  </a:lnTo>
                  <a:lnTo>
                    <a:pt x="110" y="259"/>
                  </a:lnTo>
                  <a:lnTo>
                    <a:pt x="110" y="262"/>
                  </a:lnTo>
                  <a:lnTo>
                    <a:pt x="105" y="262"/>
                  </a:lnTo>
                  <a:lnTo>
                    <a:pt x="102" y="262"/>
                  </a:lnTo>
                  <a:lnTo>
                    <a:pt x="102" y="262"/>
                  </a:lnTo>
                  <a:lnTo>
                    <a:pt x="99" y="262"/>
                  </a:lnTo>
                  <a:lnTo>
                    <a:pt x="99" y="262"/>
                  </a:lnTo>
                  <a:lnTo>
                    <a:pt x="94" y="262"/>
                  </a:lnTo>
                  <a:lnTo>
                    <a:pt x="91" y="262"/>
                  </a:lnTo>
                  <a:lnTo>
                    <a:pt x="89" y="264"/>
                  </a:lnTo>
                  <a:lnTo>
                    <a:pt x="89" y="264"/>
                  </a:lnTo>
                  <a:lnTo>
                    <a:pt x="89" y="264"/>
                  </a:lnTo>
                  <a:lnTo>
                    <a:pt x="83" y="264"/>
                  </a:lnTo>
                  <a:lnTo>
                    <a:pt x="83" y="262"/>
                  </a:lnTo>
                  <a:lnTo>
                    <a:pt x="81" y="259"/>
                  </a:lnTo>
                  <a:lnTo>
                    <a:pt x="81" y="256"/>
                  </a:lnTo>
                  <a:lnTo>
                    <a:pt x="78" y="256"/>
                  </a:lnTo>
                  <a:lnTo>
                    <a:pt x="75" y="259"/>
                  </a:lnTo>
                  <a:lnTo>
                    <a:pt x="78" y="262"/>
                  </a:lnTo>
                  <a:lnTo>
                    <a:pt x="78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0" y="259"/>
                  </a:lnTo>
                  <a:lnTo>
                    <a:pt x="67" y="259"/>
                  </a:lnTo>
                  <a:lnTo>
                    <a:pt x="64" y="256"/>
                  </a:lnTo>
                  <a:lnTo>
                    <a:pt x="62" y="254"/>
                  </a:lnTo>
                  <a:lnTo>
                    <a:pt x="59" y="254"/>
                  </a:lnTo>
                  <a:lnTo>
                    <a:pt x="59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4"/>
                  </a:lnTo>
                  <a:lnTo>
                    <a:pt x="54" y="254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4" y="259"/>
                  </a:lnTo>
                  <a:lnTo>
                    <a:pt x="54" y="259"/>
                  </a:lnTo>
                  <a:lnTo>
                    <a:pt x="51" y="259"/>
                  </a:lnTo>
                  <a:lnTo>
                    <a:pt x="51" y="259"/>
                  </a:lnTo>
                  <a:lnTo>
                    <a:pt x="51" y="267"/>
                  </a:lnTo>
                  <a:lnTo>
                    <a:pt x="48" y="267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6" y="270"/>
                  </a:lnTo>
                  <a:lnTo>
                    <a:pt x="43" y="270"/>
                  </a:lnTo>
                  <a:lnTo>
                    <a:pt x="43" y="264"/>
                  </a:lnTo>
                  <a:lnTo>
                    <a:pt x="40" y="262"/>
                  </a:lnTo>
                  <a:lnTo>
                    <a:pt x="40" y="264"/>
                  </a:lnTo>
                  <a:lnTo>
                    <a:pt x="40" y="267"/>
                  </a:lnTo>
                  <a:lnTo>
                    <a:pt x="40" y="267"/>
                  </a:lnTo>
                  <a:lnTo>
                    <a:pt x="32" y="259"/>
                  </a:lnTo>
                  <a:lnTo>
                    <a:pt x="35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0" y="259"/>
                  </a:lnTo>
                  <a:lnTo>
                    <a:pt x="30" y="256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48"/>
                  </a:lnTo>
                  <a:lnTo>
                    <a:pt x="22" y="248"/>
                  </a:lnTo>
                  <a:lnTo>
                    <a:pt x="14" y="238"/>
                  </a:lnTo>
                  <a:lnTo>
                    <a:pt x="11" y="238"/>
                  </a:lnTo>
                  <a:lnTo>
                    <a:pt x="11" y="238"/>
                  </a:lnTo>
                  <a:lnTo>
                    <a:pt x="11" y="235"/>
                  </a:lnTo>
                  <a:lnTo>
                    <a:pt x="11" y="23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3" name="Freeform 8868">
              <a:extLst>
                <a:ext uri="{FF2B5EF4-FFF2-40B4-BE49-F238E27FC236}">
                  <a16:creationId xmlns:a16="http://schemas.microsoft.com/office/drawing/2014/main" id="{3E1FB328-F2BD-614B-9455-9B2B78309645}"/>
                </a:ext>
              </a:extLst>
            </p:cNvPr>
            <p:cNvSpPr/>
            <p:nvPr/>
          </p:nvSpPr>
          <p:spPr bwMode="auto">
            <a:xfrm>
              <a:off x="2513805" y="3416302"/>
              <a:ext cx="733424" cy="854075"/>
            </a:xfrm>
            <a:custGeom>
              <a:avLst/>
              <a:gdLst>
                <a:gd name="T0" fmla="*/ 406 w 462"/>
                <a:gd name="T1" fmla="*/ 367 h 538"/>
                <a:gd name="T2" fmla="*/ 411 w 462"/>
                <a:gd name="T3" fmla="*/ 356 h 538"/>
                <a:gd name="T4" fmla="*/ 425 w 462"/>
                <a:gd name="T5" fmla="*/ 329 h 538"/>
                <a:gd name="T6" fmla="*/ 419 w 462"/>
                <a:gd name="T7" fmla="*/ 289 h 538"/>
                <a:gd name="T8" fmla="*/ 409 w 462"/>
                <a:gd name="T9" fmla="*/ 196 h 538"/>
                <a:gd name="T10" fmla="*/ 377 w 462"/>
                <a:gd name="T11" fmla="*/ 198 h 538"/>
                <a:gd name="T12" fmla="*/ 347 w 462"/>
                <a:gd name="T13" fmla="*/ 185 h 538"/>
                <a:gd name="T14" fmla="*/ 321 w 462"/>
                <a:gd name="T15" fmla="*/ 190 h 538"/>
                <a:gd name="T16" fmla="*/ 286 w 462"/>
                <a:gd name="T17" fmla="*/ 182 h 538"/>
                <a:gd name="T18" fmla="*/ 259 w 462"/>
                <a:gd name="T19" fmla="*/ 214 h 538"/>
                <a:gd name="T20" fmla="*/ 238 w 462"/>
                <a:gd name="T21" fmla="*/ 190 h 538"/>
                <a:gd name="T22" fmla="*/ 259 w 462"/>
                <a:gd name="T23" fmla="*/ 105 h 538"/>
                <a:gd name="T24" fmla="*/ 257 w 462"/>
                <a:gd name="T25" fmla="*/ 83 h 538"/>
                <a:gd name="T26" fmla="*/ 257 w 462"/>
                <a:gd name="T27" fmla="*/ 22 h 538"/>
                <a:gd name="T28" fmla="*/ 232 w 462"/>
                <a:gd name="T29" fmla="*/ 3 h 538"/>
                <a:gd name="T30" fmla="*/ 211 w 462"/>
                <a:gd name="T31" fmla="*/ 22 h 538"/>
                <a:gd name="T32" fmla="*/ 203 w 462"/>
                <a:gd name="T33" fmla="*/ 33 h 538"/>
                <a:gd name="T34" fmla="*/ 190 w 462"/>
                <a:gd name="T35" fmla="*/ 41 h 538"/>
                <a:gd name="T36" fmla="*/ 179 w 462"/>
                <a:gd name="T37" fmla="*/ 54 h 538"/>
                <a:gd name="T38" fmla="*/ 160 w 462"/>
                <a:gd name="T39" fmla="*/ 49 h 538"/>
                <a:gd name="T40" fmla="*/ 152 w 462"/>
                <a:gd name="T41" fmla="*/ 57 h 538"/>
                <a:gd name="T42" fmla="*/ 158 w 462"/>
                <a:gd name="T43" fmla="*/ 73 h 538"/>
                <a:gd name="T44" fmla="*/ 152 w 462"/>
                <a:gd name="T45" fmla="*/ 126 h 538"/>
                <a:gd name="T46" fmla="*/ 142 w 462"/>
                <a:gd name="T47" fmla="*/ 169 h 538"/>
                <a:gd name="T48" fmla="*/ 144 w 462"/>
                <a:gd name="T49" fmla="*/ 177 h 538"/>
                <a:gd name="T50" fmla="*/ 131 w 462"/>
                <a:gd name="T51" fmla="*/ 193 h 538"/>
                <a:gd name="T52" fmla="*/ 115 w 462"/>
                <a:gd name="T53" fmla="*/ 201 h 538"/>
                <a:gd name="T54" fmla="*/ 72 w 462"/>
                <a:gd name="T55" fmla="*/ 209 h 538"/>
                <a:gd name="T56" fmla="*/ 56 w 462"/>
                <a:gd name="T57" fmla="*/ 217 h 538"/>
                <a:gd name="T58" fmla="*/ 40 w 462"/>
                <a:gd name="T59" fmla="*/ 236 h 538"/>
                <a:gd name="T60" fmla="*/ 91 w 462"/>
                <a:gd name="T61" fmla="*/ 276 h 538"/>
                <a:gd name="T62" fmla="*/ 78 w 462"/>
                <a:gd name="T63" fmla="*/ 297 h 538"/>
                <a:gd name="T64" fmla="*/ 56 w 462"/>
                <a:gd name="T65" fmla="*/ 302 h 538"/>
                <a:gd name="T66" fmla="*/ 30 w 462"/>
                <a:gd name="T67" fmla="*/ 300 h 538"/>
                <a:gd name="T68" fmla="*/ 16 w 462"/>
                <a:gd name="T69" fmla="*/ 324 h 538"/>
                <a:gd name="T70" fmla="*/ 0 w 462"/>
                <a:gd name="T71" fmla="*/ 337 h 538"/>
                <a:gd name="T72" fmla="*/ 16 w 462"/>
                <a:gd name="T73" fmla="*/ 359 h 538"/>
                <a:gd name="T74" fmla="*/ 32 w 462"/>
                <a:gd name="T75" fmla="*/ 369 h 538"/>
                <a:gd name="T76" fmla="*/ 56 w 462"/>
                <a:gd name="T77" fmla="*/ 367 h 538"/>
                <a:gd name="T78" fmla="*/ 72 w 462"/>
                <a:gd name="T79" fmla="*/ 372 h 538"/>
                <a:gd name="T80" fmla="*/ 83 w 462"/>
                <a:gd name="T81" fmla="*/ 364 h 538"/>
                <a:gd name="T82" fmla="*/ 107 w 462"/>
                <a:gd name="T83" fmla="*/ 377 h 538"/>
                <a:gd name="T84" fmla="*/ 123 w 462"/>
                <a:gd name="T85" fmla="*/ 372 h 538"/>
                <a:gd name="T86" fmla="*/ 123 w 462"/>
                <a:gd name="T87" fmla="*/ 391 h 538"/>
                <a:gd name="T88" fmla="*/ 139 w 462"/>
                <a:gd name="T89" fmla="*/ 407 h 538"/>
                <a:gd name="T90" fmla="*/ 142 w 462"/>
                <a:gd name="T91" fmla="*/ 428 h 538"/>
                <a:gd name="T92" fmla="*/ 139 w 462"/>
                <a:gd name="T93" fmla="*/ 457 h 538"/>
                <a:gd name="T94" fmla="*/ 155 w 462"/>
                <a:gd name="T95" fmla="*/ 463 h 538"/>
                <a:gd name="T96" fmla="*/ 152 w 462"/>
                <a:gd name="T97" fmla="*/ 481 h 538"/>
                <a:gd name="T98" fmla="*/ 160 w 462"/>
                <a:gd name="T99" fmla="*/ 492 h 538"/>
                <a:gd name="T100" fmla="*/ 163 w 462"/>
                <a:gd name="T101" fmla="*/ 524 h 538"/>
                <a:gd name="T102" fmla="*/ 187 w 462"/>
                <a:gd name="T103" fmla="*/ 519 h 538"/>
                <a:gd name="T104" fmla="*/ 182 w 462"/>
                <a:gd name="T105" fmla="*/ 497 h 538"/>
                <a:gd name="T106" fmla="*/ 211 w 462"/>
                <a:gd name="T107" fmla="*/ 479 h 538"/>
                <a:gd name="T108" fmla="*/ 214 w 462"/>
                <a:gd name="T109" fmla="*/ 460 h 538"/>
                <a:gd name="T110" fmla="*/ 219 w 462"/>
                <a:gd name="T111" fmla="*/ 431 h 538"/>
                <a:gd name="T112" fmla="*/ 246 w 462"/>
                <a:gd name="T113" fmla="*/ 423 h 538"/>
                <a:gd name="T114" fmla="*/ 267 w 462"/>
                <a:gd name="T115" fmla="*/ 415 h 538"/>
                <a:gd name="T116" fmla="*/ 278 w 462"/>
                <a:gd name="T117" fmla="*/ 393 h 538"/>
                <a:gd name="T118" fmla="*/ 289 w 462"/>
                <a:gd name="T119" fmla="*/ 372 h 538"/>
                <a:gd name="T120" fmla="*/ 302 w 462"/>
                <a:gd name="T121" fmla="*/ 351 h 538"/>
                <a:gd name="T122" fmla="*/ 326 w 462"/>
                <a:gd name="T123" fmla="*/ 356 h 538"/>
                <a:gd name="T124" fmla="*/ 369 w 462"/>
                <a:gd name="T125" fmla="*/ 377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2" h="538" extrusionOk="0">
                  <a:moveTo>
                    <a:pt x="395" y="388"/>
                  </a:moveTo>
                  <a:lnTo>
                    <a:pt x="395" y="385"/>
                  </a:lnTo>
                  <a:lnTo>
                    <a:pt x="395" y="385"/>
                  </a:lnTo>
                  <a:lnTo>
                    <a:pt x="395" y="383"/>
                  </a:lnTo>
                  <a:lnTo>
                    <a:pt x="395" y="380"/>
                  </a:lnTo>
                  <a:lnTo>
                    <a:pt x="395" y="377"/>
                  </a:lnTo>
                  <a:lnTo>
                    <a:pt x="395" y="375"/>
                  </a:lnTo>
                  <a:lnTo>
                    <a:pt x="398" y="375"/>
                  </a:lnTo>
                  <a:lnTo>
                    <a:pt x="398" y="372"/>
                  </a:lnTo>
                  <a:lnTo>
                    <a:pt x="401" y="372"/>
                  </a:lnTo>
                  <a:lnTo>
                    <a:pt x="401" y="372"/>
                  </a:lnTo>
                  <a:lnTo>
                    <a:pt x="401" y="369"/>
                  </a:lnTo>
                  <a:lnTo>
                    <a:pt x="401" y="369"/>
                  </a:lnTo>
                  <a:lnTo>
                    <a:pt x="403" y="367"/>
                  </a:lnTo>
                  <a:lnTo>
                    <a:pt x="403" y="367"/>
                  </a:lnTo>
                  <a:lnTo>
                    <a:pt x="406" y="367"/>
                  </a:lnTo>
                  <a:lnTo>
                    <a:pt x="406" y="367"/>
                  </a:lnTo>
                  <a:lnTo>
                    <a:pt x="406" y="367"/>
                  </a:lnTo>
                  <a:lnTo>
                    <a:pt x="409" y="364"/>
                  </a:lnTo>
                  <a:lnTo>
                    <a:pt x="409" y="364"/>
                  </a:lnTo>
                  <a:lnTo>
                    <a:pt x="411" y="364"/>
                  </a:lnTo>
                  <a:lnTo>
                    <a:pt x="411" y="364"/>
                  </a:lnTo>
                  <a:lnTo>
                    <a:pt x="414" y="367"/>
                  </a:lnTo>
                  <a:lnTo>
                    <a:pt x="414" y="364"/>
                  </a:lnTo>
                  <a:lnTo>
                    <a:pt x="414" y="364"/>
                  </a:lnTo>
                  <a:lnTo>
                    <a:pt x="414" y="364"/>
                  </a:lnTo>
                  <a:lnTo>
                    <a:pt x="414" y="361"/>
                  </a:lnTo>
                  <a:lnTo>
                    <a:pt x="414" y="361"/>
                  </a:lnTo>
                  <a:lnTo>
                    <a:pt x="417" y="361"/>
                  </a:lnTo>
                  <a:lnTo>
                    <a:pt x="414" y="359"/>
                  </a:lnTo>
                  <a:lnTo>
                    <a:pt x="414" y="359"/>
                  </a:lnTo>
                  <a:lnTo>
                    <a:pt x="411" y="356"/>
                  </a:lnTo>
                  <a:lnTo>
                    <a:pt x="411" y="356"/>
                  </a:lnTo>
                  <a:lnTo>
                    <a:pt x="414" y="353"/>
                  </a:lnTo>
                  <a:lnTo>
                    <a:pt x="414" y="351"/>
                  </a:lnTo>
                  <a:lnTo>
                    <a:pt x="414" y="348"/>
                  </a:lnTo>
                  <a:lnTo>
                    <a:pt x="411" y="345"/>
                  </a:lnTo>
                  <a:lnTo>
                    <a:pt x="414" y="345"/>
                  </a:lnTo>
                  <a:lnTo>
                    <a:pt x="419" y="340"/>
                  </a:lnTo>
                  <a:lnTo>
                    <a:pt x="422" y="340"/>
                  </a:lnTo>
                  <a:lnTo>
                    <a:pt x="422" y="340"/>
                  </a:lnTo>
                  <a:lnTo>
                    <a:pt x="422" y="337"/>
                  </a:lnTo>
                  <a:lnTo>
                    <a:pt x="425" y="337"/>
                  </a:lnTo>
                  <a:lnTo>
                    <a:pt x="425" y="337"/>
                  </a:lnTo>
                  <a:lnTo>
                    <a:pt x="427" y="334"/>
                  </a:lnTo>
                  <a:lnTo>
                    <a:pt x="427" y="334"/>
                  </a:lnTo>
                  <a:lnTo>
                    <a:pt x="427" y="332"/>
                  </a:lnTo>
                  <a:lnTo>
                    <a:pt x="425" y="329"/>
                  </a:lnTo>
                  <a:lnTo>
                    <a:pt x="425" y="324"/>
                  </a:lnTo>
                  <a:lnTo>
                    <a:pt x="422" y="324"/>
                  </a:lnTo>
                  <a:lnTo>
                    <a:pt x="422" y="329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1" y="321"/>
                  </a:lnTo>
                  <a:lnTo>
                    <a:pt x="409" y="321"/>
                  </a:lnTo>
                  <a:lnTo>
                    <a:pt x="409" y="318"/>
                  </a:lnTo>
                  <a:lnTo>
                    <a:pt x="409" y="318"/>
                  </a:lnTo>
                  <a:lnTo>
                    <a:pt x="406" y="313"/>
                  </a:lnTo>
                  <a:lnTo>
                    <a:pt x="406" y="302"/>
                  </a:lnTo>
                  <a:lnTo>
                    <a:pt x="406" y="297"/>
                  </a:lnTo>
                  <a:lnTo>
                    <a:pt x="411" y="294"/>
                  </a:lnTo>
                  <a:lnTo>
                    <a:pt x="414" y="294"/>
                  </a:lnTo>
                  <a:lnTo>
                    <a:pt x="419" y="289"/>
                  </a:lnTo>
                  <a:lnTo>
                    <a:pt x="435" y="270"/>
                  </a:lnTo>
                  <a:lnTo>
                    <a:pt x="441" y="276"/>
                  </a:lnTo>
                  <a:lnTo>
                    <a:pt x="459" y="249"/>
                  </a:lnTo>
                  <a:lnTo>
                    <a:pt x="459" y="241"/>
                  </a:lnTo>
                  <a:lnTo>
                    <a:pt x="462" y="236"/>
                  </a:lnTo>
                  <a:lnTo>
                    <a:pt x="462" y="233"/>
                  </a:lnTo>
                  <a:lnTo>
                    <a:pt x="459" y="233"/>
                  </a:lnTo>
                  <a:lnTo>
                    <a:pt x="459" y="230"/>
                  </a:lnTo>
                  <a:lnTo>
                    <a:pt x="459" y="228"/>
                  </a:lnTo>
                  <a:lnTo>
                    <a:pt x="459" y="225"/>
                  </a:lnTo>
                  <a:lnTo>
                    <a:pt x="459" y="225"/>
                  </a:lnTo>
                  <a:lnTo>
                    <a:pt x="457" y="222"/>
                  </a:lnTo>
                  <a:lnTo>
                    <a:pt x="451" y="228"/>
                  </a:lnTo>
                  <a:lnTo>
                    <a:pt x="411" y="204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09" y="196"/>
                  </a:lnTo>
                  <a:lnTo>
                    <a:pt x="406" y="193"/>
                  </a:lnTo>
                  <a:lnTo>
                    <a:pt x="406" y="190"/>
                  </a:lnTo>
                  <a:lnTo>
                    <a:pt x="403" y="187"/>
                  </a:lnTo>
                  <a:lnTo>
                    <a:pt x="403" y="185"/>
                  </a:lnTo>
                  <a:lnTo>
                    <a:pt x="401" y="185"/>
                  </a:lnTo>
                  <a:lnTo>
                    <a:pt x="401" y="185"/>
                  </a:lnTo>
                  <a:lnTo>
                    <a:pt x="398" y="185"/>
                  </a:lnTo>
                  <a:lnTo>
                    <a:pt x="398" y="185"/>
                  </a:lnTo>
                  <a:lnTo>
                    <a:pt x="395" y="185"/>
                  </a:lnTo>
                  <a:lnTo>
                    <a:pt x="393" y="187"/>
                  </a:lnTo>
                  <a:lnTo>
                    <a:pt x="387" y="190"/>
                  </a:lnTo>
                  <a:lnTo>
                    <a:pt x="385" y="193"/>
                  </a:lnTo>
                  <a:lnTo>
                    <a:pt x="382" y="196"/>
                  </a:lnTo>
                  <a:lnTo>
                    <a:pt x="379" y="196"/>
                  </a:lnTo>
                  <a:lnTo>
                    <a:pt x="377" y="198"/>
                  </a:lnTo>
                  <a:lnTo>
                    <a:pt x="374" y="198"/>
                  </a:lnTo>
                  <a:lnTo>
                    <a:pt x="371" y="201"/>
                  </a:lnTo>
                  <a:lnTo>
                    <a:pt x="369" y="201"/>
                  </a:lnTo>
                  <a:lnTo>
                    <a:pt x="366" y="204"/>
                  </a:lnTo>
                  <a:lnTo>
                    <a:pt x="361" y="204"/>
                  </a:lnTo>
                  <a:lnTo>
                    <a:pt x="358" y="206"/>
                  </a:lnTo>
                  <a:lnTo>
                    <a:pt x="355" y="206"/>
                  </a:lnTo>
                  <a:lnTo>
                    <a:pt x="355" y="204"/>
                  </a:lnTo>
                  <a:lnTo>
                    <a:pt x="355" y="201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5" y="193"/>
                  </a:lnTo>
                  <a:lnTo>
                    <a:pt x="353" y="190"/>
                  </a:lnTo>
                  <a:lnTo>
                    <a:pt x="353" y="187"/>
                  </a:lnTo>
                  <a:lnTo>
                    <a:pt x="350" y="185"/>
                  </a:lnTo>
                  <a:lnTo>
                    <a:pt x="347" y="185"/>
                  </a:lnTo>
                  <a:lnTo>
                    <a:pt x="347" y="185"/>
                  </a:lnTo>
                  <a:lnTo>
                    <a:pt x="347" y="185"/>
                  </a:lnTo>
                  <a:lnTo>
                    <a:pt x="345" y="185"/>
                  </a:lnTo>
                  <a:lnTo>
                    <a:pt x="345" y="185"/>
                  </a:lnTo>
                  <a:lnTo>
                    <a:pt x="342" y="187"/>
                  </a:lnTo>
                  <a:lnTo>
                    <a:pt x="342" y="187"/>
                  </a:lnTo>
                  <a:lnTo>
                    <a:pt x="337" y="190"/>
                  </a:lnTo>
                  <a:lnTo>
                    <a:pt x="334" y="190"/>
                  </a:lnTo>
                  <a:lnTo>
                    <a:pt x="334" y="193"/>
                  </a:lnTo>
                  <a:lnTo>
                    <a:pt x="331" y="193"/>
                  </a:lnTo>
                  <a:lnTo>
                    <a:pt x="329" y="193"/>
                  </a:lnTo>
                  <a:lnTo>
                    <a:pt x="329" y="196"/>
                  </a:lnTo>
                  <a:lnTo>
                    <a:pt x="326" y="196"/>
                  </a:lnTo>
                  <a:lnTo>
                    <a:pt x="323" y="196"/>
                  </a:lnTo>
                  <a:lnTo>
                    <a:pt x="323" y="193"/>
                  </a:lnTo>
                  <a:lnTo>
                    <a:pt x="321" y="190"/>
                  </a:lnTo>
                  <a:lnTo>
                    <a:pt x="318" y="190"/>
                  </a:lnTo>
                  <a:lnTo>
                    <a:pt x="315" y="190"/>
                  </a:lnTo>
                  <a:lnTo>
                    <a:pt x="313" y="190"/>
                  </a:lnTo>
                  <a:lnTo>
                    <a:pt x="310" y="190"/>
                  </a:lnTo>
                  <a:lnTo>
                    <a:pt x="307" y="187"/>
                  </a:lnTo>
                  <a:lnTo>
                    <a:pt x="307" y="187"/>
                  </a:lnTo>
                  <a:lnTo>
                    <a:pt x="305" y="185"/>
                  </a:lnTo>
                  <a:lnTo>
                    <a:pt x="302" y="187"/>
                  </a:lnTo>
                  <a:lnTo>
                    <a:pt x="299" y="187"/>
                  </a:lnTo>
                  <a:lnTo>
                    <a:pt x="297" y="190"/>
                  </a:lnTo>
                  <a:lnTo>
                    <a:pt x="294" y="190"/>
                  </a:lnTo>
                  <a:lnTo>
                    <a:pt x="294" y="187"/>
                  </a:lnTo>
                  <a:lnTo>
                    <a:pt x="291" y="185"/>
                  </a:lnTo>
                  <a:lnTo>
                    <a:pt x="289" y="182"/>
                  </a:lnTo>
                  <a:lnTo>
                    <a:pt x="286" y="182"/>
                  </a:lnTo>
                  <a:lnTo>
                    <a:pt x="286" y="182"/>
                  </a:lnTo>
                  <a:lnTo>
                    <a:pt x="283" y="185"/>
                  </a:lnTo>
                  <a:lnTo>
                    <a:pt x="283" y="185"/>
                  </a:lnTo>
                  <a:lnTo>
                    <a:pt x="283" y="185"/>
                  </a:lnTo>
                  <a:lnTo>
                    <a:pt x="283" y="187"/>
                  </a:lnTo>
                  <a:lnTo>
                    <a:pt x="286" y="190"/>
                  </a:lnTo>
                  <a:lnTo>
                    <a:pt x="286" y="193"/>
                  </a:lnTo>
                  <a:lnTo>
                    <a:pt x="283" y="193"/>
                  </a:lnTo>
                  <a:lnTo>
                    <a:pt x="281" y="193"/>
                  </a:lnTo>
                  <a:lnTo>
                    <a:pt x="281" y="193"/>
                  </a:lnTo>
                  <a:lnTo>
                    <a:pt x="278" y="190"/>
                  </a:lnTo>
                  <a:lnTo>
                    <a:pt x="275" y="190"/>
                  </a:lnTo>
                  <a:lnTo>
                    <a:pt x="275" y="190"/>
                  </a:lnTo>
                  <a:lnTo>
                    <a:pt x="265" y="201"/>
                  </a:lnTo>
                  <a:lnTo>
                    <a:pt x="265" y="206"/>
                  </a:lnTo>
                  <a:lnTo>
                    <a:pt x="259" y="214"/>
                  </a:lnTo>
                  <a:lnTo>
                    <a:pt x="259" y="214"/>
                  </a:lnTo>
                  <a:lnTo>
                    <a:pt x="251" y="228"/>
                  </a:lnTo>
                  <a:lnTo>
                    <a:pt x="249" y="225"/>
                  </a:lnTo>
                  <a:lnTo>
                    <a:pt x="249" y="228"/>
                  </a:lnTo>
                  <a:lnTo>
                    <a:pt x="238" y="220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41" y="217"/>
                  </a:lnTo>
                  <a:lnTo>
                    <a:pt x="241" y="217"/>
                  </a:lnTo>
                  <a:lnTo>
                    <a:pt x="249" y="206"/>
                  </a:lnTo>
                  <a:lnTo>
                    <a:pt x="241" y="198"/>
                  </a:lnTo>
                  <a:lnTo>
                    <a:pt x="243" y="196"/>
                  </a:lnTo>
                  <a:lnTo>
                    <a:pt x="241" y="193"/>
                  </a:lnTo>
                  <a:lnTo>
                    <a:pt x="241" y="190"/>
                  </a:lnTo>
                  <a:lnTo>
                    <a:pt x="238" y="190"/>
                  </a:lnTo>
                  <a:lnTo>
                    <a:pt x="238" y="187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0" y="185"/>
                  </a:lnTo>
                  <a:lnTo>
                    <a:pt x="241" y="171"/>
                  </a:lnTo>
                  <a:lnTo>
                    <a:pt x="219" y="150"/>
                  </a:lnTo>
                  <a:lnTo>
                    <a:pt x="232" y="123"/>
                  </a:lnTo>
                  <a:lnTo>
                    <a:pt x="232" y="123"/>
                  </a:lnTo>
                  <a:lnTo>
                    <a:pt x="243" y="107"/>
                  </a:lnTo>
                  <a:lnTo>
                    <a:pt x="257" y="105"/>
                  </a:lnTo>
                  <a:lnTo>
                    <a:pt x="257" y="105"/>
                  </a:lnTo>
                  <a:lnTo>
                    <a:pt x="259" y="105"/>
                  </a:lnTo>
                  <a:lnTo>
                    <a:pt x="259" y="105"/>
                  </a:lnTo>
                  <a:lnTo>
                    <a:pt x="259" y="102"/>
                  </a:lnTo>
                  <a:lnTo>
                    <a:pt x="262" y="102"/>
                  </a:lnTo>
                  <a:lnTo>
                    <a:pt x="262" y="102"/>
                  </a:lnTo>
                  <a:lnTo>
                    <a:pt x="262" y="102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62" y="97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9" y="91"/>
                  </a:lnTo>
                  <a:lnTo>
                    <a:pt x="257" y="83"/>
                  </a:lnTo>
                  <a:lnTo>
                    <a:pt x="259" y="81"/>
                  </a:lnTo>
                  <a:lnTo>
                    <a:pt x="259" y="81"/>
                  </a:lnTo>
                  <a:lnTo>
                    <a:pt x="262" y="78"/>
                  </a:lnTo>
                  <a:lnTo>
                    <a:pt x="273" y="51"/>
                  </a:lnTo>
                  <a:lnTo>
                    <a:pt x="270" y="49"/>
                  </a:lnTo>
                  <a:lnTo>
                    <a:pt x="267" y="46"/>
                  </a:lnTo>
                  <a:lnTo>
                    <a:pt x="257" y="35"/>
                  </a:lnTo>
                  <a:lnTo>
                    <a:pt x="257" y="35"/>
                  </a:lnTo>
                  <a:lnTo>
                    <a:pt x="257" y="35"/>
                  </a:lnTo>
                  <a:lnTo>
                    <a:pt x="257" y="33"/>
                  </a:lnTo>
                  <a:lnTo>
                    <a:pt x="259" y="30"/>
                  </a:lnTo>
                  <a:lnTo>
                    <a:pt x="262" y="24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7" y="22"/>
                  </a:lnTo>
                  <a:lnTo>
                    <a:pt x="257" y="22"/>
                  </a:lnTo>
                  <a:lnTo>
                    <a:pt x="257" y="19"/>
                  </a:lnTo>
                  <a:lnTo>
                    <a:pt x="254" y="19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1" y="11"/>
                  </a:lnTo>
                  <a:lnTo>
                    <a:pt x="249" y="11"/>
                  </a:lnTo>
                  <a:lnTo>
                    <a:pt x="246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1" y="8"/>
                  </a:lnTo>
                  <a:lnTo>
                    <a:pt x="238" y="6"/>
                  </a:lnTo>
                  <a:lnTo>
                    <a:pt x="235" y="3"/>
                  </a:lnTo>
                  <a:lnTo>
                    <a:pt x="232" y="0"/>
                  </a:lnTo>
                  <a:lnTo>
                    <a:pt x="232" y="3"/>
                  </a:lnTo>
                  <a:lnTo>
                    <a:pt x="230" y="3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27" y="8"/>
                  </a:lnTo>
                  <a:lnTo>
                    <a:pt x="224" y="8"/>
                  </a:lnTo>
                  <a:lnTo>
                    <a:pt x="222" y="8"/>
                  </a:lnTo>
                  <a:lnTo>
                    <a:pt x="222" y="11"/>
                  </a:lnTo>
                  <a:lnTo>
                    <a:pt x="219" y="14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9"/>
                  </a:lnTo>
                  <a:lnTo>
                    <a:pt x="214" y="19"/>
                  </a:lnTo>
                  <a:lnTo>
                    <a:pt x="214" y="22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24"/>
                  </a:lnTo>
                  <a:lnTo>
                    <a:pt x="208" y="24"/>
                  </a:lnTo>
                  <a:lnTo>
                    <a:pt x="208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27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3" y="30"/>
                  </a:lnTo>
                  <a:lnTo>
                    <a:pt x="203" y="30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203" y="33"/>
                  </a:lnTo>
                  <a:lnTo>
                    <a:pt x="200" y="35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3" y="41"/>
                  </a:lnTo>
                  <a:lnTo>
                    <a:pt x="200" y="41"/>
                  </a:lnTo>
                  <a:lnTo>
                    <a:pt x="200" y="41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5" y="41"/>
                  </a:lnTo>
                  <a:lnTo>
                    <a:pt x="195" y="41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92" y="41"/>
                  </a:lnTo>
                  <a:lnTo>
                    <a:pt x="190" y="41"/>
                  </a:lnTo>
                  <a:lnTo>
                    <a:pt x="190" y="41"/>
                  </a:lnTo>
                  <a:lnTo>
                    <a:pt x="190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6"/>
                  </a:lnTo>
                  <a:lnTo>
                    <a:pt x="184" y="46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79" y="54"/>
                  </a:lnTo>
                  <a:lnTo>
                    <a:pt x="176" y="54"/>
                  </a:lnTo>
                  <a:lnTo>
                    <a:pt x="176" y="57"/>
                  </a:lnTo>
                  <a:lnTo>
                    <a:pt x="174" y="57"/>
                  </a:lnTo>
                  <a:lnTo>
                    <a:pt x="174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7"/>
                  </a:lnTo>
                  <a:lnTo>
                    <a:pt x="168" y="57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6" y="54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0" y="51"/>
                  </a:lnTo>
                  <a:lnTo>
                    <a:pt x="160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2" y="54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2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2" y="65"/>
                  </a:lnTo>
                  <a:lnTo>
                    <a:pt x="155" y="65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70"/>
                  </a:lnTo>
                  <a:lnTo>
                    <a:pt x="155" y="73"/>
                  </a:lnTo>
                  <a:lnTo>
                    <a:pt x="158" y="73"/>
                  </a:lnTo>
                  <a:lnTo>
                    <a:pt x="158" y="73"/>
                  </a:lnTo>
                  <a:lnTo>
                    <a:pt x="163" y="75"/>
                  </a:lnTo>
                  <a:lnTo>
                    <a:pt x="163" y="75"/>
                  </a:lnTo>
                  <a:lnTo>
                    <a:pt x="163" y="78"/>
                  </a:lnTo>
                  <a:lnTo>
                    <a:pt x="163" y="78"/>
                  </a:lnTo>
                  <a:lnTo>
                    <a:pt x="168" y="78"/>
                  </a:lnTo>
                  <a:lnTo>
                    <a:pt x="171" y="75"/>
                  </a:lnTo>
                  <a:lnTo>
                    <a:pt x="174" y="75"/>
                  </a:lnTo>
                  <a:lnTo>
                    <a:pt x="176" y="75"/>
                  </a:lnTo>
                  <a:lnTo>
                    <a:pt x="179" y="75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4" y="83"/>
                  </a:lnTo>
                  <a:lnTo>
                    <a:pt x="155" y="105"/>
                  </a:lnTo>
                  <a:lnTo>
                    <a:pt x="163" y="113"/>
                  </a:lnTo>
                  <a:lnTo>
                    <a:pt x="152" y="126"/>
                  </a:lnTo>
                  <a:lnTo>
                    <a:pt x="139" y="142"/>
                  </a:lnTo>
                  <a:lnTo>
                    <a:pt x="147" y="150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2" y="155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61"/>
                  </a:lnTo>
                  <a:lnTo>
                    <a:pt x="139" y="158"/>
                  </a:lnTo>
                  <a:lnTo>
                    <a:pt x="139" y="161"/>
                  </a:lnTo>
                  <a:lnTo>
                    <a:pt x="139" y="163"/>
                  </a:lnTo>
                  <a:lnTo>
                    <a:pt x="139" y="163"/>
                  </a:lnTo>
                  <a:lnTo>
                    <a:pt x="139" y="166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69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77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4" y="179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4" y="185"/>
                  </a:lnTo>
                  <a:lnTo>
                    <a:pt x="142" y="190"/>
                  </a:lnTo>
                  <a:lnTo>
                    <a:pt x="142" y="193"/>
                  </a:lnTo>
                  <a:lnTo>
                    <a:pt x="142" y="196"/>
                  </a:lnTo>
                  <a:lnTo>
                    <a:pt x="139" y="198"/>
                  </a:lnTo>
                  <a:lnTo>
                    <a:pt x="136" y="198"/>
                  </a:lnTo>
                  <a:lnTo>
                    <a:pt x="136" y="196"/>
                  </a:lnTo>
                  <a:lnTo>
                    <a:pt x="131" y="196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0"/>
                  </a:lnTo>
                  <a:lnTo>
                    <a:pt x="126" y="190"/>
                  </a:lnTo>
                  <a:lnTo>
                    <a:pt x="126" y="190"/>
                  </a:lnTo>
                  <a:lnTo>
                    <a:pt x="123" y="190"/>
                  </a:lnTo>
                  <a:lnTo>
                    <a:pt x="123" y="193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0" y="198"/>
                  </a:lnTo>
                  <a:lnTo>
                    <a:pt x="120" y="201"/>
                  </a:lnTo>
                  <a:lnTo>
                    <a:pt x="120" y="201"/>
                  </a:lnTo>
                  <a:lnTo>
                    <a:pt x="120" y="201"/>
                  </a:lnTo>
                  <a:lnTo>
                    <a:pt x="118" y="201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2" y="198"/>
                  </a:lnTo>
                  <a:lnTo>
                    <a:pt x="104" y="201"/>
                  </a:lnTo>
                  <a:lnTo>
                    <a:pt x="102" y="198"/>
                  </a:lnTo>
                  <a:lnTo>
                    <a:pt x="99" y="206"/>
                  </a:lnTo>
                  <a:lnTo>
                    <a:pt x="96" y="209"/>
                  </a:lnTo>
                  <a:lnTo>
                    <a:pt x="94" y="204"/>
                  </a:lnTo>
                  <a:lnTo>
                    <a:pt x="88" y="204"/>
                  </a:lnTo>
                  <a:lnTo>
                    <a:pt x="86" y="204"/>
                  </a:lnTo>
                  <a:lnTo>
                    <a:pt x="80" y="204"/>
                  </a:lnTo>
                  <a:lnTo>
                    <a:pt x="83" y="201"/>
                  </a:lnTo>
                  <a:lnTo>
                    <a:pt x="80" y="201"/>
                  </a:lnTo>
                  <a:lnTo>
                    <a:pt x="78" y="201"/>
                  </a:lnTo>
                  <a:lnTo>
                    <a:pt x="78" y="204"/>
                  </a:lnTo>
                  <a:lnTo>
                    <a:pt x="72" y="206"/>
                  </a:lnTo>
                  <a:lnTo>
                    <a:pt x="72" y="209"/>
                  </a:lnTo>
                  <a:lnTo>
                    <a:pt x="70" y="209"/>
                  </a:lnTo>
                  <a:lnTo>
                    <a:pt x="70" y="212"/>
                  </a:lnTo>
                  <a:lnTo>
                    <a:pt x="67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2" y="212"/>
                  </a:lnTo>
                  <a:lnTo>
                    <a:pt x="59" y="212"/>
                  </a:lnTo>
                  <a:lnTo>
                    <a:pt x="59" y="212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6" y="217"/>
                  </a:lnTo>
                  <a:lnTo>
                    <a:pt x="54" y="220"/>
                  </a:lnTo>
                  <a:lnTo>
                    <a:pt x="54" y="220"/>
                  </a:lnTo>
                  <a:lnTo>
                    <a:pt x="54" y="222"/>
                  </a:lnTo>
                  <a:lnTo>
                    <a:pt x="51" y="222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48" y="225"/>
                  </a:lnTo>
                  <a:lnTo>
                    <a:pt x="46" y="228"/>
                  </a:lnTo>
                  <a:lnTo>
                    <a:pt x="46" y="228"/>
                  </a:lnTo>
                  <a:lnTo>
                    <a:pt x="46" y="228"/>
                  </a:lnTo>
                  <a:lnTo>
                    <a:pt x="43" y="230"/>
                  </a:lnTo>
                  <a:lnTo>
                    <a:pt x="43" y="230"/>
                  </a:lnTo>
                  <a:lnTo>
                    <a:pt x="40" y="230"/>
                  </a:lnTo>
                  <a:lnTo>
                    <a:pt x="40" y="233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43" y="244"/>
                  </a:lnTo>
                  <a:lnTo>
                    <a:pt x="43" y="244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64" y="254"/>
                  </a:lnTo>
                  <a:lnTo>
                    <a:pt x="86" y="268"/>
                  </a:lnTo>
                  <a:lnTo>
                    <a:pt x="83" y="273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8" y="276"/>
                  </a:lnTo>
                  <a:lnTo>
                    <a:pt x="91" y="276"/>
                  </a:lnTo>
                  <a:lnTo>
                    <a:pt x="91" y="278"/>
                  </a:lnTo>
                  <a:lnTo>
                    <a:pt x="94" y="281"/>
                  </a:lnTo>
                  <a:lnTo>
                    <a:pt x="96" y="284"/>
                  </a:lnTo>
                  <a:lnTo>
                    <a:pt x="96" y="289"/>
                  </a:lnTo>
                  <a:lnTo>
                    <a:pt x="94" y="289"/>
                  </a:lnTo>
                  <a:lnTo>
                    <a:pt x="94" y="289"/>
                  </a:lnTo>
                  <a:lnTo>
                    <a:pt x="91" y="289"/>
                  </a:lnTo>
                  <a:lnTo>
                    <a:pt x="91" y="289"/>
                  </a:lnTo>
                  <a:lnTo>
                    <a:pt x="88" y="289"/>
                  </a:lnTo>
                  <a:lnTo>
                    <a:pt x="88" y="289"/>
                  </a:lnTo>
                  <a:lnTo>
                    <a:pt x="86" y="289"/>
                  </a:lnTo>
                  <a:lnTo>
                    <a:pt x="83" y="289"/>
                  </a:lnTo>
                  <a:lnTo>
                    <a:pt x="80" y="289"/>
                  </a:lnTo>
                  <a:lnTo>
                    <a:pt x="80" y="292"/>
                  </a:lnTo>
                  <a:lnTo>
                    <a:pt x="80" y="297"/>
                  </a:lnTo>
                  <a:lnTo>
                    <a:pt x="78" y="297"/>
                  </a:lnTo>
                  <a:lnTo>
                    <a:pt x="78" y="297"/>
                  </a:lnTo>
                  <a:lnTo>
                    <a:pt x="75" y="297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2" y="302"/>
                  </a:lnTo>
                  <a:lnTo>
                    <a:pt x="72" y="305"/>
                  </a:lnTo>
                  <a:lnTo>
                    <a:pt x="70" y="308"/>
                  </a:lnTo>
                  <a:lnTo>
                    <a:pt x="70" y="308"/>
                  </a:lnTo>
                  <a:lnTo>
                    <a:pt x="70" y="308"/>
                  </a:lnTo>
                  <a:lnTo>
                    <a:pt x="67" y="308"/>
                  </a:lnTo>
                  <a:lnTo>
                    <a:pt x="64" y="310"/>
                  </a:lnTo>
                  <a:lnTo>
                    <a:pt x="59" y="308"/>
                  </a:lnTo>
                  <a:lnTo>
                    <a:pt x="62" y="305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4" y="302"/>
                  </a:lnTo>
                  <a:lnTo>
                    <a:pt x="51" y="302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3" y="302"/>
                  </a:lnTo>
                  <a:lnTo>
                    <a:pt x="40" y="297"/>
                  </a:lnTo>
                  <a:lnTo>
                    <a:pt x="35" y="297"/>
                  </a:lnTo>
                  <a:lnTo>
                    <a:pt x="35" y="297"/>
                  </a:lnTo>
                  <a:lnTo>
                    <a:pt x="32" y="294"/>
                  </a:lnTo>
                  <a:lnTo>
                    <a:pt x="32" y="292"/>
                  </a:lnTo>
                  <a:lnTo>
                    <a:pt x="30" y="292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0" y="297"/>
                  </a:lnTo>
                  <a:lnTo>
                    <a:pt x="32" y="300"/>
                  </a:lnTo>
                  <a:lnTo>
                    <a:pt x="30" y="300"/>
                  </a:lnTo>
                  <a:lnTo>
                    <a:pt x="27" y="300"/>
                  </a:lnTo>
                  <a:lnTo>
                    <a:pt x="27" y="300"/>
                  </a:lnTo>
                  <a:lnTo>
                    <a:pt x="24" y="300"/>
                  </a:lnTo>
                  <a:lnTo>
                    <a:pt x="22" y="300"/>
                  </a:lnTo>
                  <a:lnTo>
                    <a:pt x="24" y="302"/>
                  </a:lnTo>
                  <a:lnTo>
                    <a:pt x="24" y="302"/>
                  </a:lnTo>
                  <a:lnTo>
                    <a:pt x="27" y="302"/>
                  </a:lnTo>
                  <a:lnTo>
                    <a:pt x="24" y="305"/>
                  </a:lnTo>
                  <a:lnTo>
                    <a:pt x="19" y="305"/>
                  </a:lnTo>
                  <a:lnTo>
                    <a:pt x="16" y="310"/>
                  </a:lnTo>
                  <a:lnTo>
                    <a:pt x="19" y="313"/>
                  </a:lnTo>
                  <a:lnTo>
                    <a:pt x="19" y="313"/>
                  </a:lnTo>
                  <a:lnTo>
                    <a:pt x="22" y="316"/>
                  </a:lnTo>
                  <a:lnTo>
                    <a:pt x="19" y="318"/>
                  </a:lnTo>
                  <a:lnTo>
                    <a:pt x="19" y="321"/>
                  </a:lnTo>
                  <a:lnTo>
                    <a:pt x="16" y="324"/>
                  </a:lnTo>
                  <a:lnTo>
                    <a:pt x="16" y="321"/>
                  </a:lnTo>
                  <a:lnTo>
                    <a:pt x="14" y="321"/>
                  </a:lnTo>
                  <a:lnTo>
                    <a:pt x="14" y="321"/>
                  </a:lnTo>
                  <a:lnTo>
                    <a:pt x="11" y="321"/>
                  </a:lnTo>
                  <a:lnTo>
                    <a:pt x="11" y="326"/>
                  </a:lnTo>
                  <a:lnTo>
                    <a:pt x="14" y="326"/>
                  </a:lnTo>
                  <a:lnTo>
                    <a:pt x="14" y="326"/>
                  </a:lnTo>
                  <a:lnTo>
                    <a:pt x="11" y="329"/>
                  </a:lnTo>
                  <a:lnTo>
                    <a:pt x="11" y="329"/>
                  </a:lnTo>
                  <a:lnTo>
                    <a:pt x="11" y="329"/>
                  </a:lnTo>
                  <a:lnTo>
                    <a:pt x="8" y="332"/>
                  </a:lnTo>
                  <a:lnTo>
                    <a:pt x="6" y="332"/>
                  </a:lnTo>
                  <a:lnTo>
                    <a:pt x="3" y="334"/>
                  </a:lnTo>
                  <a:lnTo>
                    <a:pt x="6" y="337"/>
                  </a:lnTo>
                  <a:lnTo>
                    <a:pt x="6" y="337"/>
                  </a:lnTo>
                  <a:lnTo>
                    <a:pt x="0" y="337"/>
                  </a:lnTo>
                  <a:lnTo>
                    <a:pt x="3" y="337"/>
                  </a:lnTo>
                  <a:lnTo>
                    <a:pt x="0" y="337"/>
                  </a:lnTo>
                  <a:lnTo>
                    <a:pt x="0" y="337"/>
                  </a:lnTo>
                  <a:lnTo>
                    <a:pt x="0" y="340"/>
                  </a:lnTo>
                  <a:lnTo>
                    <a:pt x="3" y="342"/>
                  </a:lnTo>
                  <a:lnTo>
                    <a:pt x="6" y="342"/>
                  </a:lnTo>
                  <a:lnTo>
                    <a:pt x="6" y="345"/>
                  </a:lnTo>
                  <a:lnTo>
                    <a:pt x="8" y="345"/>
                  </a:lnTo>
                  <a:lnTo>
                    <a:pt x="8" y="345"/>
                  </a:lnTo>
                  <a:lnTo>
                    <a:pt x="11" y="345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4" y="351"/>
                  </a:lnTo>
                  <a:lnTo>
                    <a:pt x="16" y="351"/>
                  </a:lnTo>
                  <a:lnTo>
                    <a:pt x="19" y="356"/>
                  </a:lnTo>
                  <a:lnTo>
                    <a:pt x="16" y="359"/>
                  </a:lnTo>
                  <a:lnTo>
                    <a:pt x="16" y="359"/>
                  </a:lnTo>
                  <a:lnTo>
                    <a:pt x="14" y="361"/>
                  </a:lnTo>
                  <a:lnTo>
                    <a:pt x="14" y="359"/>
                  </a:lnTo>
                  <a:lnTo>
                    <a:pt x="11" y="361"/>
                  </a:lnTo>
                  <a:lnTo>
                    <a:pt x="14" y="364"/>
                  </a:lnTo>
                  <a:lnTo>
                    <a:pt x="16" y="361"/>
                  </a:lnTo>
                  <a:lnTo>
                    <a:pt x="16" y="364"/>
                  </a:lnTo>
                  <a:lnTo>
                    <a:pt x="16" y="364"/>
                  </a:lnTo>
                  <a:lnTo>
                    <a:pt x="22" y="364"/>
                  </a:lnTo>
                  <a:lnTo>
                    <a:pt x="22" y="364"/>
                  </a:lnTo>
                  <a:lnTo>
                    <a:pt x="24" y="364"/>
                  </a:lnTo>
                  <a:lnTo>
                    <a:pt x="27" y="364"/>
                  </a:lnTo>
                  <a:lnTo>
                    <a:pt x="27" y="364"/>
                  </a:lnTo>
                  <a:lnTo>
                    <a:pt x="30" y="364"/>
                  </a:lnTo>
                  <a:lnTo>
                    <a:pt x="30" y="369"/>
                  </a:lnTo>
                  <a:lnTo>
                    <a:pt x="32" y="369"/>
                  </a:lnTo>
                  <a:lnTo>
                    <a:pt x="35" y="364"/>
                  </a:lnTo>
                  <a:lnTo>
                    <a:pt x="35" y="364"/>
                  </a:lnTo>
                  <a:lnTo>
                    <a:pt x="38" y="364"/>
                  </a:lnTo>
                  <a:lnTo>
                    <a:pt x="38" y="364"/>
                  </a:lnTo>
                  <a:lnTo>
                    <a:pt x="40" y="361"/>
                  </a:lnTo>
                  <a:lnTo>
                    <a:pt x="43" y="361"/>
                  </a:lnTo>
                  <a:lnTo>
                    <a:pt x="43" y="361"/>
                  </a:lnTo>
                  <a:lnTo>
                    <a:pt x="46" y="361"/>
                  </a:lnTo>
                  <a:lnTo>
                    <a:pt x="46" y="359"/>
                  </a:lnTo>
                  <a:lnTo>
                    <a:pt x="51" y="364"/>
                  </a:lnTo>
                  <a:lnTo>
                    <a:pt x="51" y="359"/>
                  </a:lnTo>
                  <a:lnTo>
                    <a:pt x="54" y="359"/>
                  </a:lnTo>
                  <a:lnTo>
                    <a:pt x="54" y="361"/>
                  </a:lnTo>
                  <a:lnTo>
                    <a:pt x="54" y="364"/>
                  </a:lnTo>
                  <a:lnTo>
                    <a:pt x="54" y="364"/>
                  </a:lnTo>
                  <a:lnTo>
                    <a:pt x="56" y="367"/>
                  </a:lnTo>
                  <a:lnTo>
                    <a:pt x="59" y="367"/>
                  </a:lnTo>
                  <a:lnTo>
                    <a:pt x="59" y="367"/>
                  </a:lnTo>
                  <a:lnTo>
                    <a:pt x="59" y="369"/>
                  </a:lnTo>
                  <a:lnTo>
                    <a:pt x="59" y="372"/>
                  </a:lnTo>
                  <a:lnTo>
                    <a:pt x="59" y="369"/>
                  </a:lnTo>
                  <a:lnTo>
                    <a:pt x="62" y="369"/>
                  </a:lnTo>
                  <a:lnTo>
                    <a:pt x="62" y="369"/>
                  </a:lnTo>
                  <a:lnTo>
                    <a:pt x="62" y="369"/>
                  </a:lnTo>
                  <a:lnTo>
                    <a:pt x="64" y="369"/>
                  </a:lnTo>
                  <a:lnTo>
                    <a:pt x="64" y="372"/>
                  </a:lnTo>
                  <a:lnTo>
                    <a:pt x="64" y="372"/>
                  </a:lnTo>
                  <a:lnTo>
                    <a:pt x="67" y="372"/>
                  </a:lnTo>
                  <a:lnTo>
                    <a:pt x="67" y="372"/>
                  </a:lnTo>
                  <a:lnTo>
                    <a:pt x="70" y="372"/>
                  </a:lnTo>
                  <a:lnTo>
                    <a:pt x="70" y="375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69"/>
                  </a:lnTo>
                  <a:lnTo>
                    <a:pt x="72" y="369"/>
                  </a:lnTo>
                  <a:lnTo>
                    <a:pt x="70" y="367"/>
                  </a:lnTo>
                  <a:lnTo>
                    <a:pt x="72" y="367"/>
                  </a:lnTo>
                  <a:lnTo>
                    <a:pt x="75" y="369"/>
                  </a:lnTo>
                  <a:lnTo>
                    <a:pt x="78" y="367"/>
                  </a:lnTo>
                  <a:lnTo>
                    <a:pt x="75" y="364"/>
                  </a:lnTo>
                  <a:lnTo>
                    <a:pt x="75" y="364"/>
                  </a:lnTo>
                  <a:lnTo>
                    <a:pt x="78" y="364"/>
                  </a:lnTo>
                  <a:lnTo>
                    <a:pt x="78" y="364"/>
                  </a:lnTo>
                  <a:lnTo>
                    <a:pt x="80" y="367"/>
                  </a:lnTo>
                  <a:lnTo>
                    <a:pt x="80" y="367"/>
                  </a:lnTo>
                  <a:lnTo>
                    <a:pt x="80" y="364"/>
                  </a:lnTo>
                  <a:lnTo>
                    <a:pt x="80" y="364"/>
                  </a:lnTo>
                  <a:lnTo>
                    <a:pt x="83" y="364"/>
                  </a:lnTo>
                  <a:lnTo>
                    <a:pt x="83" y="367"/>
                  </a:lnTo>
                  <a:lnTo>
                    <a:pt x="83" y="367"/>
                  </a:lnTo>
                  <a:lnTo>
                    <a:pt x="86" y="367"/>
                  </a:lnTo>
                  <a:lnTo>
                    <a:pt x="86" y="367"/>
                  </a:lnTo>
                  <a:lnTo>
                    <a:pt x="86" y="367"/>
                  </a:lnTo>
                  <a:lnTo>
                    <a:pt x="83" y="369"/>
                  </a:lnTo>
                  <a:lnTo>
                    <a:pt x="86" y="369"/>
                  </a:lnTo>
                  <a:lnTo>
                    <a:pt x="86" y="369"/>
                  </a:lnTo>
                  <a:lnTo>
                    <a:pt x="86" y="372"/>
                  </a:lnTo>
                  <a:lnTo>
                    <a:pt x="94" y="372"/>
                  </a:lnTo>
                  <a:lnTo>
                    <a:pt x="94" y="369"/>
                  </a:lnTo>
                  <a:lnTo>
                    <a:pt x="96" y="372"/>
                  </a:lnTo>
                  <a:lnTo>
                    <a:pt x="96" y="372"/>
                  </a:lnTo>
                  <a:lnTo>
                    <a:pt x="99" y="375"/>
                  </a:lnTo>
                  <a:lnTo>
                    <a:pt x="102" y="372"/>
                  </a:lnTo>
                  <a:lnTo>
                    <a:pt x="107" y="377"/>
                  </a:lnTo>
                  <a:lnTo>
                    <a:pt x="107" y="377"/>
                  </a:lnTo>
                  <a:lnTo>
                    <a:pt x="107" y="383"/>
                  </a:lnTo>
                  <a:lnTo>
                    <a:pt x="104" y="383"/>
                  </a:lnTo>
                  <a:lnTo>
                    <a:pt x="104" y="383"/>
                  </a:lnTo>
                  <a:lnTo>
                    <a:pt x="107" y="385"/>
                  </a:lnTo>
                  <a:lnTo>
                    <a:pt x="107" y="388"/>
                  </a:lnTo>
                  <a:lnTo>
                    <a:pt x="110" y="388"/>
                  </a:lnTo>
                  <a:lnTo>
                    <a:pt x="110" y="388"/>
                  </a:lnTo>
                  <a:lnTo>
                    <a:pt x="115" y="385"/>
                  </a:lnTo>
                  <a:lnTo>
                    <a:pt x="115" y="380"/>
                  </a:lnTo>
                  <a:lnTo>
                    <a:pt x="118" y="380"/>
                  </a:lnTo>
                  <a:lnTo>
                    <a:pt x="120" y="380"/>
                  </a:lnTo>
                  <a:lnTo>
                    <a:pt x="120" y="377"/>
                  </a:lnTo>
                  <a:lnTo>
                    <a:pt x="120" y="375"/>
                  </a:lnTo>
                  <a:lnTo>
                    <a:pt x="120" y="372"/>
                  </a:lnTo>
                  <a:lnTo>
                    <a:pt x="123" y="372"/>
                  </a:lnTo>
                  <a:lnTo>
                    <a:pt x="126" y="372"/>
                  </a:lnTo>
                  <a:lnTo>
                    <a:pt x="128" y="372"/>
                  </a:lnTo>
                  <a:lnTo>
                    <a:pt x="131" y="372"/>
                  </a:lnTo>
                  <a:lnTo>
                    <a:pt x="131" y="375"/>
                  </a:lnTo>
                  <a:lnTo>
                    <a:pt x="131" y="375"/>
                  </a:lnTo>
                  <a:lnTo>
                    <a:pt x="131" y="377"/>
                  </a:lnTo>
                  <a:lnTo>
                    <a:pt x="131" y="377"/>
                  </a:lnTo>
                  <a:lnTo>
                    <a:pt x="131" y="377"/>
                  </a:lnTo>
                  <a:lnTo>
                    <a:pt x="128" y="380"/>
                  </a:lnTo>
                  <a:lnTo>
                    <a:pt x="128" y="380"/>
                  </a:lnTo>
                  <a:lnTo>
                    <a:pt x="126" y="383"/>
                  </a:lnTo>
                  <a:lnTo>
                    <a:pt x="123" y="385"/>
                  </a:lnTo>
                  <a:lnTo>
                    <a:pt x="123" y="388"/>
                  </a:lnTo>
                  <a:lnTo>
                    <a:pt x="123" y="388"/>
                  </a:lnTo>
                  <a:lnTo>
                    <a:pt x="123" y="391"/>
                  </a:lnTo>
                  <a:lnTo>
                    <a:pt x="123" y="391"/>
                  </a:lnTo>
                  <a:lnTo>
                    <a:pt x="120" y="393"/>
                  </a:lnTo>
                  <a:lnTo>
                    <a:pt x="120" y="401"/>
                  </a:lnTo>
                  <a:lnTo>
                    <a:pt x="123" y="401"/>
                  </a:lnTo>
                  <a:lnTo>
                    <a:pt x="126" y="404"/>
                  </a:lnTo>
                  <a:lnTo>
                    <a:pt x="126" y="404"/>
                  </a:lnTo>
                  <a:lnTo>
                    <a:pt x="128" y="407"/>
                  </a:lnTo>
                  <a:lnTo>
                    <a:pt x="128" y="407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28" y="404"/>
                  </a:lnTo>
                  <a:lnTo>
                    <a:pt x="131" y="404"/>
                  </a:lnTo>
                  <a:lnTo>
                    <a:pt x="131" y="404"/>
                  </a:lnTo>
                  <a:lnTo>
                    <a:pt x="134" y="404"/>
                  </a:lnTo>
                  <a:lnTo>
                    <a:pt x="136" y="404"/>
                  </a:lnTo>
                  <a:lnTo>
                    <a:pt x="136" y="407"/>
                  </a:lnTo>
                  <a:lnTo>
                    <a:pt x="139" y="407"/>
                  </a:lnTo>
                  <a:lnTo>
                    <a:pt x="139" y="409"/>
                  </a:lnTo>
                  <a:lnTo>
                    <a:pt x="142" y="409"/>
                  </a:lnTo>
                  <a:lnTo>
                    <a:pt x="142" y="412"/>
                  </a:lnTo>
                  <a:lnTo>
                    <a:pt x="142" y="412"/>
                  </a:lnTo>
                  <a:lnTo>
                    <a:pt x="139" y="415"/>
                  </a:lnTo>
                  <a:lnTo>
                    <a:pt x="139" y="415"/>
                  </a:lnTo>
                  <a:lnTo>
                    <a:pt x="142" y="417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6" y="420"/>
                  </a:lnTo>
                  <a:lnTo>
                    <a:pt x="136" y="423"/>
                  </a:lnTo>
                  <a:lnTo>
                    <a:pt x="139" y="423"/>
                  </a:lnTo>
                  <a:lnTo>
                    <a:pt x="136" y="425"/>
                  </a:lnTo>
                  <a:lnTo>
                    <a:pt x="136" y="428"/>
                  </a:lnTo>
                  <a:lnTo>
                    <a:pt x="139" y="428"/>
                  </a:lnTo>
                  <a:lnTo>
                    <a:pt x="142" y="428"/>
                  </a:lnTo>
                  <a:lnTo>
                    <a:pt x="144" y="433"/>
                  </a:lnTo>
                  <a:lnTo>
                    <a:pt x="147" y="433"/>
                  </a:lnTo>
                  <a:lnTo>
                    <a:pt x="147" y="433"/>
                  </a:lnTo>
                  <a:lnTo>
                    <a:pt x="147" y="433"/>
                  </a:lnTo>
                  <a:lnTo>
                    <a:pt x="147" y="436"/>
                  </a:lnTo>
                  <a:lnTo>
                    <a:pt x="147" y="439"/>
                  </a:lnTo>
                  <a:lnTo>
                    <a:pt x="147" y="441"/>
                  </a:lnTo>
                  <a:lnTo>
                    <a:pt x="147" y="441"/>
                  </a:lnTo>
                  <a:lnTo>
                    <a:pt x="147" y="441"/>
                  </a:lnTo>
                  <a:lnTo>
                    <a:pt x="150" y="444"/>
                  </a:lnTo>
                  <a:lnTo>
                    <a:pt x="147" y="447"/>
                  </a:lnTo>
                  <a:lnTo>
                    <a:pt x="144" y="447"/>
                  </a:lnTo>
                  <a:lnTo>
                    <a:pt x="139" y="455"/>
                  </a:lnTo>
                  <a:lnTo>
                    <a:pt x="139" y="452"/>
                  </a:lnTo>
                  <a:lnTo>
                    <a:pt x="139" y="455"/>
                  </a:lnTo>
                  <a:lnTo>
                    <a:pt x="139" y="457"/>
                  </a:lnTo>
                  <a:lnTo>
                    <a:pt x="139" y="457"/>
                  </a:lnTo>
                  <a:lnTo>
                    <a:pt x="139" y="460"/>
                  </a:lnTo>
                  <a:lnTo>
                    <a:pt x="142" y="460"/>
                  </a:lnTo>
                  <a:lnTo>
                    <a:pt x="144" y="457"/>
                  </a:lnTo>
                  <a:lnTo>
                    <a:pt x="144" y="457"/>
                  </a:lnTo>
                  <a:lnTo>
                    <a:pt x="147" y="457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50" y="460"/>
                  </a:lnTo>
                  <a:lnTo>
                    <a:pt x="150" y="460"/>
                  </a:lnTo>
                  <a:lnTo>
                    <a:pt x="152" y="460"/>
                  </a:lnTo>
                  <a:lnTo>
                    <a:pt x="150" y="460"/>
                  </a:lnTo>
                  <a:lnTo>
                    <a:pt x="152" y="457"/>
                  </a:lnTo>
                  <a:lnTo>
                    <a:pt x="155" y="460"/>
                  </a:lnTo>
                  <a:lnTo>
                    <a:pt x="152" y="463"/>
                  </a:lnTo>
                  <a:lnTo>
                    <a:pt x="155" y="463"/>
                  </a:lnTo>
                  <a:lnTo>
                    <a:pt x="155" y="465"/>
                  </a:lnTo>
                  <a:lnTo>
                    <a:pt x="152" y="468"/>
                  </a:lnTo>
                  <a:lnTo>
                    <a:pt x="152" y="468"/>
                  </a:lnTo>
                  <a:lnTo>
                    <a:pt x="152" y="471"/>
                  </a:lnTo>
                  <a:lnTo>
                    <a:pt x="152" y="471"/>
                  </a:lnTo>
                  <a:lnTo>
                    <a:pt x="155" y="468"/>
                  </a:lnTo>
                  <a:lnTo>
                    <a:pt x="155" y="468"/>
                  </a:lnTo>
                  <a:lnTo>
                    <a:pt x="158" y="468"/>
                  </a:lnTo>
                  <a:lnTo>
                    <a:pt x="158" y="468"/>
                  </a:lnTo>
                  <a:lnTo>
                    <a:pt x="155" y="471"/>
                  </a:lnTo>
                  <a:lnTo>
                    <a:pt x="155" y="471"/>
                  </a:lnTo>
                  <a:lnTo>
                    <a:pt x="152" y="473"/>
                  </a:lnTo>
                  <a:lnTo>
                    <a:pt x="152" y="473"/>
                  </a:lnTo>
                  <a:lnTo>
                    <a:pt x="155" y="479"/>
                  </a:lnTo>
                  <a:lnTo>
                    <a:pt x="152" y="479"/>
                  </a:lnTo>
                  <a:lnTo>
                    <a:pt x="152" y="481"/>
                  </a:lnTo>
                  <a:lnTo>
                    <a:pt x="152" y="481"/>
                  </a:lnTo>
                  <a:lnTo>
                    <a:pt x="150" y="484"/>
                  </a:lnTo>
                  <a:lnTo>
                    <a:pt x="150" y="487"/>
                  </a:lnTo>
                  <a:lnTo>
                    <a:pt x="150" y="489"/>
                  </a:lnTo>
                  <a:lnTo>
                    <a:pt x="152" y="489"/>
                  </a:lnTo>
                  <a:lnTo>
                    <a:pt x="155" y="489"/>
                  </a:lnTo>
                  <a:lnTo>
                    <a:pt x="152" y="492"/>
                  </a:lnTo>
                  <a:lnTo>
                    <a:pt x="150" y="492"/>
                  </a:lnTo>
                  <a:lnTo>
                    <a:pt x="150" y="492"/>
                  </a:lnTo>
                  <a:lnTo>
                    <a:pt x="150" y="495"/>
                  </a:lnTo>
                  <a:lnTo>
                    <a:pt x="150" y="495"/>
                  </a:lnTo>
                  <a:lnTo>
                    <a:pt x="152" y="497"/>
                  </a:lnTo>
                  <a:lnTo>
                    <a:pt x="155" y="500"/>
                  </a:lnTo>
                  <a:lnTo>
                    <a:pt x="158" y="500"/>
                  </a:lnTo>
                  <a:lnTo>
                    <a:pt x="160" y="500"/>
                  </a:lnTo>
                  <a:lnTo>
                    <a:pt x="160" y="492"/>
                  </a:lnTo>
                  <a:lnTo>
                    <a:pt x="166" y="500"/>
                  </a:lnTo>
                  <a:lnTo>
                    <a:pt x="163" y="503"/>
                  </a:lnTo>
                  <a:lnTo>
                    <a:pt x="163" y="505"/>
                  </a:lnTo>
                  <a:lnTo>
                    <a:pt x="163" y="505"/>
                  </a:lnTo>
                  <a:lnTo>
                    <a:pt x="160" y="508"/>
                  </a:lnTo>
                  <a:lnTo>
                    <a:pt x="160" y="508"/>
                  </a:lnTo>
                  <a:lnTo>
                    <a:pt x="158" y="508"/>
                  </a:lnTo>
                  <a:lnTo>
                    <a:pt x="158" y="508"/>
                  </a:lnTo>
                  <a:lnTo>
                    <a:pt x="158" y="508"/>
                  </a:lnTo>
                  <a:lnTo>
                    <a:pt x="155" y="511"/>
                  </a:lnTo>
                  <a:lnTo>
                    <a:pt x="158" y="514"/>
                  </a:lnTo>
                  <a:lnTo>
                    <a:pt x="160" y="516"/>
                  </a:lnTo>
                  <a:lnTo>
                    <a:pt x="160" y="522"/>
                  </a:lnTo>
                  <a:lnTo>
                    <a:pt x="160" y="524"/>
                  </a:lnTo>
                  <a:lnTo>
                    <a:pt x="160" y="524"/>
                  </a:lnTo>
                  <a:lnTo>
                    <a:pt x="163" y="524"/>
                  </a:lnTo>
                  <a:lnTo>
                    <a:pt x="168" y="530"/>
                  </a:lnTo>
                  <a:lnTo>
                    <a:pt x="168" y="530"/>
                  </a:lnTo>
                  <a:lnTo>
                    <a:pt x="168" y="532"/>
                  </a:lnTo>
                  <a:lnTo>
                    <a:pt x="171" y="535"/>
                  </a:lnTo>
                  <a:lnTo>
                    <a:pt x="171" y="535"/>
                  </a:lnTo>
                  <a:lnTo>
                    <a:pt x="171" y="538"/>
                  </a:lnTo>
                  <a:lnTo>
                    <a:pt x="174" y="538"/>
                  </a:lnTo>
                  <a:lnTo>
                    <a:pt x="176" y="535"/>
                  </a:lnTo>
                  <a:lnTo>
                    <a:pt x="179" y="532"/>
                  </a:lnTo>
                  <a:lnTo>
                    <a:pt x="182" y="530"/>
                  </a:lnTo>
                  <a:lnTo>
                    <a:pt x="184" y="530"/>
                  </a:lnTo>
                  <a:lnTo>
                    <a:pt x="184" y="527"/>
                  </a:lnTo>
                  <a:lnTo>
                    <a:pt x="179" y="527"/>
                  </a:lnTo>
                  <a:lnTo>
                    <a:pt x="182" y="522"/>
                  </a:lnTo>
                  <a:lnTo>
                    <a:pt x="187" y="522"/>
                  </a:lnTo>
                  <a:lnTo>
                    <a:pt x="187" y="519"/>
                  </a:lnTo>
                  <a:lnTo>
                    <a:pt x="187" y="519"/>
                  </a:lnTo>
                  <a:lnTo>
                    <a:pt x="184" y="516"/>
                  </a:lnTo>
                  <a:lnTo>
                    <a:pt x="184" y="516"/>
                  </a:lnTo>
                  <a:lnTo>
                    <a:pt x="184" y="516"/>
                  </a:lnTo>
                  <a:lnTo>
                    <a:pt x="184" y="514"/>
                  </a:lnTo>
                  <a:lnTo>
                    <a:pt x="182" y="514"/>
                  </a:lnTo>
                  <a:lnTo>
                    <a:pt x="182" y="514"/>
                  </a:lnTo>
                  <a:lnTo>
                    <a:pt x="182" y="511"/>
                  </a:lnTo>
                  <a:lnTo>
                    <a:pt x="184" y="511"/>
                  </a:lnTo>
                  <a:lnTo>
                    <a:pt x="184" y="508"/>
                  </a:lnTo>
                  <a:lnTo>
                    <a:pt x="187" y="505"/>
                  </a:lnTo>
                  <a:lnTo>
                    <a:pt x="184" y="503"/>
                  </a:lnTo>
                  <a:lnTo>
                    <a:pt x="182" y="503"/>
                  </a:lnTo>
                  <a:lnTo>
                    <a:pt x="182" y="500"/>
                  </a:lnTo>
                  <a:lnTo>
                    <a:pt x="182" y="500"/>
                  </a:lnTo>
                  <a:lnTo>
                    <a:pt x="182" y="497"/>
                  </a:lnTo>
                  <a:lnTo>
                    <a:pt x="182" y="497"/>
                  </a:lnTo>
                  <a:lnTo>
                    <a:pt x="182" y="495"/>
                  </a:lnTo>
                  <a:lnTo>
                    <a:pt x="182" y="492"/>
                  </a:lnTo>
                  <a:lnTo>
                    <a:pt x="184" y="492"/>
                  </a:lnTo>
                  <a:lnTo>
                    <a:pt x="184" y="492"/>
                  </a:lnTo>
                  <a:lnTo>
                    <a:pt x="184" y="492"/>
                  </a:lnTo>
                  <a:lnTo>
                    <a:pt x="184" y="489"/>
                  </a:lnTo>
                  <a:lnTo>
                    <a:pt x="190" y="484"/>
                  </a:lnTo>
                  <a:lnTo>
                    <a:pt x="192" y="481"/>
                  </a:lnTo>
                  <a:lnTo>
                    <a:pt x="203" y="487"/>
                  </a:lnTo>
                  <a:lnTo>
                    <a:pt x="206" y="481"/>
                  </a:lnTo>
                  <a:lnTo>
                    <a:pt x="206" y="481"/>
                  </a:lnTo>
                  <a:lnTo>
                    <a:pt x="206" y="479"/>
                  </a:lnTo>
                  <a:lnTo>
                    <a:pt x="206" y="479"/>
                  </a:lnTo>
                  <a:lnTo>
                    <a:pt x="208" y="479"/>
                  </a:lnTo>
                  <a:lnTo>
                    <a:pt x="211" y="479"/>
                  </a:lnTo>
                  <a:lnTo>
                    <a:pt x="211" y="479"/>
                  </a:lnTo>
                  <a:lnTo>
                    <a:pt x="214" y="473"/>
                  </a:lnTo>
                  <a:lnTo>
                    <a:pt x="216" y="473"/>
                  </a:lnTo>
                  <a:lnTo>
                    <a:pt x="216" y="471"/>
                  </a:lnTo>
                  <a:lnTo>
                    <a:pt x="222" y="473"/>
                  </a:lnTo>
                  <a:lnTo>
                    <a:pt x="219" y="471"/>
                  </a:lnTo>
                  <a:lnTo>
                    <a:pt x="219" y="468"/>
                  </a:lnTo>
                  <a:lnTo>
                    <a:pt x="219" y="468"/>
                  </a:lnTo>
                  <a:lnTo>
                    <a:pt x="219" y="468"/>
                  </a:lnTo>
                  <a:lnTo>
                    <a:pt x="216" y="465"/>
                  </a:lnTo>
                  <a:lnTo>
                    <a:pt x="214" y="465"/>
                  </a:lnTo>
                  <a:lnTo>
                    <a:pt x="214" y="463"/>
                  </a:lnTo>
                  <a:lnTo>
                    <a:pt x="216" y="463"/>
                  </a:lnTo>
                  <a:lnTo>
                    <a:pt x="216" y="463"/>
                  </a:lnTo>
                  <a:lnTo>
                    <a:pt x="214" y="460"/>
                  </a:lnTo>
                  <a:lnTo>
                    <a:pt x="214" y="460"/>
                  </a:lnTo>
                  <a:lnTo>
                    <a:pt x="214" y="457"/>
                  </a:lnTo>
                  <a:lnTo>
                    <a:pt x="214" y="457"/>
                  </a:lnTo>
                  <a:lnTo>
                    <a:pt x="214" y="455"/>
                  </a:lnTo>
                  <a:lnTo>
                    <a:pt x="214" y="455"/>
                  </a:lnTo>
                  <a:lnTo>
                    <a:pt x="214" y="455"/>
                  </a:lnTo>
                  <a:lnTo>
                    <a:pt x="216" y="455"/>
                  </a:lnTo>
                  <a:lnTo>
                    <a:pt x="214" y="452"/>
                  </a:lnTo>
                  <a:lnTo>
                    <a:pt x="214" y="452"/>
                  </a:lnTo>
                  <a:lnTo>
                    <a:pt x="214" y="452"/>
                  </a:lnTo>
                  <a:lnTo>
                    <a:pt x="214" y="449"/>
                  </a:lnTo>
                  <a:lnTo>
                    <a:pt x="214" y="447"/>
                  </a:lnTo>
                  <a:lnTo>
                    <a:pt x="216" y="441"/>
                  </a:lnTo>
                  <a:lnTo>
                    <a:pt x="216" y="439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1"/>
                  </a:lnTo>
                  <a:lnTo>
                    <a:pt x="216" y="428"/>
                  </a:lnTo>
                  <a:lnTo>
                    <a:pt x="227" y="415"/>
                  </a:lnTo>
                  <a:lnTo>
                    <a:pt x="227" y="415"/>
                  </a:lnTo>
                  <a:lnTo>
                    <a:pt x="230" y="415"/>
                  </a:lnTo>
                  <a:lnTo>
                    <a:pt x="232" y="412"/>
                  </a:lnTo>
                  <a:lnTo>
                    <a:pt x="232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8" y="417"/>
                  </a:lnTo>
                  <a:lnTo>
                    <a:pt x="241" y="415"/>
                  </a:lnTo>
                  <a:lnTo>
                    <a:pt x="241" y="415"/>
                  </a:lnTo>
                  <a:lnTo>
                    <a:pt x="243" y="417"/>
                  </a:lnTo>
                  <a:lnTo>
                    <a:pt x="246" y="417"/>
                  </a:lnTo>
                  <a:lnTo>
                    <a:pt x="246" y="420"/>
                  </a:lnTo>
                  <a:lnTo>
                    <a:pt x="246" y="420"/>
                  </a:lnTo>
                  <a:lnTo>
                    <a:pt x="246" y="423"/>
                  </a:lnTo>
                  <a:lnTo>
                    <a:pt x="249" y="423"/>
                  </a:lnTo>
                  <a:lnTo>
                    <a:pt x="249" y="423"/>
                  </a:lnTo>
                  <a:lnTo>
                    <a:pt x="249" y="420"/>
                  </a:lnTo>
                  <a:lnTo>
                    <a:pt x="251" y="417"/>
                  </a:lnTo>
                  <a:lnTo>
                    <a:pt x="254" y="417"/>
                  </a:lnTo>
                  <a:lnTo>
                    <a:pt x="254" y="417"/>
                  </a:lnTo>
                  <a:lnTo>
                    <a:pt x="257" y="417"/>
                  </a:lnTo>
                  <a:lnTo>
                    <a:pt x="257" y="417"/>
                  </a:lnTo>
                  <a:lnTo>
                    <a:pt x="257" y="420"/>
                  </a:lnTo>
                  <a:lnTo>
                    <a:pt x="259" y="420"/>
                  </a:lnTo>
                  <a:lnTo>
                    <a:pt x="259" y="420"/>
                  </a:lnTo>
                  <a:lnTo>
                    <a:pt x="262" y="417"/>
                  </a:lnTo>
                  <a:lnTo>
                    <a:pt x="262" y="415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70" y="415"/>
                  </a:lnTo>
                  <a:lnTo>
                    <a:pt x="270" y="412"/>
                  </a:lnTo>
                  <a:lnTo>
                    <a:pt x="270" y="409"/>
                  </a:lnTo>
                  <a:lnTo>
                    <a:pt x="273" y="407"/>
                  </a:lnTo>
                  <a:lnTo>
                    <a:pt x="273" y="407"/>
                  </a:lnTo>
                  <a:lnTo>
                    <a:pt x="275" y="407"/>
                  </a:lnTo>
                  <a:lnTo>
                    <a:pt x="278" y="407"/>
                  </a:lnTo>
                  <a:lnTo>
                    <a:pt x="281" y="404"/>
                  </a:lnTo>
                  <a:lnTo>
                    <a:pt x="281" y="401"/>
                  </a:lnTo>
                  <a:lnTo>
                    <a:pt x="281" y="401"/>
                  </a:lnTo>
                  <a:lnTo>
                    <a:pt x="281" y="401"/>
                  </a:lnTo>
                  <a:lnTo>
                    <a:pt x="281" y="399"/>
                  </a:lnTo>
                  <a:lnTo>
                    <a:pt x="281" y="399"/>
                  </a:lnTo>
                  <a:lnTo>
                    <a:pt x="278" y="396"/>
                  </a:lnTo>
                  <a:lnTo>
                    <a:pt x="278" y="396"/>
                  </a:lnTo>
                  <a:lnTo>
                    <a:pt x="278" y="393"/>
                  </a:lnTo>
                  <a:lnTo>
                    <a:pt x="281" y="391"/>
                  </a:lnTo>
                  <a:lnTo>
                    <a:pt x="281" y="391"/>
                  </a:lnTo>
                  <a:lnTo>
                    <a:pt x="283" y="388"/>
                  </a:lnTo>
                  <a:lnTo>
                    <a:pt x="286" y="388"/>
                  </a:lnTo>
                  <a:lnTo>
                    <a:pt x="286" y="385"/>
                  </a:lnTo>
                  <a:lnTo>
                    <a:pt x="289" y="385"/>
                  </a:lnTo>
                  <a:lnTo>
                    <a:pt x="289" y="385"/>
                  </a:lnTo>
                  <a:lnTo>
                    <a:pt x="289" y="383"/>
                  </a:lnTo>
                  <a:lnTo>
                    <a:pt x="289" y="383"/>
                  </a:lnTo>
                  <a:lnTo>
                    <a:pt x="289" y="380"/>
                  </a:lnTo>
                  <a:lnTo>
                    <a:pt x="286" y="380"/>
                  </a:lnTo>
                  <a:lnTo>
                    <a:pt x="286" y="380"/>
                  </a:lnTo>
                  <a:lnTo>
                    <a:pt x="286" y="377"/>
                  </a:lnTo>
                  <a:lnTo>
                    <a:pt x="286" y="377"/>
                  </a:lnTo>
                  <a:lnTo>
                    <a:pt x="289" y="375"/>
                  </a:lnTo>
                  <a:lnTo>
                    <a:pt x="289" y="372"/>
                  </a:lnTo>
                  <a:lnTo>
                    <a:pt x="289" y="369"/>
                  </a:lnTo>
                  <a:lnTo>
                    <a:pt x="289" y="369"/>
                  </a:lnTo>
                  <a:lnTo>
                    <a:pt x="289" y="367"/>
                  </a:lnTo>
                  <a:lnTo>
                    <a:pt x="286" y="367"/>
                  </a:lnTo>
                  <a:lnTo>
                    <a:pt x="286" y="367"/>
                  </a:lnTo>
                  <a:lnTo>
                    <a:pt x="286" y="364"/>
                  </a:lnTo>
                  <a:lnTo>
                    <a:pt x="289" y="361"/>
                  </a:lnTo>
                  <a:lnTo>
                    <a:pt x="289" y="361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7" y="356"/>
                  </a:lnTo>
                  <a:lnTo>
                    <a:pt x="297" y="356"/>
                  </a:lnTo>
                  <a:lnTo>
                    <a:pt x="299" y="353"/>
                  </a:lnTo>
                  <a:lnTo>
                    <a:pt x="299" y="351"/>
                  </a:lnTo>
                  <a:lnTo>
                    <a:pt x="299" y="351"/>
                  </a:lnTo>
                  <a:lnTo>
                    <a:pt x="302" y="351"/>
                  </a:lnTo>
                  <a:lnTo>
                    <a:pt x="302" y="348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7" y="345"/>
                  </a:lnTo>
                  <a:lnTo>
                    <a:pt x="310" y="345"/>
                  </a:lnTo>
                  <a:lnTo>
                    <a:pt x="313" y="345"/>
                  </a:lnTo>
                  <a:lnTo>
                    <a:pt x="315" y="345"/>
                  </a:lnTo>
                  <a:lnTo>
                    <a:pt x="315" y="345"/>
                  </a:lnTo>
                  <a:lnTo>
                    <a:pt x="318" y="348"/>
                  </a:lnTo>
                  <a:lnTo>
                    <a:pt x="323" y="348"/>
                  </a:lnTo>
                  <a:lnTo>
                    <a:pt x="323" y="348"/>
                  </a:lnTo>
                  <a:lnTo>
                    <a:pt x="323" y="348"/>
                  </a:lnTo>
                  <a:lnTo>
                    <a:pt x="323" y="351"/>
                  </a:lnTo>
                  <a:lnTo>
                    <a:pt x="326" y="351"/>
                  </a:lnTo>
                  <a:lnTo>
                    <a:pt x="326" y="356"/>
                  </a:lnTo>
                  <a:lnTo>
                    <a:pt x="331" y="359"/>
                  </a:lnTo>
                  <a:lnTo>
                    <a:pt x="331" y="359"/>
                  </a:lnTo>
                  <a:lnTo>
                    <a:pt x="334" y="361"/>
                  </a:lnTo>
                  <a:lnTo>
                    <a:pt x="337" y="364"/>
                  </a:lnTo>
                  <a:lnTo>
                    <a:pt x="339" y="364"/>
                  </a:lnTo>
                  <a:lnTo>
                    <a:pt x="342" y="367"/>
                  </a:lnTo>
                  <a:lnTo>
                    <a:pt x="345" y="369"/>
                  </a:lnTo>
                  <a:lnTo>
                    <a:pt x="350" y="372"/>
                  </a:lnTo>
                  <a:lnTo>
                    <a:pt x="358" y="361"/>
                  </a:lnTo>
                  <a:lnTo>
                    <a:pt x="363" y="367"/>
                  </a:lnTo>
                  <a:lnTo>
                    <a:pt x="366" y="364"/>
                  </a:lnTo>
                  <a:lnTo>
                    <a:pt x="369" y="367"/>
                  </a:lnTo>
                  <a:lnTo>
                    <a:pt x="366" y="369"/>
                  </a:lnTo>
                  <a:lnTo>
                    <a:pt x="369" y="369"/>
                  </a:lnTo>
                  <a:lnTo>
                    <a:pt x="366" y="375"/>
                  </a:lnTo>
                  <a:lnTo>
                    <a:pt x="369" y="377"/>
                  </a:lnTo>
                  <a:lnTo>
                    <a:pt x="366" y="380"/>
                  </a:lnTo>
                  <a:lnTo>
                    <a:pt x="377" y="383"/>
                  </a:lnTo>
                  <a:lnTo>
                    <a:pt x="377" y="383"/>
                  </a:lnTo>
                  <a:lnTo>
                    <a:pt x="379" y="380"/>
                  </a:lnTo>
                  <a:lnTo>
                    <a:pt x="382" y="383"/>
                  </a:lnTo>
                  <a:lnTo>
                    <a:pt x="382" y="383"/>
                  </a:lnTo>
                  <a:lnTo>
                    <a:pt x="385" y="383"/>
                  </a:lnTo>
                  <a:lnTo>
                    <a:pt x="385" y="385"/>
                  </a:lnTo>
                  <a:lnTo>
                    <a:pt x="387" y="385"/>
                  </a:lnTo>
                  <a:lnTo>
                    <a:pt x="387" y="383"/>
                  </a:lnTo>
                  <a:lnTo>
                    <a:pt x="390" y="385"/>
                  </a:lnTo>
                  <a:lnTo>
                    <a:pt x="390" y="385"/>
                  </a:lnTo>
                  <a:lnTo>
                    <a:pt x="395" y="38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4" name="Freeform 8869">
              <a:extLst>
                <a:ext uri="{FF2B5EF4-FFF2-40B4-BE49-F238E27FC236}">
                  <a16:creationId xmlns:a16="http://schemas.microsoft.com/office/drawing/2014/main" id="{881712C5-6C99-B341-86AA-408598B02092}"/>
                </a:ext>
              </a:extLst>
            </p:cNvPr>
            <p:cNvSpPr/>
            <p:nvPr/>
          </p:nvSpPr>
          <p:spPr bwMode="auto">
            <a:xfrm>
              <a:off x="2175668" y="4232276"/>
              <a:ext cx="398462" cy="342900"/>
            </a:xfrm>
            <a:custGeom>
              <a:avLst/>
              <a:gdLst>
                <a:gd name="T0" fmla="*/ 66 w 251"/>
                <a:gd name="T1" fmla="*/ 208 h 216"/>
                <a:gd name="T2" fmla="*/ 58 w 251"/>
                <a:gd name="T3" fmla="*/ 213 h 216"/>
                <a:gd name="T4" fmla="*/ 53 w 251"/>
                <a:gd name="T5" fmla="*/ 208 h 216"/>
                <a:gd name="T6" fmla="*/ 34 w 251"/>
                <a:gd name="T7" fmla="*/ 208 h 216"/>
                <a:gd name="T8" fmla="*/ 16 w 251"/>
                <a:gd name="T9" fmla="*/ 203 h 216"/>
                <a:gd name="T10" fmla="*/ 8 w 251"/>
                <a:gd name="T11" fmla="*/ 192 h 216"/>
                <a:gd name="T12" fmla="*/ 2 w 251"/>
                <a:gd name="T13" fmla="*/ 181 h 216"/>
                <a:gd name="T14" fmla="*/ 16 w 251"/>
                <a:gd name="T15" fmla="*/ 171 h 216"/>
                <a:gd name="T16" fmla="*/ 32 w 251"/>
                <a:gd name="T17" fmla="*/ 149 h 216"/>
                <a:gd name="T18" fmla="*/ 37 w 251"/>
                <a:gd name="T19" fmla="*/ 133 h 216"/>
                <a:gd name="T20" fmla="*/ 34 w 251"/>
                <a:gd name="T21" fmla="*/ 112 h 216"/>
                <a:gd name="T22" fmla="*/ 32 w 251"/>
                <a:gd name="T23" fmla="*/ 106 h 216"/>
                <a:gd name="T24" fmla="*/ 29 w 251"/>
                <a:gd name="T25" fmla="*/ 101 h 216"/>
                <a:gd name="T26" fmla="*/ 32 w 251"/>
                <a:gd name="T27" fmla="*/ 88 h 216"/>
                <a:gd name="T28" fmla="*/ 32 w 251"/>
                <a:gd name="T29" fmla="*/ 74 h 216"/>
                <a:gd name="T30" fmla="*/ 34 w 251"/>
                <a:gd name="T31" fmla="*/ 61 h 216"/>
                <a:gd name="T32" fmla="*/ 29 w 251"/>
                <a:gd name="T33" fmla="*/ 48 h 216"/>
                <a:gd name="T34" fmla="*/ 21 w 251"/>
                <a:gd name="T35" fmla="*/ 48 h 216"/>
                <a:gd name="T36" fmla="*/ 29 w 251"/>
                <a:gd name="T37" fmla="*/ 40 h 216"/>
                <a:gd name="T38" fmla="*/ 40 w 251"/>
                <a:gd name="T39" fmla="*/ 34 h 216"/>
                <a:gd name="T40" fmla="*/ 50 w 251"/>
                <a:gd name="T41" fmla="*/ 40 h 216"/>
                <a:gd name="T42" fmla="*/ 61 w 251"/>
                <a:gd name="T43" fmla="*/ 42 h 216"/>
                <a:gd name="T44" fmla="*/ 77 w 251"/>
                <a:gd name="T45" fmla="*/ 42 h 216"/>
                <a:gd name="T46" fmla="*/ 82 w 251"/>
                <a:gd name="T47" fmla="*/ 34 h 216"/>
                <a:gd name="T48" fmla="*/ 80 w 251"/>
                <a:gd name="T49" fmla="*/ 26 h 216"/>
                <a:gd name="T50" fmla="*/ 80 w 251"/>
                <a:gd name="T51" fmla="*/ 21 h 216"/>
                <a:gd name="T52" fmla="*/ 80 w 251"/>
                <a:gd name="T53" fmla="*/ 13 h 216"/>
                <a:gd name="T54" fmla="*/ 85 w 251"/>
                <a:gd name="T55" fmla="*/ 2 h 216"/>
                <a:gd name="T56" fmla="*/ 101 w 251"/>
                <a:gd name="T57" fmla="*/ 18 h 216"/>
                <a:gd name="T58" fmla="*/ 112 w 251"/>
                <a:gd name="T59" fmla="*/ 21 h 216"/>
                <a:gd name="T60" fmla="*/ 120 w 251"/>
                <a:gd name="T61" fmla="*/ 29 h 216"/>
                <a:gd name="T62" fmla="*/ 128 w 251"/>
                <a:gd name="T63" fmla="*/ 32 h 216"/>
                <a:gd name="T64" fmla="*/ 125 w 251"/>
                <a:gd name="T65" fmla="*/ 45 h 216"/>
                <a:gd name="T66" fmla="*/ 144 w 251"/>
                <a:gd name="T67" fmla="*/ 45 h 216"/>
                <a:gd name="T68" fmla="*/ 149 w 251"/>
                <a:gd name="T69" fmla="*/ 48 h 216"/>
                <a:gd name="T70" fmla="*/ 154 w 251"/>
                <a:gd name="T71" fmla="*/ 50 h 216"/>
                <a:gd name="T72" fmla="*/ 168 w 251"/>
                <a:gd name="T73" fmla="*/ 50 h 216"/>
                <a:gd name="T74" fmla="*/ 176 w 251"/>
                <a:gd name="T75" fmla="*/ 61 h 216"/>
                <a:gd name="T76" fmla="*/ 202 w 251"/>
                <a:gd name="T77" fmla="*/ 72 h 216"/>
                <a:gd name="T78" fmla="*/ 229 w 251"/>
                <a:gd name="T79" fmla="*/ 69 h 216"/>
                <a:gd name="T80" fmla="*/ 232 w 251"/>
                <a:gd name="T81" fmla="*/ 90 h 216"/>
                <a:gd name="T82" fmla="*/ 229 w 251"/>
                <a:gd name="T83" fmla="*/ 106 h 216"/>
                <a:gd name="T84" fmla="*/ 245 w 251"/>
                <a:gd name="T85" fmla="*/ 120 h 216"/>
                <a:gd name="T86" fmla="*/ 251 w 251"/>
                <a:gd name="T87" fmla="*/ 133 h 216"/>
                <a:gd name="T88" fmla="*/ 243 w 251"/>
                <a:gd name="T89" fmla="*/ 154 h 216"/>
                <a:gd name="T90" fmla="*/ 227 w 251"/>
                <a:gd name="T91" fmla="*/ 165 h 216"/>
                <a:gd name="T92" fmla="*/ 219 w 251"/>
                <a:gd name="T93" fmla="*/ 176 h 216"/>
                <a:gd name="T94" fmla="*/ 200 w 251"/>
                <a:gd name="T95" fmla="*/ 168 h 216"/>
                <a:gd name="T96" fmla="*/ 176 w 251"/>
                <a:gd name="T97" fmla="*/ 152 h 216"/>
                <a:gd name="T98" fmla="*/ 141 w 251"/>
                <a:gd name="T99" fmla="*/ 144 h 216"/>
                <a:gd name="T100" fmla="*/ 141 w 251"/>
                <a:gd name="T101" fmla="*/ 152 h 216"/>
                <a:gd name="T102" fmla="*/ 130 w 251"/>
                <a:gd name="T103" fmla="*/ 149 h 216"/>
                <a:gd name="T104" fmla="*/ 125 w 251"/>
                <a:gd name="T105" fmla="*/ 152 h 216"/>
                <a:gd name="T106" fmla="*/ 120 w 251"/>
                <a:gd name="T107" fmla="*/ 160 h 216"/>
                <a:gd name="T108" fmla="*/ 104 w 251"/>
                <a:gd name="T109" fmla="*/ 152 h 216"/>
                <a:gd name="T110" fmla="*/ 98 w 251"/>
                <a:gd name="T111" fmla="*/ 154 h 216"/>
                <a:gd name="T112" fmla="*/ 93 w 251"/>
                <a:gd name="T113" fmla="*/ 165 h 216"/>
                <a:gd name="T114" fmla="*/ 90 w 251"/>
                <a:gd name="T115" fmla="*/ 184 h 216"/>
                <a:gd name="T116" fmla="*/ 93 w 251"/>
                <a:gd name="T117" fmla="*/ 200 h 216"/>
                <a:gd name="T118" fmla="*/ 101 w 251"/>
                <a:gd name="T119" fmla="*/ 20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216" extrusionOk="0">
                  <a:moveTo>
                    <a:pt x="88" y="216"/>
                  </a:moveTo>
                  <a:lnTo>
                    <a:pt x="82" y="216"/>
                  </a:lnTo>
                  <a:lnTo>
                    <a:pt x="82" y="213"/>
                  </a:lnTo>
                  <a:lnTo>
                    <a:pt x="77" y="213"/>
                  </a:lnTo>
                  <a:lnTo>
                    <a:pt x="74" y="208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69" y="211"/>
                  </a:lnTo>
                  <a:lnTo>
                    <a:pt x="66" y="208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4" y="211"/>
                  </a:lnTo>
                  <a:lnTo>
                    <a:pt x="66" y="213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58" y="213"/>
                  </a:lnTo>
                  <a:lnTo>
                    <a:pt x="58" y="213"/>
                  </a:lnTo>
                  <a:lnTo>
                    <a:pt x="58" y="211"/>
                  </a:lnTo>
                  <a:lnTo>
                    <a:pt x="58" y="211"/>
                  </a:lnTo>
                  <a:lnTo>
                    <a:pt x="58" y="211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8" y="208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3" y="208"/>
                  </a:lnTo>
                  <a:lnTo>
                    <a:pt x="53" y="208"/>
                  </a:lnTo>
                  <a:lnTo>
                    <a:pt x="50" y="208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3"/>
                  </a:lnTo>
                  <a:lnTo>
                    <a:pt x="40" y="213"/>
                  </a:lnTo>
                  <a:lnTo>
                    <a:pt x="40" y="211"/>
                  </a:lnTo>
                  <a:lnTo>
                    <a:pt x="40" y="208"/>
                  </a:lnTo>
                  <a:lnTo>
                    <a:pt x="34" y="208"/>
                  </a:lnTo>
                  <a:lnTo>
                    <a:pt x="34" y="208"/>
                  </a:lnTo>
                  <a:lnTo>
                    <a:pt x="32" y="208"/>
                  </a:lnTo>
                  <a:lnTo>
                    <a:pt x="26" y="208"/>
                  </a:lnTo>
                  <a:lnTo>
                    <a:pt x="26" y="208"/>
                  </a:lnTo>
                  <a:lnTo>
                    <a:pt x="24" y="205"/>
                  </a:lnTo>
                  <a:lnTo>
                    <a:pt x="24" y="205"/>
                  </a:lnTo>
                  <a:lnTo>
                    <a:pt x="21" y="203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3" y="197"/>
                  </a:lnTo>
                  <a:lnTo>
                    <a:pt x="10" y="200"/>
                  </a:lnTo>
                  <a:lnTo>
                    <a:pt x="8" y="200"/>
                  </a:lnTo>
                  <a:lnTo>
                    <a:pt x="10" y="197"/>
                  </a:lnTo>
                  <a:lnTo>
                    <a:pt x="10" y="195"/>
                  </a:lnTo>
                  <a:lnTo>
                    <a:pt x="8" y="195"/>
                  </a:lnTo>
                  <a:lnTo>
                    <a:pt x="8" y="192"/>
                  </a:lnTo>
                  <a:lnTo>
                    <a:pt x="10" y="189"/>
                  </a:lnTo>
                  <a:lnTo>
                    <a:pt x="8" y="189"/>
                  </a:lnTo>
                  <a:lnTo>
                    <a:pt x="8" y="189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0" y="187"/>
                  </a:lnTo>
                  <a:lnTo>
                    <a:pt x="0" y="184"/>
                  </a:lnTo>
                  <a:lnTo>
                    <a:pt x="0" y="181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5" y="179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10" y="179"/>
                  </a:lnTo>
                  <a:lnTo>
                    <a:pt x="13" y="176"/>
                  </a:lnTo>
                  <a:lnTo>
                    <a:pt x="16" y="179"/>
                  </a:lnTo>
                  <a:lnTo>
                    <a:pt x="18" y="173"/>
                  </a:lnTo>
                  <a:lnTo>
                    <a:pt x="16" y="171"/>
                  </a:lnTo>
                  <a:lnTo>
                    <a:pt x="18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4" y="157"/>
                  </a:lnTo>
                  <a:lnTo>
                    <a:pt x="24" y="154"/>
                  </a:lnTo>
                  <a:lnTo>
                    <a:pt x="26" y="152"/>
                  </a:lnTo>
                  <a:lnTo>
                    <a:pt x="29" y="149"/>
                  </a:lnTo>
                  <a:lnTo>
                    <a:pt x="32" y="149"/>
                  </a:lnTo>
                  <a:lnTo>
                    <a:pt x="34" y="144"/>
                  </a:lnTo>
                  <a:lnTo>
                    <a:pt x="32" y="141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6"/>
                  </a:lnTo>
                  <a:lnTo>
                    <a:pt x="34" y="136"/>
                  </a:lnTo>
                  <a:lnTo>
                    <a:pt x="37" y="136"/>
                  </a:lnTo>
                  <a:lnTo>
                    <a:pt x="40" y="133"/>
                  </a:lnTo>
                  <a:lnTo>
                    <a:pt x="37" y="133"/>
                  </a:lnTo>
                  <a:lnTo>
                    <a:pt x="42" y="125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0"/>
                  </a:lnTo>
                  <a:lnTo>
                    <a:pt x="37" y="117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4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9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6" y="104"/>
                  </a:lnTo>
                  <a:lnTo>
                    <a:pt x="26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32" y="96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4" y="93"/>
                  </a:lnTo>
                  <a:lnTo>
                    <a:pt x="34" y="90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29" y="77"/>
                  </a:lnTo>
                  <a:lnTo>
                    <a:pt x="29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29" y="72"/>
                  </a:lnTo>
                  <a:lnTo>
                    <a:pt x="26" y="69"/>
                  </a:lnTo>
                  <a:lnTo>
                    <a:pt x="29" y="69"/>
                  </a:lnTo>
                  <a:lnTo>
                    <a:pt x="29" y="6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1"/>
                  </a:lnTo>
                  <a:lnTo>
                    <a:pt x="34" y="58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3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29" y="50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21" y="42"/>
                  </a:lnTo>
                  <a:lnTo>
                    <a:pt x="24" y="45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2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7"/>
                  </a:lnTo>
                  <a:lnTo>
                    <a:pt x="45" y="37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3" y="42"/>
                  </a:lnTo>
                  <a:lnTo>
                    <a:pt x="53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4" y="42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72" y="40"/>
                  </a:lnTo>
                  <a:lnTo>
                    <a:pt x="72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80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7"/>
                  </a:lnTo>
                  <a:lnTo>
                    <a:pt x="80" y="37"/>
                  </a:lnTo>
                  <a:lnTo>
                    <a:pt x="82" y="37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0" y="34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4" y="32"/>
                  </a:lnTo>
                  <a:lnTo>
                    <a:pt x="74" y="29"/>
                  </a:lnTo>
                  <a:lnTo>
                    <a:pt x="74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80" y="26"/>
                  </a:lnTo>
                  <a:lnTo>
                    <a:pt x="82" y="26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0" y="16"/>
                  </a:lnTo>
                  <a:lnTo>
                    <a:pt x="80" y="13"/>
                  </a:lnTo>
                  <a:lnTo>
                    <a:pt x="77" y="13"/>
                  </a:lnTo>
                  <a:lnTo>
                    <a:pt x="85" y="10"/>
                  </a:lnTo>
                  <a:lnTo>
                    <a:pt x="88" y="8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5" y="2"/>
                  </a:lnTo>
                  <a:lnTo>
                    <a:pt x="85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3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8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32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5" y="29"/>
                  </a:lnTo>
                  <a:lnTo>
                    <a:pt x="128" y="32"/>
                  </a:lnTo>
                  <a:lnTo>
                    <a:pt x="125" y="32"/>
                  </a:lnTo>
                  <a:lnTo>
                    <a:pt x="125" y="34"/>
                  </a:lnTo>
                  <a:lnTo>
                    <a:pt x="125" y="37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2" y="45"/>
                  </a:lnTo>
                  <a:lnTo>
                    <a:pt x="120" y="50"/>
                  </a:lnTo>
                  <a:lnTo>
                    <a:pt x="122" y="50"/>
                  </a:lnTo>
                  <a:lnTo>
                    <a:pt x="125" y="45"/>
                  </a:lnTo>
                  <a:lnTo>
                    <a:pt x="128" y="45"/>
                  </a:lnTo>
                  <a:lnTo>
                    <a:pt x="130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6" y="50"/>
                  </a:lnTo>
                  <a:lnTo>
                    <a:pt x="138" y="45"/>
                  </a:lnTo>
                  <a:lnTo>
                    <a:pt x="138" y="45"/>
                  </a:lnTo>
                  <a:lnTo>
                    <a:pt x="141" y="45"/>
                  </a:lnTo>
                  <a:lnTo>
                    <a:pt x="144" y="45"/>
                  </a:lnTo>
                  <a:lnTo>
                    <a:pt x="146" y="42"/>
                  </a:lnTo>
                  <a:lnTo>
                    <a:pt x="146" y="42"/>
                  </a:lnTo>
                  <a:lnTo>
                    <a:pt x="146" y="40"/>
                  </a:lnTo>
                  <a:lnTo>
                    <a:pt x="149" y="40"/>
                  </a:lnTo>
                  <a:lnTo>
                    <a:pt x="154" y="42"/>
                  </a:lnTo>
                  <a:lnTo>
                    <a:pt x="152" y="45"/>
                  </a:lnTo>
                  <a:lnTo>
                    <a:pt x="149" y="45"/>
                  </a:lnTo>
                  <a:lnTo>
                    <a:pt x="149" y="45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50"/>
                  </a:lnTo>
                  <a:lnTo>
                    <a:pt x="152" y="50"/>
                  </a:lnTo>
                  <a:lnTo>
                    <a:pt x="152" y="50"/>
                  </a:lnTo>
                  <a:lnTo>
                    <a:pt x="152" y="53"/>
                  </a:lnTo>
                  <a:lnTo>
                    <a:pt x="154" y="53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50"/>
                  </a:lnTo>
                  <a:lnTo>
                    <a:pt x="154" y="48"/>
                  </a:lnTo>
                  <a:lnTo>
                    <a:pt x="157" y="48"/>
                  </a:lnTo>
                  <a:lnTo>
                    <a:pt x="157" y="45"/>
                  </a:lnTo>
                  <a:lnTo>
                    <a:pt x="162" y="45"/>
                  </a:lnTo>
                  <a:lnTo>
                    <a:pt x="162" y="50"/>
                  </a:lnTo>
                  <a:lnTo>
                    <a:pt x="165" y="50"/>
                  </a:lnTo>
                  <a:lnTo>
                    <a:pt x="165" y="45"/>
                  </a:lnTo>
                  <a:lnTo>
                    <a:pt x="168" y="45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70" y="50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6"/>
                  </a:lnTo>
                  <a:lnTo>
                    <a:pt x="170" y="56"/>
                  </a:lnTo>
                  <a:lnTo>
                    <a:pt x="173" y="61"/>
                  </a:lnTo>
                  <a:lnTo>
                    <a:pt x="176" y="58"/>
                  </a:lnTo>
                  <a:lnTo>
                    <a:pt x="176" y="61"/>
                  </a:lnTo>
                  <a:lnTo>
                    <a:pt x="176" y="61"/>
                  </a:lnTo>
                  <a:lnTo>
                    <a:pt x="176" y="61"/>
                  </a:lnTo>
                  <a:lnTo>
                    <a:pt x="176" y="64"/>
                  </a:lnTo>
                  <a:lnTo>
                    <a:pt x="178" y="64"/>
                  </a:lnTo>
                  <a:lnTo>
                    <a:pt x="178" y="66"/>
                  </a:lnTo>
                  <a:lnTo>
                    <a:pt x="178" y="74"/>
                  </a:lnTo>
                  <a:lnTo>
                    <a:pt x="189" y="82"/>
                  </a:lnTo>
                  <a:lnTo>
                    <a:pt x="197" y="77"/>
                  </a:lnTo>
                  <a:lnTo>
                    <a:pt x="202" y="72"/>
                  </a:lnTo>
                  <a:lnTo>
                    <a:pt x="208" y="69"/>
                  </a:lnTo>
                  <a:lnTo>
                    <a:pt x="216" y="69"/>
                  </a:lnTo>
                  <a:lnTo>
                    <a:pt x="219" y="72"/>
                  </a:lnTo>
                  <a:lnTo>
                    <a:pt x="221" y="69"/>
                  </a:lnTo>
                  <a:lnTo>
                    <a:pt x="224" y="69"/>
                  </a:lnTo>
                  <a:lnTo>
                    <a:pt x="227" y="72"/>
                  </a:lnTo>
                  <a:lnTo>
                    <a:pt x="227" y="72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32" y="74"/>
                  </a:lnTo>
                  <a:lnTo>
                    <a:pt x="235" y="77"/>
                  </a:lnTo>
                  <a:lnTo>
                    <a:pt x="232" y="77"/>
                  </a:lnTo>
                  <a:lnTo>
                    <a:pt x="235" y="80"/>
                  </a:lnTo>
                  <a:lnTo>
                    <a:pt x="235" y="82"/>
                  </a:lnTo>
                  <a:lnTo>
                    <a:pt x="235" y="85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5" y="93"/>
                  </a:lnTo>
                  <a:lnTo>
                    <a:pt x="232" y="96"/>
                  </a:lnTo>
                  <a:lnTo>
                    <a:pt x="232" y="96"/>
                  </a:lnTo>
                  <a:lnTo>
                    <a:pt x="229" y="98"/>
                  </a:lnTo>
                  <a:lnTo>
                    <a:pt x="232" y="101"/>
                  </a:lnTo>
                  <a:lnTo>
                    <a:pt x="229" y="104"/>
                  </a:lnTo>
                  <a:lnTo>
                    <a:pt x="229" y="104"/>
                  </a:lnTo>
                  <a:lnTo>
                    <a:pt x="229" y="106"/>
                  </a:lnTo>
                  <a:lnTo>
                    <a:pt x="232" y="106"/>
                  </a:lnTo>
                  <a:lnTo>
                    <a:pt x="237" y="106"/>
                  </a:lnTo>
                  <a:lnTo>
                    <a:pt x="237" y="109"/>
                  </a:lnTo>
                  <a:lnTo>
                    <a:pt x="240" y="109"/>
                  </a:lnTo>
                  <a:lnTo>
                    <a:pt x="243" y="112"/>
                  </a:lnTo>
                  <a:lnTo>
                    <a:pt x="243" y="114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5" y="120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51" y="122"/>
                  </a:lnTo>
                  <a:lnTo>
                    <a:pt x="251" y="122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48" y="130"/>
                  </a:lnTo>
                  <a:lnTo>
                    <a:pt x="251" y="133"/>
                  </a:lnTo>
                  <a:lnTo>
                    <a:pt x="248" y="136"/>
                  </a:lnTo>
                  <a:lnTo>
                    <a:pt x="251" y="138"/>
                  </a:lnTo>
                  <a:lnTo>
                    <a:pt x="251" y="144"/>
                  </a:lnTo>
                  <a:lnTo>
                    <a:pt x="251" y="146"/>
                  </a:lnTo>
                  <a:lnTo>
                    <a:pt x="248" y="146"/>
                  </a:lnTo>
                  <a:lnTo>
                    <a:pt x="245" y="149"/>
                  </a:lnTo>
                  <a:lnTo>
                    <a:pt x="245" y="152"/>
                  </a:lnTo>
                  <a:lnTo>
                    <a:pt x="245" y="152"/>
                  </a:lnTo>
                  <a:lnTo>
                    <a:pt x="243" y="154"/>
                  </a:lnTo>
                  <a:lnTo>
                    <a:pt x="240" y="157"/>
                  </a:lnTo>
                  <a:lnTo>
                    <a:pt x="240" y="160"/>
                  </a:lnTo>
                  <a:lnTo>
                    <a:pt x="235" y="163"/>
                  </a:lnTo>
                  <a:lnTo>
                    <a:pt x="235" y="165"/>
                  </a:lnTo>
                  <a:lnTo>
                    <a:pt x="232" y="165"/>
                  </a:lnTo>
                  <a:lnTo>
                    <a:pt x="232" y="165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7" y="165"/>
                  </a:lnTo>
                  <a:lnTo>
                    <a:pt x="227" y="168"/>
                  </a:lnTo>
                  <a:lnTo>
                    <a:pt x="224" y="168"/>
                  </a:lnTo>
                  <a:lnTo>
                    <a:pt x="221" y="165"/>
                  </a:lnTo>
                  <a:lnTo>
                    <a:pt x="221" y="165"/>
                  </a:lnTo>
                  <a:lnTo>
                    <a:pt x="216" y="171"/>
                  </a:lnTo>
                  <a:lnTo>
                    <a:pt x="216" y="171"/>
                  </a:lnTo>
                  <a:lnTo>
                    <a:pt x="219" y="173"/>
                  </a:lnTo>
                  <a:lnTo>
                    <a:pt x="219" y="173"/>
                  </a:lnTo>
                  <a:lnTo>
                    <a:pt x="219" y="176"/>
                  </a:lnTo>
                  <a:lnTo>
                    <a:pt x="219" y="179"/>
                  </a:lnTo>
                  <a:lnTo>
                    <a:pt x="216" y="179"/>
                  </a:lnTo>
                  <a:lnTo>
                    <a:pt x="208" y="173"/>
                  </a:lnTo>
                  <a:lnTo>
                    <a:pt x="208" y="171"/>
                  </a:lnTo>
                  <a:lnTo>
                    <a:pt x="211" y="171"/>
                  </a:lnTo>
                  <a:lnTo>
                    <a:pt x="211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0" y="168"/>
                  </a:lnTo>
                  <a:lnTo>
                    <a:pt x="197" y="168"/>
                  </a:lnTo>
                  <a:lnTo>
                    <a:pt x="194" y="168"/>
                  </a:lnTo>
                  <a:lnTo>
                    <a:pt x="197" y="165"/>
                  </a:lnTo>
                  <a:lnTo>
                    <a:pt x="189" y="160"/>
                  </a:lnTo>
                  <a:lnTo>
                    <a:pt x="186" y="157"/>
                  </a:lnTo>
                  <a:lnTo>
                    <a:pt x="184" y="154"/>
                  </a:lnTo>
                  <a:lnTo>
                    <a:pt x="181" y="157"/>
                  </a:lnTo>
                  <a:lnTo>
                    <a:pt x="178" y="157"/>
                  </a:lnTo>
                  <a:lnTo>
                    <a:pt x="176" y="152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52" y="154"/>
                  </a:lnTo>
                  <a:lnTo>
                    <a:pt x="149" y="152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4" y="149"/>
                  </a:lnTo>
                  <a:lnTo>
                    <a:pt x="144" y="146"/>
                  </a:lnTo>
                  <a:lnTo>
                    <a:pt x="141" y="144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6" y="144"/>
                  </a:lnTo>
                  <a:lnTo>
                    <a:pt x="136" y="146"/>
                  </a:lnTo>
                  <a:lnTo>
                    <a:pt x="136" y="146"/>
                  </a:lnTo>
                  <a:lnTo>
                    <a:pt x="136" y="149"/>
                  </a:lnTo>
                  <a:lnTo>
                    <a:pt x="138" y="152"/>
                  </a:lnTo>
                  <a:lnTo>
                    <a:pt x="141" y="152"/>
                  </a:lnTo>
                  <a:lnTo>
                    <a:pt x="138" y="154"/>
                  </a:lnTo>
                  <a:lnTo>
                    <a:pt x="136" y="152"/>
                  </a:lnTo>
                  <a:lnTo>
                    <a:pt x="136" y="152"/>
                  </a:lnTo>
                  <a:lnTo>
                    <a:pt x="133" y="152"/>
                  </a:lnTo>
                  <a:lnTo>
                    <a:pt x="133" y="152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28" y="146"/>
                  </a:lnTo>
                  <a:lnTo>
                    <a:pt x="125" y="146"/>
                  </a:lnTo>
                  <a:lnTo>
                    <a:pt x="125" y="144"/>
                  </a:lnTo>
                  <a:lnTo>
                    <a:pt x="125" y="149"/>
                  </a:lnTo>
                  <a:lnTo>
                    <a:pt x="125" y="152"/>
                  </a:lnTo>
                  <a:lnTo>
                    <a:pt x="125" y="152"/>
                  </a:lnTo>
                  <a:lnTo>
                    <a:pt x="125" y="154"/>
                  </a:lnTo>
                  <a:lnTo>
                    <a:pt x="128" y="154"/>
                  </a:lnTo>
                  <a:lnTo>
                    <a:pt x="128" y="154"/>
                  </a:lnTo>
                  <a:lnTo>
                    <a:pt x="125" y="157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4" y="160"/>
                  </a:lnTo>
                  <a:lnTo>
                    <a:pt x="114" y="157"/>
                  </a:lnTo>
                  <a:lnTo>
                    <a:pt x="109" y="154"/>
                  </a:lnTo>
                  <a:lnTo>
                    <a:pt x="109" y="157"/>
                  </a:lnTo>
                  <a:lnTo>
                    <a:pt x="106" y="157"/>
                  </a:lnTo>
                  <a:lnTo>
                    <a:pt x="106" y="154"/>
                  </a:lnTo>
                  <a:lnTo>
                    <a:pt x="104" y="152"/>
                  </a:lnTo>
                  <a:lnTo>
                    <a:pt x="104" y="152"/>
                  </a:lnTo>
                  <a:lnTo>
                    <a:pt x="101" y="152"/>
                  </a:lnTo>
                  <a:lnTo>
                    <a:pt x="101" y="152"/>
                  </a:lnTo>
                  <a:lnTo>
                    <a:pt x="104" y="154"/>
                  </a:lnTo>
                  <a:lnTo>
                    <a:pt x="101" y="154"/>
                  </a:lnTo>
                  <a:lnTo>
                    <a:pt x="101" y="154"/>
                  </a:lnTo>
                  <a:lnTo>
                    <a:pt x="101" y="154"/>
                  </a:lnTo>
                  <a:lnTo>
                    <a:pt x="98" y="154"/>
                  </a:lnTo>
                  <a:lnTo>
                    <a:pt x="98" y="154"/>
                  </a:lnTo>
                  <a:lnTo>
                    <a:pt x="96" y="154"/>
                  </a:lnTo>
                  <a:lnTo>
                    <a:pt x="96" y="157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3" y="163"/>
                  </a:lnTo>
                  <a:lnTo>
                    <a:pt x="93" y="165"/>
                  </a:lnTo>
                  <a:lnTo>
                    <a:pt x="93" y="165"/>
                  </a:lnTo>
                  <a:lnTo>
                    <a:pt x="93" y="168"/>
                  </a:lnTo>
                  <a:lnTo>
                    <a:pt x="93" y="168"/>
                  </a:lnTo>
                  <a:lnTo>
                    <a:pt x="93" y="171"/>
                  </a:lnTo>
                  <a:lnTo>
                    <a:pt x="93" y="171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0" y="176"/>
                  </a:lnTo>
                  <a:lnTo>
                    <a:pt x="93" y="181"/>
                  </a:lnTo>
                  <a:lnTo>
                    <a:pt x="90" y="184"/>
                  </a:lnTo>
                  <a:lnTo>
                    <a:pt x="90" y="187"/>
                  </a:lnTo>
                  <a:lnTo>
                    <a:pt x="88" y="192"/>
                  </a:lnTo>
                  <a:lnTo>
                    <a:pt x="90" y="195"/>
                  </a:lnTo>
                  <a:lnTo>
                    <a:pt x="93" y="192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3" y="197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3"/>
                  </a:lnTo>
                  <a:lnTo>
                    <a:pt x="93" y="203"/>
                  </a:lnTo>
                  <a:lnTo>
                    <a:pt x="93" y="205"/>
                  </a:lnTo>
                  <a:lnTo>
                    <a:pt x="96" y="205"/>
                  </a:lnTo>
                  <a:lnTo>
                    <a:pt x="96" y="205"/>
                  </a:lnTo>
                  <a:lnTo>
                    <a:pt x="98" y="205"/>
                  </a:lnTo>
                  <a:lnTo>
                    <a:pt x="98" y="205"/>
                  </a:lnTo>
                  <a:lnTo>
                    <a:pt x="98" y="208"/>
                  </a:lnTo>
                  <a:lnTo>
                    <a:pt x="101" y="208"/>
                  </a:lnTo>
                  <a:lnTo>
                    <a:pt x="93" y="216"/>
                  </a:lnTo>
                  <a:lnTo>
                    <a:pt x="88" y="21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5" name="Freeform 8870">
              <a:extLst>
                <a:ext uri="{FF2B5EF4-FFF2-40B4-BE49-F238E27FC236}">
                  <a16:creationId xmlns:a16="http://schemas.microsoft.com/office/drawing/2014/main" id="{64E2A4DF-C2ED-5C42-A7E5-91C136B6AF7D}"/>
                </a:ext>
              </a:extLst>
            </p:cNvPr>
            <p:cNvSpPr/>
            <p:nvPr/>
          </p:nvSpPr>
          <p:spPr bwMode="auto">
            <a:xfrm>
              <a:off x="1916906" y="4027489"/>
              <a:ext cx="411163" cy="280988"/>
            </a:xfrm>
            <a:custGeom>
              <a:avLst/>
              <a:gdLst>
                <a:gd name="T0" fmla="*/ 18 w 259"/>
                <a:gd name="T1" fmla="*/ 72 h 177"/>
                <a:gd name="T2" fmla="*/ 21 w 259"/>
                <a:gd name="T3" fmla="*/ 56 h 177"/>
                <a:gd name="T4" fmla="*/ 26 w 259"/>
                <a:gd name="T5" fmla="*/ 59 h 177"/>
                <a:gd name="T6" fmla="*/ 34 w 259"/>
                <a:gd name="T7" fmla="*/ 62 h 177"/>
                <a:gd name="T8" fmla="*/ 42 w 259"/>
                <a:gd name="T9" fmla="*/ 64 h 177"/>
                <a:gd name="T10" fmla="*/ 32 w 259"/>
                <a:gd name="T11" fmla="*/ 51 h 177"/>
                <a:gd name="T12" fmla="*/ 26 w 259"/>
                <a:gd name="T13" fmla="*/ 46 h 177"/>
                <a:gd name="T14" fmla="*/ 37 w 259"/>
                <a:gd name="T15" fmla="*/ 46 h 177"/>
                <a:gd name="T16" fmla="*/ 53 w 259"/>
                <a:gd name="T17" fmla="*/ 43 h 177"/>
                <a:gd name="T18" fmla="*/ 61 w 259"/>
                <a:gd name="T19" fmla="*/ 35 h 177"/>
                <a:gd name="T20" fmla="*/ 64 w 259"/>
                <a:gd name="T21" fmla="*/ 24 h 177"/>
                <a:gd name="T22" fmla="*/ 64 w 259"/>
                <a:gd name="T23" fmla="*/ 14 h 177"/>
                <a:gd name="T24" fmla="*/ 66 w 259"/>
                <a:gd name="T25" fmla="*/ 0 h 177"/>
                <a:gd name="T26" fmla="*/ 74 w 259"/>
                <a:gd name="T27" fmla="*/ 11 h 177"/>
                <a:gd name="T28" fmla="*/ 85 w 259"/>
                <a:gd name="T29" fmla="*/ 19 h 177"/>
                <a:gd name="T30" fmla="*/ 98 w 259"/>
                <a:gd name="T31" fmla="*/ 24 h 177"/>
                <a:gd name="T32" fmla="*/ 112 w 259"/>
                <a:gd name="T33" fmla="*/ 22 h 177"/>
                <a:gd name="T34" fmla="*/ 125 w 259"/>
                <a:gd name="T35" fmla="*/ 30 h 177"/>
                <a:gd name="T36" fmla="*/ 131 w 259"/>
                <a:gd name="T37" fmla="*/ 43 h 177"/>
                <a:gd name="T38" fmla="*/ 141 w 259"/>
                <a:gd name="T39" fmla="*/ 59 h 177"/>
                <a:gd name="T40" fmla="*/ 152 w 259"/>
                <a:gd name="T41" fmla="*/ 91 h 177"/>
                <a:gd name="T42" fmla="*/ 160 w 259"/>
                <a:gd name="T43" fmla="*/ 99 h 177"/>
                <a:gd name="T44" fmla="*/ 179 w 259"/>
                <a:gd name="T45" fmla="*/ 110 h 177"/>
                <a:gd name="T46" fmla="*/ 176 w 259"/>
                <a:gd name="T47" fmla="*/ 102 h 177"/>
                <a:gd name="T48" fmla="*/ 187 w 259"/>
                <a:gd name="T49" fmla="*/ 88 h 177"/>
                <a:gd name="T50" fmla="*/ 211 w 259"/>
                <a:gd name="T51" fmla="*/ 88 h 177"/>
                <a:gd name="T52" fmla="*/ 227 w 259"/>
                <a:gd name="T53" fmla="*/ 72 h 177"/>
                <a:gd name="T54" fmla="*/ 237 w 259"/>
                <a:gd name="T55" fmla="*/ 78 h 177"/>
                <a:gd name="T56" fmla="*/ 237 w 259"/>
                <a:gd name="T57" fmla="*/ 94 h 177"/>
                <a:gd name="T58" fmla="*/ 248 w 259"/>
                <a:gd name="T59" fmla="*/ 102 h 177"/>
                <a:gd name="T60" fmla="*/ 256 w 259"/>
                <a:gd name="T61" fmla="*/ 112 h 177"/>
                <a:gd name="T62" fmla="*/ 248 w 259"/>
                <a:gd name="T63" fmla="*/ 129 h 177"/>
                <a:gd name="T64" fmla="*/ 243 w 259"/>
                <a:gd name="T65" fmla="*/ 145 h 177"/>
                <a:gd name="T66" fmla="*/ 240 w 259"/>
                <a:gd name="T67" fmla="*/ 150 h 177"/>
                <a:gd name="T68" fmla="*/ 237 w 259"/>
                <a:gd name="T69" fmla="*/ 161 h 177"/>
                <a:gd name="T70" fmla="*/ 243 w 259"/>
                <a:gd name="T71" fmla="*/ 169 h 177"/>
                <a:gd name="T72" fmla="*/ 224 w 259"/>
                <a:gd name="T73" fmla="*/ 171 h 177"/>
                <a:gd name="T74" fmla="*/ 211 w 259"/>
                <a:gd name="T75" fmla="*/ 169 h 177"/>
                <a:gd name="T76" fmla="*/ 197 w 259"/>
                <a:gd name="T77" fmla="*/ 166 h 177"/>
                <a:gd name="T78" fmla="*/ 184 w 259"/>
                <a:gd name="T79" fmla="*/ 171 h 177"/>
                <a:gd name="T80" fmla="*/ 168 w 259"/>
                <a:gd name="T81" fmla="*/ 171 h 177"/>
                <a:gd name="T82" fmla="*/ 152 w 259"/>
                <a:gd name="T83" fmla="*/ 166 h 177"/>
                <a:gd name="T84" fmla="*/ 141 w 259"/>
                <a:gd name="T85" fmla="*/ 150 h 177"/>
                <a:gd name="T86" fmla="*/ 122 w 259"/>
                <a:gd name="T87" fmla="*/ 145 h 177"/>
                <a:gd name="T88" fmla="*/ 114 w 259"/>
                <a:gd name="T89" fmla="*/ 155 h 177"/>
                <a:gd name="T90" fmla="*/ 106 w 259"/>
                <a:gd name="T91" fmla="*/ 161 h 177"/>
                <a:gd name="T92" fmla="*/ 104 w 259"/>
                <a:gd name="T93" fmla="*/ 155 h 177"/>
                <a:gd name="T94" fmla="*/ 93 w 259"/>
                <a:gd name="T95" fmla="*/ 150 h 177"/>
                <a:gd name="T96" fmla="*/ 88 w 259"/>
                <a:gd name="T97" fmla="*/ 142 h 177"/>
                <a:gd name="T98" fmla="*/ 85 w 259"/>
                <a:gd name="T99" fmla="*/ 126 h 177"/>
                <a:gd name="T100" fmla="*/ 69 w 259"/>
                <a:gd name="T101" fmla="*/ 99 h 177"/>
                <a:gd name="T102" fmla="*/ 58 w 259"/>
                <a:gd name="T103" fmla="*/ 91 h 177"/>
                <a:gd name="T104" fmla="*/ 50 w 259"/>
                <a:gd name="T105" fmla="*/ 102 h 177"/>
                <a:gd name="T106" fmla="*/ 42 w 259"/>
                <a:gd name="T107" fmla="*/ 99 h 177"/>
                <a:gd name="T108" fmla="*/ 29 w 259"/>
                <a:gd name="T109" fmla="*/ 94 h 177"/>
                <a:gd name="T110" fmla="*/ 24 w 259"/>
                <a:gd name="T111" fmla="*/ 91 h 177"/>
                <a:gd name="T112" fmla="*/ 21 w 259"/>
                <a:gd name="T113" fmla="*/ 86 h 177"/>
                <a:gd name="T114" fmla="*/ 13 w 259"/>
                <a:gd name="T115" fmla="*/ 8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9" h="177" extrusionOk="0">
                  <a:moveTo>
                    <a:pt x="0" y="72"/>
                  </a:moveTo>
                  <a:lnTo>
                    <a:pt x="0" y="72"/>
                  </a:lnTo>
                  <a:lnTo>
                    <a:pt x="2" y="75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1" y="72"/>
                  </a:lnTo>
                  <a:lnTo>
                    <a:pt x="21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6" y="54"/>
                  </a:lnTo>
                  <a:lnTo>
                    <a:pt x="26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9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40" y="59"/>
                  </a:lnTo>
                  <a:lnTo>
                    <a:pt x="40" y="62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4"/>
                  </a:lnTo>
                  <a:lnTo>
                    <a:pt x="45" y="62"/>
                  </a:lnTo>
                  <a:lnTo>
                    <a:pt x="45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1"/>
                  </a:lnTo>
                  <a:lnTo>
                    <a:pt x="37" y="51"/>
                  </a:lnTo>
                  <a:lnTo>
                    <a:pt x="37" y="48"/>
                  </a:lnTo>
                  <a:lnTo>
                    <a:pt x="32" y="48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29" y="51"/>
                  </a:lnTo>
                  <a:lnTo>
                    <a:pt x="26" y="51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8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2"/>
                  </a:lnTo>
                  <a:lnTo>
                    <a:pt x="58" y="32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1" y="11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3"/>
                  </a:lnTo>
                  <a:lnTo>
                    <a:pt x="66" y="3"/>
                  </a:lnTo>
                  <a:lnTo>
                    <a:pt x="66" y="6"/>
                  </a:lnTo>
                  <a:lnTo>
                    <a:pt x="69" y="6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8"/>
                  </a:lnTo>
                  <a:lnTo>
                    <a:pt x="72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7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9"/>
                  </a:lnTo>
                  <a:lnTo>
                    <a:pt x="85" y="19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3" y="22"/>
                  </a:lnTo>
                  <a:lnTo>
                    <a:pt x="90" y="24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101" y="24"/>
                  </a:lnTo>
                  <a:lnTo>
                    <a:pt x="101" y="22"/>
                  </a:lnTo>
                  <a:lnTo>
                    <a:pt x="104" y="22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9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19"/>
                  </a:lnTo>
                  <a:lnTo>
                    <a:pt x="117" y="22"/>
                  </a:lnTo>
                  <a:lnTo>
                    <a:pt x="117" y="24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2" y="30"/>
                  </a:lnTo>
                  <a:lnTo>
                    <a:pt x="122" y="30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5" y="32"/>
                  </a:lnTo>
                  <a:lnTo>
                    <a:pt x="122" y="32"/>
                  </a:lnTo>
                  <a:lnTo>
                    <a:pt x="122" y="35"/>
                  </a:lnTo>
                  <a:lnTo>
                    <a:pt x="122" y="38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8" y="43"/>
                  </a:lnTo>
                  <a:lnTo>
                    <a:pt x="131" y="43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9" y="51"/>
                  </a:lnTo>
                  <a:lnTo>
                    <a:pt x="139" y="51"/>
                  </a:lnTo>
                  <a:lnTo>
                    <a:pt x="136" y="51"/>
                  </a:lnTo>
                  <a:lnTo>
                    <a:pt x="136" y="51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6" y="59"/>
                  </a:lnTo>
                  <a:lnTo>
                    <a:pt x="139" y="59"/>
                  </a:lnTo>
                  <a:lnTo>
                    <a:pt x="141" y="59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39" y="62"/>
                  </a:lnTo>
                  <a:lnTo>
                    <a:pt x="136" y="67"/>
                  </a:lnTo>
                  <a:lnTo>
                    <a:pt x="139" y="72"/>
                  </a:lnTo>
                  <a:lnTo>
                    <a:pt x="139" y="75"/>
                  </a:lnTo>
                  <a:lnTo>
                    <a:pt x="141" y="78"/>
                  </a:lnTo>
                  <a:lnTo>
                    <a:pt x="147" y="80"/>
                  </a:lnTo>
                  <a:lnTo>
                    <a:pt x="144" y="86"/>
                  </a:lnTo>
                  <a:lnTo>
                    <a:pt x="152" y="91"/>
                  </a:lnTo>
                  <a:lnTo>
                    <a:pt x="152" y="91"/>
                  </a:lnTo>
                  <a:lnTo>
                    <a:pt x="155" y="88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6"/>
                  </a:lnTo>
                  <a:lnTo>
                    <a:pt x="152" y="99"/>
                  </a:lnTo>
                  <a:lnTo>
                    <a:pt x="155" y="99"/>
                  </a:lnTo>
                  <a:lnTo>
                    <a:pt x="157" y="99"/>
                  </a:lnTo>
                  <a:lnTo>
                    <a:pt x="160" y="99"/>
                  </a:lnTo>
                  <a:lnTo>
                    <a:pt x="163" y="99"/>
                  </a:lnTo>
                  <a:lnTo>
                    <a:pt x="163" y="104"/>
                  </a:lnTo>
                  <a:lnTo>
                    <a:pt x="165" y="104"/>
                  </a:lnTo>
                  <a:lnTo>
                    <a:pt x="165" y="107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71" y="110"/>
                  </a:lnTo>
                  <a:lnTo>
                    <a:pt x="173" y="112"/>
                  </a:lnTo>
                  <a:lnTo>
                    <a:pt x="176" y="112"/>
                  </a:lnTo>
                  <a:lnTo>
                    <a:pt x="179" y="110"/>
                  </a:lnTo>
                  <a:lnTo>
                    <a:pt x="179" y="110"/>
                  </a:lnTo>
                  <a:lnTo>
                    <a:pt x="176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9" y="107"/>
                  </a:lnTo>
                  <a:lnTo>
                    <a:pt x="176" y="107"/>
                  </a:lnTo>
                  <a:lnTo>
                    <a:pt x="176" y="107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6" y="102"/>
                  </a:lnTo>
                  <a:lnTo>
                    <a:pt x="176" y="102"/>
                  </a:lnTo>
                  <a:lnTo>
                    <a:pt x="173" y="102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9" y="102"/>
                  </a:lnTo>
                  <a:lnTo>
                    <a:pt x="181" y="9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84" y="96"/>
                  </a:lnTo>
                  <a:lnTo>
                    <a:pt x="184" y="94"/>
                  </a:lnTo>
                  <a:lnTo>
                    <a:pt x="184" y="91"/>
                  </a:lnTo>
                  <a:lnTo>
                    <a:pt x="187" y="88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92" y="86"/>
                  </a:lnTo>
                  <a:lnTo>
                    <a:pt x="195" y="88"/>
                  </a:lnTo>
                  <a:lnTo>
                    <a:pt x="192" y="91"/>
                  </a:lnTo>
                  <a:lnTo>
                    <a:pt x="192" y="94"/>
                  </a:lnTo>
                  <a:lnTo>
                    <a:pt x="197" y="91"/>
                  </a:lnTo>
                  <a:lnTo>
                    <a:pt x="200" y="86"/>
                  </a:lnTo>
                  <a:lnTo>
                    <a:pt x="205" y="86"/>
                  </a:lnTo>
                  <a:lnTo>
                    <a:pt x="208" y="86"/>
                  </a:lnTo>
                  <a:lnTo>
                    <a:pt x="211" y="88"/>
                  </a:lnTo>
                  <a:lnTo>
                    <a:pt x="213" y="86"/>
                  </a:lnTo>
                  <a:lnTo>
                    <a:pt x="213" y="83"/>
                  </a:lnTo>
                  <a:lnTo>
                    <a:pt x="216" y="83"/>
                  </a:lnTo>
                  <a:lnTo>
                    <a:pt x="216" y="83"/>
                  </a:lnTo>
                  <a:lnTo>
                    <a:pt x="216" y="80"/>
                  </a:lnTo>
                  <a:lnTo>
                    <a:pt x="216" y="78"/>
                  </a:lnTo>
                  <a:lnTo>
                    <a:pt x="219" y="78"/>
                  </a:lnTo>
                  <a:lnTo>
                    <a:pt x="221" y="75"/>
                  </a:lnTo>
                  <a:lnTo>
                    <a:pt x="221" y="72"/>
                  </a:lnTo>
                  <a:lnTo>
                    <a:pt x="224" y="72"/>
                  </a:lnTo>
                  <a:lnTo>
                    <a:pt x="227" y="72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32" y="72"/>
                  </a:lnTo>
                  <a:lnTo>
                    <a:pt x="232" y="72"/>
                  </a:lnTo>
                  <a:lnTo>
                    <a:pt x="235" y="70"/>
                  </a:lnTo>
                  <a:lnTo>
                    <a:pt x="240" y="72"/>
                  </a:lnTo>
                  <a:lnTo>
                    <a:pt x="240" y="75"/>
                  </a:lnTo>
                  <a:lnTo>
                    <a:pt x="237" y="75"/>
                  </a:lnTo>
                  <a:lnTo>
                    <a:pt x="237" y="78"/>
                  </a:lnTo>
                  <a:lnTo>
                    <a:pt x="240" y="78"/>
                  </a:lnTo>
                  <a:lnTo>
                    <a:pt x="240" y="80"/>
                  </a:lnTo>
                  <a:lnTo>
                    <a:pt x="237" y="80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29" y="88"/>
                  </a:lnTo>
                  <a:lnTo>
                    <a:pt x="229" y="88"/>
                  </a:lnTo>
                  <a:lnTo>
                    <a:pt x="235" y="91"/>
                  </a:lnTo>
                  <a:lnTo>
                    <a:pt x="235" y="91"/>
                  </a:lnTo>
                  <a:lnTo>
                    <a:pt x="237" y="91"/>
                  </a:lnTo>
                  <a:lnTo>
                    <a:pt x="237" y="94"/>
                  </a:lnTo>
                  <a:lnTo>
                    <a:pt x="237" y="94"/>
                  </a:lnTo>
                  <a:lnTo>
                    <a:pt x="237" y="94"/>
                  </a:lnTo>
                  <a:lnTo>
                    <a:pt x="243" y="94"/>
                  </a:lnTo>
                  <a:lnTo>
                    <a:pt x="245" y="94"/>
                  </a:lnTo>
                  <a:lnTo>
                    <a:pt x="248" y="94"/>
                  </a:lnTo>
                  <a:lnTo>
                    <a:pt x="248" y="94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48" y="99"/>
                  </a:lnTo>
                  <a:lnTo>
                    <a:pt x="248" y="99"/>
                  </a:lnTo>
                  <a:lnTo>
                    <a:pt x="248" y="102"/>
                  </a:lnTo>
                  <a:lnTo>
                    <a:pt x="248" y="102"/>
                  </a:lnTo>
                  <a:lnTo>
                    <a:pt x="251" y="102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6" y="96"/>
                  </a:lnTo>
                  <a:lnTo>
                    <a:pt x="259" y="96"/>
                  </a:lnTo>
                  <a:lnTo>
                    <a:pt x="259" y="102"/>
                  </a:lnTo>
                  <a:lnTo>
                    <a:pt x="256" y="104"/>
                  </a:lnTo>
                  <a:lnTo>
                    <a:pt x="253" y="104"/>
                  </a:lnTo>
                  <a:lnTo>
                    <a:pt x="256" y="112"/>
                  </a:lnTo>
                  <a:lnTo>
                    <a:pt x="256" y="115"/>
                  </a:lnTo>
                  <a:lnTo>
                    <a:pt x="256" y="115"/>
                  </a:lnTo>
                  <a:lnTo>
                    <a:pt x="253" y="118"/>
                  </a:lnTo>
                  <a:lnTo>
                    <a:pt x="253" y="120"/>
                  </a:lnTo>
                  <a:lnTo>
                    <a:pt x="253" y="123"/>
                  </a:lnTo>
                  <a:lnTo>
                    <a:pt x="253" y="123"/>
                  </a:lnTo>
                  <a:lnTo>
                    <a:pt x="253" y="126"/>
                  </a:lnTo>
                  <a:lnTo>
                    <a:pt x="253" y="126"/>
                  </a:lnTo>
                  <a:lnTo>
                    <a:pt x="253" y="126"/>
                  </a:lnTo>
                  <a:lnTo>
                    <a:pt x="251" y="129"/>
                  </a:lnTo>
                  <a:lnTo>
                    <a:pt x="248" y="129"/>
                  </a:lnTo>
                  <a:lnTo>
                    <a:pt x="248" y="131"/>
                  </a:lnTo>
                  <a:lnTo>
                    <a:pt x="251" y="131"/>
                  </a:lnTo>
                  <a:lnTo>
                    <a:pt x="248" y="131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51" y="137"/>
                  </a:lnTo>
                  <a:lnTo>
                    <a:pt x="248" y="139"/>
                  </a:lnTo>
                  <a:lnTo>
                    <a:pt x="240" y="142"/>
                  </a:lnTo>
                  <a:lnTo>
                    <a:pt x="243" y="142"/>
                  </a:lnTo>
                  <a:lnTo>
                    <a:pt x="243" y="145"/>
                  </a:lnTo>
                  <a:lnTo>
                    <a:pt x="248" y="145"/>
                  </a:lnTo>
                  <a:lnTo>
                    <a:pt x="248" y="145"/>
                  </a:lnTo>
                  <a:lnTo>
                    <a:pt x="245" y="147"/>
                  </a:lnTo>
                  <a:lnTo>
                    <a:pt x="245" y="147"/>
                  </a:lnTo>
                  <a:lnTo>
                    <a:pt x="245" y="147"/>
                  </a:lnTo>
                  <a:lnTo>
                    <a:pt x="245" y="150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40" y="153"/>
                  </a:lnTo>
                  <a:lnTo>
                    <a:pt x="240" y="153"/>
                  </a:lnTo>
                  <a:lnTo>
                    <a:pt x="243" y="153"/>
                  </a:lnTo>
                  <a:lnTo>
                    <a:pt x="245" y="153"/>
                  </a:lnTo>
                  <a:lnTo>
                    <a:pt x="245" y="155"/>
                  </a:lnTo>
                  <a:lnTo>
                    <a:pt x="243" y="155"/>
                  </a:lnTo>
                  <a:lnTo>
                    <a:pt x="240" y="155"/>
                  </a:lnTo>
                  <a:lnTo>
                    <a:pt x="240" y="155"/>
                  </a:lnTo>
                  <a:lnTo>
                    <a:pt x="237" y="155"/>
                  </a:lnTo>
                  <a:lnTo>
                    <a:pt x="237" y="158"/>
                  </a:lnTo>
                  <a:lnTo>
                    <a:pt x="237" y="161"/>
                  </a:lnTo>
                  <a:lnTo>
                    <a:pt x="240" y="161"/>
                  </a:lnTo>
                  <a:lnTo>
                    <a:pt x="240" y="161"/>
                  </a:lnTo>
                  <a:lnTo>
                    <a:pt x="243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6"/>
                  </a:lnTo>
                  <a:lnTo>
                    <a:pt x="243" y="166"/>
                  </a:lnTo>
                  <a:lnTo>
                    <a:pt x="245" y="166"/>
                  </a:lnTo>
                  <a:lnTo>
                    <a:pt x="245" y="169"/>
                  </a:lnTo>
                  <a:lnTo>
                    <a:pt x="245" y="169"/>
                  </a:lnTo>
                  <a:lnTo>
                    <a:pt x="243" y="169"/>
                  </a:lnTo>
                  <a:lnTo>
                    <a:pt x="240" y="171"/>
                  </a:lnTo>
                  <a:lnTo>
                    <a:pt x="240" y="171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35" y="171"/>
                  </a:lnTo>
                  <a:lnTo>
                    <a:pt x="235" y="169"/>
                  </a:lnTo>
                  <a:lnTo>
                    <a:pt x="229" y="169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9" y="171"/>
                  </a:lnTo>
                  <a:lnTo>
                    <a:pt x="219" y="169"/>
                  </a:lnTo>
                  <a:lnTo>
                    <a:pt x="219" y="169"/>
                  </a:lnTo>
                  <a:lnTo>
                    <a:pt x="216" y="169"/>
                  </a:lnTo>
                  <a:lnTo>
                    <a:pt x="216" y="171"/>
                  </a:lnTo>
                  <a:lnTo>
                    <a:pt x="213" y="169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9"/>
                  </a:lnTo>
                  <a:lnTo>
                    <a:pt x="208" y="169"/>
                  </a:lnTo>
                  <a:lnTo>
                    <a:pt x="208" y="169"/>
                  </a:lnTo>
                  <a:lnTo>
                    <a:pt x="208" y="166"/>
                  </a:lnTo>
                  <a:lnTo>
                    <a:pt x="205" y="166"/>
                  </a:lnTo>
                  <a:lnTo>
                    <a:pt x="205" y="163"/>
                  </a:lnTo>
                  <a:lnTo>
                    <a:pt x="203" y="163"/>
                  </a:lnTo>
                  <a:lnTo>
                    <a:pt x="200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5" y="166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89" y="171"/>
                  </a:lnTo>
                  <a:lnTo>
                    <a:pt x="187" y="171"/>
                  </a:lnTo>
                  <a:lnTo>
                    <a:pt x="187" y="174"/>
                  </a:lnTo>
                  <a:lnTo>
                    <a:pt x="184" y="171"/>
                  </a:lnTo>
                  <a:lnTo>
                    <a:pt x="181" y="174"/>
                  </a:lnTo>
                  <a:lnTo>
                    <a:pt x="181" y="171"/>
                  </a:lnTo>
                  <a:lnTo>
                    <a:pt x="181" y="174"/>
                  </a:lnTo>
                  <a:lnTo>
                    <a:pt x="179" y="174"/>
                  </a:lnTo>
                  <a:lnTo>
                    <a:pt x="176" y="174"/>
                  </a:lnTo>
                  <a:lnTo>
                    <a:pt x="176" y="174"/>
                  </a:lnTo>
                  <a:lnTo>
                    <a:pt x="176" y="177"/>
                  </a:lnTo>
                  <a:lnTo>
                    <a:pt x="176" y="177"/>
                  </a:lnTo>
                  <a:lnTo>
                    <a:pt x="171" y="174"/>
                  </a:lnTo>
                  <a:lnTo>
                    <a:pt x="171" y="174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69"/>
                  </a:lnTo>
                  <a:lnTo>
                    <a:pt x="165" y="169"/>
                  </a:lnTo>
                  <a:lnTo>
                    <a:pt x="165" y="169"/>
                  </a:lnTo>
                  <a:lnTo>
                    <a:pt x="165" y="171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57" y="166"/>
                  </a:lnTo>
                  <a:lnTo>
                    <a:pt x="157" y="169"/>
                  </a:lnTo>
                  <a:lnTo>
                    <a:pt x="152" y="166"/>
                  </a:lnTo>
                  <a:lnTo>
                    <a:pt x="152" y="166"/>
                  </a:lnTo>
                  <a:lnTo>
                    <a:pt x="155" y="163"/>
                  </a:lnTo>
                  <a:lnTo>
                    <a:pt x="155" y="161"/>
                  </a:lnTo>
                  <a:lnTo>
                    <a:pt x="155" y="158"/>
                  </a:lnTo>
                  <a:lnTo>
                    <a:pt x="155" y="158"/>
                  </a:lnTo>
                  <a:lnTo>
                    <a:pt x="152" y="155"/>
                  </a:lnTo>
                  <a:lnTo>
                    <a:pt x="152" y="155"/>
                  </a:lnTo>
                  <a:lnTo>
                    <a:pt x="149" y="153"/>
                  </a:lnTo>
                  <a:lnTo>
                    <a:pt x="149" y="155"/>
                  </a:lnTo>
                  <a:lnTo>
                    <a:pt x="144" y="153"/>
                  </a:lnTo>
                  <a:lnTo>
                    <a:pt x="144" y="150"/>
                  </a:lnTo>
                  <a:lnTo>
                    <a:pt x="141" y="150"/>
                  </a:lnTo>
                  <a:lnTo>
                    <a:pt x="141" y="150"/>
                  </a:lnTo>
                  <a:lnTo>
                    <a:pt x="139" y="150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6" y="145"/>
                  </a:lnTo>
                  <a:lnTo>
                    <a:pt x="133" y="147"/>
                  </a:lnTo>
                  <a:lnTo>
                    <a:pt x="128" y="145"/>
                  </a:lnTo>
                  <a:lnTo>
                    <a:pt x="128" y="147"/>
                  </a:lnTo>
                  <a:lnTo>
                    <a:pt x="125" y="147"/>
                  </a:lnTo>
                  <a:lnTo>
                    <a:pt x="125" y="145"/>
                  </a:lnTo>
                  <a:lnTo>
                    <a:pt x="122" y="145"/>
                  </a:lnTo>
                  <a:lnTo>
                    <a:pt x="122" y="145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17" y="145"/>
                  </a:lnTo>
                  <a:lnTo>
                    <a:pt x="117" y="147"/>
                  </a:lnTo>
                  <a:lnTo>
                    <a:pt x="117" y="150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4" y="153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8"/>
                  </a:lnTo>
                  <a:lnTo>
                    <a:pt x="114" y="161"/>
                  </a:lnTo>
                  <a:lnTo>
                    <a:pt x="114" y="161"/>
                  </a:lnTo>
                  <a:lnTo>
                    <a:pt x="114" y="163"/>
                  </a:lnTo>
                  <a:lnTo>
                    <a:pt x="114" y="163"/>
                  </a:lnTo>
                  <a:lnTo>
                    <a:pt x="112" y="163"/>
                  </a:lnTo>
                  <a:lnTo>
                    <a:pt x="112" y="161"/>
                  </a:lnTo>
                  <a:lnTo>
                    <a:pt x="109" y="161"/>
                  </a:lnTo>
                  <a:lnTo>
                    <a:pt x="109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06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1" y="155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6" y="153"/>
                  </a:lnTo>
                  <a:lnTo>
                    <a:pt x="96" y="150"/>
                  </a:lnTo>
                  <a:lnTo>
                    <a:pt x="93" y="150"/>
                  </a:lnTo>
                  <a:lnTo>
                    <a:pt x="93" y="150"/>
                  </a:lnTo>
                  <a:lnTo>
                    <a:pt x="93" y="147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90" y="147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39"/>
                  </a:lnTo>
                  <a:lnTo>
                    <a:pt x="85" y="139"/>
                  </a:lnTo>
                  <a:lnTo>
                    <a:pt x="82" y="137"/>
                  </a:lnTo>
                  <a:lnTo>
                    <a:pt x="82" y="131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0" y="129"/>
                  </a:lnTo>
                  <a:lnTo>
                    <a:pt x="82" y="129"/>
                  </a:lnTo>
                  <a:lnTo>
                    <a:pt x="82" y="129"/>
                  </a:lnTo>
                  <a:lnTo>
                    <a:pt x="85" y="129"/>
                  </a:lnTo>
                  <a:lnTo>
                    <a:pt x="85" y="126"/>
                  </a:lnTo>
                  <a:lnTo>
                    <a:pt x="88" y="123"/>
                  </a:lnTo>
                  <a:lnTo>
                    <a:pt x="85" y="118"/>
                  </a:lnTo>
                  <a:lnTo>
                    <a:pt x="82" y="115"/>
                  </a:lnTo>
                  <a:lnTo>
                    <a:pt x="82" y="112"/>
                  </a:lnTo>
                  <a:lnTo>
                    <a:pt x="82" y="110"/>
                  </a:lnTo>
                  <a:lnTo>
                    <a:pt x="80" y="110"/>
                  </a:lnTo>
                  <a:lnTo>
                    <a:pt x="77" y="107"/>
                  </a:lnTo>
                  <a:lnTo>
                    <a:pt x="77" y="102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58" y="91"/>
                  </a:lnTo>
                  <a:lnTo>
                    <a:pt x="58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8" y="104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102"/>
                  </a:lnTo>
                  <a:lnTo>
                    <a:pt x="42" y="102"/>
                  </a:lnTo>
                  <a:lnTo>
                    <a:pt x="42" y="99"/>
                  </a:lnTo>
                  <a:lnTo>
                    <a:pt x="40" y="99"/>
                  </a:lnTo>
                  <a:lnTo>
                    <a:pt x="37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1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6" y="94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4" y="91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8"/>
                  </a:lnTo>
                  <a:lnTo>
                    <a:pt x="21" y="91"/>
                  </a:lnTo>
                  <a:lnTo>
                    <a:pt x="18" y="91"/>
                  </a:lnTo>
                  <a:lnTo>
                    <a:pt x="16" y="91"/>
                  </a:lnTo>
                  <a:lnTo>
                    <a:pt x="16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1" y="86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8"/>
                  </a:lnTo>
                  <a:lnTo>
                    <a:pt x="16" y="91"/>
                  </a:lnTo>
                  <a:lnTo>
                    <a:pt x="16" y="94"/>
                  </a:lnTo>
                  <a:lnTo>
                    <a:pt x="13" y="91"/>
                  </a:lnTo>
                  <a:lnTo>
                    <a:pt x="13" y="88"/>
                  </a:lnTo>
                  <a:lnTo>
                    <a:pt x="13" y="86"/>
                  </a:lnTo>
                  <a:lnTo>
                    <a:pt x="10" y="86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0"/>
                  </a:lnTo>
                  <a:lnTo>
                    <a:pt x="8" y="80"/>
                  </a:lnTo>
                  <a:lnTo>
                    <a:pt x="8" y="78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6" name="Freeform 8871">
              <a:extLst>
                <a:ext uri="{FF2B5EF4-FFF2-40B4-BE49-F238E27FC236}">
                  <a16:creationId xmlns:a16="http://schemas.microsoft.com/office/drawing/2014/main" id="{ED9C0EF4-D109-EB40-983C-71B8F1331BB7}"/>
                </a:ext>
              </a:extLst>
            </p:cNvPr>
            <p:cNvSpPr/>
            <p:nvPr/>
          </p:nvSpPr>
          <p:spPr bwMode="auto">
            <a:xfrm>
              <a:off x="7054053" y="1452565"/>
              <a:ext cx="3248024" cy="3330573"/>
            </a:xfrm>
            <a:custGeom>
              <a:avLst/>
              <a:gdLst>
                <a:gd name="T0" fmla="*/ 1731 w 2046"/>
                <a:gd name="T1" fmla="*/ 1163 h 2098"/>
                <a:gd name="T2" fmla="*/ 1621 w 2046"/>
                <a:gd name="T3" fmla="*/ 1216 h 2098"/>
                <a:gd name="T4" fmla="*/ 1613 w 2046"/>
                <a:gd name="T5" fmla="*/ 1398 h 2098"/>
                <a:gd name="T6" fmla="*/ 1541 w 2046"/>
                <a:gd name="T7" fmla="*/ 1550 h 2098"/>
                <a:gd name="T8" fmla="*/ 1431 w 2046"/>
                <a:gd name="T9" fmla="*/ 1742 h 2098"/>
                <a:gd name="T10" fmla="*/ 1466 w 2046"/>
                <a:gd name="T11" fmla="*/ 1865 h 2098"/>
                <a:gd name="T12" fmla="*/ 1477 w 2046"/>
                <a:gd name="T13" fmla="*/ 1988 h 2098"/>
                <a:gd name="T14" fmla="*/ 1234 w 2046"/>
                <a:gd name="T15" fmla="*/ 2095 h 2098"/>
                <a:gd name="T16" fmla="*/ 1103 w 2046"/>
                <a:gd name="T17" fmla="*/ 2066 h 2098"/>
                <a:gd name="T18" fmla="*/ 983 w 2046"/>
                <a:gd name="T19" fmla="*/ 2063 h 2098"/>
                <a:gd name="T20" fmla="*/ 839 w 2046"/>
                <a:gd name="T21" fmla="*/ 2023 h 2098"/>
                <a:gd name="T22" fmla="*/ 759 w 2046"/>
                <a:gd name="T23" fmla="*/ 1889 h 2098"/>
                <a:gd name="T24" fmla="*/ 681 w 2046"/>
                <a:gd name="T25" fmla="*/ 1865 h 2098"/>
                <a:gd name="T26" fmla="*/ 609 w 2046"/>
                <a:gd name="T27" fmla="*/ 1791 h 2098"/>
                <a:gd name="T28" fmla="*/ 526 w 2046"/>
                <a:gd name="T29" fmla="*/ 1863 h 2098"/>
                <a:gd name="T30" fmla="*/ 478 w 2046"/>
                <a:gd name="T31" fmla="*/ 1951 h 2098"/>
                <a:gd name="T32" fmla="*/ 406 w 2046"/>
                <a:gd name="T33" fmla="*/ 1956 h 2098"/>
                <a:gd name="T34" fmla="*/ 294 w 2046"/>
                <a:gd name="T35" fmla="*/ 1967 h 2098"/>
                <a:gd name="T36" fmla="*/ 318 w 2046"/>
                <a:gd name="T37" fmla="*/ 1823 h 2098"/>
                <a:gd name="T38" fmla="*/ 270 w 2046"/>
                <a:gd name="T39" fmla="*/ 1657 h 2098"/>
                <a:gd name="T40" fmla="*/ 171 w 2046"/>
                <a:gd name="T41" fmla="*/ 1539 h 2098"/>
                <a:gd name="T42" fmla="*/ 91 w 2046"/>
                <a:gd name="T43" fmla="*/ 1465 h 2098"/>
                <a:gd name="T44" fmla="*/ 86 w 2046"/>
                <a:gd name="T45" fmla="*/ 1374 h 2098"/>
                <a:gd name="T46" fmla="*/ 22 w 2046"/>
                <a:gd name="T47" fmla="*/ 1216 h 2098"/>
                <a:gd name="T48" fmla="*/ 104 w 2046"/>
                <a:gd name="T49" fmla="*/ 898 h 2098"/>
                <a:gd name="T50" fmla="*/ 200 w 2046"/>
                <a:gd name="T51" fmla="*/ 740 h 2098"/>
                <a:gd name="T52" fmla="*/ 107 w 2046"/>
                <a:gd name="T53" fmla="*/ 516 h 2098"/>
                <a:gd name="T54" fmla="*/ 184 w 2046"/>
                <a:gd name="T55" fmla="*/ 446 h 2098"/>
                <a:gd name="T56" fmla="*/ 329 w 2046"/>
                <a:gd name="T57" fmla="*/ 417 h 2098"/>
                <a:gd name="T58" fmla="*/ 419 w 2046"/>
                <a:gd name="T59" fmla="*/ 460 h 2098"/>
                <a:gd name="T60" fmla="*/ 521 w 2046"/>
                <a:gd name="T61" fmla="*/ 420 h 2098"/>
                <a:gd name="T62" fmla="*/ 508 w 2046"/>
                <a:gd name="T63" fmla="*/ 353 h 2098"/>
                <a:gd name="T64" fmla="*/ 561 w 2046"/>
                <a:gd name="T65" fmla="*/ 348 h 2098"/>
                <a:gd name="T66" fmla="*/ 604 w 2046"/>
                <a:gd name="T67" fmla="*/ 353 h 2098"/>
                <a:gd name="T68" fmla="*/ 657 w 2046"/>
                <a:gd name="T69" fmla="*/ 332 h 2098"/>
                <a:gd name="T70" fmla="*/ 716 w 2046"/>
                <a:gd name="T71" fmla="*/ 377 h 2098"/>
                <a:gd name="T72" fmla="*/ 748 w 2046"/>
                <a:gd name="T73" fmla="*/ 422 h 2098"/>
                <a:gd name="T74" fmla="*/ 697 w 2046"/>
                <a:gd name="T75" fmla="*/ 452 h 2098"/>
                <a:gd name="T76" fmla="*/ 761 w 2046"/>
                <a:gd name="T77" fmla="*/ 495 h 2098"/>
                <a:gd name="T78" fmla="*/ 852 w 2046"/>
                <a:gd name="T79" fmla="*/ 551 h 2098"/>
                <a:gd name="T80" fmla="*/ 868 w 2046"/>
                <a:gd name="T81" fmla="*/ 425 h 2098"/>
                <a:gd name="T82" fmla="*/ 978 w 2046"/>
                <a:gd name="T83" fmla="*/ 420 h 2098"/>
                <a:gd name="T84" fmla="*/ 1063 w 2046"/>
                <a:gd name="T85" fmla="*/ 409 h 2098"/>
                <a:gd name="T86" fmla="*/ 1060 w 2046"/>
                <a:gd name="T87" fmla="*/ 377 h 2098"/>
                <a:gd name="T88" fmla="*/ 1111 w 2046"/>
                <a:gd name="T89" fmla="*/ 340 h 2098"/>
                <a:gd name="T90" fmla="*/ 1066 w 2046"/>
                <a:gd name="T91" fmla="*/ 297 h 2098"/>
                <a:gd name="T92" fmla="*/ 1191 w 2046"/>
                <a:gd name="T93" fmla="*/ 158 h 2098"/>
                <a:gd name="T94" fmla="*/ 1282 w 2046"/>
                <a:gd name="T95" fmla="*/ 179 h 2098"/>
                <a:gd name="T96" fmla="*/ 1269 w 2046"/>
                <a:gd name="T97" fmla="*/ 206 h 2098"/>
                <a:gd name="T98" fmla="*/ 1325 w 2046"/>
                <a:gd name="T99" fmla="*/ 112 h 2098"/>
                <a:gd name="T100" fmla="*/ 1421 w 2046"/>
                <a:gd name="T101" fmla="*/ 150 h 2098"/>
                <a:gd name="T102" fmla="*/ 1458 w 2046"/>
                <a:gd name="T103" fmla="*/ 147 h 2098"/>
                <a:gd name="T104" fmla="*/ 1576 w 2046"/>
                <a:gd name="T105" fmla="*/ 126 h 2098"/>
                <a:gd name="T106" fmla="*/ 1784 w 2046"/>
                <a:gd name="T107" fmla="*/ 16 h 2098"/>
                <a:gd name="T108" fmla="*/ 1867 w 2046"/>
                <a:gd name="T109" fmla="*/ 62 h 2098"/>
                <a:gd name="T110" fmla="*/ 1901 w 2046"/>
                <a:gd name="T111" fmla="*/ 27 h 2098"/>
                <a:gd name="T112" fmla="*/ 1990 w 2046"/>
                <a:gd name="T113" fmla="*/ 86 h 2098"/>
                <a:gd name="T114" fmla="*/ 1904 w 2046"/>
                <a:gd name="T115" fmla="*/ 249 h 2098"/>
                <a:gd name="T116" fmla="*/ 2032 w 2046"/>
                <a:gd name="T117" fmla="*/ 388 h 2098"/>
                <a:gd name="T118" fmla="*/ 1917 w 2046"/>
                <a:gd name="T119" fmla="*/ 497 h 2098"/>
                <a:gd name="T120" fmla="*/ 1947 w 2046"/>
                <a:gd name="T121" fmla="*/ 687 h 2098"/>
                <a:gd name="T122" fmla="*/ 1848 w 2046"/>
                <a:gd name="T123" fmla="*/ 778 h 2098"/>
                <a:gd name="T124" fmla="*/ 1771 w 2046"/>
                <a:gd name="T125" fmla="*/ 871 h 2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46" h="2098" extrusionOk="0">
                  <a:moveTo>
                    <a:pt x="1803" y="1048"/>
                  </a:moveTo>
                  <a:lnTo>
                    <a:pt x="1800" y="1050"/>
                  </a:lnTo>
                  <a:lnTo>
                    <a:pt x="1800" y="1050"/>
                  </a:lnTo>
                  <a:lnTo>
                    <a:pt x="1797" y="1050"/>
                  </a:lnTo>
                  <a:lnTo>
                    <a:pt x="1797" y="1050"/>
                  </a:lnTo>
                  <a:lnTo>
                    <a:pt x="1797" y="1050"/>
                  </a:lnTo>
                  <a:lnTo>
                    <a:pt x="1797" y="1053"/>
                  </a:lnTo>
                  <a:lnTo>
                    <a:pt x="1797" y="1053"/>
                  </a:lnTo>
                  <a:lnTo>
                    <a:pt x="1797" y="1056"/>
                  </a:lnTo>
                  <a:lnTo>
                    <a:pt x="1797" y="1056"/>
                  </a:lnTo>
                  <a:lnTo>
                    <a:pt x="1797" y="1056"/>
                  </a:lnTo>
                  <a:lnTo>
                    <a:pt x="1795" y="1056"/>
                  </a:lnTo>
                  <a:lnTo>
                    <a:pt x="1795" y="1056"/>
                  </a:lnTo>
                  <a:lnTo>
                    <a:pt x="1795" y="1056"/>
                  </a:lnTo>
                  <a:lnTo>
                    <a:pt x="1795" y="1058"/>
                  </a:lnTo>
                  <a:lnTo>
                    <a:pt x="1797" y="1058"/>
                  </a:lnTo>
                  <a:lnTo>
                    <a:pt x="1800" y="1061"/>
                  </a:lnTo>
                  <a:lnTo>
                    <a:pt x="1797" y="1064"/>
                  </a:lnTo>
                  <a:lnTo>
                    <a:pt x="1800" y="1066"/>
                  </a:lnTo>
                  <a:lnTo>
                    <a:pt x="1800" y="1066"/>
                  </a:lnTo>
                  <a:lnTo>
                    <a:pt x="1803" y="1069"/>
                  </a:lnTo>
                  <a:lnTo>
                    <a:pt x="1803" y="1069"/>
                  </a:lnTo>
                  <a:lnTo>
                    <a:pt x="1803" y="1072"/>
                  </a:lnTo>
                  <a:lnTo>
                    <a:pt x="1805" y="1072"/>
                  </a:lnTo>
                  <a:lnTo>
                    <a:pt x="1805" y="1074"/>
                  </a:lnTo>
                  <a:lnTo>
                    <a:pt x="1805" y="1074"/>
                  </a:lnTo>
                  <a:lnTo>
                    <a:pt x="1805" y="1074"/>
                  </a:lnTo>
                  <a:lnTo>
                    <a:pt x="1805" y="1077"/>
                  </a:lnTo>
                  <a:lnTo>
                    <a:pt x="1805" y="1080"/>
                  </a:lnTo>
                  <a:lnTo>
                    <a:pt x="1805" y="1080"/>
                  </a:lnTo>
                  <a:lnTo>
                    <a:pt x="1803" y="1080"/>
                  </a:lnTo>
                  <a:lnTo>
                    <a:pt x="1803" y="1082"/>
                  </a:lnTo>
                  <a:lnTo>
                    <a:pt x="1800" y="1082"/>
                  </a:lnTo>
                  <a:lnTo>
                    <a:pt x="1800" y="1082"/>
                  </a:lnTo>
                  <a:lnTo>
                    <a:pt x="1803" y="1085"/>
                  </a:lnTo>
                  <a:lnTo>
                    <a:pt x="1803" y="1088"/>
                  </a:lnTo>
                  <a:lnTo>
                    <a:pt x="1805" y="1090"/>
                  </a:lnTo>
                  <a:lnTo>
                    <a:pt x="1803" y="1090"/>
                  </a:lnTo>
                  <a:lnTo>
                    <a:pt x="1803" y="1093"/>
                  </a:lnTo>
                  <a:lnTo>
                    <a:pt x="1800" y="1093"/>
                  </a:lnTo>
                  <a:lnTo>
                    <a:pt x="1800" y="1096"/>
                  </a:lnTo>
                  <a:lnTo>
                    <a:pt x="1797" y="1098"/>
                  </a:lnTo>
                  <a:lnTo>
                    <a:pt x="1797" y="1101"/>
                  </a:lnTo>
                  <a:lnTo>
                    <a:pt x="1797" y="1101"/>
                  </a:lnTo>
                  <a:lnTo>
                    <a:pt x="1800" y="1104"/>
                  </a:lnTo>
                  <a:lnTo>
                    <a:pt x="1800" y="1107"/>
                  </a:lnTo>
                  <a:lnTo>
                    <a:pt x="1800" y="1107"/>
                  </a:lnTo>
                  <a:lnTo>
                    <a:pt x="1800" y="1109"/>
                  </a:lnTo>
                  <a:lnTo>
                    <a:pt x="1800" y="1109"/>
                  </a:lnTo>
                  <a:lnTo>
                    <a:pt x="1800" y="1109"/>
                  </a:lnTo>
                  <a:lnTo>
                    <a:pt x="1800" y="1112"/>
                  </a:lnTo>
                  <a:lnTo>
                    <a:pt x="1800" y="1115"/>
                  </a:lnTo>
                  <a:lnTo>
                    <a:pt x="1800" y="1117"/>
                  </a:lnTo>
                  <a:lnTo>
                    <a:pt x="1800" y="1117"/>
                  </a:lnTo>
                  <a:lnTo>
                    <a:pt x="1800" y="1120"/>
                  </a:lnTo>
                  <a:lnTo>
                    <a:pt x="1800" y="1120"/>
                  </a:lnTo>
                  <a:lnTo>
                    <a:pt x="1803" y="1123"/>
                  </a:lnTo>
                  <a:lnTo>
                    <a:pt x="1803" y="1123"/>
                  </a:lnTo>
                  <a:lnTo>
                    <a:pt x="1803" y="1125"/>
                  </a:lnTo>
                  <a:lnTo>
                    <a:pt x="1803" y="1128"/>
                  </a:lnTo>
                  <a:lnTo>
                    <a:pt x="1803" y="1128"/>
                  </a:lnTo>
                  <a:lnTo>
                    <a:pt x="1803" y="1131"/>
                  </a:lnTo>
                  <a:lnTo>
                    <a:pt x="1803" y="1131"/>
                  </a:lnTo>
                  <a:lnTo>
                    <a:pt x="1800" y="1131"/>
                  </a:lnTo>
                  <a:lnTo>
                    <a:pt x="1800" y="1131"/>
                  </a:lnTo>
                  <a:lnTo>
                    <a:pt x="1800" y="1133"/>
                  </a:lnTo>
                  <a:lnTo>
                    <a:pt x="1800" y="1133"/>
                  </a:lnTo>
                  <a:lnTo>
                    <a:pt x="1800" y="1133"/>
                  </a:lnTo>
                  <a:lnTo>
                    <a:pt x="1800" y="1136"/>
                  </a:lnTo>
                  <a:lnTo>
                    <a:pt x="1800" y="1136"/>
                  </a:lnTo>
                  <a:lnTo>
                    <a:pt x="1797" y="1139"/>
                  </a:lnTo>
                  <a:lnTo>
                    <a:pt x="1797" y="1139"/>
                  </a:lnTo>
                  <a:lnTo>
                    <a:pt x="1797" y="1141"/>
                  </a:lnTo>
                  <a:lnTo>
                    <a:pt x="1797" y="1141"/>
                  </a:lnTo>
                  <a:lnTo>
                    <a:pt x="1797" y="1144"/>
                  </a:lnTo>
                  <a:lnTo>
                    <a:pt x="1797" y="1144"/>
                  </a:lnTo>
                  <a:lnTo>
                    <a:pt x="1795" y="1144"/>
                  </a:lnTo>
                  <a:lnTo>
                    <a:pt x="1795" y="1147"/>
                  </a:lnTo>
                  <a:lnTo>
                    <a:pt x="1792" y="1147"/>
                  </a:lnTo>
                  <a:lnTo>
                    <a:pt x="1792" y="1147"/>
                  </a:lnTo>
                  <a:lnTo>
                    <a:pt x="1789" y="1149"/>
                  </a:lnTo>
                  <a:lnTo>
                    <a:pt x="1789" y="1149"/>
                  </a:lnTo>
                  <a:lnTo>
                    <a:pt x="1787" y="1149"/>
                  </a:lnTo>
                  <a:lnTo>
                    <a:pt x="1784" y="1149"/>
                  </a:lnTo>
                  <a:lnTo>
                    <a:pt x="1784" y="1149"/>
                  </a:lnTo>
                  <a:lnTo>
                    <a:pt x="1781" y="1149"/>
                  </a:lnTo>
                  <a:lnTo>
                    <a:pt x="1781" y="1147"/>
                  </a:lnTo>
                  <a:lnTo>
                    <a:pt x="1781" y="1147"/>
                  </a:lnTo>
                  <a:lnTo>
                    <a:pt x="1781" y="1144"/>
                  </a:lnTo>
                  <a:lnTo>
                    <a:pt x="1779" y="1144"/>
                  </a:lnTo>
                  <a:lnTo>
                    <a:pt x="1779" y="1141"/>
                  </a:lnTo>
                  <a:lnTo>
                    <a:pt x="1779" y="1141"/>
                  </a:lnTo>
                  <a:lnTo>
                    <a:pt x="1779" y="1139"/>
                  </a:lnTo>
                  <a:lnTo>
                    <a:pt x="1779" y="1139"/>
                  </a:lnTo>
                  <a:lnTo>
                    <a:pt x="1776" y="1136"/>
                  </a:lnTo>
                  <a:lnTo>
                    <a:pt x="1776" y="1136"/>
                  </a:lnTo>
                  <a:lnTo>
                    <a:pt x="1776" y="1133"/>
                  </a:lnTo>
                  <a:lnTo>
                    <a:pt x="1773" y="1131"/>
                  </a:lnTo>
                  <a:lnTo>
                    <a:pt x="1773" y="1131"/>
                  </a:lnTo>
                  <a:lnTo>
                    <a:pt x="1771" y="1131"/>
                  </a:lnTo>
                  <a:lnTo>
                    <a:pt x="1771" y="1133"/>
                  </a:lnTo>
                  <a:lnTo>
                    <a:pt x="1768" y="1136"/>
                  </a:lnTo>
                  <a:lnTo>
                    <a:pt x="1768" y="1136"/>
                  </a:lnTo>
                  <a:lnTo>
                    <a:pt x="1768" y="1139"/>
                  </a:lnTo>
                  <a:lnTo>
                    <a:pt x="1768" y="1139"/>
                  </a:lnTo>
                  <a:lnTo>
                    <a:pt x="1771" y="1141"/>
                  </a:lnTo>
                  <a:lnTo>
                    <a:pt x="1768" y="1141"/>
                  </a:lnTo>
                  <a:lnTo>
                    <a:pt x="1768" y="1144"/>
                  </a:lnTo>
                  <a:lnTo>
                    <a:pt x="1768" y="1147"/>
                  </a:lnTo>
                  <a:lnTo>
                    <a:pt x="1768" y="1149"/>
                  </a:lnTo>
                  <a:lnTo>
                    <a:pt x="1765" y="1147"/>
                  </a:lnTo>
                  <a:lnTo>
                    <a:pt x="1765" y="1147"/>
                  </a:lnTo>
                  <a:lnTo>
                    <a:pt x="1763" y="1144"/>
                  </a:lnTo>
                  <a:lnTo>
                    <a:pt x="1763" y="1144"/>
                  </a:lnTo>
                  <a:lnTo>
                    <a:pt x="1760" y="1144"/>
                  </a:lnTo>
                  <a:lnTo>
                    <a:pt x="1760" y="1141"/>
                  </a:lnTo>
                  <a:lnTo>
                    <a:pt x="1760" y="1139"/>
                  </a:lnTo>
                  <a:lnTo>
                    <a:pt x="1757" y="1136"/>
                  </a:lnTo>
                  <a:lnTo>
                    <a:pt x="1757" y="1136"/>
                  </a:lnTo>
                  <a:lnTo>
                    <a:pt x="1755" y="1136"/>
                  </a:lnTo>
                  <a:lnTo>
                    <a:pt x="1755" y="1136"/>
                  </a:lnTo>
                  <a:lnTo>
                    <a:pt x="1755" y="1136"/>
                  </a:lnTo>
                  <a:lnTo>
                    <a:pt x="1752" y="1136"/>
                  </a:lnTo>
                  <a:lnTo>
                    <a:pt x="1749" y="1136"/>
                  </a:lnTo>
                  <a:lnTo>
                    <a:pt x="1749" y="1136"/>
                  </a:lnTo>
                  <a:lnTo>
                    <a:pt x="1749" y="1139"/>
                  </a:lnTo>
                  <a:lnTo>
                    <a:pt x="1749" y="1141"/>
                  </a:lnTo>
                  <a:lnTo>
                    <a:pt x="1747" y="1141"/>
                  </a:lnTo>
                  <a:lnTo>
                    <a:pt x="1747" y="1141"/>
                  </a:lnTo>
                  <a:lnTo>
                    <a:pt x="1744" y="1141"/>
                  </a:lnTo>
                  <a:lnTo>
                    <a:pt x="1741" y="1141"/>
                  </a:lnTo>
                  <a:lnTo>
                    <a:pt x="1739" y="1139"/>
                  </a:lnTo>
                  <a:lnTo>
                    <a:pt x="1739" y="1139"/>
                  </a:lnTo>
                  <a:lnTo>
                    <a:pt x="1739" y="1139"/>
                  </a:lnTo>
                  <a:lnTo>
                    <a:pt x="1736" y="1139"/>
                  </a:lnTo>
                  <a:lnTo>
                    <a:pt x="1733" y="1141"/>
                  </a:lnTo>
                  <a:lnTo>
                    <a:pt x="1736" y="1144"/>
                  </a:lnTo>
                  <a:lnTo>
                    <a:pt x="1736" y="1144"/>
                  </a:lnTo>
                  <a:lnTo>
                    <a:pt x="1736" y="1147"/>
                  </a:lnTo>
                  <a:lnTo>
                    <a:pt x="1736" y="1149"/>
                  </a:lnTo>
                  <a:lnTo>
                    <a:pt x="1736" y="1152"/>
                  </a:lnTo>
                  <a:lnTo>
                    <a:pt x="1736" y="1155"/>
                  </a:lnTo>
                  <a:lnTo>
                    <a:pt x="1736" y="1157"/>
                  </a:lnTo>
                  <a:lnTo>
                    <a:pt x="1739" y="1160"/>
                  </a:lnTo>
                  <a:lnTo>
                    <a:pt x="1739" y="1163"/>
                  </a:lnTo>
                  <a:lnTo>
                    <a:pt x="1736" y="1163"/>
                  </a:lnTo>
                  <a:lnTo>
                    <a:pt x="1733" y="1163"/>
                  </a:lnTo>
                  <a:lnTo>
                    <a:pt x="1731" y="1163"/>
                  </a:lnTo>
                  <a:lnTo>
                    <a:pt x="1728" y="1163"/>
                  </a:lnTo>
                  <a:lnTo>
                    <a:pt x="1728" y="1163"/>
                  </a:lnTo>
                  <a:lnTo>
                    <a:pt x="1725" y="1163"/>
                  </a:lnTo>
                  <a:lnTo>
                    <a:pt x="1725" y="1163"/>
                  </a:lnTo>
                  <a:lnTo>
                    <a:pt x="1723" y="1163"/>
                  </a:lnTo>
                  <a:lnTo>
                    <a:pt x="1723" y="1165"/>
                  </a:lnTo>
                  <a:lnTo>
                    <a:pt x="1720" y="1168"/>
                  </a:lnTo>
                  <a:lnTo>
                    <a:pt x="1720" y="1171"/>
                  </a:lnTo>
                  <a:lnTo>
                    <a:pt x="1720" y="1173"/>
                  </a:lnTo>
                  <a:lnTo>
                    <a:pt x="1717" y="1176"/>
                  </a:lnTo>
                  <a:lnTo>
                    <a:pt x="1717" y="1179"/>
                  </a:lnTo>
                  <a:lnTo>
                    <a:pt x="1717" y="1179"/>
                  </a:lnTo>
                  <a:lnTo>
                    <a:pt x="1715" y="1176"/>
                  </a:lnTo>
                  <a:lnTo>
                    <a:pt x="1715" y="1176"/>
                  </a:lnTo>
                  <a:lnTo>
                    <a:pt x="1712" y="1176"/>
                  </a:lnTo>
                  <a:lnTo>
                    <a:pt x="1712" y="1176"/>
                  </a:lnTo>
                  <a:lnTo>
                    <a:pt x="1712" y="1173"/>
                  </a:lnTo>
                  <a:lnTo>
                    <a:pt x="1712" y="1173"/>
                  </a:lnTo>
                  <a:lnTo>
                    <a:pt x="1709" y="1173"/>
                  </a:lnTo>
                  <a:lnTo>
                    <a:pt x="1707" y="1176"/>
                  </a:lnTo>
                  <a:lnTo>
                    <a:pt x="1707" y="1176"/>
                  </a:lnTo>
                  <a:lnTo>
                    <a:pt x="1704" y="1173"/>
                  </a:lnTo>
                  <a:lnTo>
                    <a:pt x="1704" y="1171"/>
                  </a:lnTo>
                  <a:lnTo>
                    <a:pt x="1701" y="1171"/>
                  </a:lnTo>
                  <a:lnTo>
                    <a:pt x="1701" y="1171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9" y="1168"/>
                  </a:lnTo>
                  <a:lnTo>
                    <a:pt x="1696" y="1165"/>
                  </a:lnTo>
                  <a:lnTo>
                    <a:pt x="1696" y="1165"/>
                  </a:lnTo>
                  <a:lnTo>
                    <a:pt x="1696" y="1165"/>
                  </a:lnTo>
                  <a:lnTo>
                    <a:pt x="1696" y="1168"/>
                  </a:lnTo>
                  <a:lnTo>
                    <a:pt x="1693" y="1168"/>
                  </a:lnTo>
                  <a:lnTo>
                    <a:pt x="1693" y="1168"/>
                  </a:lnTo>
                  <a:lnTo>
                    <a:pt x="1693" y="1171"/>
                  </a:lnTo>
                  <a:lnTo>
                    <a:pt x="1693" y="1171"/>
                  </a:lnTo>
                  <a:lnTo>
                    <a:pt x="1693" y="1173"/>
                  </a:lnTo>
                  <a:lnTo>
                    <a:pt x="1693" y="1173"/>
                  </a:lnTo>
                  <a:lnTo>
                    <a:pt x="1691" y="1176"/>
                  </a:lnTo>
                  <a:lnTo>
                    <a:pt x="1691" y="1176"/>
                  </a:lnTo>
                  <a:lnTo>
                    <a:pt x="1691" y="1176"/>
                  </a:lnTo>
                  <a:lnTo>
                    <a:pt x="1691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8" y="1179"/>
                  </a:lnTo>
                  <a:lnTo>
                    <a:pt x="1685" y="1179"/>
                  </a:lnTo>
                  <a:lnTo>
                    <a:pt x="1685" y="1179"/>
                  </a:lnTo>
                  <a:lnTo>
                    <a:pt x="1685" y="1176"/>
                  </a:lnTo>
                  <a:lnTo>
                    <a:pt x="1685" y="1176"/>
                  </a:lnTo>
                  <a:lnTo>
                    <a:pt x="1683" y="1176"/>
                  </a:lnTo>
                  <a:lnTo>
                    <a:pt x="1683" y="1173"/>
                  </a:lnTo>
                  <a:lnTo>
                    <a:pt x="1683" y="1173"/>
                  </a:lnTo>
                  <a:lnTo>
                    <a:pt x="1683" y="1176"/>
                  </a:lnTo>
                  <a:lnTo>
                    <a:pt x="1683" y="1176"/>
                  </a:lnTo>
                  <a:lnTo>
                    <a:pt x="1680" y="1176"/>
                  </a:lnTo>
                  <a:lnTo>
                    <a:pt x="1680" y="1176"/>
                  </a:lnTo>
                  <a:lnTo>
                    <a:pt x="1680" y="1176"/>
                  </a:lnTo>
                  <a:lnTo>
                    <a:pt x="1677" y="1176"/>
                  </a:lnTo>
                  <a:lnTo>
                    <a:pt x="1677" y="1176"/>
                  </a:lnTo>
                  <a:lnTo>
                    <a:pt x="1677" y="1176"/>
                  </a:lnTo>
                  <a:lnTo>
                    <a:pt x="1674" y="1176"/>
                  </a:lnTo>
                  <a:lnTo>
                    <a:pt x="1674" y="1176"/>
                  </a:lnTo>
                  <a:lnTo>
                    <a:pt x="1674" y="1176"/>
                  </a:lnTo>
                  <a:lnTo>
                    <a:pt x="1672" y="1173"/>
                  </a:lnTo>
                  <a:lnTo>
                    <a:pt x="1672" y="1173"/>
                  </a:lnTo>
                  <a:lnTo>
                    <a:pt x="1669" y="1173"/>
                  </a:lnTo>
                  <a:lnTo>
                    <a:pt x="1669" y="1173"/>
                  </a:lnTo>
                  <a:lnTo>
                    <a:pt x="1666" y="1173"/>
                  </a:lnTo>
                  <a:lnTo>
                    <a:pt x="1666" y="1173"/>
                  </a:lnTo>
                  <a:lnTo>
                    <a:pt x="1666" y="1173"/>
                  </a:lnTo>
                  <a:lnTo>
                    <a:pt x="1664" y="1171"/>
                  </a:lnTo>
                  <a:lnTo>
                    <a:pt x="1664" y="1171"/>
                  </a:lnTo>
                  <a:lnTo>
                    <a:pt x="1661" y="1168"/>
                  </a:lnTo>
                  <a:lnTo>
                    <a:pt x="1661" y="1168"/>
                  </a:lnTo>
                  <a:lnTo>
                    <a:pt x="1661" y="1168"/>
                  </a:lnTo>
                  <a:lnTo>
                    <a:pt x="1658" y="1165"/>
                  </a:lnTo>
                  <a:lnTo>
                    <a:pt x="1658" y="1165"/>
                  </a:lnTo>
                  <a:lnTo>
                    <a:pt x="1656" y="1165"/>
                  </a:lnTo>
                  <a:lnTo>
                    <a:pt x="1656" y="1165"/>
                  </a:lnTo>
                  <a:lnTo>
                    <a:pt x="1653" y="1165"/>
                  </a:lnTo>
                  <a:lnTo>
                    <a:pt x="1653" y="1165"/>
                  </a:lnTo>
                  <a:lnTo>
                    <a:pt x="1650" y="1163"/>
                  </a:lnTo>
                  <a:lnTo>
                    <a:pt x="1650" y="1163"/>
                  </a:lnTo>
                  <a:lnTo>
                    <a:pt x="1648" y="1163"/>
                  </a:lnTo>
                  <a:lnTo>
                    <a:pt x="1648" y="1160"/>
                  </a:lnTo>
                  <a:lnTo>
                    <a:pt x="1645" y="1160"/>
                  </a:lnTo>
                  <a:lnTo>
                    <a:pt x="1642" y="1157"/>
                  </a:lnTo>
                  <a:lnTo>
                    <a:pt x="1642" y="1157"/>
                  </a:lnTo>
                  <a:lnTo>
                    <a:pt x="1642" y="1157"/>
                  </a:lnTo>
                  <a:lnTo>
                    <a:pt x="1640" y="1160"/>
                  </a:lnTo>
                  <a:lnTo>
                    <a:pt x="1640" y="1160"/>
                  </a:lnTo>
                  <a:lnTo>
                    <a:pt x="1640" y="1160"/>
                  </a:lnTo>
                  <a:lnTo>
                    <a:pt x="1640" y="1163"/>
                  </a:lnTo>
                  <a:lnTo>
                    <a:pt x="1637" y="1163"/>
                  </a:lnTo>
                  <a:lnTo>
                    <a:pt x="1637" y="1165"/>
                  </a:lnTo>
                  <a:lnTo>
                    <a:pt x="1637" y="1163"/>
                  </a:lnTo>
                  <a:lnTo>
                    <a:pt x="1634" y="1163"/>
                  </a:lnTo>
                  <a:lnTo>
                    <a:pt x="1634" y="1163"/>
                  </a:lnTo>
                  <a:lnTo>
                    <a:pt x="1632" y="1160"/>
                  </a:lnTo>
                  <a:lnTo>
                    <a:pt x="1632" y="1160"/>
                  </a:lnTo>
                  <a:lnTo>
                    <a:pt x="1629" y="1157"/>
                  </a:lnTo>
                  <a:lnTo>
                    <a:pt x="1629" y="1160"/>
                  </a:lnTo>
                  <a:lnTo>
                    <a:pt x="1629" y="1160"/>
                  </a:lnTo>
                  <a:lnTo>
                    <a:pt x="1626" y="1160"/>
                  </a:lnTo>
                  <a:lnTo>
                    <a:pt x="1626" y="1160"/>
                  </a:lnTo>
                  <a:lnTo>
                    <a:pt x="1626" y="1160"/>
                  </a:lnTo>
                  <a:lnTo>
                    <a:pt x="1624" y="1163"/>
                  </a:lnTo>
                  <a:lnTo>
                    <a:pt x="1621" y="1163"/>
                  </a:lnTo>
                  <a:lnTo>
                    <a:pt x="1621" y="1160"/>
                  </a:lnTo>
                  <a:lnTo>
                    <a:pt x="1618" y="1157"/>
                  </a:lnTo>
                  <a:lnTo>
                    <a:pt x="1618" y="1157"/>
                  </a:lnTo>
                  <a:lnTo>
                    <a:pt x="1616" y="1160"/>
                  </a:lnTo>
                  <a:lnTo>
                    <a:pt x="1616" y="1163"/>
                  </a:lnTo>
                  <a:lnTo>
                    <a:pt x="1616" y="1163"/>
                  </a:lnTo>
                  <a:lnTo>
                    <a:pt x="1616" y="1165"/>
                  </a:lnTo>
                  <a:lnTo>
                    <a:pt x="1616" y="1165"/>
                  </a:lnTo>
                  <a:lnTo>
                    <a:pt x="1616" y="1168"/>
                  </a:lnTo>
                  <a:lnTo>
                    <a:pt x="1616" y="1168"/>
                  </a:lnTo>
                  <a:lnTo>
                    <a:pt x="1616" y="1171"/>
                  </a:lnTo>
                  <a:lnTo>
                    <a:pt x="1616" y="1173"/>
                  </a:lnTo>
                  <a:lnTo>
                    <a:pt x="1616" y="1173"/>
                  </a:lnTo>
                  <a:lnTo>
                    <a:pt x="1616" y="1176"/>
                  </a:lnTo>
                  <a:lnTo>
                    <a:pt x="1613" y="1176"/>
                  </a:lnTo>
                  <a:lnTo>
                    <a:pt x="1613" y="1176"/>
                  </a:lnTo>
                  <a:lnTo>
                    <a:pt x="1610" y="1176"/>
                  </a:lnTo>
                  <a:lnTo>
                    <a:pt x="1610" y="1176"/>
                  </a:lnTo>
                  <a:lnTo>
                    <a:pt x="1608" y="1179"/>
                  </a:lnTo>
                  <a:lnTo>
                    <a:pt x="1608" y="1179"/>
                  </a:lnTo>
                  <a:lnTo>
                    <a:pt x="1608" y="1184"/>
                  </a:lnTo>
                  <a:lnTo>
                    <a:pt x="1608" y="1187"/>
                  </a:lnTo>
                  <a:lnTo>
                    <a:pt x="1608" y="1189"/>
                  </a:lnTo>
                  <a:lnTo>
                    <a:pt x="1608" y="1189"/>
                  </a:lnTo>
                  <a:lnTo>
                    <a:pt x="1610" y="1192"/>
                  </a:lnTo>
                  <a:lnTo>
                    <a:pt x="1610" y="1195"/>
                  </a:lnTo>
                  <a:lnTo>
                    <a:pt x="1610" y="1195"/>
                  </a:lnTo>
                  <a:lnTo>
                    <a:pt x="1613" y="1197"/>
                  </a:lnTo>
                  <a:lnTo>
                    <a:pt x="1613" y="1197"/>
                  </a:lnTo>
                  <a:lnTo>
                    <a:pt x="1616" y="1200"/>
                  </a:lnTo>
                  <a:lnTo>
                    <a:pt x="1616" y="1203"/>
                  </a:lnTo>
                  <a:lnTo>
                    <a:pt x="1618" y="1205"/>
                  </a:lnTo>
                  <a:lnTo>
                    <a:pt x="1618" y="1208"/>
                  </a:lnTo>
                  <a:lnTo>
                    <a:pt x="1618" y="1211"/>
                  </a:lnTo>
                  <a:lnTo>
                    <a:pt x="1618" y="1211"/>
                  </a:lnTo>
                  <a:lnTo>
                    <a:pt x="1618" y="1211"/>
                  </a:lnTo>
                  <a:lnTo>
                    <a:pt x="1621" y="1213"/>
                  </a:lnTo>
                  <a:lnTo>
                    <a:pt x="1621" y="1216"/>
                  </a:lnTo>
                  <a:lnTo>
                    <a:pt x="1618" y="1216"/>
                  </a:lnTo>
                  <a:lnTo>
                    <a:pt x="1618" y="1219"/>
                  </a:lnTo>
                  <a:lnTo>
                    <a:pt x="1618" y="1219"/>
                  </a:lnTo>
                  <a:lnTo>
                    <a:pt x="1618" y="1221"/>
                  </a:lnTo>
                  <a:lnTo>
                    <a:pt x="1618" y="1224"/>
                  </a:lnTo>
                  <a:lnTo>
                    <a:pt x="1618" y="1224"/>
                  </a:lnTo>
                  <a:lnTo>
                    <a:pt x="1616" y="1224"/>
                  </a:lnTo>
                  <a:lnTo>
                    <a:pt x="1613" y="1224"/>
                  </a:lnTo>
                  <a:lnTo>
                    <a:pt x="1613" y="1224"/>
                  </a:lnTo>
                  <a:lnTo>
                    <a:pt x="1613" y="1224"/>
                  </a:lnTo>
                  <a:lnTo>
                    <a:pt x="1610" y="1227"/>
                  </a:lnTo>
                  <a:lnTo>
                    <a:pt x="1610" y="1229"/>
                  </a:lnTo>
                  <a:lnTo>
                    <a:pt x="1613" y="1229"/>
                  </a:lnTo>
                  <a:lnTo>
                    <a:pt x="1613" y="1232"/>
                  </a:lnTo>
                  <a:lnTo>
                    <a:pt x="1613" y="1235"/>
                  </a:lnTo>
                  <a:lnTo>
                    <a:pt x="1616" y="1235"/>
                  </a:lnTo>
                  <a:lnTo>
                    <a:pt x="1616" y="1237"/>
                  </a:lnTo>
                  <a:lnTo>
                    <a:pt x="1616" y="1240"/>
                  </a:lnTo>
                  <a:lnTo>
                    <a:pt x="1618" y="1240"/>
                  </a:lnTo>
                  <a:lnTo>
                    <a:pt x="1618" y="1240"/>
                  </a:lnTo>
                  <a:lnTo>
                    <a:pt x="1618" y="1243"/>
                  </a:lnTo>
                  <a:lnTo>
                    <a:pt x="1618" y="1245"/>
                  </a:lnTo>
                  <a:lnTo>
                    <a:pt x="1618" y="1245"/>
                  </a:lnTo>
                  <a:lnTo>
                    <a:pt x="1618" y="1248"/>
                  </a:lnTo>
                  <a:lnTo>
                    <a:pt x="1618" y="1248"/>
                  </a:lnTo>
                  <a:lnTo>
                    <a:pt x="1618" y="1251"/>
                  </a:lnTo>
                  <a:lnTo>
                    <a:pt x="1618" y="1251"/>
                  </a:lnTo>
                  <a:lnTo>
                    <a:pt x="1618" y="1251"/>
                  </a:lnTo>
                  <a:lnTo>
                    <a:pt x="1618" y="1253"/>
                  </a:lnTo>
                  <a:lnTo>
                    <a:pt x="1618" y="1253"/>
                  </a:lnTo>
                  <a:lnTo>
                    <a:pt x="1618" y="1256"/>
                  </a:lnTo>
                  <a:lnTo>
                    <a:pt x="1618" y="1259"/>
                  </a:lnTo>
                  <a:lnTo>
                    <a:pt x="1618" y="1259"/>
                  </a:lnTo>
                  <a:lnTo>
                    <a:pt x="1618" y="1261"/>
                  </a:lnTo>
                  <a:lnTo>
                    <a:pt x="1621" y="1261"/>
                  </a:lnTo>
                  <a:lnTo>
                    <a:pt x="1618" y="1264"/>
                  </a:lnTo>
                  <a:lnTo>
                    <a:pt x="1618" y="1264"/>
                  </a:lnTo>
                  <a:lnTo>
                    <a:pt x="1618" y="1261"/>
                  </a:lnTo>
                  <a:lnTo>
                    <a:pt x="1616" y="1261"/>
                  </a:lnTo>
                  <a:lnTo>
                    <a:pt x="1618" y="1264"/>
                  </a:lnTo>
                  <a:lnTo>
                    <a:pt x="1618" y="1267"/>
                  </a:lnTo>
                  <a:lnTo>
                    <a:pt x="1618" y="1267"/>
                  </a:lnTo>
                  <a:lnTo>
                    <a:pt x="1618" y="1270"/>
                  </a:lnTo>
                  <a:lnTo>
                    <a:pt x="1618" y="1272"/>
                  </a:lnTo>
                  <a:lnTo>
                    <a:pt x="1618" y="1272"/>
                  </a:lnTo>
                  <a:lnTo>
                    <a:pt x="1618" y="1275"/>
                  </a:lnTo>
                  <a:lnTo>
                    <a:pt x="1618" y="1278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8" y="1280"/>
                  </a:lnTo>
                  <a:lnTo>
                    <a:pt x="1616" y="1280"/>
                  </a:lnTo>
                  <a:lnTo>
                    <a:pt x="1616" y="1280"/>
                  </a:lnTo>
                  <a:lnTo>
                    <a:pt x="1616" y="1280"/>
                  </a:lnTo>
                  <a:lnTo>
                    <a:pt x="1613" y="1283"/>
                  </a:lnTo>
                  <a:lnTo>
                    <a:pt x="1613" y="1283"/>
                  </a:lnTo>
                  <a:lnTo>
                    <a:pt x="1613" y="1283"/>
                  </a:lnTo>
                  <a:lnTo>
                    <a:pt x="1613" y="1286"/>
                  </a:lnTo>
                  <a:lnTo>
                    <a:pt x="1613" y="1288"/>
                  </a:lnTo>
                  <a:lnTo>
                    <a:pt x="1610" y="1288"/>
                  </a:lnTo>
                  <a:lnTo>
                    <a:pt x="1610" y="1288"/>
                  </a:lnTo>
                  <a:lnTo>
                    <a:pt x="1610" y="1288"/>
                  </a:lnTo>
                  <a:lnTo>
                    <a:pt x="1608" y="1291"/>
                  </a:lnTo>
                  <a:lnTo>
                    <a:pt x="1608" y="1294"/>
                  </a:lnTo>
                  <a:lnTo>
                    <a:pt x="1605" y="1294"/>
                  </a:lnTo>
                  <a:lnTo>
                    <a:pt x="1602" y="1294"/>
                  </a:lnTo>
                  <a:lnTo>
                    <a:pt x="1602" y="1294"/>
                  </a:lnTo>
                  <a:lnTo>
                    <a:pt x="1600" y="1294"/>
                  </a:lnTo>
                  <a:lnTo>
                    <a:pt x="1600" y="1296"/>
                  </a:lnTo>
                  <a:lnTo>
                    <a:pt x="1600" y="1296"/>
                  </a:lnTo>
                  <a:lnTo>
                    <a:pt x="1600" y="1299"/>
                  </a:lnTo>
                  <a:lnTo>
                    <a:pt x="1602" y="1299"/>
                  </a:lnTo>
                  <a:lnTo>
                    <a:pt x="1602" y="1302"/>
                  </a:lnTo>
                  <a:lnTo>
                    <a:pt x="1602" y="1304"/>
                  </a:lnTo>
                  <a:lnTo>
                    <a:pt x="1602" y="1304"/>
                  </a:lnTo>
                  <a:lnTo>
                    <a:pt x="1602" y="1307"/>
                  </a:lnTo>
                  <a:lnTo>
                    <a:pt x="1602" y="1307"/>
                  </a:lnTo>
                  <a:lnTo>
                    <a:pt x="1600" y="1310"/>
                  </a:lnTo>
                  <a:lnTo>
                    <a:pt x="1600" y="1310"/>
                  </a:lnTo>
                  <a:lnTo>
                    <a:pt x="1600" y="1310"/>
                  </a:lnTo>
                  <a:lnTo>
                    <a:pt x="1597" y="1310"/>
                  </a:lnTo>
                  <a:lnTo>
                    <a:pt x="1594" y="1312"/>
                  </a:lnTo>
                  <a:lnTo>
                    <a:pt x="1594" y="1312"/>
                  </a:lnTo>
                  <a:lnTo>
                    <a:pt x="1594" y="1315"/>
                  </a:lnTo>
                  <a:lnTo>
                    <a:pt x="1592" y="1312"/>
                  </a:lnTo>
                  <a:lnTo>
                    <a:pt x="1589" y="1312"/>
                  </a:lnTo>
                  <a:lnTo>
                    <a:pt x="1589" y="1318"/>
                  </a:lnTo>
                  <a:lnTo>
                    <a:pt x="1589" y="1320"/>
                  </a:lnTo>
                  <a:lnTo>
                    <a:pt x="1592" y="1320"/>
                  </a:lnTo>
                  <a:lnTo>
                    <a:pt x="1594" y="1323"/>
                  </a:lnTo>
                  <a:lnTo>
                    <a:pt x="1597" y="1323"/>
                  </a:lnTo>
                  <a:lnTo>
                    <a:pt x="1597" y="1326"/>
                  </a:lnTo>
                  <a:lnTo>
                    <a:pt x="1597" y="1326"/>
                  </a:lnTo>
                  <a:lnTo>
                    <a:pt x="1597" y="1326"/>
                  </a:lnTo>
                  <a:lnTo>
                    <a:pt x="1594" y="1328"/>
                  </a:lnTo>
                  <a:lnTo>
                    <a:pt x="1594" y="1328"/>
                  </a:lnTo>
                  <a:lnTo>
                    <a:pt x="1594" y="1331"/>
                  </a:lnTo>
                  <a:lnTo>
                    <a:pt x="1594" y="1331"/>
                  </a:lnTo>
                  <a:lnTo>
                    <a:pt x="1592" y="1334"/>
                  </a:lnTo>
                  <a:lnTo>
                    <a:pt x="1592" y="1336"/>
                  </a:lnTo>
                  <a:lnTo>
                    <a:pt x="1589" y="1336"/>
                  </a:lnTo>
                  <a:lnTo>
                    <a:pt x="1589" y="1336"/>
                  </a:lnTo>
                  <a:lnTo>
                    <a:pt x="1589" y="1339"/>
                  </a:lnTo>
                  <a:lnTo>
                    <a:pt x="1589" y="1339"/>
                  </a:lnTo>
                  <a:lnTo>
                    <a:pt x="1589" y="1342"/>
                  </a:lnTo>
                  <a:lnTo>
                    <a:pt x="1586" y="1342"/>
                  </a:lnTo>
                  <a:lnTo>
                    <a:pt x="1586" y="1342"/>
                  </a:lnTo>
                  <a:lnTo>
                    <a:pt x="1586" y="1342"/>
                  </a:lnTo>
                  <a:lnTo>
                    <a:pt x="1584" y="1344"/>
                  </a:lnTo>
                  <a:lnTo>
                    <a:pt x="1584" y="1344"/>
                  </a:lnTo>
                  <a:lnTo>
                    <a:pt x="1586" y="1347"/>
                  </a:lnTo>
                  <a:lnTo>
                    <a:pt x="1586" y="1347"/>
                  </a:lnTo>
                  <a:lnTo>
                    <a:pt x="1589" y="1347"/>
                  </a:lnTo>
                  <a:lnTo>
                    <a:pt x="1589" y="1347"/>
                  </a:lnTo>
                  <a:lnTo>
                    <a:pt x="1592" y="1350"/>
                  </a:lnTo>
                  <a:lnTo>
                    <a:pt x="1592" y="1352"/>
                  </a:lnTo>
                  <a:lnTo>
                    <a:pt x="1592" y="1352"/>
                  </a:lnTo>
                  <a:lnTo>
                    <a:pt x="1592" y="1355"/>
                  </a:lnTo>
                  <a:lnTo>
                    <a:pt x="1589" y="1355"/>
                  </a:lnTo>
                  <a:lnTo>
                    <a:pt x="1589" y="1358"/>
                  </a:lnTo>
                  <a:lnTo>
                    <a:pt x="1589" y="1360"/>
                  </a:lnTo>
                  <a:lnTo>
                    <a:pt x="1589" y="1363"/>
                  </a:lnTo>
                  <a:lnTo>
                    <a:pt x="1589" y="1363"/>
                  </a:lnTo>
                  <a:lnTo>
                    <a:pt x="1589" y="1366"/>
                  </a:lnTo>
                  <a:lnTo>
                    <a:pt x="1592" y="1368"/>
                  </a:lnTo>
                  <a:lnTo>
                    <a:pt x="1592" y="1368"/>
                  </a:lnTo>
                  <a:lnTo>
                    <a:pt x="1594" y="1368"/>
                  </a:lnTo>
                  <a:lnTo>
                    <a:pt x="1594" y="1371"/>
                  </a:lnTo>
                  <a:lnTo>
                    <a:pt x="1597" y="1371"/>
                  </a:lnTo>
                  <a:lnTo>
                    <a:pt x="1600" y="1371"/>
                  </a:lnTo>
                  <a:lnTo>
                    <a:pt x="1600" y="1374"/>
                  </a:lnTo>
                  <a:lnTo>
                    <a:pt x="1602" y="1374"/>
                  </a:lnTo>
                  <a:lnTo>
                    <a:pt x="1605" y="1374"/>
                  </a:lnTo>
                  <a:lnTo>
                    <a:pt x="1608" y="1374"/>
                  </a:lnTo>
                  <a:lnTo>
                    <a:pt x="1608" y="1374"/>
                  </a:lnTo>
                  <a:lnTo>
                    <a:pt x="1610" y="1376"/>
                  </a:lnTo>
                  <a:lnTo>
                    <a:pt x="1610" y="1379"/>
                  </a:lnTo>
                  <a:lnTo>
                    <a:pt x="1610" y="1382"/>
                  </a:lnTo>
                  <a:lnTo>
                    <a:pt x="1613" y="1384"/>
                  </a:lnTo>
                  <a:lnTo>
                    <a:pt x="1613" y="1384"/>
                  </a:lnTo>
                  <a:lnTo>
                    <a:pt x="1610" y="1387"/>
                  </a:lnTo>
                  <a:lnTo>
                    <a:pt x="1610" y="1387"/>
                  </a:lnTo>
                  <a:lnTo>
                    <a:pt x="1610" y="1390"/>
                  </a:lnTo>
                  <a:lnTo>
                    <a:pt x="1613" y="1390"/>
                  </a:lnTo>
                  <a:lnTo>
                    <a:pt x="1613" y="1392"/>
                  </a:lnTo>
                  <a:lnTo>
                    <a:pt x="1613" y="1395"/>
                  </a:lnTo>
                  <a:lnTo>
                    <a:pt x="1613" y="1395"/>
                  </a:lnTo>
                  <a:lnTo>
                    <a:pt x="1613" y="1398"/>
                  </a:lnTo>
                  <a:lnTo>
                    <a:pt x="1613" y="1400"/>
                  </a:lnTo>
                  <a:lnTo>
                    <a:pt x="1616" y="1400"/>
                  </a:lnTo>
                  <a:lnTo>
                    <a:pt x="1616" y="1403"/>
                  </a:lnTo>
                  <a:lnTo>
                    <a:pt x="1618" y="1406"/>
                  </a:lnTo>
                  <a:lnTo>
                    <a:pt x="1621" y="1408"/>
                  </a:lnTo>
                  <a:lnTo>
                    <a:pt x="1621" y="1411"/>
                  </a:lnTo>
                  <a:lnTo>
                    <a:pt x="1621" y="1411"/>
                  </a:lnTo>
                  <a:lnTo>
                    <a:pt x="1621" y="1416"/>
                  </a:lnTo>
                  <a:lnTo>
                    <a:pt x="1621" y="1419"/>
                  </a:lnTo>
                  <a:lnTo>
                    <a:pt x="1621" y="1422"/>
                  </a:lnTo>
                  <a:lnTo>
                    <a:pt x="1621" y="1424"/>
                  </a:lnTo>
                  <a:lnTo>
                    <a:pt x="1621" y="1424"/>
                  </a:lnTo>
                  <a:lnTo>
                    <a:pt x="1624" y="1424"/>
                  </a:lnTo>
                  <a:lnTo>
                    <a:pt x="1624" y="1427"/>
                  </a:lnTo>
                  <a:lnTo>
                    <a:pt x="1624" y="1430"/>
                  </a:lnTo>
                  <a:lnTo>
                    <a:pt x="1626" y="1430"/>
                  </a:lnTo>
                  <a:lnTo>
                    <a:pt x="1626" y="1433"/>
                  </a:lnTo>
                  <a:lnTo>
                    <a:pt x="1626" y="1433"/>
                  </a:lnTo>
                  <a:lnTo>
                    <a:pt x="1629" y="1435"/>
                  </a:lnTo>
                  <a:lnTo>
                    <a:pt x="1629" y="1435"/>
                  </a:lnTo>
                  <a:lnTo>
                    <a:pt x="1629" y="1438"/>
                  </a:lnTo>
                  <a:lnTo>
                    <a:pt x="1632" y="1441"/>
                  </a:lnTo>
                  <a:lnTo>
                    <a:pt x="1632" y="1443"/>
                  </a:lnTo>
                  <a:lnTo>
                    <a:pt x="1634" y="1443"/>
                  </a:lnTo>
                  <a:lnTo>
                    <a:pt x="1634" y="1446"/>
                  </a:lnTo>
                  <a:lnTo>
                    <a:pt x="1637" y="1446"/>
                  </a:lnTo>
                  <a:lnTo>
                    <a:pt x="1637" y="1446"/>
                  </a:lnTo>
                  <a:lnTo>
                    <a:pt x="1637" y="1451"/>
                  </a:lnTo>
                  <a:lnTo>
                    <a:pt x="1637" y="1454"/>
                  </a:lnTo>
                  <a:lnTo>
                    <a:pt x="1637" y="1454"/>
                  </a:lnTo>
                  <a:lnTo>
                    <a:pt x="1637" y="1457"/>
                  </a:lnTo>
                  <a:lnTo>
                    <a:pt x="1640" y="1459"/>
                  </a:lnTo>
                  <a:lnTo>
                    <a:pt x="1640" y="1459"/>
                  </a:lnTo>
                  <a:lnTo>
                    <a:pt x="1642" y="1462"/>
                  </a:lnTo>
                  <a:lnTo>
                    <a:pt x="1642" y="1462"/>
                  </a:lnTo>
                  <a:lnTo>
                    <a:pt x="1645" y="1465"/>
                  </a:lnTo>
                  <a:lnTo>
                    <a:pt x="1645" y="1465"/>
                  </a:lnTo>
                  <a:lnTo>
                    <a:pt x="1645" y="1467"/>
                  </a:lnTo>
                  <a:lnTo>
                    <a:pt x="1648" y="1467"/>
                  </a:lnTo>
                  <a:lnTo>
                    <a:pt x="1648" y="1470"/>
                  </a:lnTo>
                  <a:lnTo>
                    <a:pt x="1648" y="1473"/>
                  </a:lnTo>
                  <a:lnTo>
                    <a:pt x="1648" y="1473"/>
                  </a:lnTo>
                  <a:lnTo>
                    <a:pt x="1645" y="1473"/>
                  </a:lnTo>
                  <a:lnTo>
                    <a:pt x="1645" y="1475"/>
                  </a:lnTo>
                  <a:lnTo>
                    <a:pt x="1642" y="1475"/>
                  </a:lnTo>
                  <a:lnTo>
                    <a:pt x="1640" y="1475"/>
                  </a:lnTo>
                  <a:lnTo>
                    <a:pt x="1640" y="1475"/>
                  </a:lnTo>
                  <a:lnTo>
                    <a:pt x="1640" y="1473"/>
                  </a:lnTo>
                  <a:lnTo>
                    <a:pt x="1640" y="1470"/>
                  </a:lnTo>
                  <a:lnTo>
                    <a:pt x="1640" y="1470"/>
                  </a:lnTo>
                  <a:lnTo>
                    <a:pt x="1637" y="1470"/>
                  </a:lnTo>
                  <a:lnTo>
                    <a:pt x="1637" y="1467"/>
                  </a:lnTo>
                  <a:lnTo>
                    <a:pt x="1634" y="1467"/>
                  </a:lnTo>
                  <a:lnTo>
                    <a:pt x="1634" y="1467"/>
                  </a:lnTo>
                  <a:lnTo>
                    <a:pt x="1634" y="1465"/>
                  </a:lnTo>
                  <a:lnTo>
                    <a:pt x="1634" y="1465"/>
                  </a:lnTo>
                  <a:lnTo>
                    <a:pt x="1634" y="1467"/>
                  </a:lnTo>
                  <a:lnTo>
                    <a:pt x="1634" y="1470"/>
                  </a:lnTo>
                  <a:lnTo>
                    <a:pt x="1632" y="1473"/>
                  </a:lnTo>
                  <a:lnTo>
                    <a:pt x="1629" y="1473"/>
                  </a:lnTo>
                  <a:lnTo>
                    <a:pt x="1629" y="1473"/>
                  </a:lnTo>
                  <a:lnTo>
                    <a:pt x="1626" y="1475"/>
                  </a:lnTo>
                  <a:lnTo>
                    <a:pt x="1626" y="1475"/>
                  </a:lnTo>
                  <a:lnTo>
                    <a:pt x="1624" y="1475"/>
                  </a:lnTo>
                  <a:lnTo>
                    <a:pt x="1624" y="1478"/>
                  </a:lnTo>
                  <a:lnTo>
                    <a:pt x="1621" y="1478"/>
                  </a:lnTo>
                  <a:lnTo>
                    <a:pt x="1621" y="1478"/>
                  </a:lnTo>
                  <a:lnTo>
                    <a:pt x="1618" y="1481"/>
                  </a:lnTo>
                  <a:lnTo>
                    <a:pt x="1618" y="1481"/>
                  </a:lnTo>
                  <a:lnTo>
                    <a:pt x="1618" y="1483"/>
                  </a:lnTo>
                  <a:lnTo>
                    <a:pt x="1618" y="1483"/>
                  </a:lnTo>
                  <a:lnTo>
                    <a:pt x="1618" y="1486"/>
                  </a:lnTo>
                  <a:lnTo>
                    <a:pt x="1618" y="1486"/>
                  </a:lnTo>
                  <a:lnTo>
                    <a:pt x="1618" y="1489"/>
                  </a:lnTo>
                  <a:lnTo>
                    <a:pt x="1618" y="1491"/>
                  </a:lnTo>
                  <a:lnTo>
                    <a:pt x="1616" y="1491"/>
                  </a:lnTo>
                  <a:lnTo>
                    <a:pt x="1618" y="1494"/>
                  </a:lnTo>
                  <a:lnTo>
                    <a:pt x="1618" y="1497"/>
                  </a:lnTo>
                  <a:lnTo>
                    <a:pt x="1618" y="1497"/>
                  </a:lnTo>
                  <a:lnTo>
                    <a:pt x="1621" y="1497"/>
                  </a:lnTo>
                  <a:lnTo>
                    <a:pt x="1621" y="1497"/>
                  </a:lnTo>
                  <a:lnTo>
                    <a:pt x="1624" y="1497"/>
                  </a:lnTo>
                  <a:lnTo>
                    <a:pt x="1621" y="1499"/>
                  </a:lnTo>
                  <a:lnTo>
                    <a:pt x="1621" y="1502"/>
                  </a:lnTo>
                  <a:lnTo>
                    <a:pt x="1618" y="1502"/>
                  </a:lnTo>
                  <a:lnTo>
                    <a:pt x="1616" y="1505"/>
                  </a:lnTo>
                  <a:lnTo>
                    <a:pt x="1616" y="1505"/>
                  </a:lnTo>
                  <a:lnTo>
                    <a:pt x="1616" y="1507"/>
                  </a:lnTo>
                  <a:lnTo>
                    <a:pt x="1616" y="1507"/>
                  </a:lnTo>
                  <a:lnTo>
                    <a:pt x="1616" y="1507"/>
                  </a:lnTo>
                  <a:lnTo>
                    <a:pt x="1616" y="1510"/>
                  </a:lnTo>
                  <a:lnTo>
                    <a:pt x="1616" y="1510"/>
                  </a:lnTo>
                  <a:lnTo>
                    <a:pt x="1616" y="1513"/>
                  </a:lnTo>
                  <a:lnTo>
                    <a:pt x="1616" y="1515"/>
                  </a:lnTo>
                  <a:lnTo>
                    <a:pt x="1613" y="1515"/>
                  </a:lnTo>
                  <a:lnTo>
                    <a:pt x="1613" y="1515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18"/>
                  </a:lnTo>
                  <a:lnTo>
                    <a:pt x="1610" y="1521"/>
                  </a:lnTo>
                  <a:lnTo>
                    <a:pt x="1608" y="1521"/>
                  </a:lnTo>
                  <a:lnTo>
                    <a:pt x="1608" y="1521"/>
                  </a:lnTo>
                  <a:lnTo>
                    <a:pt x="1605" y="1521"/>
                  </a:lnTo>
                  <a:lnTo>
                    <a:pt x="1605" y="1523"/>
                  </a:lnTo>
                  <a:lnTo>
                    <a:pt x="1602" y="1526"/>
                  </a:lnTo>
                  <a:lnTo>
                    <a:pt x="1602" y="1526"/>
                  </a:lnTo>
                  <a:lnTo>
                    <a:pt x="1602" y="1529"/>
                  </a:lnTo>
                  <a:lnTo>
                    <a:pt x="1602" y="1529"/>
                  </a:lnTo>
                  <a:lnTo>
                    <a:pt x="1600" y="1531"/>
                  </a:lnTo>
                  <a:lnTo>
                    <a:pt x="1600" y="1534"/>
                  </a:lnTo>
                  <a:lnTo>
                    <a:pt x="1597" y="1534"/>
                  </a:lnTo>
                  <a:lnTo>
                    <a:pt x="1594" y="1537"/>
                  </a:lnTo>
                  <a:lnTo>
                    <a:pt x="1592" y="1537"/>
                  </a:lnTo>
                  <a:lnTo>
                    <a:pt x="1586" y="1537"/>
                  </a:lnTo>
                  <a:lnTo>
                    <a:pt x="1586" y="1537"/>
                  </a:lnTo>
                  <a:lnTo>
                    <a:pt x="1584" y="1537"/>
                  </a:lnTo>
                  <a:lnTo>
                    <a:pt x="1581" y="1539"/>
                  </a:lnTo>
                  <a:lnTo>
                    <a:pt x="1581" y="1539"/>
                  </a:lnTo>
                  <a:lnTo>
                    <a:pt x="1578" y="1539"/>
                  </a:lnTo>
                  <a:lnTo>
                    <a:pt x="1576" y="1537"/>
                  </a:lnTo>
                  <a:lnTo>
                    <a:pt x="1576" y="1537"/>
                  </a:lnTo>
                  <a:lnTo>
                    <a:pt x="1576" y="1539"/>
                  </a:lnTo>
                  <a:lnTo>
                    <a:pt x="1573" y="1539"/>
                  </a:lnTo>
                  <a:lnTo>
                    <a:pt x="1573" y="1542"/>
                  </a:lnTo>
                  <a:lnTo>
                    <a:pt x="1570" y="1542"/>
                  </a:lnTo>
                  <a:lnTo>
                    <a:pt x="1570" y="1542"/>
                  </a:lnTo>
                  <a:lnTo>
                    <a:pt x="1568" y="1542"/>
                  </a:lnTo>
                  <a:lnTo>
                    <a:pt x="1565" y="1542"/>
                  </a:lnTo>
                  <a:lnTo>
                    <a:pt x="1565" y="1542"/>
                  </a:lnTo>
                  <a:lnTo>
                    <a:pt x="1565" y="1542"/>
                  </a:lnTo>
                  <a:lnTo>
                    <a:pt x="1560" y="1539"/>
                  </a:lnTo>
                  <a:lnTo>
                    <a:pt x="1560" y="1539"/>
                  </a:lnTo>
                  <a:lnTo>
                    <a:pt x="1557" y="1542"/>
                  </a:lnTo>
                  <a:lnTo>
                    <a:pt x="1557" y="1542"/>
                  </a:lnTo>
                  <a:lnTo>
                    <a:pt x="1557" y="1539"/>
                  </a:lnTo>
                  <a:lnTo>
                    <a:pt x="1554" y="1539"/>
                  </a:lnTo>
                  <a:lnTo>
                    <a:pt x="1552" y="1539"/>
                  </a:lnTo>
                  <a:lnTo>
                    <a:pt x="1549" y="1539"/>
                  </a:lnTo>
                  <a:lnTo>
                    <a:pt x="1549" y="1542"/>
                  </a:lnTo>
                  <a:lnTo>
                    <a:pt x="1546" y="1542"/>
                  </a:lnTo>
                  <a:lnTo>
                    <a:pt x="1546" y="1542"/>
                  </a:lnTo>
                  <a:lnTo>
                    <a:pt x="1546" y="1545"/>
                  </a:lnTo>
                  <a:lnTo>
                    <a:pt x="1544" y="1545"/>
                  </a:lnTo>
                  <a:lnTo>
                    <a:pt x="1544" y="1545"/>
                  </a:lnTo>
                  <a:lnTo>
                    <a:pt x="1544" y="1545"/>
                  </a:lnTo>
                  <a:lnTo>
                    <a:pt x="1541" y="1547"/>
                  </a:lnTo>
                  <a:lnTo>
                    <a:pt x="1541" y="1550"/>
                  </a:lnTo>
                  <a:lnTo>
                    <a:pt x="1541" y="1550"/>
                  </a:lnTo>
                  <a:lnTo>
                    <a:pt x="1541" y="1553"/>
                  </a:lnTo>
                  <a:lnTo>
                    <a:pt x="1538" y="1550"/>
                  </a:lnTo>
                  <a:lnTo>
                    <a:pt x="1538" y="1553"/>
                  </a:lnTo>
                  <a:lnTo>
                    <a:pt x="1538" y="1553"/>
                  </a:lnTo>
                  <a:lnTo>
                    <a:pt x="1538" y="1553"/>
                  </a:lnTo>
                  <a:lnTo>
                    <a:pt x="1536" y="1558"/>
                  </a:lnTo>
                  <a:lnTo>
                    <a:pt x="1536" y="1558"/>
                  </a:lnTo>
                  <a:lnTo>
                    <a:pt x="1536" y="1561"/>
                  </a:lnTo>
                  <a:lnTo>
                    <a:pt x="1536" y="1561"/>
                  </a:lnTo>
                  <a:lnTo>
                    <a:pt x="1536" y="1563"/>
                  </a:lnTo>
                  <a:lnTo>
                    <a:pt x="1536" y="1563"/>
                  </a:lnTo>
                  <a:lnTo>
                    <a:pt x="1536" y="1566"/>
                  </a:lnTo>
                  <a:lnTo>
                    <a:pt x="1536" y="1566"/>
                  </a:lnTo>
                  <a:lnTo>
                    <a:pt x="1536" y="1569"/>
                  </a:lnTo>
                  <a:lnTo>
                    <a:pt x="1536" y="1569"/>
                  </a:lnTo>
                  <a:lnTo>
                    <a:pt x="1536" y="1569"/>
                  </a:lnTo>
                  <a:lnTo>
                    <a:pt x="1536" y="1571"/>
                  </a:lnTo>
                  <a:lnTo>
                    <a:pt x="1536" y="1571"/>
                  </a:lnTo>
                  <a:lnTo>
                    <a:pt x="1536" y="1571"/>
                  </a:lnTo>
                  <a:lnTo>
                    <a:pt x="1536" y="1574"/>
                  </a:lnTo>
                  <a:lnTo>
                    <a:pt x="1536" y="1574"/>
                  </a:lnTo>
                  <a:lnTo>
                    <a:pt x="1536" y="1577"/>
                  </a:lnTo>
                  <a:lnTo>
                    <a:pt x="1536" y="1577"/>
                  </a:lnTo>
                  <a:lnTo>
                    <a:pt x="1536" y="1579"/>
                  </a:lnTo>
                  <a:lnTo>
                    <a:pt x="1538" y="1579"/>
                  </a:lnTo>
                  <a:lnTo>
                    <a:pt x="1538" y="1579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2"/>
                  </a:lnTo>
                  <a:lnTo>
                    <a:pt x="1538" y="1585"/>
                  </a:lnTo>
                  <a:lnTo>
                    <a:pt x="1538" y="1585"/>
                  </a:lnTo>
                  <a:lnTo>
                    <a:pt x="1538" y="1585"/>
                  </a:lnTo>
                  <a:lnTo>
                    <a:pt x="1541" y="1588"/>
                  </a:lnTo>
                  <a:lnTo>
                    <a:pt x="1541" y="1588"/>
                  </a:lnTo>
                  <a:lnTo>
                    <a:pt x="1538" y="1590"/>
                  </a:lnTo>
                  <a:lnTo>
                    <a:pt x="1536" y="1593"/>
                  </a:lnTo>
                  <a:lnTo>
                    <a:pt x="1533" y="1593"/>
                  </a:lnTo>
                  <a:lnTo>
                    <a:pt x="1530" y="1593"/>
                  </a:lnTo>
                  <a:lnTo>
                    <a:pt x="1528" y="1593"/>
                  </a:lnTo>
                  <a:lnTo>
                    <a:pt x="1525" y="1593"/>
                  </a:lnTo>
                  <a:lnTo>
                    <a:pt x="1525" y="1593"/>
                  </a:lnTo>
                  <a:lnTo>
                    <a:pt x="1525" y="1593"/>
                  </a:lnTo>
                  <a:lnTo>
                    <a:pt x="1522" y="1596"/>
                  </a:lnTo>
                  <a:lnTo>
                    <a:pt x="1520" y="1596"/>
                  </a:lnTo>
                  <a:lnTo>
                    <a:pt x="1517" y="1596"/>
                  </a:lnTo>
                  <a:lnTo>
                    <a:pt x="1517" y="1593"/>
                  </a:lnTo>
                  <a:lnTo>
                    <a:pt x="1514" y="1593"/>
                  </a:lnTo>
                  <a:lnTo>
                    <a:pt x="1512" y="1590"/>
                  </a:lnTo>
                  <a:lnTo>
                    <a:pt x="1512" y="1593"/>
                  </a:lnTo>
                  <a:lnTo>
                    <a:pt x="1512" y="1593"/>
                  </a:lnTo>
                  <a:lnTo>
                    <a:pt x="1509" y="1596"/>
                  </a:lnTo>
                  <a:lnTo>
                    <a:pt x="1506" y="1596"/>
                  </a:lnTo>
                  <a:lnTo>
                    <a:pt x="1506" y="1598"/>
                  </a:lnTo>
                  <a:lnTo>
                    <a:pt x="1506" y="1601"/>
                  </a:lnTo>
                  <a:lnTo>
                    <a:pt x="1504" y="1601"/>
                  </a:lnTo>
                  <a:lnTo>
                    <a:pt x="1504" y="1601"/>
                  </a:lnTo>
                  <a:lnTo>
                    <a:pt x="1501" y="1601"/>
                  </a:lnTo>
                  <a:lnTo>
                    <a:pt x="1498" y="1601"/>
                  </a:lnTo>
                  <a:lnTo>
                    <a:pt x="1496" y="1601"/>
                  </a:lnTo>
                  <a:lnTo>
                    <a:pt x="1493" y="1601"/>
                  </a:lnTo>
                  <a:lnTo>
                    <a:pt x="1490" y="1601"/>
                  </a:lnTo>
                  <a:lnTo>
                    <a:pt x="1488" y="1601"/>
                  </a:lnTo>
                  <a:lnTo>
                    <a:pt x="1485" y="1601"/>
                  </a:lnTo>
                  <a:lnTo>
                    <a:pt x="1485" y="1601"/>
                  </a:lnTo>
                  <a:lnTo>
                    <a:pt x="1480" y="1601"/>
                  </a:lnTo>
                  <a:lnTo>
                    <a:pt x="1480" y="1601"/>
                  </a:lnTo>
                  <a:lnTo>
                    <a:pt x="1474" y="1604"/>
                  </a:lnTo>
                  <a:lnTo>
                    <a:pt x="1472" y="1606"/>
                  </a:lnTo>
                  <a:lnTo>
                    <a:pt x="1472" y="1609"/>
                  </a:lnTo>
                  <a:lnTo>
                    <a:pt x="1466" y="1612"/>
                  </a:lnTo>
                  <a:lnTo>
                    <a:pt x="1461" y="1612"/>
                  </a:lnTo>
                  <a:lnTo>
                    <a:pt x="1461" y="1612"/>
                  </a:lnTo>
                  <a:lnTo>
                    <a:pt x="1461" y="1609"/>
                  </a:lnTo>
                  <a:lnTo>
                    <a:pt x="1458" y="1612"/>
                  </a:lnTo>
                  <a:lnTo>
                    <a:pt x="1456" y="1612"/>
                  </a:lnTo>
                  <a:lnTo>
                    <a:pt x="1453" y="1614"/>
                  </a:lnTo>
                  <a:lnTo>
                    <a:pt x="1450" y="1617"/>
                  </a:lnTo>
                  <a:lnTo>
                    <a:pt x="1450" y="1617"/>
                  </a:lnTo>
                  <a:lnTo>
                    <a:pt x="1450" y="1617"/>
                  </a:lnTo>
                  <a:lnTo>
                    <a:pt x="1448" y="1620"/>
                  </a:lnTo>
                  <a:lnTo>
                    <a:pt x="1448" y="1622"/>
                  </a:lnTo>
                  <a:lnTo>
                    <a:pt x="1445" y="1622"/>
                  </a:lnTo>
                  <a:lnTo>
                    <a:pt x="1442" y="1622"/>
                  </a:lnTo>
                  <a:lnTo>
                    <a:pt x="1442" y="1625"/>
                  </a:lnTo>
                  <a:lnTo>
                    <a:pt x="1442" y="1625"/>
                  </a:lnTo>
                  <a:lnTo>
                    <a:pt x="1439" y="1625"/>
                  </a:lnTo>
                  <a:lnTo>
                    <a:pt x="1439" y="1628"/>
                  </a:lnTo>
                  <a:lnTo>
                    <a:pt x="1439" y="1630"/>
                  </a:lnTo>
                  <a:lnTo>
                    <a:pt x="1437" y="1636"/>
                  </a:lnTo>
                  <a:lnTo>
                    <a:pt x="1437" y="1641"/>
                  </a:lnTo>
                  <a:lnTo>
                    <a:pt x="1434" y="1641"/>
                  </a:lnTo>
                  <a:lnTo>
                    <a:pt x="1434" y="1641"/>
                  </a:lnTo>
                  <a:lnTo>
                    <a:pt x="1431" y="1641"/>
                  </a:lnTo>
                  <a:lnTo>
                    <a:pt x="1434" y="1644"/>
                  </a:lnTo>
                  <a:lnTo>
                    <a:pt x="1434" y="1646"/>
                  </a:lnTo>
                  <a:lnTo>
                    <a:pt x="1434" y="1649"/>
                  </a:lnTo>
                  <a:lnTo>
                    <a:pt x="1434" y="1652"/>
                  </a:lnTo>
                  <a:lnTo>
                    <a:pt x="1439" y="1652"/>
                  </a:lnTo>
                  <a:lnTo>
                    <a:pt x="1439" y="1652"/>
                  </a:lnTo>
                  <a:lnTo>
                    <a:pt x="1437" y="1657"/>
                  </a:lnTo>
                  <a:lnTo>
                    <a:pt x="1437" y="1660"/>
                  </a:lnTo>
                  <a:lnTo>
                    <a:pt x="1437" y="1662"/>
                  </a:lnTo>
                  <a:lnTo>
                    <a:pt x="1434" y="1662"/>
                  </a:lnTo>
                  <a:lnTo>
                    <a:pt x="1431" y="1665"/>
                  </a:lnTo>
                  <a:lnTo>
                    <a:pt x="1429" y="1665"/>
                  </a:lnTo>
                  <a:lnTo>
                    <a:pt x="1429" y="1668"/>
                  </a:lnTo>
                  <a:lnTo>
                    <a:pt x="1429" y="1670"/>
                  </a:lnTo>
                  <a:lnTo>
                    <a:pt x="1429" y="1673"/>
                  </a:lnTo>
                  <a:lnTo>
                    <a:pt x="1429" y="1678"/>
                  </a:lnTo>
                  <a:lnTo>
                    <a:pt x="1431" y="1678"/>
                  </a:lnTo>
                  <a:lnTo>
                    <a:pt x="1434" y="1681"/>
                  </a:lnTo>
                  <a:lnTo>
                    <a:pt x="1434" y="1686"/>
                  </a:lnTo>
                  <a:lnTo>
                    <a:pt x="1434" y="1689"/>
                  </a:lnTo>
                  <a:lnTo>
                    <a:pt x="1437" y="1689"/>
                  </a:lnTo>
                  <a:lnTo>
                    <a:pt x="1437" y="1689"/>
                  </a:lnTo>
                  <a:lnTo>
                    <a:pt x="1437" y="1692"/>
                  </a:lnTo>
                  <a:lnTo>
                    <a:pt x="1437" y="1694"/>
                  </a:lnTo>
                  <a:lnTo>
                    <a:pt x="1434" y="1697"/>
                  </a:lnTo>
                  <a:lnTo>
                    <a:pt x="1434" y="1700"/>
                  </a:lnTo>
                  <a:lnTo>
                    <a:pt x="1434" y="1700"/>
                  </a:lnTo>
                  <a:lnTo>
                    <a:pt x="1434" y="1702"/>
                  </a:lnTo>
                  <a:lnTo>
                    <a:pt x="1437" y="1702"/>
                  </a:lnTo>
                  <a:lnTo>
                    <a:pt x="1437" y="1705"/>
                  </a:lnTo>
                  <a:lnTo>
                    <a:pt x="1434" y="1705"/>
                  </a:lnTo>
                  <a:lnTo>
                    <a:pt x="1431" y="1705"/>
                  </a:lnTo>
                  <a:lnTo>
                    <a:pt x="1429" y="1708"/>
                  </a:lnTo>
                  <a:lnTo>
                    <a:pt x="1429" y="1708"/>
                  </a:lnTo>
                  <a:lnTo>
                    <a:pt x="1426" y="1708"/>
                  </a:lnTo>
                  <a:lnTo>
                    <a:pt x="1423" y="1708"/>
                  </a:lnTo>
                  <a:lnTo>
                    <a:pt x="1423" y="1710"/>
                  </a:lnTo>
                  <a:lnTo>
                    <a:pt x="1426" y="1713"/>
                  </a:lnTo>
                  <a:lnTo>
                    <a:pt x="1429" y="1713"/>
                  </a:lnTo>
                  <a:lnTo>
                    <a:pt x="1429" y="1718"/>
                  </a:lnTo>
                  <a:lnTo>
                    <a:pt x="1431" y="1718"/>
                  </a:lnTo>
                  <a:lnTo>
                    <a:pt x="1434" y="1721"/>
                  </a:lnTo>
                  <a:lnTo>
                    <a:pt x="1434" y="1724"/>
                  </a:lnTo>
                  <a:lnTo>
                    <a:pt x="1437" y="1729"/>
                  </a:lnTo>
                  <a:lnTo>
                    <a:pt x="1437" y="1732"/>
                  </a:lnTo>
                  <a:lnTo>
                    <a:pt x="1431" y="1732"/>
                  </a:lnTo>
                  <a:lnTo>
                    <a:pt x="1431" y="1732"/>
                  </a:lnTo>
                  <a:lnTo>
                    <a:pt x="1429" y="1734"/>
                  </a:lnTo>
                  <a:lnTo>
                    <a:pt x="1429" y="1737"/>
                  </a:lnTo>
                  <a:lnTo>
                    <a:pt x="1429" y="1740"/>
                  </a:lnTo>
                  <a:lnTo>
                    <a:pt x="1431" y="1740"/>
                  </a:lnTo>
                  <a:lnTo>
                    <a:pt x="1431" y="1742"/>
                  </a:lnTo>
                  <a:lnTo>
                    <a:pt x="1431" y="1742"/>
                  </a:lnTo>
                  <a:lnTo>
                    <a:pt x="1434" y="1745"/>
                  </a:lnTo>
                  <a:lnTo>
                    <a:pt x="1434" y="1745"/>
                  </a:lnTo>
                  <a:lnTo>
                    <a:pt x="1437" y="1745"/>
                  </a:lnTo>
                  <a:lnTo>
                    <a:pt x="1437" y="1748"/>
                  </a:lnTo>
                  <a:lnTo>
                    <a:pt x="1439" y="1748"/>
                  </a:lnTo>
                  <a:lnTo>
                    <a:pt x="1439" y="1748"/>
                  </a:lnTo>
                  <a:lnTo>
                    <a:pt x="1439" y="1751"/>
                  </a:lnTo>
                  <a:lnTo>
                    <a:pt x="1437" y="1753"/>
                  </a:lnTo>
                  <a:lnTo>
                    <a:pt x="1434" y="1751"/>
                  </a:lnTo>
                  <a:lnTo>
                    <a:pt x="1431" y="1751"/>
                  </a:lnTo>
                  <a:lnTo>
                    <a:pt x="1429" y="1751"/>
                  </a:lnTo>
                  <a:lnTo>
                    <a:pt x="1426" y="1748"/>
                  </a:lnTo>
                  <a:lnTo>
                    <a:pt x="1423" y="1748"/>
                  </a:lnTo>
                  <a:lnTo>
                    <a:pt x="1421" y="1751"/>
                  </a:lnTo>
                  <a:lnTo>
                    <a:pt x="1418" y="1748"/>
                  </a:lnTo>
                  <a:lnTo>
                    <a:pt x="1415" y="1748"/>
                  </a:lnTo>
                  <a:lnTo>
                    <a:pt x="1413" y="1748"/>
                  </a:lnTo>
                  <a:lnTo>
                    <a:pt x="1410" y="1751"/>
                  </a:lnTo>
                  <a:lnTo>
                    <a:pt x="1410" y="1751"/>
                  </a:lnTo>
                  <a:lnTo>
                    <a:pt x="1407" y="1751"/>
                  </a:lnTo>
                  <a:lnTo>
                    <a:pt x="1405" y="1751"/>
                  </a:lnTo>
                  <a:lnTo>
                    <a:pt x="1405" y="1753"/>
                  </a:lnTo>
                  <a:lnTo>
                    <a:pt x="1407" y="1756"/>
                  </a:lnTo>
                  <a:lnTo>
                    <a:pt x="1410" y="1756"/>
                  </a:lnTo>
                  <a:lnTo>
                    <a:pt x="1410" y="1756"/>
                  </a:lnTo>
                  <a:lnTo>
                    <a:pt x="1413" y="1759"/>
                  </a:lnTo>
                  <a:lnTo>
                    <a:pt x="1413" y="1759"/>
                  </a:lnTo>
                  <a:lnTo>
                    <a:pt x="1415" y="1759"/>
                  </a:lnTo>
                  <a:lnTo>
                    <a:pt x="1415" y="1759"/>
                  </a:lnTo>
                  <a:lnTo>
                    <a:pt x="1418" y="1759"/>
                  </a:lnTo>
                  <a:lnTo>
                    <a:pt x="1418" y="1759"/>
                  </a:lnTo>
                  <a:lnTo>
                    <a:pt x="1421" y="1761"/>
                  </a:lnTo>
                  <a:lnTo>
                    <a:pt x="1418" y="1764"/>
                  </a:lnTo>
                  <a:lnTo>
                    <a:pt x="1418" y="1764"/>
                  </a:lnTo>
                  <a:lnTo>
                    <a:pt x="1421" y="1767"/>
                  </a:lnTo>
                  <a:lnTo>
                    <a:pt x="1421" y="1767"/>
                  </a:lnTo>
                  <a:lnTo>
                    <a:pt x="1423" y="1767"/>
                  </a:lnTo>
                  <a:lnTo>
                    <a:pt x="1426" y="1769"/>
                  </a:lnTo>
                  <a:lnTo>
                    <a:pt x="1429" y="1767"/>
                  </a:lnTo>
                  <a:lnTo>
                    <a:pt x="1431" y="1769"/>
                  </a:lnTo>
                  <a:lnTo>
                    <a:pt x="1431" y="1769"/>
                  </a:lnTo>
                  <a:lnTo>
                    <a:pt x="1431" y="1769"/>
                  </a:lnTo>
                  <a:lnTo>
                    <a:pt x="1431" y="1772"/>
                  </a:lnTo>
                  <a:lnTo>
                    <a:pt x="1431" y="1775"/>
                  </a:lnTo>
                  <a:lnTo>
                    <a:pt x="1437" y="1775"/>
                  </a:lnTo>
                  <a:lnTo>
                    <a:pt x="1439" y="1775"/>
                  </a:lnTo>
                  <a:lnTo>
                    <a:pt x="1442" y="1777"/>
                  </a:lnTo>
                  <a:lnTo>
                    <a:pt x="1445" y="1780"/>
                  </a:lnTo>
                  <a:lnTo>
                    <a:pt x="1445" y="1780"/>
                  </a:lnTo>
                  <a:lnTo>
                    <a:pt x="1450" y="1780"/>
                  </a:lnTo>
                  <a:lnTo>
                    <a:pt x="1453" y="1783"/>
                  </a:lnTo>
                  <a:lnTo>
                    <a:pt x="1453" y="1785"/>
                  </a:lnTo>
                  <a:lnTo>
                    <a:pt x="1450" y="1788"/>
                  </a:lnTo>
                  <a:lnTo>
                    <a:pt x="1450" y="1791"/>
                  </a:lnTo>
                  <a:lnTo>
                    <a:pt x="1450" y="1791"/>
                  </a:lnTo>
                  <a:lnTo>
                    <a:pt x="1453" y="1793"/>
                  </a:lnTo>
                  <a:lnTo>
                    <a:pt x="1450" y="1796"/>
                  </a:lnTo>
                  <a:lnTo>
                    <a:pt x="1448" y="1796"/>
                  </a:lnTo>
                  <a:lnTo>
                    <a:pt x="1445" y="1799"/>
                  </a:lnTo>
                  <a:lnTo>
                    <a:pt x="1442" y="1801"/>
                  </a:lnTo>
                  <a:lnTo>
                    <a:pt x="1442" y="1801"/>
                  </a:lnTo>
                  <a:lnTo>
                    <a:pt x="1442" y="1804"/>
                  </a:lnTo>
                  <a:lnTo>
                    <a:pt x="1445" y="1804"/>
                  </a:lnTo>
                  <a:lnTo>
                    <a:pt x="1448" y="1807"/>
                  </a:lnTo>
                  <a:lnTo>
                    <a:pt x="1445" y="1809"/>
                  </a:lnTo>
                  <a:lnTo>
                    <a:pt x="1442" y="1812"/>
                  </a:lnTo>
                  <a:lnTo>
                    <a:pt x="1442" y="1820"/>
                  </a:lnTo>
                  <a:lnTo>
                    <a:pt x="1445" y="1825"/>
                  </a:lnTo>
                  <a:lnTo>
                    <a:pt x="1445" y="1825"/>
                  </a:lnTo>
                  <a:lnTo>
                    <a:pt x="1448" y="1828"/>
                  </a:lnTo>
                  <a:lnTo>
                    <a:pt x="1448" y="1831"/>
                  </a:lnTo>
                  <a:lnTo>
                    <a:pt x="1445" y="1831"/>
                  </a:lnTo>
                  <a:lnTo>
                    <a:pt x="1445" y="1833"/>
                  </a:lnTo>
                  <a:lnTo>
                    <a:pt x="1445" y="1833"/>
                  </a:lnTo>
                  <a:lnTo>
                    <a:pt x="1445" y="1836"/>
                  </a:lnTo>
                  <a:lnTo>
                    <a:pt x="1442" y="1836"/>
                  </a:lnTo>
                  <a:lnTo>
                    <a:pt x="1442" y="1836"/>
                  </a:lnTo>
                  <a:lnTo>
                    <a:pt x="1439" y="1836"/>
                  </a:lnTo>
                  <a:lnTo>
                    <a:pt x="1439" y="1836"/>
                  </a:lnTo>
                  <a:lnTo>
                    <a:pt x="1437" y="1836"/>
                  </a:lnTo>
                  <a:lnTo>
                    <a:pt x="1434" y="1836"/>
                  </a:lnTo>
                  <a:lnTo>
                    <a:pt x="1434" y="1836"/>
                  </a:lnTo>
                  <a:lnTo>
                    <a:pt x="1434" y="1836"/>
                  </a:lnTo>
                  <a:lnTo>
                    <a:pt x="1431" y="1833"/>
                  </a:lnTo>
                  <a:lnTo>
                    <a:pt x="1429" y="1833"/>
                  </a:lnTo>
                  <a:lnTo>
                    <a:pt x="1429" y="1833"/>
                  </a:lnTo>
                  <a:lnTo>
                    <a:pt x="1429" y="1833"/>
                  </a:lnTo>
                  <a:lnTo>
                    <a:pt x="1429" y="1836"/>
                  </a:lnTo>
                  <a:lnTo>
                    <a:pt x="1429" y="1836"/>
                  </a:lnTo>
                  <a:lnTo>
                    <a:pt x="1429" y="1839"/>
                  </a:lnTo>
                  <a:lnTo>
                    <a:pt x="1429" y="1839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1"/>
                  </a:lnTo>
                  <a:lnTo>
                    <a:pt x="1429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4"/>
                  </a:lnTo>
                  <a:lnTo>
                    <a:pt x="1426" y="1847"/>
                  </a:lnTo>
                  <a:lnTo>
                    <a:pt x="1429" y="1847"/>
                  </a:lnTo>
                  <a:lnTo>
                    <a:pt x="1429" y="1847"/>
                  </a:lnTo>
                  <a:lnTo>
                    <a:pt x="1431" y="1847"/>
                  </a:lnTo>
                  <a:lnTo>
                    <a:pt x="1431" y="1849"/>
                  </a:lnTo>
                  <a:lnTo>
                    <a:pt x="1431" y="1849"/>
                  </a:lnTo>
                  <a:lnTo>
                    <a:pt x="1431" y="1852"/>
                  </a:lnTo>
                  <a:lnTo>
                    <a:pt x="1434" y="1852"/>
                  </a:lnTo>
                  <a:lnTo>
                    <a:pt x="1434" y="1849"/>
                  </a:lnTo>
                  <a:lnTo>
                    <a:pt x="1434" y="1849"/>
                  </a:lnTo>
                  <a:lnTo>
                    <a:pt x="1434" y="1847"/>
                  </a:lnTo>
                  <a:lnTo>
                    <a:pt x="1434" y="1847"/>
                  </a:lnTo>
                  <a:lnTo>
                    <a:pt x="1437" y="1847"/>
                  </a:lnTo>
                  <a:lnTo>
                    <a:pt x="1439" y="1847"/>
                  </a:lnTo>
                  <a:lnTo>
                    <a:pt x="1439" y="1849"/>
                  </a:lnTo>
                  <a:lnTo>
                    <a:pt x="1439" y="1849"/>
                  </a:lnTo>
                  <a:lnTo>
                    <a:pt x="1442" y="1849"/>
                  </a:lnTo>
                  <a:lnTo>
                    <a:pt x="1442" y="1849"/>
                  </a:lnTo>
                  <a:lnTo>
                    <a:pt x="1442" y="1849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8" y="1849"/>
                  </a:lnTo>
                  <a:lnTo>
                    <a:pt x="1448" y="1849"/>
                  </a:lnTo>
                  <a:lnTo>
                    <a:pt x="1450" y="1849"/>
                  </a:lnTo>
                  <a:lnTo>
                    <a:pt x="1450" y="1852"/>
                  </a:lnTo>
                  <a:lnTo>
                    <a:pt x="1448" y="1852"/>
                  </a:lnTo>
                  <a:lnTo>
                    <a:pt x="1448" y="1852"/>
                  </a:lnTo>
                  <a:lnTo>
                    <a:pt x="1450" y="1855"/>
                  </a:lnTo>
                  <a:lnTo>
                    <a:pt x="1450" y="1855"/>
                  </a:lnTo>
                  <a:lnTo>
                    <a:pt x="1453" y="1855"/>
                  </a:lnTo>
                  <a:lnTo>
                    <a:pt x="1453" y="1857"/>
                  </a:lnTo>
                  <a:lnTo>
                    <a:pt x="1453" y="1857"/>
                  </a:lnTo>
                  <a:lnTo>
                    <a:pt x="1453" y="1857"/>
                  </a:lnTo>
                  <a:lnTo>
                    <a:pt x="1456" y="1857"/>
                  </a:lnTo>
                  <a:lnTo>
                    <a:pt x="1456" y="1860"/>
                  </a:lnTo>
                  <a:lnTo>
                    <a:pt x="1456" y="1860"/>
                  </a:lnTo>
                  <a:lnTo>
                    <a:pt x="1458" y="1860"/>
                  </a:lnTo>
                  <a:lnTo>
                    <a:pt x="1458" y="1860"/>
                  </a:lnTo>
                  <a:lnTo>
                    <a:pt x="1458" y="1860"/>
                  </a:lnTo>
                  <a:lnTo>
                    <a:pt x="1461" y="1860"/>
                  </a:lnTo>
                  <a:lnTo>
                    <a:pt x="1461" y="1860"/>
                  </a:lnTo>
                  <a:lnTo>
                    <a:pt x="1461" y="1860"/>
                  </a:lnTo>
                  <a:lnTo>
                    <a:pt x="1464" y="1863"/>
                  </a:lnTo>
                  <a:lnTo>
                    <a:pt x="1464" y="1863"/>
                  </a:lnTo>
                  <a:lnTo>
                    <a:pt x="1466" y="1863"/>
                  </a:lnTo>
                  <a:lnTo>
                    <a:pt x="1466" y="1865"/>
                  </a:lnTo>
                  <a:lnTo>
                    <a:pt x="1466" y="1865"/>
                  </a:lnTo>
                  <a:lnTo>
                    <a:pt x="1466" y="1865"/>
                  </a:lnTo>
                  <a:lnTo>
                    <a:pt x="1469" y="1865"/>
                  </a:lnTo>
                  <a:lnTo>
                    <a:pt x="1469" y="1865"/>
                  </a:lnTo>
                  <a:lnTo>
                    <a:pt x="1472" y="1868"/>
                  </a:lnTo>
                  <a:lnTo>
                    <a:pt x="1472" y="1865"/>
                  </a:lnTo>
                  <a:lnTo>
                    <a:pt x="1472" y="1865"/>
                  </a:lnTo>
                  <a:lnTo>
                    <a:pt x="1472" y="1868"/>
                  </a:lnTo>
                  <a:lnTo>
                    <a:pt x="1474" y="1868"/>
                  </a:lnTo>
                  <a:lnTo>
                    <a:pt x="1474" y="1868"/>
                  </a:lnTo>
                  <a:lnTo>
                    <a:pt x="1477" y="1871"/>
                  </a:lnTo>
                  <a:lnTo>
                    <a:pt x="1477" y="1871"/>
                  </a:lnTo>
                  <a:lnTo>
                    <a:pt x="1477" y="1871"/>
                  </a:lnTo>
                  <a:lnTo>
                    <a:pt x="1477" y="1873"/>
                  </a:lnTo>
                  <a:lnTo>
                    <a:pt x="1477" y="1873"/>
                  </a:lnTo>
                  <a:lnTo>
                    <a:pt x="1480" y="1873"/>
                  </a:lnTo>
                  <a:lnTo>
                    <a:pt x="1480" y="1876"/>
                  </a:lnTo>
                  <a:lnTo>
                    <a:pt x="1477" y="1876"/>
                  </a:lnTo>
                  <a:lnTo>
                    <a:pt x="1477" y="1876"/>
                  </a:lnTo>
                  <a:lnTo>
                    <a:pt x="1477" y="1879"/>
                  </a:lnTo>
                  <a:lnTo>
                    <a:pt x="1477" y="1879"/>
                  </a:lnTo>
                  <a:lnTo>
                    <a:pt x="1477" y="1879"/>
                  </a:lnTo>
                  <a:lnTo>
                    <a:pt x="1477" y="1881"/>
                  </a:lnTo>
                  <a:lnTo>
                    <a:pt x="1477" y="1881"/>
                  </a:lnTo>
                  <a:lnTo>
                    <a:pt x="1477" y="1881"/>
                  </a:lnTo>
                  <a:lnTo>
                    <a:pt x="1477" y="1884"/>
                  </a:lnTo>
                  <a:lnTo>
                    <a:pt x="1474" y="1884"/>
                  </a:lnTo>
                  <a:lnTo>
                    <a:pt x="1477" y="1884"/>
                  </a:lnTo>
                  <a:lnTo>
                    <a:pt x="1477" y="1884"/>
                  </a:lnTo>
                  <a:lnTo>
                    <a:pt x="1477" y="1887"/>
                  </a:lnTo>
                  <a:lnTo>
                    <a:pt x="1477" y="1887"/>
                  </a:lnTo>
                  <a:lnTo>
                    <a:pt x="1477" y="1887"/>
                  </a:lnTo>
                  <a:lnTo>
                    <a:pt x="1477" y="1889"/>
                  </a:lnTo>
                  <a:lnTo>
                    <a:pt x="1477" y="1889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2"/>
                  </a:lnTo>
                  <a:lnTo>
                    <a:pt x="1480" y="1895"/>
                  </a:lnTo>
                  <a:lnTo>
                    <a:pt x="1480" y="1895"/>
                  </a:lnTo>
                  <a:lnTo>
                    <a:pt x="1480" y="1895"/>
                  </a:lnTo>
                  <a:lnTo>
                    <a:pt x="1480" y="1897"/>
                  </a:lnTo>
                  <a:lnTo>
                    <a:pt x="1480" y="1897"/>
                  </a:lnTo>
                  <a:lnTo>
                    <a:pt x="1480" y="1897"/>
                  </a:lnTo>
                  <a:lnTo>
                    <a:pt x="1482" y="1897"/>
                  </a:lnTo>
                  <a:lnTo>
                    <a:pt x="1482" y="1897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5" y="1900"/>
                  </a:lnTo>
                  <a:lnTo>
                    <a:pt x="1482" y="1900"/>
                  </a:lnTo>
                  <a:lnTo>
                    <a:pt x="1482" y="1900"/>
                  </a:lnTo>
                  <a:lnTo>
                    <a:pt x="1482" y="1903"/>
                  </a:lnTo>
                  <a:lnTo>
                    <a:pt x="1482" y="1903"/>
                  </a:lnTo>
                  <a:lnTo>
                    <a:pt x="1482" y="1903"/>
                  </a:lnTo>
                  <a:lnTo>
                    <a:pt x="1482" y="1905"/>
                  </a:lnTo>
                  <a:lnTo>
                    <a:pt x="1482" y="1905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3"/>
                  </a:lnTo>
                  <a:lnTo>
                    <a:pt x="1480" y="1900"/>
                  </a:lnTo>
                  <a:lnTo>
                    <a:pt x="1480" y="1900"/>
                  </a:lnTo>
                  <a:lnTo>
                    <a:pt x="1480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7" y="1900"/>
                  </a:lnTo>
                  <a:lnTo>
                    <a:pt x="1474" y="1897"/>
                  </a:lnTo>
                  <a:lnTo>
                    <a:pt x="1474" y="1897"/>
                  </a:lnTo>
                  <a:lnTo>
                    <a:pt x="1474" y="1897"/>
                  </a:lnTo>
                  <a:lnTo>
                    <a:pt x="1472" y="1897"/>
                  </a:lnTo>
                  <a:lnTo>
                    <a:pt x="1472" y="1897"/>
                  </a:lnTo>
                  <a:lnTo>
                    <a:pt x="1472" y="1900"/>
                  </a:lnTo>
                  <a:lnTo>
                    <a:pt x="1469" y="1900"/>
                  </a:lnTo>
                  <a:lnTo>
                    <a:pt x="1469" y="1903"/>
                  </a:lnTo>
                  <a:lnTo>
                    <a:pt x="1469" y="1903"/>
                  </a:lnTo>
                  <a:lnTo>
                    <a:pt x="1469" y="1905"/>
                  </a:lnTo>
                  <a:lnTo>
                    <a:pt x="1469" y="1905"/>
                  </a:lnTo>
                  <a:lnTo>
                    <a:pt x="1469" y="1905"/>
                  </a:lnTo>
                  <a:lnTo>
                    <a:pt x="1469" y="1908"/>
                  </a:lnTo>
                  <a:lnTo>
                    <a:pt x="1472" y="1908"/>
                  </a:lnTo>
                  <a:lnTo>
                    <a:pt x="1472" y="1908"/>
                  </a:lnTo>
                  <a:lnTo>
                    <a:pt x="1474" y="1908"/>
                  </a:lnTo>
                  <a:lnTo>
                    <a:pt x="1474" y="1908"/>
                  </a:lnTo>
                  <a:lnTo>
                    <a:pt x="1472" y="1908"/>
                  </a:lnTo>
                  <a:lnTo>
                    <a:pt x="1472" y="1908"/>
                  </a:lnTo>
                  <a:lnTo>
                    <a:pt x="1472" y="1911"/>
                  </a:lnTo>
                  <a:lnTo>
                    <a:pt x="1469" y="1908"/>
                  </a:lnTo>
                  <a:lnTo>
                    <a:pt x="1466" y="1908"/>
                  </a:lnTo>
                  <a:lnTo>
                    <a:pt x="1466" y="1908"/>
                  </a:lnTo>
                  <a:lnTo>
                    <a:pt x="1464" y="1905"/>
                  </a:lnTo>
                  <a:lnTo>
                    <a:pt x="1464" y="1905"/>
                  </a:lnTo>
                  <a:lnTo>
                    <a:pt x="1461" y="1908"/>
                  </a:lnTo>
                  <a:lnTo>
                    <a:pt x="1461" y="1911"/>
                  </a:lnTo>
                  <a:lnTo>
                    <a:pt x="1458" y="1911"/>
                  </a:lnTo>
                  <a:lnTo>
                    <a:pt x="1458" y="1916"/>
                  </a:lnTo>
                  <a:lnTo>
                    <a:pt x="1458" y="1919"/>
                  </a:lnTo>
                  <a:lnTo>
                    <a:pt x="1458" y="1922"/>
                  </a:lnTo>
                  <a:lnTo>
                    <a:pt x="1458" y="1922"/>
                  </a:lnTo>
                  <a:lnTo>
                    <a:pt x="1458" y="1924"/>
                  </a:lnTo>
                  <a:lnTo>
                    <a:pt x="1458" y="1924"/>
                  </a:lnTo>
                  <a:lnTo>
                    <a:pt x="1461" y="1927"/>
                  </a:lnTo>
                  <a:lnTo>
                    <a:pt x="1461" y="1930"/>
                  </a:lnTo>
                  <a:lnTo>
                    <a:pt x="1461" y="1930"/>
                  </a:lnTo>
                  <a:lnTo>
                    <a:pt x="1461" y="1932"/>
                  </a:lnTo>
                  <a:lnTo>
                    <a:pt x="1461" y="1932"/>
                  </a:lnTo>
                  <a:lnTo>
                    <a:pt x="1464" y="1932"/>
                  </a:lnTo>
                  <a:lnTo>
                    <a:pt x="1464" y="1935"/>
                  </a:lnTo>
                  <a:lnTo>
                    <a:pt x="1464" y="1935"/>
                  </a:lnTo>
                  <a:lnTo>
                    <a:pt x="1464" y="1938"/>
                  </a:lnTo>
                  <a:lnTo>
                    <a:pt x="1464" y="1938"/>
                  </a:lnTo>
                  <a:lnTo>
                    <a:pt x="1464" y="1940"/>
                  </a:lnTo>
                  <a:lnTo>
                    <a:pt x="1464" y="1940"/>
                  </a:lnTo>
                  <a:lnTo>
                    <a:pt x="1461" y="1943"/>
                  </a:lnTo>
                  <a:lnTo>
                    <a:pt x="1461" y="1943"/>
                  </a:lnTo>
                  <a:lnTo>
                    <a:pt x="1461" y="1946"/>
                  </a:lnTo>
                  <a:lnTo>
                    <a:pt x="1461" y="1948"/>
                  </a:lnTo>
                  <a:lnTo>
                    <a:pt x="1461" y="1948"/>
                  </a:lnTo>
                  <a:lnTo>
                    <a:pt x="1461" y="1951"/>
                  </a:lnTo>
                  <a:lnTo>
                    <a:pt x="1464" y="1954"/>
                  </a:lnTo>
                  <a:lnTo>
                    <a:pt x="1464" y="1954"/>
                  </a:lnTo>
                  <a:lnTo>
                    <a:pt x="1464" y="1956"/>
                  </a:lnTo>
                  <a:lnTo>
                    <a:pt x="1464" y="1956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59"/>
                  </a:lnTo>
                  <a:lnTo>
                    <a:pt x="1464" y="1964"/>
                  </a:lnTo>
                  <a:lnTo>
                    <a:pt x="1466" y="1964"/>
                  </a:lnTo>
                  <a:lnTo>
                    <a:pt x="1466" y="1964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6" y="1967"/>
                  </a:lnTo>
                  <a:lnTo>
                    <a:pt x="1464" y="1970"/>
                  </a:lnTo>
                  <a:lnTo>
                    <a:pt x="1464" y="1970"/>
                  </a:lnTo>
                  <a:lnTo>
                    <a:pt x="1464" y="1972"/>
                  </a:lnTo>
                  <a:lnTo>
                    <a:pt x="1466" y="1972"/>
                  </a:lnTo>
                  <a:lnTo>
                    <a:pt x="1466" y="1975"/>
                  </a:lnTo>
                  <a:lnTo>
                    <a:pt x="1469" y="1978"/>
                  </a:lnTo>
                  <a:lnTo>
                    <a:pt x="1472" y="1978"/>
                  </a:lnTo>
                  <a:lnTo>
                    <a:pt x="1472" y="1978"/>
                  </a:lnTo>
                  <a:lnTo>
                    <a:pt x="1474" y="1980"/>
                  </a:lnTo>
                  <a:lnTo>
                    <a:pt x="1477" y="1980"/>
                  </a:lnTo>
                  <a:lnTo>
                    <a:pt x="1477" y="1986"/>
                  </a:lnTo>
                  <a:lnTo>
                    <a:pt x="1477" y="1988"/>
                  </a:lnTo>
                  <a:lnTo>
                    <a:pt x="1477" y="1988"/>
                  </a:lnTo>
                  <a:lnTo>
                    <a:pt x="1472" y="1988"/>
                  </a:lnTo>
                  <a:lnTo>
                    <a:pt x="1466" y="1988"/>
                  </a:lnTo>
                  <a:lnTo>
                    <a:pt x="1464" y="1988"/>
                  </a:lnTo>
                  <a:lnTo>
                    <a:pt x="1461" y="1988"/>
                  </a:lnTo>
                  <a:lnTo>
                    <a:pt x="1456" y="1991"/>
                  </a:lnTo>
                  <a:lnTo>
                    <a:pt x="1456" y="1994"/>
                  </a:lnTo>
                  <a:lnTo>
                    <a:pt x="1450" y="1996"/>
                  </a:lnTo>
                  <a:lnTo>
                    <a:pt x="1448" y="1996"/>
                  </a:lnTo>
                  <a:lnTo>
                    <a:pt x="1445" y="1999"/>
                  </a:lnTo>
                  <a:lnTo>
                    <a:pt x="1439" y="2002"/>
                  </a:lnTo>
                  <a:lnTo>
                    <a:pt x="1437" y="2002"/>
                  </a:lnTo>
                  <a:lnTo>
                    <a:pt x="1434" y="2002"/>
                  </a:lnTo>
                  <a:lnTo>
                    <a:pt x="1434" y="2004"/>
                  </a:lnTo>
                  <a:lnTo>
                    <a:pt x="1431" y="2007"/>
                  </a:lnTo>
                  <a:lnTo>
                    <a:pt x="1429" y="2004"/>
                  </a:lnTo>
                  <a:lnTo>
                    <a:pt x="1426" y="2004"/>
                  </a:lnTo>
                  <a:lnTo>
                    <a:pt x="1423" y="2004"/>
                  </a:lnTo>
                  <a:lnTo>
                    <a:pt x="1421" y="2007"/>
                  </a:lnTo>
                  <a:lnTo>
                    <a:pt x="1418" y="2007"/>
                  </a:lnTo>
                  <a:lnTo>
                    <a:pt x="1418" y="2007"/>
                  </a:lnTo>
                  <a:lnTo>
                    <a:pt x="1415" y="2007"/>
                  </a:lnTo>
                  <a:lnTo>
                    <a:pt x="1410" y="2010"/>
                  </a:lnTo>
                  <a:lnTo>
                    <a:pt x="1407" y="2010"/>
                  </a:lnTo>
                  <a:lnTo>
                    <a:pt x="1405" y="2012"/>
                  </a:lnTo>
                  <a:lnTo>
                    <a:pt x="1402" y="2015"/>
                  </a:lnTo>
                  <a:lnTo>
                    <a:pt x="1399" y="2015"/>
                  </a:lnTo>
                  <a:lnTo>
                    <a:pt x="1399" y="2018"/>
                  </a:lnTo>
                  <a:lnTo>
                    <a:pt x="1397" y="2020"/>
                  </a:lnTo>
                  <a:lnTo>
                    <a:pt x="1394" y="2020"/>
                  </a:lnTo>
                  <a:lnTo>
                    <a:pt x="1394" y="2020"/>
                  </a:lnTo>
                  <a:lnTo>
                    <a:pt x="1391" y="2020"/>
                  </a:lnTo>
                  <a:lnTo>
                    <a:pt x="1389" y="2023"/>
                  </a:lnTo>
                  <a:lnTo>
                    <a:pt x="1383" y="2026"/>
                  </a:lnTo>
                  <a:lnTo>
                    <a:pt x="1381" y="2028"/>
                  </a:lnTo>
                  <a:lnTo>
                    <a:pt x="1383" y="2031"/>
                  </a:lnTo>
                  <a:lnTo>
                    <a:pt x="1386" y="2034"/>
                  </a:lnTo>
                  <a:lnTo>
                    <a:pt x="1389" y="2036"/>
                  </a:lnTo>
                  <a:lnTo>
                    <a:pt x="1389" y="2039"/>
                  </a:lnTo>
                  <a:lnTo>
                    <a:pt x="1389" y="2044"/>
                  </a:lnTo>
                  <a:lnTo>
                    <a:pt x="1383" y="2047"/>
                  </a:lnTo>
                  <a:lnTo>
                    <a:pt x="1381" y="2050"/>
                  </a:lnTo>
                  <a:lnTo>
                    <a:pt x="1381" y="2050"/>
                  </a:lnTo>
                  <a:lnTo>
                    <a:pt x="1378" y="2050"/>
                  </a:lnTo>
                  <a:lnTo>
                    <a:pt x="1378" y="2052"/>
                  </a:lnTo>
                  <a:lnTo>
                    <a:pt x="1375" y="2052"/>
                  </a:lnTo>
                  <a:lnTo>
                    <a:pt x="1375" y="2052"/>
                  </a:lnTo>
                  <a:lnTo>
                    <a:pt x="1373" y="2052"/>
                  </a:lnTo>
                  <a:lnTo>
                    <a:pt x="1370" y="2050"/>
                  </a:lnTo>
                  <a:lnTo>
                    <a:pt x="1367" y="2050"/>
                  </a:lnTo>
                  <a:lnTo>
                    <a:pt x="1367" y="2050"/>
                  </a:lnTo>
                  <a:lnTo>
                    <a:pt x="1365" y="2050"/>
                  </a:lnTo>
                  <a:lnTo>
                    <a:pt x="1359" y="2052"/>
                  </a:lnTo>
                  <a:lnTo>
                    <a:pt x="1357" y="2052"/>
                  </a:lnTo>
                  <a:lnTo>
                    <a:pt x="1354" y="2050"/>
                  </a:lnTo>
                  <a:lnTo>
                    <a:pt x="1351" y="2047"/>
                  </a:lnTo>
                  <a:lnTo>
                    <a:pt x="1349" y="2047"/>
                  </a:lnTo>
                  <a:lnTo>
                    <a:pt x="1346" y="2047"/>
                  </a:lnTo>
                  <a:lnTo>
                    <a:pt x="1343" y="2044"/>
                  </a:lnTo>
                  <a:lnTo>
                    <a:pt x="1341" y="2047"/>
                  </a:lnTo>
                  <a:lnTo>
                    <a:pt x="1341" y="2047"/>
                  </a:lnTo>
                  <a:lnTo>
                    <a:pt x="1338" y="2047"/>
                  </a:lnTo>
                  <a:lnTo>
                    <a:pt x="1338" y="2050"/>
                  </a:lnTo>
                  <a:lnTo>
                    <a:pt x="1333" y="2050"/>
                  </a:lnTo>
                  <a:lnTo>
                    <a:pt x="1333" y="2052"/>
                  </a:lnTo>
                  <a:lnTo>
                    <a:pt x="1330" y="2052"/>
                  </a:lnTo>
                  <a:lnTo>
                    <a:pt x="1325" y="2055"/>
                  </a:lnTo>
                  <a:lnTo>
                    <a:pt x="1322" y="2058"/>
                  </a:lnTo>
                  <a:lnTo>
                    <a:pt x="1317" y="2055"/>
                  </a:lnTo>
                  <a:lnTo>
                    <a:pt x="1317" y="2052"/>
                  </a:lnTo>
                  <a:lnTo>
                    <a:pt x="1314" y="2052"/>
                  </a:lnTo>
                  <a:lnTo>
                    <a:pt x="1309" y="2058"/>
                  </a:lnTo>
                  <a:lnTo>
                    <a:pt x="1309" y="2060"/>
                  </a:lnTo>
                  <a:lnTo>
                    <a:pt x="1309" y="2063"/>
                  </a:lnTo>
                  <a:lnTo>
                    <a:pt x="1311" y="2063"/>
                  </a:lnTo>
                  <a:lnTo>
                    <a:pt x="1311" y="2066"/>
                  </a:lnTo>
                  <a:lnTo>
                    <a:pt x="1311" y="2069"/>
                  </a:lnTo>
                  <a:lnTo>
                    <a:pt x="1306" y="2069"/>
                  </a:lnTo>
                  <a:lnTo>
                    <a:pt x="1306" y="2071"/>
                  </a:lnTo>
                  <a:lnTo>
                    <a:pt x="1303" y="2071"/>
                  </a:lnTo>
                  <a:lnTo>
                    <a:pt x="1301" y="2071"/>
                  </a:lnTo>
                  <a:lnTo>
                    <a:pt x="1301" y="2069"/>
                  </a:lnTo>
                  <a:lnTo>
                    <a:pt x="1298" y="2069"/>
                  </a:lnTo>
                  <a:lnTo>
                    <a:pt x="1298" y="2069"/>
                  </a:lnTo>
                  <a:lnTo>
                    <a:pt x="1295" y="2066"/>
                  </a:lnTo>
                  <a:lnTo>
                    <a:pt x="1295" y="2066"/>
                  </a:lnTo>
                  <a:lnTo>
                    <a:pt x="1293" y="2066"/>
                  </a:lnTo>
                  <a:lnTo>
                    <a:pt x="1293" y="2066"/>
                  </a:lnTo>
                  <a:lnTo>
                    <a:pt x="1290" y="2066"/>
                  </a:lnTo>
                  <a:lnTo>
                    <a:pt x="1287" y="2066"/>
                  </a:lnTo>
                  <a:lnTo>
                    <a:pt x="1285" y="2069"/>
                  </a:lnTo>
                  <a:lnTo>
                    <a:pt x="1282" y="2069"/>
                  </a:lnTo>
                  <a:lnTo>
                    <a:pt x="1282" y="2069"/>
                  </a:lnTo>
                  <a:lnTo>
                    <a:pt x="1274" y="2074"/>
                  </a:lnTo>
                  <a:lnTo>
                    <a:pt x="1274" y="2074"/>
                  </a:lnTo>
                  <a:lnTo>
                    <a:pt x="1274" y="2077"/>
                  </a:lnTo>
                  <a:lnTo>
                    <a:pt x="1274" y="2077"/>
                  </a:lnTo>
                  <a:lnTo>
                    <a:pt x="1274" y="2079"/>
                  </a:lnTo>
                  <a:lnTo>
                    <a:pt x="1271" y="2079"/>
                  </a:lnTo>
                  <a:lnTo>
                    <a:pt x="1271" y="2079"/>
                  </a:lnTo>
                  <a:lnTo>
                    <a:pt x="1269" y="2079"/>
                  </a:lnTo>
                  <a:lnTo>
                    <a:pt x="1269" y="2079"/>
                  </a:lnTo>
                  <a:lnTo>
                    <a:pt x="1269" y="2079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6" y="2082"/>
                  </a:lnTo>
                  <a:lnTo>
                    <a:pt x="1263" y="2082"/>
                  </a:lnTo>
                  <a:lnTo>
                    <a:pt x="1263" y="2082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3" y="2079"/>
                  </a:lnTo>
                  <a:lnTo>
                    <a:pt x="1261" y="2079"/>
                  </a:lnTo>
                  <a:lnTo>
                    <a:pt x="1261" y="2079"/>
                  </a:lnTo>
                  <a:lnTo>
                    <a:pt x="1258" y="2079"/>
                  </a:lnTo>
                  <a:lnTo>
                    <a:pt x="1258" y="2082"/>
                  </a:lnTo>
                  <a:lnTo>
                    <a:pt x="1258" y="2082"/>
                  </a:lnTo>
                  <a:lnTo>
                    <a:pt x="1255" y="2082"/>
                  </a:lnTo>
                  <a:lnTo>
                    <a:pt x="1255" y="2082"/>
                  </a:lnTo>
                  <a:lnTo>
                    <a:pt x="1255" y="2085"/>
                  </a:lnTo>
                  <a:lnTo>
                    <a:pt x="1255" y="2085"/>
                  </a:lnTo>
                  <a:lnTo>
                    <a:pt x="1255" y="2085"/>
                  </a:lnTo>
                  <a:lnTo>
                    <a:pt x="1255" y="2087"/>
                  </a:lnTo>
                  <a:lnTo>
                    <a:pt x="1255" y="2087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5" y="2090"/>
                  </a:lnTo>
                  <a:lnTo>
                    <a:pt x="1253" y="2090"/>
                  </a:lnTo>
                  <a:lnTo>
                    <a:pt x="1253" y="2093"/>
                  </a:lnTo>
                  <a:lnTo>
                    <a:pt x="1253" y="2093"/>
                  </a:lnTo>
                  <a:lnTo>
                    <a:pt x="1250" y="2093"/>
                  </a:lnTo>
                  <a:lnTo>
                    <a:pt x="1250" y="2090"/>
                  </a:lnTo>
                  <a:lnTo>
                    <a:pt x="1250" y="2090"/>
                  </a:lnTo>
                  <a:lnTo>
                    <a:pt x="1247" y="2090"/>
                  </a:lnTo>
                  <a:lnTo>
                    <a:pt x="1247" y="2090"/>
                  </a:lnTo>
                  <a:lnTo>
                    <a:pt x="1247" y="2090"/>
                  </a:lnTo>
                  <a:lnTo>
                    <a:pt x="1245" y="2093"/>
                  </a:lnTo>
                  <a:lnTo>
                    <a:pt x="1245" y="2090"/>
                  </a:lnTo>
                  <a:lnTo>
                    <a:pt x="1242" y="2090"/>
                  </a:lnTo>
                  <a:lnTo>
                    <a:pt x="1242" y="2093"/>
                  </a:lnTo>
                  <a:lnTo>
                    <a:pt x="1239" y="2093"/>
                  </a:lnTo>
                  <a:lnTo>
                    <a:pt x="1239" y="2093"/>
                  </a:lnTo>
                  <a:lnTo>
                    <a:pt x="1237" y="2095"/>
                  </a:lnTo>
                  <a:lnTo>
                    <a:pt x="1237" y="2095"/>
                  </a:lnTo>
                  <a:lnTo>
                    <a:pt x="1234" y="2095"/>
                  </a:lnTo>
                  <a:lnTo>
                    <a:pt x="1234" y="2095"/>
                  </a:lnTo>
                  <a:lnTo>
                    <a:pt x="1231" y="2095"/>
                  </a:lnTo>
                  <a:lnTo>
                    <a:pt x="1231" y="2095"/>
                  </a:lnTo>
                  <a:lnTo>
                    <a:pt x="1231" y="2093"/>
                  </a:lnTo>
                  <a:lnTo>
                    <a:pt x="1231" y="2093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1" y="2090"/>
                  </a:lnTo>
                  <a:lnTo>
                    <a:pt x="1234" y="2090"/>
                  </a:lnTo>
                  <a:lnTo>
                    <a:pt x="1234" y="2090"/>
                  </a:lnTo>
                  <a:lnTo>
                    <a:pt x="1234" y="2090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31" y="2087"/>
                  </a:lnTo>
                  <a:lnTo>
                    <a:pt x="1229" y="2087"/>
                  </a:lnTo>
                  <a:lnTo>
                    <a:pt x="1229" y="2085"/>
                  </a:lnTo>
                  <a:lnTo>
                    <a:pt x="1229" y="2085"/>
                  </a:lnTo>
                  <a:lnTo>
                    <a:pt x="1226" y="2085"/>
                  </a:lnTo>
                  <a:lnTo>
                    <a:pt x="1226" y="2085"/>
                  </a:lnTo>
                  <a:lnTo>
                    <a:pt x="1226" y="2085"/>
                  </a:lnTo>
                  <a:lnTo>
                    <a:pt x="1223" y="2085"/>
                  </a:lnTo>
                  <a:lnTo>
                    <a:pt x="1223" y="2085"/>
                  </a:lnTo>
                  <a:lnTo>
                    <a:pt x="1223" y="2082"/>
                  </a:lnTo>
                  <a:lnTo>
                    <a:pt x="1223" y="2082"/>
                  </a:lnTo>
                  <a:lnTo>
                    <a:pt x="1221" y="2082"/>
                  </a:lnTo>
                  <a:lnTo>
                    <a:pt x="1221" y="2082"/>
                  </a:lnTo>
                  <a:lnTo>
                    <a:pt x="1218" y="2082"/>
                  </a:lnTo>
                  <a:lnTo>
                    <a:pt x="1218" y="2082"/>
                  </a:lnTo>
                  <a:lnTo>
                    <a:pt x="1218" y="2082"/>
                  </a:lnTo>
                  <a:lnTo>
                    <a:pt x="1215" y="2082"/>
                  </a:lnTo>
                  <a:lnTo>
                    <a:pt x="1215" y="2082"/>
                  </a:lnTo>
                  <a:lnTo>
                    <a:pt x="1213" y="2082"/>
                  </a:lnTo>
                  <a:lnTo>
                    <a:pt x="1213" y="2082"/>
                  </a:lnTo>
                  <a:lnTo>
                    <a:pt x="1210" y="2082"/>
                  </a:lnTo>
                  <a:lnTo>
                    <a:pt x="1210" y="2082"/>
                  </a:lnTo>
                  <a:lnTo>
                    <a:pt x="1210" y="2082"/>
                  </a:lnTo>
                  <a:lnTo>
                    <a:pt x="1207" y="2085"/>
                  </a:lnTo>
                  <a:lnTo>
                    <a:pt x="1207" y="2085"/>
                  </a:lnTo>
                  <a:lnTo>
                    <a:pt x="1205" y="2087"/>
                  </a:lnTo>
                  <a:lnTo>
                    <a:pt x="1205" y="2087"/>
                  </a:lnTo>
                  <a:lnTo>
                    <a:pt x="1205" y="2087"/>
                  </a:lnTo>
                  <a:lnTo>
                    <a:pt x="1202" y="2087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202" y="2090"/>
                  </a:lnTo>
                  <a:lnTo>
                    <a:pt x="1199" y="2090"/>
                  </a:lnTo>
                  <a:lnTo>
                    <a:pt x="1199" y="2090"/>
                  </a:lnTo>
                  <a:lnTo>
                    <a:pt x="1196" y="2090"/>
                  </a:lnTo>
                  <a:lnTo>
                    <a:pt x="1196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7"/>
                  </a:lnTo>
                  <a:lnTo>
                    <a:pt x="1194" y="2085"/>
                  </a:lnTo>
                  <a:lnTo>
                    <a:pt x="1194" y="2085"/>
                  </a:lnTo>
                  <a:lnTo>
                    <a:pt x="1191" y="2085"/>
                  </a:lnTo>
                  <a:lnTo>
                    <a:pt x="1191" y="2082"/>
                  </a:lnTo>
                  <a:lnTo>
                    <a:pt x="1188" y="2085"/>
                  </a:lnTo>
                  <a:lnTo>
                    <a:pt x="1188" y="2085"/>
                  </a:lnTo>
                  <a:lnTo>
                    <a:pt x="1186" y="2085"/>
                  </a:lnTo>
                  <a:lnTo>
                    <a:pt x="1183" y="2082"/>
                  </a:lnTo>
                  <a:lnTo>
                    <a:pt x="1183" y="2082"/>
                  </a:lnTo>
                  <a:lnTo>
                    <a:pt x="1180" y="2082"/>
                  </a:lnTo>
                  <a:lnTo>
                    <a:pt x="1178" y="2085"/>
                  </a:lnTo>
                  <a:lnTo>
                    <a:pt x="1178" y="2085"/>
                  </a:lnTo>
                  <a:lnTo>
                    <a:pt x="1178" y="2085"/>
                  </a:lnTo>
                  <a:lnTo>
                    <a:pt x="1175" y="2085"/>
                  </a:lnTo>
                  <a:lnTo>
                    <a:pt x="1175" y="2087"/>
                  </a:lnTo>
                  <a:lnTo>
                    <a:pt x="1175" y="2087"/>
                  </a:lnTo>
                  <a:lnTo>
                    <a:pt x="1172" y="2090"/>
                  </a:lnTo>
                  <a:lnTo>
                    <a:pt x="1170" y="2090"/>
                  </a:lnTo>
                  <a:lnTo>
                    <a:pt x="1170" y="2090"/>
                  </a:lnTo>
                  <a:lnTo>
                    <a:pt x="1167" y="2093"/>
                  </a:lnTo>
                  <a:lnTo>
                    <a:pt x="1167" y="2093"/>
                  </a:lnTo>
                  <a:lnTo>
                    <a:pt x="1164" y="2093"/>
                  </a:lnTo>
                  <a:lnTo>
                    <a:pt x="1164" y="2095"/>
                  </a:lnTo>
                  <a:lnTo>
                    <a:pt x="1162" y="2093"/>
                  </a:lnTo>
                  <a:lnTo>
                    <a:pt x="1162" y="2093"/>
                  </a:lnTo>
                  <a:lnTo>
                    <a:pt x="1162" y="2093"/>
                  </a:lnTo>
                  <a:lnTo>
                    <a:pt x="1159" y="2093"/>
                  </a:lnTo>
                  <a:lnTo>
                    <a:pt x="1159" y="2093"/>
                  </a:lnTo>
                  <a:lnTo>
                    <a:pt x="1159" y="2093"/>
                  </a:lnTo>
                  <a:lnTo>
                    <a:pt x="1156" y="2093"/>
                  </a:lnTo>
                  <a:lnTo>
                    <a:pt x="1156" y="2095"/>
                  </a:lnTo>
                  <a:lnTo>
                    <a:pt x="1156" y="2093"/>
                  </a:lnTo>
                  <a:lnTo>
                    <a:pt x="1154" y="2093"/>
                  </a:lnTo>
                  <a:lnTo>
                    <a:pt x="1154" y="2093"/>
                  </a:lnTo>
                  <a:lnTo>
                    <a:pt x="1151" y="2093"/>
                  </a:lnTo>
                  <a:lnTo>
                    <a:pt x="1151" y="2093"/>
                  </a:lnTo>
                  <a:lnTo>
                    <a:pt x="1151" y="2093"/>
                  </a:lnTo>
                  <a:lnTo>
                    <a:pt x="1148" y="2093"/>
                  </a:lnTo>
                  <a:lnTo>
                    <a:pt x="1148" y="2093"/>
                  </a:lnTo>
                  <a:lnTo>
                    <a:pt x="1148" y="2093"/>
                  </a:lnTo>
                  <a:lnTo>
                    <a:pt x="1146" y="2093"/>
                  </a:lnTo>
                  <a:lnTo>
                    <a:pt x="1146" y="2093"/>
                  </a:lnTo>
                  <a:lnTo>
                    <a:pt x="1146" y="2095"/>
                  </a:lnTo>
                  <a:lnTo>
                    <a:pt x="1146" y="2095"/>
                  </a:lnTo>
                  <a:lnTo>
                    <a:pt x="1143" y="2098"/>
                  </a:lnTo>
                  <a:lnTo>
                    <a:pt x="1143" y="2098"/>
                  </a:lnTo>
                  <a:lnTo>
                    <a:pt x="1143" y="2098"/>
                  </a:lnTo>
                  <a:lnTo>
                    <a:pt x="1140" y="2098"/>
                  </a:lnTo>
                  <a:lnTo>
                    <a:pt x="1140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5"/>
                  </a:lnTo>
                  <a:lnTo>
                    <a:pt x="1138" y="2093"/>
                  </a:lnTo>
                  <a:lnTo>
                    <a:pt x="1138" y="2093"/>
                  </a:lnTo>
                  <a:lnTo>
                    <a:pt x="1135" y="2093"/>
                  </a:lnTo>
                  <a:lnTo>
                    <a:pt x="1135" y="2093"/>
                  </a:lnTo>
                  <a:lnTo>
                    <a:pt x="1135" y="2090"/>
                  </a:lnTo>
                  <a:lnTo>
                    <a:pt x="1135" y="2090"/>
                  </a:lnTo>
                  <a:lnTo>
                    <a:pt x="1132" y="2087"/>
                  </a:lnTo>
                  <a:lnTo>
                    <a:pt x="1132" y="2087"/>
                  </a:lnTo>
                  <a:lnTo>
                    <a:pt x="1132" y="2087"/>
                  </a:lnTo>
                  <a:lnTo>
                    <a:pt x="1132" y="2085"/>
                  </a:lnTo>
                  <a:lnTo>
                    <a:pt x="1132" y="2085"/>
                  </a:lnTo>
                  <a:lnTo>
                    <a:pt x="1130" y="2085"/>
                  </a:lnTo>
                  <a:lnTo>
                    <a:pt x="1130" y="2085"/>
                  </a:lnTo>
                  <a:lnTo>
                    <a:pt x="1127" y="2085"/>
                  </a:lnTo>
                  <a:lnTo>
                    <a:pt x="1127" y="2085"/>
                  </a:lnTo>
                  <a:lnTo>
                    <a:pt x="1124" y="2085"/>
                  </a:lnTo>
                  <a:lnTo>
                    <a:pt x="1124" y="2085"/>
                  </a:lnTo>
                  <a:lnTo>
                    <a:pt x="1122" y="2085"/>
                  </a:lnTo>
                  <a:lnTo>
                    <a:pt x="1122" y="2085"/>
                  </a:lnTo>
                  <a:lnTo>
                    <a:pt x="1122" y="2085"/>
                  </a:lnTo>
                  <a:lnTo>
                    <a:pt x="1122" y="2082"/>
                  </a:lnTo>
                  <a:lnTo>
                    <a:pt x="1122" y="2082"/>
                  </a:lnTo>
                  <a:lnTo>
                    <a:pt x="1119" y="2079"/>
                  </a:lnTo>
                  <a:lnTo>
                    <a:pt x="1119" y="2079"/>
                  </a:lnTo>
                  <a:lnTo>
                    <a:pt x="1116" y="2077"/>
                  </a:lnTo>
                  <a:lnTo>
                    <a:pt x="1116" y="2074"/>
                  </a:lnTo>
                  <a:lnTo>
                    <a:pt x="1114" y="2074"/>
                  </a:lnTo>
                  <a:lnTo>
                    <a:pt x="1114" y="2074"/>
                  </a:lnTo>
                  <a:lnTo>
                    <a:pt x="1111" y="2074"/>
                  </a:lnTo>
                  <a:lnTo>
                    <a:pt x="1111" y="2074"/>
                  </a:lnTo>
                  <a:lnTo>
                    <a:pt x="1111" y="2074"/>
                  </a:lnTo>
                  <a:lnTo>
                    <a:pt x="1108" y="2074"/>
                  </a:lnTo>
                  <a:lnTo>
                    <a:pt x="1108" y="2071"/>
                  </a:lnTo>
                  <a:lnTo>
                    <a:pt x="1106" y="2069"/>
                  </a:lnTo>
                  <a:lnTo>
                    <a:pt x="1106" y="2069"/>
                  </a:lnTo>
                  <a:lnTo>
                    <a:pt x="1106" y="2069"/>
                  </a:lnTo>
                  <a:lnTo>
                    <a:pt x="1103" y="2069"/>
                  </a:lnTo>
                  <a:lnTo>
                    <a:pt x="1103" y="2069"/>
                  </a:lnTo>
                  <a:lnTo>
                    <a:pt x="1103" y="2066"/>
                  </a:lnTo>
                  <a:lnTo>
                    <a:pt x="1103" y="2066"/>
                  </a:lnTo>
                  <a:lnTo>
                    <a:pt x="1100" y="2066"/>
                  </a:lnTo>
                  <a:lnTo>
                    <a:pt x="1100" y="2066"/>
                  </a:lnTo>
                  <a:lnTo>
                    <a:pt x="1100" y="2063"/>
                  </a:lnTo>
                  <a:lnTo>
                    <a:pt x="1100" y="2063"/>
                  </a:lnTo>
                  <a:lnTo>
                    <a:pt x="1098" y="2063"/>
                  </a:lnTo>
                  <a:lnTo>
                    <a:pt x="1098" y="2063"/>
                  </a:lnTo>
                  <a:lnTo>
                    <a:pt x="1098" y="2060"/>
                  </a:lnTo>
                  <a:lnTo>
                    <a:pt x="1095" y="2060"/>
                  </a:lnTo>
                  <a:lnTo>
                    <a:pt x="1095" y="2060"/>
                  </a:lnTo>
                  <a:lnTo>
                    <a:pt x="1092" y="2060"/>
                  </a:lnTo>
                  <a:lnTo>
                    <a:pt x="1092" y="2060"/>
                  </a:lnTo>
                  <a:lnTo>
                    <a:pt x="1092" y="2060"/>
                  </a:lnTo>
                  <a:lnTo>
                    <a:pt x="1090" y="2060"/>
                  </a:lnTo>
                  <a:lnTo>
                    <a:pt x="1090" y="2060"/>
                  </a:lnTo>
                  <a:lnTo>
                    <a:pt x="1090" y="2060"/>
                  </a:lnTo>
                  <a:lnTo>
                    <a:pt x="1087" y="2060"/>
                  </a:lnTo>
                  <a:lnTo>
                    <a:pt x="1087" y="2060"/>
                  </a:lnTo>
                  <a:lnTo>
                    <a:pt x="1087" y="2063"/>
                  </a:lnTo>
                  <a:lnTo>
                    <a:pt x="1087" y="2063"/>
                  </a:lnTo>
                  <a:lnTo>
                    <a:pt x="1084" y="2063"/>
                  </a:lnTo>
                  <a:lnTo>
                    <a:pt x="1084" y="2063"/>
                  </a:lnTo>
                  <a:lnTo>
                    <a:pt x="1084" y="2063"/>
                  </a:lnTo>
                  <a:lnTo>
                    <a:pt x="1082" y="2063"/>
                  </a:lnTo>
                  <a:lnTo>
                    <a:pt x="1082" y="2063"/>
                  </a:lnTo>
                  <a:lnTo>
                    <a:pt x="1082" y="2066"/>
                  </a:lnTo>
                  <a:lnTo>
                    <a:pt x="1082" y="2066"/>
                  </a:lnTo>
                  <a:lnTo>
                    <a:pt x="1079" y="2066"/>
                  </a:lnTo>
                  <a:lnTo>
                    <a:pt x="1079" y="2066"/>
                  </a:lnTo>
                  <a:lnTo>
                    <a:pt x="1076" y="2066"/>
                  </a:lnTo>
                  <a:lnTo>
                    <a:pt x="1076" y="2066"/>
                  </a:lnTo>
                  <a:lnTo>
                    <a:pt x="1076" y="2066"/>
                  </a:lnTo>
                  <a:lnTo>
                    <a:pt x="1074" y="2066"/>
                  </a:lnTo>
                  <a:lnTo>
                    <a:pt x="1074" y="2069"/>
                  </a:lnTo>
                  <a:lnTo>
                    <a:pt x="1071" y="2069"/>
                  </a:lnTo>
                  <a:lnTo>
                    <a:pt x="1071" y="2069"/>
                  </a:lnTo>
                  <a:lnTo>
                    <a:pt x="1068" y="2069"/>
                  </a:lnTo>
                  <a:lnTo>
                    <a:pt x="1068" y="2069"/>
                  </a:lnTo>
                  <a:lnTo>
                    <a:pt x="1066" y="2069"/>
                  </a:lnTo>
                  <a:lnTo>
                    <a:pt x="1066" y="2069"/>
                  </a:lnTo>
                  <a:lnTo>
                    <a:pt x="1066" y="2069"/>
                  </a:lnTo>
                  <a:lnTo>
                    <a:pt x="1063" y="2069"/>
                  </a:lnTo>
                  <a:lnTo>
                    <a:pt x="1063" y="2069"/>
                  </a:lnTo>
                  <a:lnTo>
                    <a:pt x="1063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60" y="2069"/>
                  </a:lnTo>
                  <a:lnTo>
                    <a:pt x="1058" y="2069"/>
                  </a:lnTo>
                  <a:lnTo>
                    <a:pt x="1058" y="2069"/>
                  </a:lnTo>
                  <a:lnTo>
                    <a:pt x="1055" y="2069"/>
                  </a:lnTo>
                  <a:lnTo>
                    <a:pt x="1055" y="2069"/>
                  </a:lnTo>
                  <a:lnTo>
                    <a:pt x="1055" y="2069"/>
                  </a:lnTo>
                  <a:lnTo>
                    <a:pt x="1052" y="2069"/>
                  </a:lnTo>
                  <a:lnTo>
                    <a:pt x="1052" y="2069"/>
                  </a:lnTo>
                  <a:lnTo>
                    <a:pt x="1052" y="2069"/>
                  </a:lnTo>
                  <a:lnTo>
                    <a:pt x="1050" y="2069"/>
                  </a:lnTo>
                  <a:lnTo>
                    <a:pt x="1050" y="2069"/>
                  </a:lnTo>
                  <a:lnTo>
                    <a:pt x="1050" y="2066"/>
                  </a:lnTo>
                  <a:lnTo>
                    <a:pt x="1050" y="2066"/>
                  </a:lnTo>
                  <a:lnTo>
                    <a:pt x="1047" y="2066"/>
                  </a:lnTo>
                  <a:lnTo>
                    <a:pt x="1047" y="2066"/>
                  </a:lnTo>
                  <a:lnTo>
                    <a:pt x="1047" y="2066"/>
                  </a:lnTo>
                  <a:lnTo>
                    <a:pt x="1044" y="2063"/>
                  </a:lnTo>
                  <a:lnTo>
                    <a:pt x="1044" y="2063"/>
                  </a:lnTo>
                  <a:lnTo>
                    <a:pt x="1044" y="2063"/>
                  </a:lnTo>
                  <a:lnTo>
                    <a:pt x="1042" y="2063"/>
                  </a:lnTo>
                  <a:lnTo>
                    <a:pt x="1042" y="2063"/>
                  </a:lnTo>
                  <a:lnTo>
                    <a:pt x="1042" y="2063"/>
                  </a:lnTo>
                  <a:lnTo>
                    <a:pt x="1039" y="2063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9" y="2060"/>
                  </a:lnTo>
                  <a:lnTo>
                    <a:pt x="1036" y="2060"/>
                  </a:lnTo>
                  <a:lnTo>
                    <a:pt x="1036" y="2060"/>
                  </a:lnTo>
                  <a:lnTo>
                    <a:pt x="1036" y="2060"/>
                  </a:lnTo>
                  <a:lnTo>
                    <a:pt x="1036" y="2063"/>
                  </a:lnTo>
                  <a:lnTo>
                    <a:pt x="1036" y="2063"/>
                  </a:lnTo>
                  <a:lnTo>
                    <a:pt x="1036" y="2063"/>
                  </a:lnTo>
                  <a:lnTo>
                    <a:pt x="1036" y="2066"/>
                  </a:lnTo>
                  <a:lnTo>
                    <a:pt x="1036" y="2066"/>
                  </a:lnTo>
                  <a:lnTo>
                    <a:pt x="1036" y="2066"/>
                  </a:lnTo>
                  <a:lnTo>
                    <a:pt x="1036" y="2069"/>
                  </a:lnTo>
                  <a:lnTo>
                    <a:pt x="1036" y="2069"/>
                  </a:lnTo>
                  <a:lnTo>
                    <a:pt x="1036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4" y="2071"/>
                  </a:lnTo>
                  <a:lnTo>
                    <a:pt x="1031" y="2071"/>
                  </a:lnTo>
                  <a:lnTo>
                    <a:pt x="1031" y="2071"/>
                  </a:lnTo>
                  <a:lnTo>
                    <a:pt x="1031" y="2074"/>
                  </a:lnTo>
                  <a:lnTo>
                    <a:pt x="1031" y="2074"/>
                  </a:lnTo>
                  <a:lnTo>
                    <a:pt x="1031" y="2074"/>
                  </a:lnTo>
                  <a:lnTo>
                    <a:pt x="1028" y="2074"/>
                  </a:lnTo>
                  <a:lnTo>
                    <a:pt x="1028" y="2074"/>
                  </a:lnTo>
                  <a:lnTo>
                    <a:pt x="1028" y="2074"/>
                  </a:lnTo>
                  <a:lnTo>
                    <a:pt x="1026" y="2074"/>
                  </a:lnTo>
                  <a:lnTo>
                    <a:pt x="1026" y="2074"/>
                  </a:lnTo>
                  <a:lnTo>
                    <a:pt x="1026" y="2077"/>
                  </a:lnTo>
                  <a:lnTo>
                    <a:pt x="1026" y="2074"/>
                  </a:lnTo>
                  <a:lnTo>
                    <a:pt x="1026" y="2074"/>
                  </a:lnTo>
                  <a:lnTo>
                    <a:pt x="1023" y="2074"/>
                  </a:lnTo>
                  <a:lnTo>
                    <a:pt x="1023" y="2071"/>
                  </a:lnTo>
                  <a:lnTo>
                    <a:pt x="1023" y="2071"/>
                  </a:lnTo>
                  <a:lnTo>
                    <a:pt x="1020" y="2071"/>
                  </a:lnTo>
                  <a:lnTo>
                    <a:pt x="1020" y="2069"/>
                  </a:lnTo>
                  <a:lnTo>
                    <a:pt x="1020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8" y="2069"/>
                  </a:lnTo>
                  <a:lnTo>
                    <a:pt x="1015" y="2066"/>
                  </a:lnTo>
                  <a:lnTo>
                    <a:pt x="1015" y="2066"/>
                  </a:lnTo>
                  <a:lnTo>
                    <a:pt x="1012" y="2066"/>
                  </a:lnTo>
                  <a:lnTo>
                    <a:pt x="1012" y="2066"/>
                  </a:lnTo>
                  <a:lnTo>
                    <a:pt x="1010" y="2066"/>
                  </a:lnTo>
                  <a:lnTo>
                    <a:pt x="1010" y="2066"/>
                  </a:lnTo>
                  <a:lnTo>
                    <a:pt x="1007" y="2066"/>
                  </a:lnTo>
                  <a:lnTo>
                    <a:pt x="1007" y="2066"/>
                  </a:lnTo>
                  <a:lnTo>
                    <a:pt x="1007" y="2066"/>
                  </a:lnTo>
                  <a:lnTo>
                    <a:pt x="1007" y="2063"/>
                  </a:lnTo>
                  <a:lnTo>
                    <a:pt x="1004" y="2063"/>
                  </a:lnTo>
                  <a:lnTo>
                    <a:pt x="1004" y="2063"/>
                  </a:lnTo>
                  <a:lnTo>
                    <a:pt x="1002" y="2060"/>
                  </a:lnTo>
                  <a:lnTo>
                    <a:pt x="1002" y="2060"/>
                  </a:lnTo>
                  <a:lnTo>
                    <a:pt x="1002" y="2060"/>
                  </a:lnTo>
                  <a:lnTo>
                    <a:pt x="999" y="2060"/>
                  </a:lnTo>
                  <a:lnTo>
                    <a:pt x="999" y="2060"/>
                  </a:lnTo>
                  <a:lnTo>
                    <a:pt x="999" y="2058"/>
                  </a:lnTo>
                  <a:lnTo>
                    <a:pt x="999" y="2058"/>
                  </a:lnTo>
                  <a:lnTo>
                    <a:pt x="999" y="2058"/>
                  </a:lnTo>
                  <a:lnTo>
                    <a:pt x="996" y="2058"/>
                  </a:lnTo>
                  <a:lnTo>
                    <a:pt x="994" y="2058"/>
                  </a:lnTo>
                  <a:lnTo>
                    <a:pt x="994" y="2058"/>
                  </a:lnTo>
                  <a:lnTo>
                    <a:pt x="994" y="2058"/>
                  </a:lnTo>
                  <a:lnTo>
                    <a:pt x="991" y="2058"/>
                  </a:lnTo>
                  <a:lnTo>
                    <a:pt x="991" y="2058"/>
                  </a:lnTo>
                  <a:lnTo>
                    <a:pt x="991" y="2058"/>
                  </a:lnTo>
                  <a:lnTo>
                    <a:pt x="988" y="2060"/>
                  </a:lnTo>
                  <a:lnTo>
                    <a:pt x="988" y="2060"/>
                  </a:lnTo>
                  <a:lnTo>
                    <a:pt x="988" y="2060"/>
                  </a:lnTo>
                  <a:lnTo>
                    <a:pt x="986" y="2060"/>
                  </a:lnTo>
                  <a:lnTo>
                    <a:pt x="986" y="2060"/>
                  </a:lnTo>
                  <a:lnTo>
                    <a:pt x="986" y="2063"/>
                  </a:lnTo>
                  <a:lnTo>
                    <a:pt x="986" y="2063"/>
                  </a:lnTo>
                  <a:lnTo>
                    <a:pt x="983" y="2063"/>
                  </a:lnTo>
                  <a:lnTo>
                    <a:pt x="983" y="2063"/>
                  </a:lnTo>
                  <a:lnTo>
                    <a:pt x="983" y="2063"/>
                  </a:lnTo>
                  <a:lnTo>
                    <a:pt x="980" y="2063"/>
                  </a:lnTo>
                  <a:lnTo>
                    <a:pt x="980" y="2063"/>
                  </a:lnTo>
                  <a:lnTo>
                    <a:pt x="980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8" y="2063"/>
                  </a:lnTo>
                  <a:lnTo>
                    <a:pt x="975" y="2063"/>
                  </a:lnTo>
                  <a:lnTo>
                    <a:pt x="975" y="2066"/>
                  </a:lnTo>
                  <a:lnTo>
                    <a:pt x="975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2" y="2066"/>
                  </a:lnTo>
                  <a:lnTo>
                    <a:pt x="970" y="2066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9"/>
                  </a:lnTo>
                  <a:lnTo>
                    <a:pt x="970" y="2066"/>
                  </a:lnTo>
                  <a:lnTo>
                    <a:pt x="970" y="2066"/>
                  </a:lnTo>
                  <a:lnTo>
                    <a:pt x="970" y="2066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70" y="2063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60"/>
                  </a:lnTo>
                  <a:lnTo>
                    <a:pt x="967" y="2058"/>
                  </a:lnTo>
                  <a:lnTo>
                    <a:pt x="964" y="2058"/>
                  </a:lnTo>
                  <a:lnTo>
                    <a:pt x="964" y="2058"/>
                  </a:lnTo>
                  <a:lnTo>
                    <a:pt x="964" y="2058"/>
                  </a:lnTo>
                  <a:lnTo>
                    <a:pt x="961" y="2058"/>
                  </a:lnTo>
                  <a:lnTo>
                    <a:pt x="961" y="2058"/>
                  </a:lnTo>
                  <a:lnTo>
                    <a:pt x="961" y="2058"/>
                  </a:lnTo>
                  <a:lnTo>
                    <a:pt x="961" y="2055"/>
                  </a:lnTo>
                  <a:lnTo>
                    <a:pt x="959" y="2055"/>
                  </a:lnTo>
                  <a:lnTo>
                    <a:pt x="959" y="2052"/>
                  </a:lnTo>
                  <a:lnTo>
                    <a:pt x="959" y="2052"/>
                  </a:lnTo>
                  <a:lnTo>
                    <a:pt x="959" y="2050"/>
                  </a:lnTo>
                  <a:lnTo>
                    <a:pt x="956" y="2050"/>
                  </a:lnTo>
                  <a:lnTo>
                    <a:pt x="956" y="2050"/>
                  </a:lnTo>
                  <a:lnTo>
                    <a:pt x="956" y="2047"/>
                  </a:lnTo>
                  <a:lnTo>
                    <a:pt x="953" y="2047"/>
                  </a:lnTo>
                  <a:lnTo>
                    <a:pt x="953" y="2047"/>
                  </a:lnTo>
                  <a:lnTo>
                    <a:pt x="953" y="2047"/>
                  </a:lnTo>
                  <a:lnTo>
                    <a:pt x="951" y="2047"/>
                  </a:lnTo>
                  <a:lnTo>
                    <a:pt x="951" y="2047"/>
                  </a:lnTo>
                  <a:lnTo>
                    <a:pt x="948" y="2047"/>
                  </a:lnTo>
                  <a:lnTo>
                    <a:pt x="948" y="2050"/>
                  </a:lnTo>
                  <a:lnTo>
                    <a:pt x="945" y="2050"/>
                  </a:lnTo>
                  <a:lnTo>
                    <a:pt x="943" y="2050"/>
                  </a:lnTo>
                  <a:lnTo>
                    <a:pt x="943" y="2050"/>
                  </a:lnTo>
                  <a:lnTo>
                    <a:pt x="940" y="2050"/>
                  </a:lnTo>
                  <a:lnTo>
                    <a:pt x="937" y="2050"/>
                  </a:lnTo>
                  <a:lnTo>
                    <a:pt x="937" y="2050"/>
                  </a:lnTo>
                  <a:lnTo>
                    <a:pt x="937" y="2052"/>
                  </a:lnTo>
                  <a:lnTo>
                    <a:pt x="937" y="2052"/>
                  </a:lnTo>
                  <a:lnTo>
                    <a:pt x="935" y="2052"/>
                  </a:lnTo>
                  <a:lnTo>
                    <a:pt x="932" y="2050"/>
                  </a:lnTo>
                  <a:lnTo>
                    <a:pt x="932" y="2050"/>
                  </a:lnTo>
                  <a:lnTo>
                    <a:pt x="929" y="2047"/>
                  </a:lnTo>
                  <a:lnTo>
                    <a:pt x="929" y="2047"/>
                  </a:lnTo>
                  <a:lnTo>
                    <a:pt x="929" y="2047"/>
                  </a:lnTo>
                  <a:lnTo>
                    <a:pt x="929" y="2050"/>
                  </a:lnTo>
                  <a:lnTo>
                    <a:pt x="929" y="2050"/>
                  </a:lnTo>
                  <a:lnTo>
                    <a:pt x="927" y="2050"/>
                  </a:lnTo>
                  <a:lnTo>
                    <a:pt x="927" y="2047"/>
                  </a:lnTo>
                  <a:lnTo>
                    <a:pt x="924" y="2047"/>
                  </a:lnTo>
                  <a:lnTo>
                    <a:pt x="924" y="2050"/>
                  </a:lnTo>
                  <a:lnTo>
                    <a:pt x="921" y="2050"/>
                  </a:lnTo>
                  <a:lnTo>
                    <a:pt x="921" y="2052"/>
                  </a:lnTo>
                  <a:lnTo>
                    <a:pt x="921" y="2052"/>
                  </a:lnTo>
                  <a:lnTo>
                    <a:pt x="919" y="2052"/>
                  </a:lnTo>
                  <a:lnTo>
                    <a:pt x="916" y="2055"/>
                  </a:lnTo>
                  <a:lnTo>
                    <a:pt x="913" y="2055"/>
                  </a:lnTo>
                  <a:lnTo>
                    <a:pt x="913" y="2052"/>
                  </a:lnTo>
                  <a:lnTo>
                    <a:pt x="913" y="2055"/>
                  </a:lnTo>
                  <a:lnTo>
                    <a:pt x="911" y="2055"/>
                  </a:lnTo>
                  <a:lnTo>
                    <a:pt x="908" y="2058"/>
                  </a:lnTo>
                  <a:lnTo>
                    <a:pt x="905" y="2058"/>
                  </a:lnTo>
                  <a:lnTo>
                    <a:pt x="903" y="2058"/>
                  </a:lnTo>
                  <a:lnTo>
                    <a:pt x="903" y="2058"/>
                  </a:lnTo>
                  <a:lnTo>
                    <a:pt x="900" y="2060"/>
                  </a:lnTo>
                  <a:lnTo>
                    <a:pt x="897" y="2060"/>
                  </a:lnTo>
                  <a:lnTo>
                    <a:pt x="897" y="2060"/>
                  </a:lnTo>
                  <a:lnTo>
                    <a:pt x="895" y="2060"/>
                  </a:lnTo>
                  <a:lnTo>
                    <a:pt x="892" y="2063"/>
                  </a:lnTo>
                  <a:lnTo>
                    <a:pt x="892" y="2066"/>
                  </a:lnTo>
                  <a:lnTo>
                    <a:pt x="892" y="2069"/>
                  </a:lnTo>
                  <a:lnTo>
                    <a:pt x="889" y="2069"/>
                  </a:lnTo>
                  <a:lnTo>
                    <a:pt x="889" y="2071"/>
                  </a:lnTo>
                  <a:lnTo>
                    <a:pt x="887" y="2071"/>
                  </a:lnTo>
                  <a:lnTo>
                    <a:pt x="884" y="2074"/>
                  </a:lnTo>
                  <a:lnTo>
                    <a:pt x="884" y="2077"/>
                  </a:lnTo>
                  <a:lnTo>
                    <a:pt x="881" y="2077"/>
                  </a:lnTo>
                  <a:lnTo>
                    <a:pt x="881" y="2077"/>
                  </a:lnTo>
                  <a:lnTo>
                    <a:pt x="879" y="2077"/>
                  </a:lnTo>
                  <a:lnTo>
                    <a:pt x="876" y="2079"/>
                  </a:lnTo>
                  <a:lnTo>
                    <a:pt x="860" y="2052"/>
                  </a:lnTo>
                  <a:lnTo>
                    <a:pt x="860" y="2052"/>
                  </a:lnTo>
                  <a:lnTo>
                    <a:pt x="857" y="2052"/>
                  </a:lnTo>
                  <a:lnTo>
                    <a:pt x="857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5" y="2052"/>
                  </a:lnTo>
                  <a:lnTo>
                    <a:pt x="852" y="2052"/>
                  </a:lnTo>
                  <a:lnTo>
                    <a:pt x="852" y="2050"/>
                  </a:lnTo>
                  <a:lnTo>
                    <a:pt x="852" y="2047"/>
                  </a:lnTo>
                  <a:lnTo>
                    <a:pt x="852" y="2047"/>
                  </a:lnTo>
                  <a:lnTo>
                    <a:pt x="849" y="2047"/>
                  </a:lnTo>
                  <a:lnTo>
                    <a:pt x="849" y="2047"/>
                  </a:lnTo>
                  <a:lnTo>
                    <a:pt x="849" y="2047"/>
                  </a:lnTo>
                  <a:lnTo>
                    <a:pt x="849" y="2044"/>
                  </a:lnTo>
                  <a:lnTo>
                    <a:pt x="849" y="2044"/>
                  </a:lnTo>
                  <a:lnTo>
                    <a:pt x="849" y="2042"/>
                  </a:lnTo>
                  <a:lnTo>
                    <a:pt x="849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42"/>
                  </a:lnTo>
                  <a:lnTo>
                    <a:pt x="847" y="2039"/>
                  </a:lnTo>
                  <a:lnTo>
                    <a:pt x="844" y="2039"/>
                  </a:lnTo>
                  <a:lnTo>
                    <a:pt x="844" y="2039"/>
                  </a:lnTo>
                  <a:lnTo>
                    <a:pt x="841" y="2039"/>
                  </a:lnTo>
                  <a:lnTo>
                    <a:pt x="841" y="2039"/>
                  </a:lnTo>
                  <a:lnTo>
                    <a:pt x="841" y="2042"/>
                  </a:lnTo>
                  <a:lnTo>
                    <a:pt x="841" y="2039"/>
                  </a:lnTo>
                  <a:lnTo>
                    <a:pt x="841" y="2039"/>
                  </a:lnTo>
                  <a:lnTo>
                    <a:pt x="839" y="2039"/>
                  </a:lnTo>
                  <a:lnTo>
                    <a:pt x="839" y="2036"/>
                  </a:lnTo>
                  <a:lnTo>
                    <a:pt x="839" y="2036"/>
                  </a:lnTo>
                  <a:lnTo>
                    <a:pt x="839" y="2034"/>
                  </a:lnTo>
                  <a:lnTo>
                    <a:pt x="839" y="2034"/>
                  </a:lnTo>
                  <a:lnTo>
                    <a:pt x="836" y="2034"/>
                  </a:lnTo>
                  <a:lnTo>
                    <a:pt x="836" y="2034"/>
                  </a:lnTo>
                  <a:lnTo>
                    <a:pt x="836" y="2031"/>
                  </a:lnTo>
                  <a:lnTo>
                    <a:pt x="836" y="2031"/>
                  </a:lnTo>
                  <a:lnTo>
                    <a:pt x="836" y="2028"/>
                  </a:lnTo>
                  <a:lnTo>
                    <a:pt x="836" y="2028"/>
                  </a:lnTo>
                  <a:lnTo>
                    <a:pt x="836" y="2026"/>
                  </a:lnTo>
                  <a:lnTo>
                    <a:pt x="839" y="2026"/>
                  </a:lnTo>
                  <a:lnTo>
                    <a:pt x="839" y="2026"/>
                  </a:lnTo>
                  <a:lnTo>
                    <a:pt x="839" y="2023"/>
                  </a:lnTo>
                  <a:lnTo>
                    <a:pt x="839" y="2023"/>
                  </a:lnTo>
                  <a:lnTo>
                    <a:pt x="839" y="2020"/>
                  </a:lnTo>
                  <a:lnTo>
                    <a:pt x="839" y="2020"/>
                  </a:lnTo>
                  <a:lnTo>
                    <a:pt x="836" y="2018"/>
                  </a:lnTo>
                  <a:lnTo>
                    <a:pt x="836" y="2018"/>
                  </a:lnTo>
                  <a:lnTo>
                    <a:pt x="833" y="2018"/>
                  </a:lnTo>
                  <a:lnTo>
                    <a:pt x="833" y="2018"/>
                  </a:lnTo>
                  <a:lnTo>
                    <a:pt x="833" y="2018"/>
                  </a:lnTo>
                  <a:lnTo>
                    <a:pt x="831" y="2018"/>
                  </a:lnTo>
                  <a:lnTo>
                    <a:pt x="831" y="2018"/>
                  </a:lnTo>
                  <a:lnTo>
                    <a:pt x="828" y="2018"/>
                  </a:lnTo>
                  <a:lnTo>
                    <a:pt x="828" y="2018"/>
                  </a:lnTo>
                  <a:lnTo>
                    <a:pt x="828" y="2020"/>
                  </a:lnTo>
                  <a:lnTo>
                    <a:pt x="828" y="2020"/>
                  </a:lnTo>
                  <a:lnTo>
                    <a:pt x="828" y="2020"/>
                  </a:lnTo>
                  <a:lnTo>
                    <a:pt x="825" y="2028"/>
                  </a:lnTo>
                  <a:lnTo>
                    <a:pt x="825" y="2028"/>
                  </a:lnTo>
                  <a:lnTo>
                    <a:pt x="825" y="2031"/>
                  </a:lnTo>
                  <a:lnTo>
                    <a:pt x="825" y="2031"/>
                  </a:lnTo>
                  <a:lnTo>
                    <a:pt x="823" y="2031"/>
                  </a:lnTo>
                  <a:lnTo>
                    <a:pt x="823" y="2028"/>
                  </a:lnTo>
                  <a:lnTo>
                    <a:pt x="823" y="2028"/>
                  </a:lnTo>
                  <a:lnTo>
                    <a:pt x="823" y="2028"/>
                  </a:lnTo>
                  <a:lnTo>
                    <a:pt x="820" y="2028"/>
                  </a:lnTo>
                  <a:lnTo>
                    <a:pt x="820" y="2026"/>
                  </a:lnTo>
                  <a:lnTo>
                    <a:pt x="820" y="2026"/>
                  </a:lnTo>
                  <a:lnTo>
                    <a:pt x="820" y="2023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20"/>
                  </a:lnTo>
                  <a:lnTo>
                    <a:pt x="820" y="2015"/>
                  </a:lnTo>
                  <a:lnTo>
                    <a:pt x="820" y="2012"/>
                  </a:lnTo>
                  <a:lnTo>
                    <a:pt x="820" y="2012"/>
                  </a:lnTo>
                  <a:lnTo>
                    <a:pt x="817" y="2012"/>
                  </a:lnTo>
                  <a:lnTo>
                    <a:pt x="817" y="2012"/>
                  </a:lnTo>
                  <a:lnTo>
                    <a:pt x="817" y="2012"/>
                  </a:lnTo>
                  <a:lnTo>
                    <a:pt x="815" y="2012"/>
                  </a:lnTo>
                  <a:lnTo>
                    <a:pt x="815" y="2012"/>
                  </a:lnTo>
                  <a:lnTo>
                    <a:pt x="812" y="2012"/>
                  </a:lnTo>
                  <a:lnTo>
                    <a:pt x="812" y="2012"/>
                  </a:lnTo>
                  <a:lnTo>
                    <a:pt x="809" y="2010"/>
                  </a:lnTo>
                  <a:lnTo>
                    <a:pt x="812" y="2007"/>
                  </a:lnTo>
                  <a:lnTo>
                    <a:pt x="812" y="2004"/>
                  </a:lnTo>
                  <a:lnTo>
                    <a:pt x="812" y="2002"/>
                  </a:lnTo>
                  <a:lnTo>
                    <a:pt x="812" y="1999"/>
                  </a:lnTo>
                  <a:lnTo>
                    <a:pt x="809" y="1999"/>
                  </a:lnTo>
                  <a:lnTo>
                    <a:pt x="809" y="1996"/>
                  </a:lnTo>
                  <a:lnTo>
                    <a:pt x="809" y="1996"/>
                  </a:lnTo>
                  <a:lnTo>
                    <a:pt x="809" y="1994"/>
                  </a:lnTo>
                  <a:lnTo>
                    <a:pt x="809" y="1980"/>
                  </a:lnTo>
                  <a:lnTo>
                    <a:pt x="809" y="1980"/>
                  </a:lnTo>
                  <a:lnTo>
                    <a:pt x="809" y="1978"/>
                  </a:lnTo>
                  <a:lnTo>
                    <a:pt x="809" y="1978"/>
                  </a:lnTo>
                  <a:lnTo>
                    <a:pt x="807" y="1978"/>
                  </a:lnTo>
                  <a:lnTo>
                    <a:pt x="807" y="1975"/>
                  </a:lnTo>
                  <a:lnTo>
                    <a:pt x="807" y="1972"/>
                  </a:lnTo>
                  <a:lnTo>
                    <a:pt x="807" y="1972"/>
                  </a:lnTo>
                  <a:lnTo>
                    <a:pt x="807" y="1970"/>
                  </a:lnTo>
                  <a:lnTo>
                    <a:pt x="807" y="1970"/>
                  </a:lnTo>
                  <a:lnTo>
                    <a:pt x="804" y="1970"/>
                  </a:lnTo>
                  <a:lnTo>
                    <a:pt x="804" y="1967"/>
                  </a:lnTo>
                  <a:lnTo>
                    <a:pt x="804" y="1967"/>
                  </a:lnTo>
                  <a:lnTo>
                    <a:pt x="804" y="1964"/>
                  </a:lnTo>
                  <a:lnTo>
                    <a:pt x="801" y="1964"/>
                  </a:lnTo>
                  <a:lnTo>
                    <a:pt x="801" y="1964"/>
                  </a:lnTo>
                  <a:lnTo>
                    <a:pt x="801" y="1962"/>
                  </a:lnTo>
                  <a:lnTo>
                    <a:pt x="801" y="1959"/>
                  </a:lnTo>
                  <a:lnTo>
                    <a:pt x="801" y="1956"/>
                  </a:lnTo>
                  <a:lnTo>
                    <a:pt x="801" y="1956"/>
                  </a:lnTo>
                  <a:lnTo>
                    <a:pt x="801" y="1956"/>
                  </a:lnTo>
                  <a:lnTo>
                    <a:pt x="799" y="1954"/>
                  </a:lnTo>
                  <a:lnTo>
                    <a:pt x="799" y="1954"/>
                  </a:lnTo>
                  <a:lnTo>
                    <a:pt x="796" y="1954"/>
                  </a:lnTo>
                  <a:lnTo>
                    <a:pt x="796" y="1951"/>
                  </a:lnTo>
                  <a:lnTo>
                    <a:pt x="796" y="1948"/>
                  </a:lnTo>
                  <a:lnTo>
                    <a:pt x="796" y="1946"/>
                  </a:lnTo>
                  <a:lnTo>
                    <a:pt x="796" y="1943"/>
                  </a:lnTo>
                  <a:lnTo>
                    <a:pt x="796" y="1940"/>
                  </a:lnTo>
                  <a:lnTo>
                    <a:pt x="796" y="1940"/>
                  </a:lnTo>
                  <a:lnTo>
                    <a:pt x="796" y="1940"/>
                  </a:lnTo>
                  <a:lnTo>
                    <a:pt x="796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3" y="1938"/>
                  </a:lnTo>
                  <a:lnTo>
                    <a:pt x="791" y="1938"/>
                  </a:lnTo>
                  <a:lnTo>
                    <a:pt x="791" y="1938"/>
                  </a:lnTo>
                  <a:lnTo>
                    <a:pt x="788" y="1938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8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5" y="1935"/>
                  </a:lnTo>
                  <a:lnTo>
                    <a:pt x="783" y="1935"/>
                  </a:lnTo>
                  <a:lnTo>
                    <a:pt x="783" y="1935"/>
                  </a:lnTo>
                  <a:lnTo>
                    <a:pt x="783" y="1935"/>
                  </a:lnTo>
                  <a:lnTo>
                    <a:pt x="780" y="1935"/>
                  </a:lnTo>
                  <a:lnTo>
                    <a:pt x="780" y="1932"/>
                  </a:lnTo>
                  <a:lnTo>
                    <a:pt x="777" y="1932"/>
                  </a:lnTo>
                  <a:lnTo>
                    <a:pt x="777" y="1932"/>
                  </a:lnTo>
                  <a:lnTo>
                    <a:pt x="777" y="1932"/>
                  </a:lnTo>
                  <a:lnTo>
                    <a:pt x="775" y="1932"/>
                  </a:lnTo>
                  <a:lnTo>
                    <a:pt x="775" y="1930"/>
                  </a:lnTo>
                  <a:lnTo>
                    <a:pt x="775" y="1927"/>
                  </a:lnTo>
                  <a:lnTo>
                    <a:pt x="775" y="1924"/>
                  </a:lnTo>
                  <a:lnTo>
                    <a:pt x="775" y="1924"/>
                  </a:lnTo>
                  <a:lnTo>
                    <a:pt x="775" y="1922"/>
                  </a:lnTo>
                  <a:lnTo>
                    <a:pt x="777" y="1919"/>
                  </a:lnTo>
                  <a:lnTo>
                    <a:pt x="775" y="1919"/>
                  </a:lnTo>
                  <a:lnTo>
                    <a:pt x="775" y="1916"/>
                  </a:lnTo>
                  <a:lnTo>
                    <a:pt x="775" y="1916"/>
                  </a:lnTo>
                  <a:lnTo>
                    <a:pt x="775" y="1914"/>
                  </a:lnTo>
                  <a:lnTo>
                    <a:pt x="775" y="1914"/>
                  </a:lnTo>
                  <a:lnTo>
                    <a:pt x="775" y="1911"/>
                  </a:lnTo>
                  <a:lnTo>
                    <a:pt x="775" y="1911"/>
                  </a:lnTo>
                  <a:lnTo>
                    <a:pt x="775" y="1908"/>
                  </a:lnTo>
                  <a:lnTo>
                    <a:pt x="772" y="1908"/>
                  </a:lnTo>
                  <a:lnTo>
                    <a:pt x="772" y="1908"/>
                  </a:lnTo>
                  <a:lnTo>
                    <a:pt x="769" y="1905"/>
                  </a:lnTo>
                  <a:lnTo>
                    <a:pt x="767" y="1905"/>
                  </a:lnTo>
                  <a:lnTo>
                    <a:pt x="767" y="1903"/>
                  </a:lnTo>
                  <a:lnTo>
                    <a:pt x="764" y="1903"/>
                  </a:lnTo>
                  <a:lnTo>
                    <a:pt x="764" y="1900"/>
                  </a:lnTo>
                  <a:lnTo>
                    <a:pt x="767" y="1900"/>
                  </a:lnTo>
                  <a:lnTo>
                    <a:pt x="767" y="1900"/>
                  </a:lnTo>
                  <a:lnTo>
                    <a:pt x="767" y="1900"/>
                  </a:lnTo>
                  <a:lnTo>
                    <a:pt x="769" y="1900"/>
                  </a:lnTo>
                  <a:lnTo>
                    <a:pt x="769" y="1897"/>
                  </a:lnTo>
                  <a:lnTo>
                    <a:pt x="772" y="1897"/>
                  </a:lnTo>
                  <a:lnTo>
                    <a:pt x="769" y="1895"/>
                  </a:lnTo>
                  <a:lnTo>
                    <a:pt x="769" y="1895"/>
                  </a:lnTo>
                  <a:lnTo>
                    <a:pt x="767" y="1892"/>
                  </a:lnTo>
                  <a:lnTo>
                    <a:pt x="767" y="1889"/>
                  </a:lnTo>
                  <a:lnTo>
                    <a:pt x="767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4" y="1889"/>
                  </a:lnTo>
                  <a:lnTo>
                    <a:pt x="761" y="1889"/>
                  </a:lnTo>
                  <a:lnTo>
                    <a:pt x="761" y="1892"/>
                  </a:lnTo>
                  <a:lnTo>
                    <a:pt x="761" y="1892"/>
                  </a:lnTo>
                  <a:lnTo>
                    <a:pt x="761" y="1892"/>
                  </a:lnTo>
                  <a:lnTo>
                    <a:pt x="759" y="1889"/>
                  </a:lnTo>
                  <a:lnTo>
                    <a:pt x="759" y="1889"/>
                  </a:lnTo>
                  <a:lnTo>
                    <a:pt x="761" y="1889"/>
                  </a:lnTo>
                  <a:lnTo>
                    <a:pt x="761" y="1887"/>
                  </a:lnTo>
                  <a:lnTo>
                    <a:pt x="759" y="1887"/>
                  </a:lnTo>
                  <a:lnTo>
                    <a:pt x="759" y="1887"/>
                  </a:lnTo>
                  <a:lnTo>
                    <a:pt x="759" y="1884"/>
                  </a:lnTo>
                  <a:lnTo>
                    <a:pt x="759" y="1884"/>
                  </a:lnTo>
                  <a:lnTo>
                    <a:pt x="756" y="1881"/>
                  </a:lnTo>
                  <a:lnTo>
                    <a:pt x="756" y="1881"/>
                  </a:lnTo>
                  <a:lnTo>
                    <a:pt x="756" y="1879"/>
                  </a:lnTo>
                  <a:lnTo>
                    <a:pt x="756" y="1879"/>
                  </a:lnTo>
                  <a:lnTo>
                    <a:pt x="756" y="1879"/>
                  </a:lnTo>
                  <a:lnTo>
                    <a:pt x="753" y="1879"/>
                  </a:lnTo>
                  <a:lnTo>
                    <a:pt x="756" y="1876"/>
                  </a:lnTo>
                  <a:lnTo>
                    <a:pt x="756" y="1876"/>
                  </a:lnTo>
                  <a:lnTo>
                    <a:pt x="756" y="1873"/>
                  </a:lnTo>
                  <a:lnTo>
                    <a:pt x="756" y="1873"/>
                  </a:lnTo>
                  <a:lnTo>
                    <a:pt x="756" y="1871"/>
                  </a:lnTo>
                  <a:lnTo>
                    <a:pt x="756" y="1871"/>
                  </a:lnTo>
                  <a:lnTo>
                    <a:pt x="759" y="1871"/>
                  </a:lnTo>
                  <a:lnTo>
                    <a:pt x="759" y="1871"/>
                  </a:lnTo>
                  <a:lnTo>
                    <a:pt x="759" y="1868"/>
                  </a:lnTo>
                  <a:lnTo>
                    <a:pt x="759" y="1868"/>
                  </a:lnTo>
                  <a:lnTo>
                    <a:pt x="759" y="1868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5"/>
                  </a:lnTo>
                  <a:lnTo>
                    <a:pt x="759" y="1863"/>
                  </a:lnTo>
                  <a:lnTo>
                    <a:pt x="759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6" y="1863"/>
                  </a:lnTo>
                  <a:lnTo>
                    <a:pt x="753" y="1860"/>
                  </a:lnTo>
                  <a:lnTo>
                    <a:pt x="753" y="1857"/>
                  </a:lnTo>
                  <a:lnTo>
                    <a:pt x="753" y="1855"/>
                  </a:lnTo>
                  <a:lnTo>
                    <a:pt x="753" y="1855"/>
                  </a:lnTo>
                  <a:lnTo>
                    <a:pt x="753" y="1855"/>
                  </a:lnTo>
                  <a:lnTo>
                    <a:pt x="751" y="1855"/>
                  </a:lnTo>
                  <a:lnTo>
                    <a:pt x="751" y="1855"/>
                  </a:lnTo>
                  <a:lnTo>
                    <a:pt x="732" y="1849"/>
                  </a:lnTo>
                  <a:lnTo>
                    <a:pt x="732" y="1849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7"/>
                  </a:lnTo>
                  <a:lnTo>
                    <a:pt x="729" y="1844"/>
                  </a:lnTo>
                  <a:lnTo>
                    <a:pt x="729" y="1844"/>
                  </a:lnTo>
                  <a:lnTo>
                    <a:pt x="729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4"/>
                  </a:lnTo>
                  <a:lnTo>
                    <a:pt x="727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1"/>
                  </a:lnTo>
                  <a:lnTo>
                    <a:pt x="724" y="1844"/>
                  </a:lnTo>
                  <a:lnTo>
                    <a:pt x="721" y="1844"/>
                  </a:lnTo>
                  <a:lnTo>
                    <a:pt x="721" y="1844"/>
                  </a:lnTo>
                  <a:lnTo>
                    <a:pt x="721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4"/>
                  </a:lnTo>
                  <a:lnTo>
                    <a:pt x="718" y="1847"/>
                  </a:lnTo>
                  <a:lnTo>
                    <a:pt x="716" y="1847"/>
                  </a:lnTo>
                  <a:lnTo>
                    <a:pt x="716" y="1844"/>
                  </a:lnTo>
                  <a:lnTo>
                    <a:pt x="713" y="1844"/>
                  </a:lnTo>
                  <a:lnTo>
                    <a:pt x="713" y="1847"/>
                  </a:lnTo>
                  <a:lnTo>
                    <a:pt x="713" y="1847"/>
                  </a:lnTo>
                  <a:lnTo>
                    <a:pt x="713" y="1847"/>
                  </a:lnTo>
                  <a:lnTo>
                    <a:pt x="713" y="1849"/>
                  </a:lnTo>
                  <a:lnTo>
                    <a:pt x="713" y="1849"/>
                  </a:lnTo>
                  <a:lnTo>
                    <a:pt x="716" y="1849"/>
                  </a:lnTo>
                  <a:lnTo>
                    <a:pt x="716" y="1849"/>
                  </a:lnTo>
                  <a:lnTo>
                    <a:pt x="713" y="1849"/>
                  </a:lnTo>
                  <a:lnTo>
                    <a:pt x="713" y="1852"/>
                  </a:lnTo>
                  <a:lnTo>
                    <a:pt x="713" y="1852"/>
                  </a:lnTo>
                  <a:lnTo>
                    <a:pt x="713" y="1852"/>
                  </a:lnTo>
                  <a:lnTo>
                    <a:pt x="710" y="1852"/>
                  </a:lnTo>
                  <a:lnTo>
                    <a:pt x="710" y="1852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5"/>
                  </a:lnTo>
                  <a:lnTo>
                    <a:pt x="710" y="1857"/>
                  </a:lnTo>
                  <a:lnTo>
                    <a:pt x="710" y="1857"/>
                  </a:lnTo>
                  <a:lnTo>
                    <a:pt x="713" y="1857"/>
                  </a:lnTo>
                  <a:lnTo>
                    <a:pt x="713" y="1860"/>
                  </a:lnTo>
                  <a:lnTo>
                    <a:pt x="713" y="1860"/>
                  </a:lnTo>
                  <a:lnTo>
                    <a:pt x="713" y="1860"/>
                  </a:lnTo>
                  <a:lnTo>
                    <a:pt x="710" y="1860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10" y="1863"/>
                  </a:lnTo>
                  <a:lnTo>
                    <a:pt x="708" y="1863"/>
                  </a:lnTo>
                  <a:lnTo>
                    <a:pt x="708" y="1863"/>
                  </a:lnTo>
                  <a:lnTo>
                    <a:pt x="708" y="1865"/>
                  </a:lnTo>
                  <a:lnTo>
                    <a:pt x="705" y="1863"/>
                  </a:lnTo>
                  <a:lnTo>
                    <a:pt x="705" y="1863"/>
                  </a:lnTo>
                  <a:lnTo>
                    <a:pt x="705" y="1860"/>
                  </a:lnTo>
                  <a:lnTo>
                    <a:pt x="705" y="1860"/>
                  </a:lnTo>
                  <a:lnTo>
                    <a:pt x="705" y="1860"/>
                  </a:lnTo>
                  <a:lnTo>
                    <a:pt x="705" y="1857"/>
                  </a:lnTo>
                  <a:lnTo>
                    <a:pt x="702" y="1857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2" y="1855"/>
                  </a:lnTo>
                  <a:lnTo>
                    <a:pt x="700" y="1855"/>
                  </a:lnTo>
                  <a:lnTo>
                    <a:pt x="700" y="1855"/>
                  </a:lnTo>
                  <a:lnTo>
                    <a:pt x="700" y="1855"/>
                  </a:lnTo>
                  <a:lnTo>
                    <a:pt x="700" y="1857"/>
                  </a:lnTo>
                  <a:lnTo>
                    <a:pt x="697" y="1857"/>
                  </a:lnTo>
                  <a:lnTo>
                    <a:pt x="697" y="1857"/>
                  </a:lnTo>
                  <a:lnTo>
                    <a:pt x="697" y="1857"/>
                  </a:lnTo>
                  <a:lnTo>
                    <a:pt x="697" y="1860"/>
                  </a:lnTo>
                  <a:lnTo>
                    <a:pt x="694" y="1860"/>
                  </a:lnTo>
                  <a:lnTo>
                    <a:pt x="694" y="1860"/>
                  </a:lnTo>
                  <a:lnTo>
                    <a:pt x="694" y="1860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4" y="1863"/>
                  </a:lnTo>
                  <a:lnTo>
                    <a:pt x="692" y="1863"/>
                  </a:lnTo>
                  <a:lnTo>
                    <a:pt x="692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9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6" y="1863"/>
                  </a:lnTo>
                  <a:lnTo>
                    <a:pt x="684" y="1863"/>
                  </a:lnTo>
                  <a:lnTo>
                    <a:pt x="684" y="1863"/>
                  </a:lnTo>
                  <a:lnTo>
                    <a:pt x="684" y="1865"/>
                  </a:lnTo>
                  <a:lnTo>
                    <a:pt x="681" y="1865"/>
                  </a:lnTo>
                  <a:lnTo>
                    <a:pt x="681" y="1865"/>
                  </a:lnTo>
                  <a:lnTo>
                    <a:pt x="681" y="1865"/>
                  </a:lnTo>
                  <a:lnTo>
                    <a:pt x="678" y="1865"/>
                  </a:lnTo>
                  <a:lnTo>
                    <a:pt x="676" y="1865"/>
                  </a:lnTo>
                  <a:lnTo>
                    <a:pt x="678" y="1865"/>
                  </a:lnTo>
                  <a:lnTo>
                    <a:pt x="676" y="1865"/>
                  </a:lnTo>
                  <a:lnTo>
                    <a:pt x="676" y="1865"/>
                  </a:lnTo>
                  <a:lnTo>
                    <a:pt x="673" y="1865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3" y="1863"/>
                  </a:lnTo>
                  <a:lnTo>
                    <a:pt x="670" y="1863"/>
                  </a:lnTo>
                  <a:lnTo>
                    <a:pt x="670" y="1860"/>
                  </a:lnTo>
                  <a:lnTo>
                    <a:pt x="670" y="1860"/>
                  </a:lnTo>
                  <a:lnTo>
                    <a:pt x="670" y="1857"/>
                  </a:lnTo>
                  <a:lnTo>
                    <a:pt x="670" y="1857"/>
                  </a:lnTo>
                  <a:lnTo>
                    <a:pt x="670" y="1857"/>
                  </a:lnTo>
                  <a:lnTo>
                    <a:pt x="670" y="1855"/>
                  </a:lnTo>
                  <a:lnTo>
                    <a:pt x="670" y="1855"/>
                  </a:lnTo>
                  <a:lnTo>
                    <a:pt x="670" y="1855"/>
                  </a:lnTo>
                  <a:lnTo>
                    <a:pt x="670" y="1852"/>
                  </a:lnTo>
                  <a:lnTo>
                    <a:pt x="670" y="1852"/>
                  </a:lnTo>
                  <a:lnTo>
                    <a:pt x="670" y="1849"/>
                  </a:lnTo>
                  <a:lnTo>
                    <a:pt x="670" y="1849"/>
                  </a:lnTo>
                  <a:lnTo>
                    <a:pt x="668" y="1849"/>
                  </a:lnTo>
                  <a:lnTo>
                    <a:pt x="668" y="1847"/>
                  </a:lnTo>
                  <a:lnTo>
                    <a:pt x="670" y="1847"/>
                  </a:lnTo>
                  <a:lnTo>
                    <a:pt x="668" y="1847"/>
                  </a:lnTo>
                  <a:lnTo>
                    <a:pt x="668" y="1844"/>
                  </a:lnTo>
                  <a:lnTo>
                    <a:pt x="668" y="1844"/>
                  </a:lnTo>
                  <a:lnTo>
                    <a:pt x="668" y="1841"/>
                  </a:lnTo>
                  <a:lnTo>
                    <a:pt x="665" y="1841"/>
                  </a:lnTo>
                  <a:lnTo>
                    <a:pt x="665" y="1839"/>
                  </a:lnTo>
                  <a:lnTo>
                    <a:pt x="665" y="1839"/>
                  </a:lnTo>
                  <a:lnTo>
                    <a:pt x="665" y="1839"/>
                  </a:lnTo>
                  <a:lnTo>
                    <a:pt x="665" y="1836"/>
                  </a:lnTo>
                  <a:lnTo>
                    <a:pt x="665" y="1836"/>
                  </a:lnTo>
                  <a:lnTo>
                    <a:pt x="665" y="1833"/>
                  </a:lnTo>
                  <a:lnTo>
                    <a:pt x="665" y="1833"/>
                  </a:lnTo>
                  <a:lnTo>
                    <a:pt x="662" y="1833"/>
                  </a:lnTo>
                  <a:lnTo>
                    <a:pt x="662" y="1833"/>
                  </a:lnTo>
                  <a:lnTo>
                    <a:pt x="660" y="1833"/>
                  </a:lnTo>
                  <a:lnTo>
                    <a:pt x="660" y="1831"/>
                  </a:lnTo>
                  <a:lnTo>
                    <a:pt x="657" y="1828"/>
                  </a:lnTo>
                  <a:lnTo>
                    <a:pt x="660" y="1828"/>
                  </a:lnTo>
                  <a:lnTo>
                    <a:pt x="660" y="1828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0" y="1825"/>
                  </a:lnTo>
                  <a:lnTo>
                    <a:pt x="662" y="1825"/>
                  </a:lnTo>
                  <a:lnTo>
                    <a:pt x="662" y="1825"/>
                  </a:lnTo>
                  <a:lnTo>
                    <a:pt x="662" y="1825"/>
                  </a:lnTo>
                  <a:lnTo>
                    <a:pt x="662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3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20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5" y="1817"/>
                  </a:lnTo>
                  <a:lnTo>
                    <a:pt x="668" y="1817"/>
                  </a:lnTo>
                  <a:lnTo>
                    <a:pt x="668" y="1817"/>
                  </a:lnTo>
                  <a:lnTo>
                    <a:pt x="668" y="1815"/>
                  </a:lnTo>
                  <a:lnTo>
                    <a:pt x="668" y="1815"/>
                  </a:lnTo>
                  <a:lnTo>
                    <a:pt x="668" y="1815"/>
                  </a:lnTo>
                  <a:lnTo>
                    <a:pt x="668" y="1812"/>
                  </a:lnTo>
                  <a:lnTo>
                    <a:pt x="665" y="1812"/>
                  </a:lnTo>
                  <a:lnTo>
                    <a:pt x="662" y="1812"/>
                  </a:lnTo>
                  <a:lnTo>
                    <a:pt x="662" y="1812"/>
                  </a:lnTo>
                  <a:lnTo>
                    <a:pt x="662" y="1812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2" y="1815"/>
                  </a:lnTo>
                  <a:lnTo>
                    <a:pt x="660" y="1815"/>
                  </a:lnTo>
                  <a:lnTo>
                    <a:pt x="660" y="1815"/>
                  </a:lnTo>
                  <a:lnTo>
                    <a:pt x="660" y="1815"/>
                  </a:lnTo>
                  <a:lnTo>
                    <a:pt x="657" y="1817"/>
                  </a:lnTo>
                  <a:lnTo>
                    <a:pt x="657" y="1817"/>
                  </a:lnTo>
                  <a:lnTo>
                    <a:pt x="654" y="1817"/>
                  </a:lnTo>
                  <a:lnTo>
                    <a:pt x="654" y="1817"/>
                  </a:lnTo>
                  <a:lnTo>
                    <a:pt x="654" y="1817"/>
                  </a:lnTo>
                  <a:lnTo>
                    <a:pt x="652" y="1817"/>
                  </a:lnTo>
                  <a:lnTo>
                    <a:pt x="652" y="1817"/>
                  </a:lnTo>
                  <a:lnTo>
                    <a:pt x="652" y="1815"/>
                  </a:lnTo>
                  <a:lnTo>
                    <a:pt x="652" y="1815"/>
                  </a:lnTo>
                  <a:lnTo>
                    <a:pt x="652" y="1812"/>
                  </a:lnTo>
                  <a:lnTo>
                    <a:pt x="652" y="1812"/>
                  </a:lnTo>
                  <a:lnTo>
                    <a:pt x="652" y="1812"/>
                  </a:lnTo>
                  <a:lnTo>
                    <a:pt x="649" y="1809"/>
                  </a:lnTo>
                  <a:lnTo>
                    <a:pt x="649" y="1809"/>
                  </a:lnTo>
                  <a:lnTo>
                    <a:pt x="649" y="1809"/>
                  </a:lnTo>
                  <a:lnTo>
                    <a:pt x="649" y="1807"/>
                  </a:lnTo>
                  <a:lnTo>
                    <a:pt x="646" y="1807"/>
                  </a:lnTo>
                  <a:lnTo>
                    <a:pt x="646" y="1807"/>
                  </a:lnTo>
                  <a:lnTo>
                    <a:pt x="646" y="1804"/>
                  </a:lnTo>
                  <a:lnTo>
                    <a:pt x="644" y="1804"/>
                  </a:lnTo>
                  <a:lnTo>
                    <a:pt x="644" y="1804"/>
                  </a:lnTo>
                  <a:lnTo>
                    <a:pt x="644" y="1804"/>
                  </a:lnTo>
                  <a:lnTo>
                    <a:pt x="641" y="1804"/>
                  </a:lnTo>
                  <a:lnTo>
                    <a:pt x="641" y="1801"/>
                  </a:lnTo>
                  <a:lnTo>
                    <a:pt x="641" y="1801"/>
                  </a:lnTo>
                  <a:lnTo>
                    <a:pt x="638" y="1801"/>
                  </a:lnTo>
                  <a:lnTo>
                    <a:pt x="638" y="1801"/>
                  </a:lnTo>
                  <a:lnTo>
                    <a:pt x="638" y="1801"/>
                  </a:lnTo>
                  <a:lnTo>
                    <a:pt x="636" y="1801"/>
                  </a:lnTo>
                  <a:lnTo>
                    <a:pt x="636" y="1801"/>
                  </a:lnTo>
                  <a:lnTo>
                    <a:pt x="636" y="1799"/>
                  </a:lnTo>
                  <a:lnTo>
                    <a:pt x="636" y="1799"/>
                  </a:lnTo>
                  <a:lnTo>
                    <a:pt x="636" y="1799"/>
                  </a:lnTo>
                  <a:lnTo>
                    <a:pt x="633" y="1796"/>
                  </a:lnTo>
                  <a:lnTo>
                    <a:pt x="633" y="1796"/>
                  </a:lnTo>
                  <a:lnTo>
                    <a:pt x="633" y="1796"/>
                  </a:lnTo>
                  <a:lnTo>
                    <a:pt x="630" y="1796"/>
                  </a:lnTo>
                  <a:lnTo>
                    <a:pt x="630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8" y="1796"/>
                  </a:lnTo>
                  <a:lnTo>
                    <a:pt x="625" y="1796"/>
                  </a:lnTo>
                  <a:lnTo>
                    <a:pt x="625" y="1796"/>
                  </a:lnTo>
                  <a:lnTo>
                    <a:pt x="625" y="1793"/>
                  </a:lnTo>
                  <a:lnTo>
                    <a:pt x="625" y="1793"/>
                  </a:lnTo>
                  <a:lnTo>
                    <a:pt x="625" y="1793"/>
                  </a:lnTo>
                  <a:lnTo>
                    <a:pt x="622" y="1791"/>
                  </a:lnTo>
                  <a:lnTo>
                    <a:pt x="622" y="1791"/>
                  </a:lnTo>
                  <a:lnTo>
                    <a:pt x="620" y="1791"/>
                  </a:lnTo>
                  <a:lnTo>
                    <a:pt x="620" y="1791"/>
                  </a:lnTo>
                  <a:lnTo>
                    <a:pt x="620" y="1791"/>
                  </a:lnTo>
                  <a:lnTo>
                    <a:pt x="617" y="1791"/>
                  </a:lnTo>
                  <a:lnTo>
                    <a:pt x="617" y="1791"/>
                  </a:lnTo>
                  <a:lnTo>
                    <a:pt x="617" y="1791"/>
                  </a:lnTo>
                  <a:lnTo>
                    <a:pt x="614" y="1793"/>
                  </a:lnTo>
                  <a:lnTo>
                    <a:pt x="614" y="1793"/>
                  </a:lnTo>
                  <a:lnTo>
                    <a:pt x="614" y="1793"/>
                  </a:lnTo>
                  <a:lnTo>
                    <a:pt x="612" y="1796"/>
                  </a:lnTo>
                  <a:lnTo>
                    <a:pt x="612" y="1796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12" y="1793"/>
                  </a:lnTo>
                  <a:lnTo>
                    <a:pt x="609" y="1791"/>
                  </a:lnTo>
                  <a:lnTo>
                    <a:pt x="609" y="1791"/>
                  </a:lnTo>
                  <a:lnTo>
                    <a:pt x="606" y="1791"/>
                  </a:lnTo>
                  <a:lnTo>
                    <a:pt x="606" y="1791"/>
                  </a:lnTo>
                  <a:lnTo>
                    <a:pt x="606" y="1791"/>
                  </a:lnTo>
                  <a:lnTo>
                    <a:pt x="606" y="1793"/>
                  </a:lnTo>
                  <a:lnTo>
                    <a:pt x="606" y="1793"/>
                  </a:lnTo>
                  <a:lnTo>
                    <a:pt x="604" y="1793"/>
                  </a:lnTo>
                  <a:lnTo>
                    <a:pt x="604" y="1793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4" y="1791"/>
                  </a:lnTo>
                  <a:lnTo>
                    <a:pt x="601" y="1788"/>
                  </a:lnTo>
                  <a:lnTo>
                    <a:pt x="601" y="1788"/>
                  </a:lnTo>
                  <a:lnTo>
                    <a:pt x="598" y="1788"/>
                  </a:lnTo>
                  <a:lnTo>
                    <a:pt x="598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6" y="1788"/>
                  </a:lnTo>
                  <a:lnTo>
                    <a:pt x="593" y="1788"/>
                  </a:lnTo>
                  <a:lnTo>
                    <a:pt x="593" y="1791"/>
                  </a:lnTo>
                  <a:lnTo>
                    <a:pt x="593" y="1791"/>
                  </a:lnTo>
                  <a:lnTo>
                    <a:pt x="590" y="1791"/>
                  </a:lnTo>
                  <a:lnTo>
                    <a:pt x="590" y="1791"/>
                  </a:lnTo>
                  <a:lnTo>
                    <a:pt x="590" y="1791"/>
                  </a:lnTo>
                  <a:lnTo>
                    <a:pt x="590" y="1788"/>
                  </a:lnTo>
                  <a:lnTo>
                    <a:pt x="588" y="1788"/>
                  </a:lnTo>
                  <a:lnTo>
                    <a:pt x="588" y="1788"/>
                  </a:lnTo>
                  <a:lnTo>
                    <a:pt x="588" y="1788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8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5" y="1785"/>
                  </a:lnTo>
                  <a:lnTo>
                    <a:pt x="582" y="1785"/>
                  </a:lnTo>
                  <a:lnTo>
                    <a:pt x="582" y="1785"/>
                  </a:lnTo>
                  <a:lnTo>
                    <a:pt x="580" y="1785"/>
                  </a:lnTo>
                  <a:lnTo>
                    <a:pt x="580" y="1783"/>
                  </a:lnTo>
                  <a:lnTo>
                    <a:pt x="580" y="1783"/>
                  </a:lnTo>
                  <a:lnTo>
                    <a:pt x="577" y="1783"/>
                  </a:lnTo>
                  <a:lnTo>
                    <a:pt x="577" y="1783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7" y="1785"/>
                  </a:lnTo>
                  <a:lnTo>
                    <a:pt x="574" y="1785"/>
                  </a:lnTo>
                  <a:lnTo>
                    <a:pt x="574" y="1785"/>
                  </a:lnTo>
                  <a:lnTo>
                    <a:pt x="574" y="1785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72" y="1788"/>
                  </a:lnTo>
                  <a:lnTo>
                    <a:pt x="569" y="1791"/>
                  </a:lnTo>
                  <a:lnTo>
                    <a:pt x="569" y="1791"/>
                  </a:lnTo>
                  <a:lnTo>
                    <a:pt x="566" y="1791"/>
                  </a:lnTo>
                  <a:lnTo>
                    <a:pt x="566" y="1793"/>
                  </a:lnTo>
                  <a:lnTo>
                    <a:pt x="564" y="1793"/>
                  </a:lnTo>
                  <a:lnTo>
                    <a:pt x="564" y="1793"/>
                  </a:lnTo>
                  <a:lnTo>
                    <a:pt x="564" y="1796"/>
                  </a:lnTo>
                  <a:lnTo>
                    <a:pt x="564" y="1796"/>
                  </a:lnTo>
                  <a:lnTo>
                    <a:pt x="561" y="1796"/>
                  </a:lnTo>
                  <a:lnTo>
                    <a:pt x="561" y="1793"/>
                  </a:lnTo>
                  <a:lnTo>
                    <a:pt x="561" y="1793"/>
                  </a:lnTo>
                  <a:lnTo>
                    <a:pt x="558" y="1793"/>
                  </a:lnTo>
                  <a:lnTo>
                    <a:pt x="558" y="1796"/>
                  </a:lnTo>
                  <a:lnTo>
                    <a:pt x="558" y="1796"/>
                  </a:lnTo>
                  <a:lnTo>
                    <a:pt x="556" y="1796"/>
                  </a:lnTo>
                  <a:lnTo>
                    <a:pt x="556" y="1796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6" y="1799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1"/>
                  </a:lnTo>
                  <a:lnTo>
                    <a:pt x="553" y="1804"/>
                  </a:lnTo>
                  <a:lnTo>
                    <a:pt x="553" y="1809"/>
                  </a:lnTo>
                  <a:lnTo>
                    <a:pt x="556" y="1815"/>
                  </a:lnTo>
                  <a:lnTo>
                    <a:pt x="553" y="1815"/>
                  </a:lnTo>
                  <a:lnTo>
                    <a:pt x="553" y="1817"/>
                  </a:lnTo>
                  <a:lnTo>
                    <a:pt x="553" y="1817"/>
                  </a:lnTo>
                  <a:lnTo>
                    <a:pt x="553" y="1817"/>
                  </a:lnTo>
                  <a:lnTo>
                    <a:pt x="553" y="1820"/>
                  </a:lnTo>
                  <a:lnTo>
                    <a:pt x="553" y="1823"/>
                  </a:lnTo>
                  <a:lnTo>
                    <a:pt x="550" y="1823"/>
                  </a:lnTo>
                  <a:lnTo>
                    <a:pt x="550" y="1823"/>
                  </a:lnTo>
                  <a:lnTo>
                    <a:pt x="550" y="1825"/>
                  </a:lnTo>
                  <a:lnTo>
                    <a:pt x="550" y="1825"/>
                  </a:lnTo>
                  <a:lnTo>
                    <a:pt x="548" y="1825"/>
                  </a:lnTo>
                  <a:lnTo>
                    <a:pt x="548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5" y="1825"/>
                  </a:lnTo>
                  <a:lnTo>
                    <a:pt x="542" y="1825"/>
                  </a:lnTo>
                  <a:lnTo>
                    <a:pt x="542" y="1825"/>
                  </a:lnTo>
                  <a:lnTo>
                    <a:pt x="542" y="1825"/>
                  </a:lnTo>
                  <a:lnTo>
                    <a:pt x="540" y="1828"/>
                  </a:lnTo>
                  <a:lnTo>
                    <a:pt x="540" y="1828"/>
                  </a:lnTo>
                  <a:lnTo>
                    <a:pt x="540" y="1828"/>
                  </a:lnTo>
                  <a:lnTo>
                    <a:pt x="537" y="1831"/>
                  </a:lnTo>
                  <a:lnTo>
                    <a:pt x="537" y="1831"/>
                  </a:lnTo>
                  <a:lnTo>
                    <a:pt x="537" y="1831"/>
                  </a:lnTo>
                  <a:lnTo>
                    <a:pt x="537" y="1833"/>
                  </a:lnTo>
                  <a:lnTo>
                    <a:pt x="537" y="1833"/>
                  </a:lnTo>
                  <a:lnTo>
                    <a:pt x="537" y="1833"/>
                  </a:lnTo>
                  <a:lnTo>
                    <a:pt x="534" y="1836"/>
                  </a:lnTo>
                  <a:lnTo>
                    <a:pt x="534" y="1836"/>
                  </a:lnTo>
                  <a:lnTo>
                    <a:pt x="534" y="1836"/>
                  </a:lnTo>
                  <a:lnTo>
                    <a:pt x="534" y="1839"/>
                  </a:lnTo>
                  <a:lnTo>
                    <a:pt x="534" y="1839"/>
                  </a:lnTo>
                  <a:lnTo>
                    <a:pt x="534" y="1839"/>
                  </a:lnTo>
                  <a:lnTo>
                    <a:pt x="532" y="1841"/>
                  </a:lnTo>
                  <a:lnTo>
                    <a:pt x="534" y="1841"/>
                  </a:lnTo>
                  <a:lnTo>
                    <a:pt x="534" y="1841"/>
                  </a:lnTo>
                  <a:lnTo>
                    <a:pt x="532" y="1844"/>
                  </a:lnTo>
                  <a:lnTo>
                    <a:pt x="532" y="1844"/>
                  </a:lnTo>
                  <a:lnTo>
                    <a:pt x="532" y="1847"/>
                  </a:lnTo>
                  <a:lnTo>
                    <a:pt x="532" y="1847"/>
                  </a:lnTo>
                  <a:lnTo>
                    <a:pt x="532" y="1847"/>
                  </a:lnTo>
                  <a:lnTo>
                    <a:pt x="534" y="1849"/>
                  </a:lnTo>
                  <a:lnTo>
                    <a:pt x="534" y="1847"/>
                  </a:lnTo>
                  <a:lnTo>
                    <a:pt x="534" y="1847"/>
                  </a:lnTo>
                  <a:lnTo>
                    <a:pt x="537" y="1847"/>
                  </a:lnTo>
                  <a:lnTo>
                    <a:pt x="537" y="1849"/>
                  </a:lnTo>
                  <a:lnTo>
                    <a:pt x="537" y="1849"/>
                  </a:lnTo>
                  <a:lnTo>
                    <a:pt x="537" y="1852"/>
                  </a:lnTo>
                  <a:lnTo>
                    <a:pt x="534" y="1852"/>
                  </a:lnTo>
                  <a:lnTo>
                    <a:pt x="534" y="1852"/>
                  </a:lnTo>
                  <a:lnTo>
                    <a:pt x="534" y="1852"/>
                  </a:lnTo>
                  <a:lnTo>
                    <a:pt x="532" y="1855"/>
                  </a:lnTo>
                  <a:lnTo>
                    <a:pt x="532" y="1855"/>
                  </a:lnTo>
                  <a:lnTo>
                    <a:pt x="532" y="1855"/>
                  </a:lnTo>
                  <a:lnTo>
                    <a:pt x="529" y="1857"/>
                  </a:lnTo>
                  <a:lnTo>
                    <a:pt x="529" y="1857"/>
                  </a:lnTo>
                  <a:lnTo>
                    <a:pt x="529" y="1860"/>
                  </a:lnTo>
                  <a:lnTo>
                    <a:pt x="529" y="1860"/>
                  </a:lnTo>
                  <a:lnTo>
                    <a:pt x="529" y="1860"/>
                  </a:lnTo>
                  <a:lnTo>
                    <a:pt x="526" y="1860"/>
                  </a:lnTo>
                  <a:lnTo>
                    <a:pt x="526" y="1863"/>
                  </a:lnTo>
                  <a:lnTo>
                    <a:pt x="526" y="1863"/>
                  </a:lnTo>
                  <a:lnTo>
                    <a:pt x="526" y="1865"/>
                  </a:lnTo>
                  <a:lnTo>
                    <a:pt x="524" y="1865"/>
                  </a:lnTo>
                  <a:lnTo>
                    <a:pt x="524" y="1865"/>
                  </a:lnTo>
                  <a:lnTo>
                    <a:pt x="524" y="1868"/>
                  </a:lnTo>
                  <a:lnTo>
                    <a:pt x="524" y="1868"/>
                  </a:lnTo>
                  <a:lnTo>
                    <a:pt x="524" y="1868"/>
                  </a:lnTo>
                  <a:lnTo>
                    <a:pt x="524" y="1871"/>
                  </a:lnTo>
                  <a:lnTo>
                    <a:pt x="524" y="1871"/>
                  </a:lnTo>
                  <a:lnTo>
                    <a:pt x="524" y="1871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3"/>
                  </a:lnTo>
                  <a:lnTo>
                    <a:pt x="524" y="1876"/>
                  </a:lnTo>
                  <a:lnTo>
                    <a:pt x="524" y="1876"/>
                  </a:lnTo>
                  <a:lnTo>
                    <a:pt x="524" y="1879"/>
                  </a:lnTo>
                  <a:lnTo>
                    <a:pt x="524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21" y="1879"/>
                  </a:lnTo>
                  <a:lnTo>
                    <a:pt x="518" y="1879"/>
                  </a:lnTo>
                  <a:lnTo>
                    <a:pt x="518" y="1879"/>
                  </a:lnTo>
                  <a:lnTo>
                    <a:pt x="518" y="1879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1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6" y="1884"/>
                  </a:lnTo>
                  <a:lnTo>
                    <a:pt x="513" y="1884"/>
                  </a:lnTo>
                  <a:lnTo>
                    <a:pt x="513" y="1884"/>
                  </a:lnTo>
                  <a:lnTo>
                    <a:pt x="513" y="1887"/>
                  </a:lnTo>
                  <a:lnTo>
                    <a:pt x="513" y="1887"/>
                  </a:lnTo>
                  <a:lnTo>
                    <a:pt x="510" y="1887"/>
                  </a:lnTo>
                  <a:lnTo>
                    <a:pt x="510" y="1887"/>
                  </a:lnTo>
                  <a:lnTo>
                    <a:pt x="510" y="1889"/>
                  </a:lnTo>
                  <a:lnTo>
                    <a:pt x="508" y="1889"/>
                  </a:lnTo>
                  <a:lnTo>
                    <a:pt x="510" y="1889"/>
                  </a:lnTo>
                  <a:lnTo>
                    <a:pt x="510" y="1889"/>
                  </a:lnTo>
                  <a:lnTo>
                    <a:pt x="508" y="1889"/>
                  </a:lnTo>
                  <a:lnTo>
                    <a:pt x="508" y="1892"/>
                  </a:lnTo>
                  <a:lnTo>
                    <a:pt x="508" y="1892"/>
                  </a:lnTo>
                  <a:lnTo>
                    <a:pt x="508" y="1895"/>
                  </a:lnTo>
                  <a:lnTo>
                    <a:pt x="508" y="1895"/>
                  </a:lnTo>
                  <a:lnTo>
                    <a:pt x="505" y="1895"/>
                  </a:lnTo>
                  <a:lnTo>
                    <a:pt x="505" y="1895"/>
                  </a:lnTo>
                  <a:lnTo>
                    <a:pt x="502" y="1897"/>
                  </a:lnTo>
                  <a:lnTo>
                    <a:pt x="502" y="1897"/>
                  </a:lnTo>
                  <a:lnTo>
                    <a:pt x="502" y="1897"/>
                  </a:lnTo>
                  <a:lnTo>
                    <a:pt x="500" y="1897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500" y="1900"/>
                  </a:lnTo>
                  <a:lnTo>
                    <a:pt x="497" y="1903"/>
                  </a:lnTo>
                  <a:lnTo>
                    <a:pt x="497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3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5"/>
                  </a:lnTo>
                  <a:lnTo>
                    <a:pt x="500" y="1908"/>
                  </a:lnTo>
                  <a:lnTo>
                    <a:pt x="500" y="1908"/>
                  </a:lnTo>
                  <a:lnTo>
                    <a:pt x="500" y="1908"/>
                  </a:lnTo>
                  <a:lnTo>
                    <a:pt x="500" y="1911"/>
                  </a:lnTo>
                  <a:lnTo>
                    <a:pt x="500" y="1911"/>
                  </a:lnTo>
                  <a:lnTo>
                    <a:pt x="500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7" y="1914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6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19"/>
                  </a:lnTo>
                  <a:lnTo>
                    <a:pt x="494" y="1922"/>
                  </a:lnTo>
                  <a:lnTo>
                    <a:pt x="494" y="1922"/>
                  </a:lnTo>
                  <a:lnTo>
                    <a:pt x="494" y="1924"/>
                  </a:lnTo>
                  <a:lnTo>
                    <a:pt x="494" y="1924"/>
                  </a:lnTo>
                  <a:lnTo>
                    <a:pt x="494" y="1924"/>
                  </a:lnTo>
                  <a:lnTo>
                    <a:pt x="497" y="1924"/>
                  </a:lnTo>
                  <a:lnTo>
                    <a:pt x="497" y="1924"/>
                  </a:lnTo>
                  <a:lnTo>
                    <a:pt x="497" y="1924"/>
                  </a:lnTo>
                  <a:lnTo>
                    <a:pt x="500" y="1924"/>
                  </a:lnTo>
                  <a:lnTo>
                    <a:pt x="500" y="1927"/>
                  </a:lnTo>
                  <a:lnTo>
                    <a:pt x="500" y="1927"/>
                  </a:lnTo>
                  <a:lnTo>
                    <a:pt x="500" y="1927"/>
                  </a:lnTo>
                  <a:lnTo>
                    <a:pt x="497" y="1930"/>
                  </a:lnTo>
                  <a:lnTo>
                    <a:pt x="497" y="1930"/>
                  </a:lnTo>
                  <a:lnTo>
                    <a:pt x="497" y="1930"/>
                  </a:lnTo>
                  <a:lnTo>
                    <a:pt x="497" y="1932"/>
                  </a:lnTo>
                  <a:lnTo>
                    <a:pt x="497" y="1932"/>
                  </a:lnTo>
                  <a:lnTo>
                    <a:pt x="500" y="1932"/>
                  </a:lnTo>
                  <a:lnTo>
                    <a:pt x="500" y="1932"/>
                  </a:lnTo>
                  <a:lnTo>
                    <a:pt x="500" y="1932"/>
                  </a:lnTo>
                  <a:lnTo>
                    <a:pt x="500" y="1935"/>
                  </a:lnTo>
                  <a:lnTo>
                    <a:pt x="500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5"/>
                  </a:lnTo>
                  <a:lnTo>
                    <a:pt x="497" y="1938"/>
                  </a:lnTo>
                  <a:lnTo>
                    <a:pt x="497" y="1938"/>
                  </a:lnTo>
                  <a:lnTo>
                    <a:pt x="497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4" y="1940"/>
                  </a:lnTo>
                  <a:lnTo>
                    <a:pt x="492" y="1940"/>
                  </a:lnTo>
                  <a:lnTo>
                    <a:pt x="492" y="1943"/>
                  </a:lnTo>
                  <a:lnTo>
                    <a:pt x="492" y="1943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9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6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6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4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48"/>
                  </a:lnTo>
                  <a:lnTo>
                    <a:pt x="481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8" y="1951"/>
                  </a:lnTo>
                  <a:lnTo>
                    <a:pt x="475" y="1951"/>
                  </a:lnTo>
                  <a:lnTo>
                    <a:pt x="473" y="1951"/>
                  </a:lnTo>
                  <a:lnTo>
                    <a:pt x="473" y="1954"/>
                  </a:lnTo>
                  <a:lnTo>
                    <a:pt x="473" y="1954"/>
                  </a:lnTo>
                  <a:lnTo>
                    <a:pt x="473" y="1954"/>
                  </a:lnTo>
                  <a:lnTo>
                    <a:pt x="473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6"/>
                  </a:lnTo>
                  <a:lnTo>
                    <a:pt x="470" y="1959"/>
                  </a:lnTo>
                  <a:lnTo>
                    <a:pt x="467" y="1962"/>
                  </a:lnTo>
                  <a:lnTo>
                    <a:pt x="467" y="1962"/>
                  </a:lnTo>
                  <a:lnTo>
                    <a:pt x="470" y="1962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7" y="1964"/>
                  </a:lnTo>
                  <a:lnTo>
                    <a:pt x="465" y="1964"/>
                  </a:lnTo>
                  <a:lnTo>
                    <a:pt x="465" y="1964"/>
                  </a:lnTo>
                  <a:lnTo>
                    <a:pt x="465" y="1967"/>
                  </a:lnTo>
                  <a:lnTo>
                    <a:pt x="462" y="1967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62" y="1964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62"/>
                  </a:lnTo>
                  <a:lnTo>
                    <a:pt x="459" y="1959"/>
                  </a:lnTo>
                  <a:lnTo>
                    <a:pt x="459" y="1959"/>
                  </a:lnTo>
                  <a:lnTo>
                    <a:pt x="459" y="1962"/>
                  </a:lnTo>
                  <a:lnTo>
                    <a:pt x="459" y="1970"/>
                  </a:lnTo>
                  <a:lnTo>
                    <a:pt x="459" y="1972"/>
                  </a:lnTo>
                  <a:lnTo>
                    <a:pt x="457" y="1972"/>
                  </a:lnTo>
                  <a:lnTo>
                    <a:pt x="457" y="1975"/>
                  </a:lnTo>
                  <a:lnTo>
                    <a:pt x="457" y="1975"/>
                  </a:lnTo>
                  <a:lnTo>
                    <a:pt x="457" y="1975"/>
                  </a:lnTo>
                  <a:lnTo>
                    <a:pt x="459" y="1978"/>
                  </a:lnTo>
                  <a:lnTo>
                    <a:pt x="457" y="1978"/>
                  </a:lnTo>
                  <a:lnTo>
                    <a:pt x="457" y="1978"/>
                  </a:lnTo>
                  <a:lnTo>
                    <a:pt x="457" y="1980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7" y="1983"/>
                  </a:lnTo>
                  <a:lnTo>
                    <a:pt x="454" y="1980"/>
                  </a:lnTo>
                  <a:lnTo>
                    <a:pt x="454" y="1980"/>
                  </a:lnTo>
                  <a:lnTo>
                    <a:pt x="454" y="1978"/>
                  </a:lnTo>
                  <a:lnTo>
                    <a:pt x="454" y="1975"/>
                  </a:lnTo>
                  <a:lnTo>
                    <a:pt x="451" y="1975"/>
                  </a:lnTo>
                  <a:lnTo>
                    <a:pt x="451" y="1975"/>
                  </a:lnTo>
                  <a:lnTo>
                    <a:pt x="451" y="1972"/>
                  </a:lnTo>
                  <a:lnTo>
                    <a:pt x="451" y="1970"/>
                  </a:lnTo>
                  <a:lnTo>
                    <a:pt x="454" y="1970"/>
                  </a:lnTo>
                  <a:lnTo>
                    <a:pt x="451" y="1970"/>
                  </a:lnTo>
                  <a:lnTo>
                    <a:pt x="451" y="1967"/>
                  </a:lnTo>
                  <a:lnTo>
                    <a:pt x="451" y="1964"/>
                  </a:lnTo>
                  <a:lnTo>
                    <a:pt x="451" y="1964"/>
                  </a:lnTo>
                  <a:lnTo>
                    <a:pt x="451" y="1962"/>
                  </a:lnTo>
                  <a:lnTo>
                    <a:pt x="451" y="1962"/>
                  </a:lnTo>
                  <a:lnTo>
                    <a:pt x="449" y="1959"/>
                  </a:lnTo>
                  <a:lnTo>
                    <a:pt x="451" y="1956"/>
                  </a:lnTo>
                  <a:lnTo>
                    <a:pt x="451" y="1956"/>
                  </a:lnTo>
                  <a:lnTo>
                    <a:pt x="451" y="1954"/>
                  </a:lnTo>
                  <a:lnTo>
                    <a:pt x="449" y="1954"/>
                  </a:lnTo>
                  <a:lnTo>
                    <a:pt x="451" y="1951"/>
                  </a:lnTo>
                  <a:lnTo>
                    <a:pt x="451" y="1951"/>
                  </a:lnTo>
                  <a:lnTo>
                    <a:pt x="454" y="1948"/>
                  </a:lnTo>
                  <a:lnTo>
                    <a:pt x="454" y="1946"/>
                  </a:lnTo>
                  <a:lnTo>
                    <a:pt x="457" y="1943"/>
                  </a:lnTo>
                  <a:lnTo>
                    <a:pt x="457" y="1943"/>
                  </a:lnTo>
                  <a:lnTo>
                    <a:pt x="457" y="1943"/>
                  </a:lnTo>
                  <a:lnTo>
                    <a:pt x="457" y="1940"/>
                  </a:lnTo>
                  <a:lnTo>
                    <a:pt x="457" y="1940"/>
                  </a:lnTo>
                  <a:lnTo>
                    <a:pt x="459" y="1938"/>
                  </a:lnTo>
                  <a:lnTo>
                    <a:pt x="457" y="1935"/>
                  </a:lnTo>
                  <a:lnTo>
                    <a:pt x="454" y="1938"/>
                  </a:lnTo>
                  <a:lnTo>
                    <a:pt x="454" y="1938"/>
                  </a:lnTo>
                  <a:lnTo>
                    <a:pt x="454" y="1938"/>
                  </a:lnTo>
                  <a:lnTo>
                    <a:pt x="451" y="1935"/>
                  </a:lnTo>
                  <a:lnTo>
                    <a:pt x="449" y="1938"/>
                  </a:lnTo>
                  <a:lnTo>
                    <a:pt x="449" y="1938"/>
                  </a:lnTo>
                  <a:lnTo>
                    <a:pt x="446" y="1938"/>
                  </a:lnTo>
                  <a:lnTo>
                    <a:pt x="446" y="1938"/>
                  </a:lnTo>
                  <a:lnTo>
                    <a:pt x="446" y="1938"/>
                  </a:lnTo>
                  <a:lnTo>
                    <a:pt x="443" y="1938"/>
                  </a:lnTo>
                  <a:lnTo>
                    <a:pt x="443" y="1940"/>
                  </a:lnTo>
                  <a:lnTo>
                    <a:pt x="443" y="1940"/>
                  </a:lnTo>
                  <a:lnTo>
                    <a:pt x="441" y="1940"/>
                  </a:lnTo>
                  <a:lnTo>
                    <a:pt x="441" y="1940"/>
                  </a:lnTo>
                  <a:lnTo>
                    <a:pt x="441" y="1938"/>
                  </a:lnTo>
                  <a:lnTo>
                    <a:pt x="441" y="1938"/>
                  </a:lnTo>
                  <a:lnTo>
                    <a:pt x="441" y="1935"/>
                  </a:lnTo>
                  <a:lnTo>
                    <a:pt x="441" y="1935"/>
                  </a:lnTo>
                  <a:lnTo>
                    <a:pt x="438" y="1935"/>
                  </a:lnTo>
                  <a:lnTo>
                    <a:pt x="438" y="1932"/>
                  </a:lnTo>
                  <a:lnTo>
                    <a:pt x="438" y="1932"/>
                  </a:lnTo>
                  <a:lnTo>
                    <a:pt x="438" y="1930"/>
                  </a:lnTo>
                  <a:lnTo>
                    <a:pt x="438" y="1927"/>
                  </a:lnTo>
                  <a:lnTo>
                    <a:pt x="438" y="1927"/>
                  </a:lnTo>
                  <a:lnTo>
                    <a:pt x="438" y="1924"/>
                  </a:lnTo>
                  <a:lnTo>
                    <a:pt x="435" y="1924"/>
                  </a:lnTo>
                  <a:lnTo>
                    <a:pt x="435" y="1922"/>
                  </a:lnTo>
                  <a:lnTo>
                    <a:pt x="435" y="1922"/>
                  </a:lnTo>
                  <a:lnTo>
                    <a:pt x="435" y="1919"/>
                  </a:lnTo>
                  <a:lnTo>
                    <a:pt x="435" y="1922"/>
                  </a:lnTo>
                  <a:lnTo>
                    <a:pt x="433" y="1922"/>
                  </a:lnTo>
                  <a:lnTo>
                    <a:pt x="433" y="1924"/>
                  </a:lnTo>
                  <a:lnTo>
                    <a:pt x="430" y="1927"/>
                  </a:lnTo>
                  <a:lnTo>
                    <a:pt x="430" y="1927"/>
                  </a:lnTo>
                  <a:lnTo>
                    <a:pt x="427" y="1927"/>
                  </a:lnTo>
                  <a:lnTo>
                    <a:pt x="427" y="1930"/>
                  </a:lnTo>
                  <a:lnTo>
                    <a:pt x="427" y="1930"/>
                  </a:lnTo>
                  <a:lnTo>
                    <a:pt x="427" y="1932"/>
                  </a:lnTo>
                  <a:lnTo>
                    <a:pt x="427" y="1932"/>
                  </a:lnTo>
                  <a:lnTo>
                    <a:pt x="427" y="1932"/>
                  </a:lnTo>
                  <a:lnTo>
                    <a:pt x="427" y="1935"/>
                  </a:lnTo>
                  <a:lnTo>
                    <a:pt x="427" y="1935"/>
                  </a:lnTo>
                  <a:lnTo>
                    <a:pt x="427" y="1938"/>
                  </a:lnTo>
                  <a:lnTo>
                    <a:pt x="427" y="1938"/>
                  </a:lnTo>
                  <a:lnTo>
                    <a:pt x="425" y="1938"/>
                  </a:lnTo>
                  <a:lnTo>
                    <a:pt x="425" y="1940"/>
                  </a:lnTo>
                  <a:lnTo>
                    <a:pt x="425" y="1940"/>
                  </a:lnTo>
                  <a:lnTo>
                    <a:pt x="422" y="1943"/>
                  </a:lnTo>
                  <a:lnTo>
                    <a:pt x="425" y="1943"/>
                  </a:lnTo>
                  <a:lnTo>
                    <a:pt x="425" y="1946"/>
                  </a:lnTo>
                  <a:lnTo>
                    <a:pt x="425" y="1946"/>
                  </a:lnTo>
                  <a:lnTo>
                    <a:pt x="425" y="1948"/>
                  </a:lnTo>
                  <a:lnTo>
                    <a:pt x="422" y="1948"/>
                  </a:lnTo>
                  <a:lnTo>
                    <a:pt x="422" y="1948"/>
                  </a:lnTo>
                  <a:lnTo>
                    <a:pt x="422" y="1948"/>
                  </a:lnTo>
                  <a:lnTo>
                    <a:pt x="419" y="1948"/>
                  </a:lnTo>
                  <a:lnTo>
                    <a:pt x="417" y="1948"/>
                  </a:lnTo>
                  <a:lnTo>
                    <a:pt x="417" y="1948"/>
                  </a:lnTo>
                  <a:lnTo>
                    <a:pt x="417" y="1948"/>
                  </a:lnTo>
                  <a:lnTo>
                    <a:pt x="414" y="1951"/>
                  </a:lnTo>
                  <a:lnTo>
                    <a:pt x="414" y="1951"/>
                  </a:lnTo>
                  <a:lnTo>
                    <a:pt x="411" y="1951"/>
                  </a:lnTo>
                  <a:lnTo>
                    <a:pt x="411" y="1954"/>
                  </a:lnTo>
                  <a:lnTo>
                    <a:pt x="409" y="1956"/>
                  </a:lnTo>
                  <a:lnTo>
                    <a:pt x="409" y="1956"/>
                  </a:lnTo>
                  <a:lnTo>
                    <a:pt x="409" y="1956"/>
                  </a:lnTo>
                  <a:lnTo>
                    <a:pt x="406" y="1956"/>
                  </a:lnTo>
                  <a:lnTo>
                    <a:pt x="406" y="1956"/>
                  </a:lnTo>
                  <a:lnTo>
                    <a:pt x="403" y="1956"/>
                  </a:lnTo>
                  <a:lnTo>
                    <a:pt x="403" y="1954"/>
                  </a:lnTo>
                  <a:lnTo>
                    <a:pt x="401" y="1954"/>
                  </a:lnTo>
                  <a:lnTo>
                    <a:pt x="401" y="1954"/>
                  </a:lnTo>
                  <a:lnTo>
                    <a:pt x="401" y="1951"/>
                  </a:lnTo>
                  <a:lnTo>
                    <a:pt x="398" y="1951"/>
                  </a:lnTo>
                  <a:lnTo>
                    <a:pt x="395" y="1954"/>
                  </a:lnTo>
                  <a:lnTo>
                    <a:pt x="393" y="1954"/>
                  </a:lnTo>
                  <a:lnTo>
                    <a:pt x="393" y="1954"/>
                  </a:lnTo>
                  <a:lnTo>
                    <a:pt x="390" y="1956"/>
                  </a:lnTo>
                  <a:lnTo>
                    <a:pt x="390" y="1956"/>
                  </a:lnTo>
                  <a:lnTo>
                    <a:pt x="390" y="1956"/>
                  </a:lnTo>
                  <a:lnTo>
                    <a:pt x="390" y="1959"/>
                  </a:lnTo>
                  <a:lnTo>
                    <a:pt x="390" y="1959"/>
                  </a:lnTo>
                  <a:lnTo>
                    <a:pt x="387" y="1959"/>
                  </a:lnTo>
                  <a:lnTo>
                    <a:pt x="387" y="1959"/>
                  </a:lnTo>
                  <a:lnTo>
                    <a:pt x="387" y="1962"/>
                  </a:lnTo>
                  <a:lnTo>
                    <a:pt x="390" y="1962"/>
                  </a:lnTo>
                  <a:lnTo>
                    <a:pt x="387" y="1962"/>
                  </a:lnTo>
                  <a:lnTo>
                    <a:pt x="387" y="1962"/>
                  </a:lnTo>
                  <a:lnTo>
                    <a:pt x="385" y="1962"/>
                  </a:lnTo>
                  <a:lnTo>
                    <a:pt x="385" y="1962"/>
                  </a:lnTo>
                  <a:lnTo>
                    <a:pt x="385" y="1959"/>
                  </a:lnTo>
                  <a:lnTo>
                    <a:pt x="382" y="1959"/>
                  </a:lnTo>
                  <a:lnTo>
                    <a:pt x="382" y="1959"/>
                  </a:lnTo>
                  <a:lnTo>
                    <a:pt x="379" y="1959"/>
                  </a:lnTo>
                  <a:lnTo>
                    <a:pt x="379" y="1962"/>
                  </a:lnTo>
                  <a:lnTo>
                    <a:pt x="379" y="1962"/>
                  </a:lnTo>
                  <a:lnTo>
                    <a:pt x="379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7" y="1962"/>
                  </a:lnTo>
                  <a:lnTo>
                    <a:pt x="374" y="1962"/>
                  </a:lnTo>
                  <a:lnTo>
                    <a:pt x="374" y="1962"/>
                  </a:lnTo>
                  <a:lnTo>
                    <a:pt x="371" y="1962"/>
                  </a:lnTo>
                  <a:lnTo>
                    <a:pt x="371" y="1959"/>
                  </a:lnTo>
                  <a:lnTo>
                    <a:pt x="369" y="1959"/>
                  </a:lnTo>
                  <a:lnTo>
                    <a:pt x="369" y="1959"/>
                  </a:lnTo>
                  <a:lnTo>
                    <a:pt x="366" y="1962"/>
                  </a:lnTo>
                  <a:lnTo>
                    <a:pt x="366" y="1959"/>
                  </a:lnTo>
                  <a:lnTo>
                    <a:pt x="363" y="1959"/>
                  </a:lnTo>
                  <a:lnTo>
                    <a:pt x="363" y="1959"/>
                  </a:lnTo>
                  <a:lnTo>
                    <a:pt x="361" y="1962"/>
                  </a:lnTo>
                  <a:lnTo>
                    <a:pt x="361" y="1962"/>
                  </a:lnTo>
                  <a:lnTo>
                    <a:pt x="361" y="1964"/>
                  </a:lnTo>
                  <a:lnTo>
                    <a:pt x="358" y="1964"/>
                  </a:lnTo>
                  <a:lnTo>
                    <a:pt x="358" y="1967"/>
                  </a:lnTo>
                  <a:lnTo>
                    <a:pt x="361" y="1967"/>
                  </a:lnTo>
                  <a:lnTo>
                    <a:pt x="361" y="1967"/>
                  </a:lnTo>
                  <a:lnTo>
                    <a:pt x="358" y="1970"/>
                  </a:lnTo>
                  <a:lnTo>
                    <a:pt x="358" y="1970"/>
                  </a:lnTo>
                  <a:lnTo>
                    <a:pt x="358" y="1970"/>
                  </a:lnTo>
                  <a:lnTo>
                    <a:pt x="355" y="1970"/>
                  </a:lnTo>
                  <a:lnTo>
                    <a:pt x="355" y="1972"/>
                  </a:lnTo>
                  <a:lnTo>
                    <a:pt x="358" y="1972"/>
                  </a:lnTo>
                  <a:lnTo>
                    <a:pt x="358" y="1972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8" y="1975"/>
                  </a:lnTo>
                  <a:lnTo>
                    <a:pt x="355" y="1978"/>
                  </a:lnTo>
                  <a:lnTo>
                    <a:pt x="355" y="1978"/>
                  </a:lnTo>
                  <a:lnTo>
                    <a:pt x="358" y="1980"/>
                  </a:lnTo>
                  <a:lnTo>
                    <a:pt x="358" y="1980"/>
                  </a:lnTo>
                  <a:lnTo>
                    <a:pt x="358" y="1980"/>
                  </a:lnTo>
                  <a:lnTo>
                    <a:pt x="355" y="1980"/>
                  </a:lnTo>
                  <a:lnTo>
                    <a:pt x="358" y="1983"/>
                  </a:lnTo>
                  <a:lnTo>
                    <a:pt x="355" y="1983"/>
                  </a:lnTo>
                  <a:lnTo>
                    <a:pt x="355" y="1983"/>
                  </a:lnTo>
                  <a:lnTo>
                    <a:pt x="355" y="1986"/>
                  </a:lnTo>
                  <a:lnTo>
                    <a:pt x="353" y="1986"/>
                  </a:lnTo>
                  <a:lnTo>
                    <a:pt x="353" y="1986"/>
                  </a:lnTo>
                  <a:lnTo>
                    <a:pt x="350" y="1986"/>
                  </a:lnTo>
                  <a:lnTo>
                    <a:pt x="350" y="1986"/>
                  </a:lnTo>
                  <a:lnTo>
                    <a:pt x="350" y="1986"/>
                  </a:lnTo>
                  <a:lnTo>
                    <a:pt x="347" y="1986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88"/>
                  </a:lnTo>
                  <a:lnTo>
                    <a:pt x="347" y="1991"/>
                  </a:lnTo>
                  <a:lnTo>
                    <a:pt x="345" y="1991"/>
                  </a:lnTo>
                  <a:lnTo>
                    <a:pt x="345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42" y="1991"/>
                  </a:lnTo>
                  <a:lnTo>
                    <a:pt x="339" y="1994"/>
                  </a:lnTo>
                  <a:lnTo>
                    <a:pt x="339" y="1994"/>
                  </a:lnTo>
                  <a:lnTo>
                    <a:pt x="337" y="1994"/>
                  </a:lnTo>
                  <a:lnTo>
                    <a:pt x="337" y="1994"/>
                  </a:lnTo>
                  <a:lnTo>
                    <a:pt x="337" y="1994"/>
                  </a:lnTo>
                  <a:lnTo>
                    <a:pt x="334" y="1994"/>
                  </a:lnTo>
                  <a:lnTo>
                    <a:pt x="334" y="1994"/>
                  </a:lnTo>
                  <a:lnTo>
                    <a:pt x="331" y="1991"/>
                  </a:lnTo>
                  <a:lnTo>
                    <a:pt x="331" y="1991"/>
                  </a:lnTo>
                  <a:lnTo>
                    <a:pt x="329" y="1991"/>
                  </a:lnTo>
                  <a:lnTo>
                    <a:pt x="329" y="1991"/>
                  </a:lnTo>
                  <a:lnTo>
                    <a:pt x="326" y="1991"/>
                  </a:lnTo>
                  <a:lnTo>
                    <a:pt x="326" y="1994"/>
                  </a:lnTo>
                  <a:lnTo>
                    <a:pt x="326" y="1994"/>
                  </a:lnTo>
                  <a:lnTo>
                    <a:pt x="323" y="1994"/>
                  </a:lnTo>
                  <a:lnTo>
                    <a:pt x="323" y="1996"/>
                  </a:lnTo>
                  <a:lnTo>
                    <a:pt x="323" y="1996"/>
                  </a:lnTo>
                  <a:lnTo>
                    <a:pt x="321" y="1994"/>
                  </a:lnTo>
                  <a:lnTo>
                    <a:pt x="321" y="1994"/>
                  </a:lnTo>
                  <a:lnTo>
                    <a:pt x="321" y="1994"/>
                  </a:lnTo>
                  <a:lnTo>
                    <a:pt x="318" y="1994"/>
                  </a:lnTo>
                  <a:lnTo>
                    <a:pt x="318" y="1991"/>
                  </a:lnTo>
                  <a:lnTo>
                    <a:pt x="318" y="1991"/>
                  </a:lnTo>
                  <a:lnTo>
                    <a:pt x="318" y="1988"/>
                  </a:lnTo>
                  <a:lnTo>
                    <a:pt x="315" y="1988"/>
                  </a:lnTo>
                  <a:lnTo>
                    <a:pt x="315" y="1988"/>
                  </a:lnTo>
                  <a:lnTo>
                    <a:pt x="315" y="1988"/>
                  </a:lnTo>
                  <a:lnTo>
                    <a:pt x="313" y="1988"/>
                  </a:lnTo>
                  <a:lnTo>
                    <a:pt x="313" y="1991"/>
                  </a:lnTo>
                  <a:lnTo>
                    <a:pt x="313" y="1991"/>
                  </a:lnTo>
                  <a:lnTo>
                    <a:pt x="313" y="1991"/>
                  </a:lnTo>
                  <a:lnTo>
                    <a:pt x="313" y="1988"/>
                  </a:lnTo>
                  <a:lnTo>
                    <a:pt x="310" y="1988"/>
                  </a:lnTo>
                  <a:lnTo>
                    <a:pt x="310" y="1988"/>
                  </a:lnTo>
                  <a:lnTo>
                    <a:pt x="310" y="1986"/>
                  </a:lnTo>
                  <a:lnTo>
                    <a:pt x="310" y="1983"/>
                  </a:lnTo>
                  <a:lnTo>
                    <a:pt x="310" y="1983"/>
                  </a:lnTo>
                  <a:lnTo>
                    <a:pt x="310" y="1980"/>
                  </a:lnTo>
                  <a:lnTo>
                    <a:pt x="307" y="1980"/>
                  </a:lnTo>
                  <a:lnTo>
                    <a:pt x="307" y="1980"/>
                  </a:lnTo>
                  <a:lnTo>
                    <a:pt x="307" y="1980"/>
                  </a:lnTo>
                  <a:lnTo>
                    <a:pt x="305" y="1980"/>
                  </a:lnTo>
                  <a:lnTo>
                    <a:pt x="305" y="1980"/>
                  </a:lnTo>
                  <a:lnTo>
                    <a:pt x="302" y="1978"/>
                  </a:lnTo>
                  <a:lnTo>
                    <a:pt x="302" y="1978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5"/>
                  </a:lnTo>
                  <a:lnTo>
                    <a:pt x="302" y="1972"/>
                  </a:lnTo>
                  <a:lnTo>
                    <a:pt x="299" y="1972"/>
                  </a:lnTo>
                  <a:lnTo>
                    <a:pt x="299" y="1972"/>
                  </a:lnTo>
                  <a:lnTo>
                    <a:pt x="302" y="1970"/>
                  </a:lnTo>
                  <a:lnTo>
                    <a:pt x="302" y="1970"/>
                  </a:lnTo>
                  <a:lnTo>
                    <a:pt x="299" y="1970"/>
                  </a:lnTo>
                  <a:lnTo>
                    <a:pt x="299" y="1970"/>
                  </a:lnTo>
                  <a:lnTo>
                    <a:pt x="297" y="1967"/>
                  </a:lnTo>
                  <a:lnTo>
                    <a:pt x="297" y="1967"/>
                  </a:lnTo>
                  <a:lnTo>
                    <a:pt x="294" y="1967"/>
                  </a:lnTo>
                  <a:lnTo>
                    <a:pt x="291" y="1967"/>
                  </a:lnTo>
                  <a:lnTo>
                    <a:pt x="289" y="1967"/>
                  </a:lnTo>
                  <a:lnTo>
                    <a:pt x="289" y="1964"/>
                  </a:lnTo>
                  <a:lnTo>
                    <a:pt x="289" y="1964"/>
                  </a:lnTo>
                  <a:lnTo>
                    <a:pt x="289" y="1962"/>
                  </a:lnTo>
                  <a:lnTo>
                    <a:pt x="286" y="1962"/>
                  </a:lnTo>
                  <a:lnTo>
                    <a:pt x="289" y="1962"/>
                  </a:lnTo>
                  <a:lnTo>
                    <a:pt x="291" y="1959"/>
                  </a:lnTo>
                  <a:lnTo>
                    <a:pt x="291" y="1956"/>
                  </a:lnTo>
                  <a:lnTo>
                    <a:pt x="291" y="1956"/>
                  </a:lnTo>
                  <a:lnTo>
                    <a:pt x="289" y="1954"/>
                  </a:lnTo>
                  <a:lnTo>
                    <a:pt x="289" y="1956"/>
                  </a:lnTo>
                  <a:lnTo>
                    <a:pt x="286" y="1956"/>
                  </a:lnTo>
                  <a:lnTo>
                    <a:pt x="286" y="1954"/>
                  </a:lnTo>
                  <a:lnTo>
                    <a:pt x="286" y="1954"/>
                  </a:lnTo>
                  <a:lnTo>
                    <a:pt x="286" y="1951"/>
                  </a:lnTo>
                  <a:lnTo>
                    <a:pt x="289" y="1951"/>
                  </a:lnTo>
                  <a:lnTo>
                    <a:pt x="289" y="1948"/>
                  </a:lnTo>
                  <a:lnTo>
                    <a:pt x="289" y="1948"/>
                  </a:lnTo>
                  <a:lnTo>
                    <a:pt x="291" y="1946"/>
                  </a:lnTo>
                  <a:lnTo>
                    <a:pt x="291" y="1946"/>
                  </a:lnTo>
                  <a:lnTo>
                    <a:pt x="291" y="1943"/>
                  </a:lnTo>
                  <a:lnTo>
                    <a:pt x="291" y="1943"/>
                  </a:lnTo>
                  <a:lnTo>
                    <a:pt x="291" y="1943"/>
                  </a:lnTo>
                  <a:lnTo>
                    <a:pt x="291" y="1940"/>
                  </a:lnTo>
                  <a:lnTo>
                    <a:pt x="291" y="1940"/>
                  </a:lnTo>
                  <a:lnTo>
                    <a:pt x="294" y="1940"/>
                  </a:lnTo>
                  <a:lnTo>
                    <a:pt x="294" y="1938"/>
                  </a:lnTo>
                  <a:lnTo>
                    <a:pt x="294" y="1938"/>
                  </a:lnTo>
                  <a:lnTo>
                    <a:pt x="297" y="1938"/>
                  </a:lnTo>
                  <a:lnTo>
                    <a:pt x="297" y="1935"/>
                  </a:lnTo>
                  <a:lnTo>
                    <a:pt x="297" y="1932"/>
                  </a:lnTo>
                  <a:lnTo>
                    <a:pt x="297" y="1930"/>
                  </a:lnTo>
                  <a:lnTo>
                    <a:pt x="297" y="1930"/>
                  </a:lnTo>
                  <a:lnTo>
                    <a:pt x="294" y="1930"/>
                  </a:lnTo>
                  <a:lnTo>
                    <a:pt x="294" y="1930"/>
                  </a:lnTo>
                  <a:lnTo>
                    <a:pt x="294" y="1927"/>
                  </a:lnTo>
                  <a:lnTo>
                    <a:pt x="294" y="1927"/>
                  </a:lnTo>
                  <a:lnTo>
                    <a:pt x="294" y="1924"/>
                  </a:lnTo>
                  <a:lnTo>
                    <a:pt x="294" y="1924"/>
                  </a:lnTo>
                  <a:lnTo>
                    <a:pt x="294" y="1922"/>
                  </a:lnTo>
                  <a:lnTo>
                    <a:pt x="294" y="1922"/>
                  </a:lnTo>
                  <a:lnTo>
                    <a:pt x="294" y="1919"/>
                  </a:lnTo>
                  <a:lnTo>
                    <a:pt x="294" y="1919"/>
                  </a:lnTo>
                  <a:lnTo>
                    <a:pt x="297" y="1916"/>
                  </a:lnTo>
                  <a:lnTo>
                    <a:pt x="297" y="1914"/>
                  </a:lnTo>
                  <a:lnTo>
                    <a:pt x="297" y="1914"/>
                  </a:lnTo>
                  <a:lnTo>
                    <a:pt x="299" y="1911"/>
                  </a:lnTo>
                  <a:lnTo>
                    <a:pt x="299" y="1911"/>
                  </a:lnTo>
                  <a:lnTo>
                    <a:pt x="299" y="1911"/>
                  </a:lnTo>
                  <a:lnTo>
                    <a:pt x="299" y="1908"/>
                  </a:lnTo>
                  <a:lnTo>
                    <a:pt x="299" y="1908"/>
                  </a:lnTo>
                  <a:lnTo>
                    <a:pt x="299" y="1908"/>
                  </a:lnTo>
                  <a:lnTo>
                    <a:pt x="297" y="1905"/>
                  </a:lnTo>
                  <a:lnTo>
                    <a:pt x="297" y="1905"/>
                  </a:lnTo>
                  <a:lnTo>
                    <a:pt x="299" y="1903"/>
                  </a:lnTo>
                  <a:lnTo>
                    <a:pt x="299" y="1903"/>
                  </a:lnTo>
                  <a:lnTo>
                    <a:pt x="299" y="1903"/>
                  </a:lnTo>
                  <a:lnTo>
                    <a:pt x="299" y="1900"/>
                  </a:lnTo>
                  <a:lnTo>
                    <a:pt x="299" y="1900"/>
                  </a:lnTo>
                  <a:lnTo>
                    <a:pt x="299" y="1900"/>
                  </a:lnTo>
                  <a:lnTo>
                    <a:pt x="299" y="1897"/>
                  </a:lnTo>
                  <a:lnTo>
                    <a:pt x="299" y="1897"/>
                  </a:lnTo>
                  <a:lnTo>
                    <a:pt x="302" y="1897"/>
                  </a:lnTo>
                  <a:lnTo>
                    <a:pt x="302" y="1895"/>
                  </a:lnTo>
                  <a:lnTo>
                    <a:pt x="302" y="1895"/>
                  </a:lnTo>
                  <a:lnTo>
                    <a:pt x="302" y="1892"/>
                  </a:lnTo>
                  <a:lnTo>
                    <a:pt x="302" y="1892"/>
                  </a:lnTo>
                  <a:lnTo>
                    <a:pt x="299" y="1892"/>
                  </a:lnTo>
                  <a:lnTo>
                    <a:pt x="299" y="1892"/>
                  </a:lnTo>
                  <a:lnTo>
                    <a:pt x="299" y="1892"/>
                  </a:lnTo>
                  <a:lnTo>
                    <a:pt x="299" y="1889"/>
                  </a:lnTo>
                  <a:lnTo>
                    <a:pt x="299" y="1889"/>
                  </a:lnTo>
                  <a:lnTo>
                    <a:pt x="299" y="1887"/>
                  </a:lnTo>
                  <a:lnTo>
                    <a:pt x="299" y="1887"/>
                  </a:lnTo>
                  <a:lnTo>
                    <a:pt x="297" y="1887"/>
                  </a:lnTo>
                  <a:lnTo>
                    <a:pt x="297" y="1884"/>
                  </a:lnTo>
                  <a:lnTo>
                    <a:pt x="297" y="1884"/>
                  </a:lnTo>
                  <a:lnTo>
                    <a:pt x="297" y="1881"/>
                  </a:lnTo>
                  <a:lnTo>
                    <a:pt x="297" y="1881"/>
                  </a:lnTo>
                  <a:lnTo>
                    <a:pt x="297" y="1879"/>
                  </a:lnTo>
                  <a:lnTo>
                    <a:pt x="297" y="1879"/>
                  </a:lnTo>
                  <a:lnTo>
                    <a:pt x="297" y="1879"/>
                  </a:lnTo>
                  <a:lnTo>
                    <a:pt x="297" y="1876"/>
                  </a:lnTo>
                  <a:lnTo>
                    <a:pt x="297" y="1876"/>
                  </a:lnTo>
                  <a:lnTo>
                    <a:pt x="297" y="1873"/>
                  </a:lnTo>
                  <a:lnTo>
                    <a:pt x="297" y="1873"/>
                  </a:lnTo>
                  <a:lnTo>
                    <a:pt x="297" y="1871"/>
                  </a:lnTo>
                  <a:lnTo>
                    <a:pt x="299" y="1871"/>
                  </a:lnTo>
                  <a:lnTo>
                    <a:pt x="299" y="1871"/>
                  </a:lnTo>
                  <a:lnTo>
                    <a:pt x="299" y="1871"/>
                  </a:lnTo>
                  <a:lnTo>
                    <a:pt x="302" y="1868"/>
                  </a:lnTo>
                  <a:lnTo>
                    <a:pt x="302" y="1868"/>
                  </a:lnTo>
                  <a:lnTo>
                    <a:pt x="302" y="1865"/>
                  </a:lnTo>
                  <a:lnTo>
                    <a:pt x="302" y="1865"/>
                  </a:lnTo>
                  <a:lnTo>
                    <a:pt x="302" y="1865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3"/>
                  </a:lnTo>
                  <a:lnTo>
                    <a:pt x="302" y="1860"/>
                  </a:lnTo>
                  <a:lnTo>
                    <a:pt x="302" y="1860"/>
                  </a:lnTo>
                  <a:lnTo>
                    <a:pt x="302" y="1860"/>
                  </a:lnTo>
                  <a:lnTo>
                    <a:pt x="299" y="1860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2" y="1857"/>
                  </a:lnTo>
                  <a:lnTo>
                    <a:pt x="305" y="1855"/>
                  </a:lnTo>
                  <a:lnTo>
                    <a:pt x="305" y="1855"/>
                  </a:lnTo>
                  <a:lnTo>
                    <a:pt x="305" y="1852"/>
                  </a:lnTo>
                  <a:lnTo>
                    <a:pt x="305" y="1852"/>
                  </a:lnTo>
                  <a:lnTo>
                    <a:pt x="302" y="1849"/>
                  </a:lnTo>
                  <a:lnTo>
                    <a:pt x="302" y="1849"/>
                  </a:lnTo>
                  <a:lnTo>
                    <a:pt x="302" y="1849"/>
                  </a:lnTo>
                  <a:lnTo>
                    <a:pt x="302" y="1847"/>
                  </a:lnTo>
                  <a:lnTo>
                    <a:pt x="305" y="1847"/>
                  </a:lnTo>
                  <a:lnTo>
                    <a:pt x="305" y="1844"/>
                  </a:lnTo>
                  <a:lnTo>
                    <a:pt x="305" y="1841"/>
                  </a:lnTo>
                  <a:lnTo>
                    <a:pt x="307" y="1841"/>
                  </a:lnTo>
                  <a:lnTo>
                    <a:pt x="307" y="1839"/>
                  </a:lnTo>
                  <a:lnTo>
                    <a:pt x="307" y="1839"/>
                  </a:lnTo>
                  <a:lnTo>
                    <a:pt x="307" y="1836"/>
                  </a:lnTo>
                  <a:lnTo>
                    <a:pt x="307" y="1836"/>
                  </a:lnTo>
                  <a:lnTo>
                    <a:pt x="310" y="1836"/>
                  </a:lnTo>
                  <a:lnTo>
                    <a:pt x="310" y="1833"/>
                  </a:lnTo>
                  <a:lnTo>
                    <a:pt x="310" y="1833"/>
                  </a:lnTo>
                  <a:lnTo>
                    <a:pt x="310" y="1833"/>
                  </a:lnTo>
                  <a:lnTo>
                    <a:pt x="310" y="1831"/>
                  </a:lnTo>
                  <a:lnTo>
                    <a:pt x="310" y="1831"/>
                  </a:lnTo>
                  <a:lnTo>
                    <a:pt x="310" y="1831"/>
                  </a:lnTo>
                  <a:lnTo>
                    <a:pt x="307" y="1831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7" y="1828"/>
                  </a:lnTo>
                  <a:lnTo>
                    <a:pt x="305" y="1825"/>
                  </a:lnTo>
                  <a:lnTo>
                    <a:pt x="307" y="1825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10" y="1825"/>
                  </a:lnTo>
                  <a:lnTo>
                    <a:pt x="313" y="1825"/>
                  </a:lnTo>
                  <a:lnTo>
                    <a:pt x="313" y="1825"/>
                  </a:lnTo>
                  <a:lnTo>
                    <a:pt x="315" y="1825"/>
                  </a:lnTo>
                  <a:lnTo>
                    <a:pt x="315" y="1825"/>
                  </a:lnTo>
                  <a:lnTo>
                    <a:pt x="315" y="1823"/>
                  </a:lnTo>
                  <a:lnTo>
                    <a:pt x="318" y="1823"/>
                  </a:lnTo>
                  <a:lnTo>
                    <a:pt x="315" y="1820"/>
                  </a:lnTo>
                  <a:lnTo>
                    <a:pt x="315" y="1817"/>
                  </a:lnTo>
                  <a:lnTo>
                    <a:pt x="315" y="1815"/>
                  </a:lnTo>
                  <a:lnTo>
                    <a:pt x="315" y="1815"/>
                  </a:lnTo>
                  <a:lnTo>
                    <a:pt x="315" y="1812"/>
                  </a:lnTo>
                  <a:lnTo>
                    <a:pt x="313" y="1812"/>
                  </a:lnTo>
                  <a:lnTo>
                    <a:pt x="310" y="1809"/>
                  </a:lnTo>
                  <a:lnTo>
                    <a:pt x="313" y="1807"/>
                  </a:lnTo>
                  <a:lnTo>
                    <a:pt x="313" y="1807"/>
                  </a:lnTo>
                  <a:lnTo>
                    <a:pt x="315" y="1804"/>
                  </a:lnTo>
                  <a:lnTo>
                    <a:pt x="315" y="1801"/>
                  </a:lnTo>
                  <a:lnTo>
                    <a:pt x="315" y="1801"/>
                  </a:lnTo>
                  <a:lnTo>
                    <a:pt x="318" y="1799"/>
                  </a:lnTo>
                  <a:lnTo>
                    <a:pt x="318" y="1796"/>
                  </a:lnTo>
                  <a:lnTo>
                    <a:pt x="318" y="1796"/>
                  </a:lnTo>
                  <a:lnTo>
                    <a:pt x="318" y="1793"/>
                  </a:lnTo>
                  <a:lnTo>
                    <a:pt x="321" y="1793"/>
                  </a:lnTo>
                  <a:lnTo>
                    <a:pt x="321" y="1791"/>
                  </a:lnTo>
                  <a:lnTo>
                    <a:pt x="321" y="1788"/>
                  </a:lnTo>
                  <a:lnTo>
                    <a:pt x="321" y="1785"/>
                  </a:lnTo>
                  <a:lnTo>
                    <a:pt x="321" y="1783"/>
                  </a:lnTo>
                  <a:lnTo>
                    <a:pt x="321" y="1780"/>
                  </a:lnTo>
                  <a:lnTo>
                    <a:pt x="321" y="1777"/>
                  </a:lnTo>
                  <a:lnTo>
                    <a:pt x="321" y="1775"/>
                  </a:lnTo>
                  <a:lnTo>
                    <a:pt x="321" y="1775"/>
                  </a:lnTo>
                  <a:lnTo>
                    <a:pt x="318" y="1775"/>
                  </a:lnTo>
                  <a:lnTo>
                    <a:pt x="318" y="1772"/>
                  </a:lnTo>
                  <a:lnTo>
                    <a:pt x="315" y="1772"/>
                  </a:lnTo>
                  <a:lnTo>
                    <a:pt x="315" y="1772"/>
                  </a:lnTo>
                  <a:lnTo>
                    <a:pt x="313" y="1772"/>
                  </a:lnTo>
                  <a:lnTo>
                    <a:pt x="313" y="1772"/>
                  </a:lnTo>
                  <a:lnTo>
                    <a:pt x="313" y="1775"/>
                  </a:lnTo>
                  <a:lnTo>
                    <a:pt x="310" y="1775"/>
                  </a:lnTo>
                  <a:lnTo>
                    <a:pt x="310" y="1775"/>
                  </a:lnTo>
                  <a:lnTo>
                    <a:pt x="310" y="1775"/>
                  </a:lnTo>
                  <a:lnTo>
                    <a:pt x="307" y="1775"/>
                  </a:lnTo>
                  <a:lnTo>
                    <a:pt x="307" y="1775"/>
                  </a:lnTo>
                  <a:lnTo>
                    <a:pt x="305" y="1777"/>
                  </a:lnTo>
                  <a:lnTo>
                    <a:pt x="302" y="1775"/>
                  </a:lnTo>
                  <a:lnTo>
                    <a:pt x="299" y="1772"/>
                  </a:lnTo>
                  <a:lnTo>
                    <a:pt x="299" y="1772"/>
                  </a:lnTo>
                  <a:lnTo>
                    <a:pt x="299" y="1769"/>
                  </a:lnTo>
                  <a:lnTo>
                    <a:pt x="297" y="1769"/>
                  </a:lnTo>
                  <a:lnTo>
                    <a:pt x="297" y="1767"/>
                  </a:lnTo>
                  <a:lnTo>
                    <a:pt x="297" y="1767"/>
                  </a:lnTo>
                  <a:lnTo>
                    <a:pt x="294" y="1767"/>
                  </a:lnTo>
                  <a:lnTo>
                    <a:pt x="294" y="1764"/>
                  </a:lnTo>
                  <a:lnTo>
                    <a:pt x="291" y="1764"/>
                  </a:lnTo>
                  <a:lnTo>
                    <a:pt x="291" y="1764"/>
                  </a:lnTo>
                  <a:lnTo>
                    <a:pt x="289" y="1764"/>
                  </a:lnTo>
                  <a:lnTo>
                    <a:pt x="289" y="1767"/>
                  </a:lnTo>
                  <a:lnTo>
                    <a:pt x="289" y="1764"/>
                  </a:lnTo>
                  <a:lnTo>
                    <a:pt x="286" y="1764"/>
                  </a:lnTo>
                  <a:lnTo>
                    <a:pt x="286" y="1767"/>
                  </a:lnTo>
                  <a:lnTo>
                    <a:pt x="283" y="1764"/>
                  </a:lnTo>
                  <a:lnTo>
                    <a:pt x="283" y="1764"/>
                  </a:lnTo>
                  <a:lnTo>
                    <a:pt x="283" y="1764"/>
                  </a:lnTo>
                  <a:lnTo>
                    <a:pt x="281" y="1764"/>
                  </a:lnTo>
                  <a:lnTo>
                    <a:pt x="281" y="1764"/>
                  </a:lnTo>
                  <a:lnTo>
                    <a:pt x="281" y="1761"/>
                  </a:lnTo>
                  <a:lnTo>
                    <a:pt x="281" y="1761"/>
                  </a:lnTo>
                  <a:lnTo>
                    <a:pt x="281" y="1759"/>
                  </a:lnTo>
                  <a:lnTo>
                    <a:pt x="281" y="1759"/>
                  </a:lnTo>
                  <a:lnTo>
                    <a:pt x="281" y="1756"/>
                  </a:lnTo>
                  <a:lnTo>
                    <a:pt x="281" y="1753"/>
                  </a:lnTo>
                  <a:lnTo>
                    <a:pt x="283" y="1753"/>
                  </a:lnTo>
                  <a:lnTo>
                    <a:pt x="283" y="1753"/>
                  </a:lnTo>
                  <a:lnTo>
                    <a:pt x="281" y="1751"/>
                  </a:lnTo>
                  <a:lnTo>
                    <a:pt x="281" y="1748"/>
                  </a:lnTo>
                  <a:lnTo>
                    <a:pt x="281" y="1748"/>
                  </a:lnTo>
                  <a:lnTo>
                    <a:pt x="281" y="1745"/>
                  </a:lnTo>
                  <a:lnTo>
                    <a:pt x="281" y="1745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2"/>
                  </a:lnTo>
                  <a:lnTo>
                    <a:pt x="281" y="1740"/>
                  </a:lnTo>
                  <a:lnTo>
                    <a:pt x="281" y="1740"/>
                  </a:lnTo>
                  <a:lnTo>
                    <a:pt x="278" y="1737"/>
                  </a:lnTo>
                  <a:lnTo>
                    <a:pt x="278" y="1737"/>
                  </a:lnTo>
                  <a:lnTo>
                    <a:pt x="278" y="1734"/>
                  </a:lnTo>
                  <a:lnTo>
                    <a:pt x="275" y="1734"/>
                  </a:lnTo>
                  <a:lnTo>
                    <a:pt x="275" y="1734"/>
                  </a:lnTo>
                  <a:lnTo>
                    <a:pt x="275" y="1732"/>
                  </a:lnTo>
                  <a:lnTo>
                    <a:pt x="273" y="1732"/>
                  </a:lnTo>
                  <a:lnTo>
                    <a:pt x="270" y="1732"/>
                  </a:lnTo>
                  <a:lnTo>
                    <a:pt x="273" y="1729"/>
                  </a:lnTo>
                  <a:lnTo>
                    <a:pt x="273" y="1726"/>
                  </a:lnTo>
                  <a:lnTo>
                    <a:pt x="270" y="1729"/>
                  </a:lnTo>
                  <a:lnTo>
                    <a:pt x="267" y="1726"/>
                  </a:lnTo>
                  <a:lnTo>
                    <a:pt x="265" y="1724"/>
                  </a:lnTo>
                  <a:lnTo>
                    <a:pt x="267" y="1724"/>
                  </a:lnTo>
                  <a:lnTo>
                    <a:pt x="265" y="1721"/>
                  </a:lnTo>
                  <a:lnTo>
                    <a:pt x="265" y="1718"/>
                  </a:lnTo>
                  <a:lnTo>
                    <a:pt x="265" y="1718"/>
                  </a:lnTo>
                  <a:lnTo>
                    <a:pt x="262" y="1718"/>
                  </a:lnTo>
                  <a:lnTo>
                    <a:pt x="262" y="1718"/>
                  </a:lnTo>
                  <a:lnTo>
                    <a:pt x="265" y="1718"/>
                  </a:lnTo>
                  <a:lnTo>
                    <a:pt x="262" y="1716"/>
                  </a:lnTo>
                  <a:lnTo>
                    <a:pt x="262" y="1716"/>
                  </a:lnTo>
                  <a:lnTo>
                    <a:pt x="262" y="1713"/>
                  </a:lnTo>
                  <a:lnTo>
                    <a:pt x="262" y="1710"/>
                  </a:lnTo>
                  <a:lnTo>
                    <a:pt x="262" y="1708"/>
                  </a:lnTo>
                  <a:lnTo>
                    <a:pt x="262" y="1708"/>
                  </a:lnTo>
                  <a:lnTo>
                    <a:pt x="265" y="1705"/>
                  </a:lnTo>
                  <a:lnTo>
                    <a:pt x="265" y="1702"/>
                  </a:lnTo>
                  <a:lnTo>
                    <a:pt x="265" y="1700"/>
                  </a:lnTo>
                  <a:lnTo>
                    <a:pt x="267" y="1700"/>
                  </a:lnTo>
                  <a:lnTo>
                    <a:pt x="267" y="1697"/>
                  </a:lnTo>
                  <a:lnTo>
                    <a:pt x="267" y="1697"/>
                  </a:lnTo>
                  <a:lnTo>
                    <a:pt x="267" y="1694"/>
                  </a:lnTo>
                  <a:lnTo>
                    <a:pt x="270" y="1694"/>
                  </a:lnTo>
                  <a:lnTo>
                    <a:pt x="270" y="1694"/>
                  </a:lnTo>
                  <a:lnTo>
                    <a:pt x="273" y="1694"/>
                  </a:lnTo>
                  <a:lnTo>
                    <a:pt x="273" y="1692"/>
                  </a:lnTo>
                  <a:lnTo>
                    <a:pt x="273" y="1692"/>
                  </a:lnTo>
                  <a:lnTo>
                    <a:pt x="273" y="1692"/>
                  </a:lnTo>
                  <a:lnTo>
                    <a:pt x="273" y="1689"/>
                  </a:lnTo>
                  <a:lnTo>
                    <a:pt x="273" y="1689"/>
                  </a:lnTo>
                  <a:lnTo>
                    <a:pt x="273" y="1689"/>
                  </a:lnTo>
                  <a:lnTo>
                    <a:pt x="273" y="1686"/>
                  </a:lnTo>
                  <a:lnTo>
                    <a:pt x="273" y="1686"/>
                  </a:lnTo>
                  <a:lnTo>
                    <a:pt x="273" y="1684"/>
                  </a:lnTo>
                  <a:lnTo>
                    <a:pt x="273" y="1684"/>
                  </a:lnTo>
                  <a:lnTo>
                    <a:pt x="273" y="1684"/>
                  </a:lnTo>
                  <a:lnTo>
                    <a:pt x="273" y="1681"/>
                  </a:lnTo>
                  <a:lnTo>
                    <a:pt x="275" y="1681"/>
                  </a:lnTo>
                  <a:lnTo>
                    <a:pt x="275" y="1678"/>
                  </a:lnTo>
                  <a:lnTo>
                    <a:pt x="275" y="1678"/>
                  </a:lnTo>
                  <a:lnTo>
                    <a:pt x="278" y="1678"/>
                  </a:lnTo>
                  <a:lnTo>
                    <a:pt x="278" y="1678"/>
                  </a:lnTo>
                  <a:lnTo>
                    <a:pt x="278" y="1676"/>
                  </a:lnTo>
                  <a:lnTo>
                    <a:pt x="278" y="1676"/>
                  </a:lnTo>
                  <a:lnTo>
                    <a:pt x="278" y="1676"/>
                  </a:lnTo>
                  <a:lnTo>
                    <a:pt x="278" y="1673"/>
                  </a:lnTo>
                  <a:lnTo>
                    <a:pt x="275" y="1673"/>
                  </a:lnTo>
                  <a:lnTo>
                    <a:pt x="275" y="1673"/>
                  </a:lnTo>
                  <a:lnTo>
                    <a:pt x="275" y="1670"/>
                  </a:lnTo>
                  <a:lnTo>
                    <a:pt x="273" y="1670"/>
                  </a:lnTo>
                  <a:lnTo>
                    <a:pt x="273" y="1670"/>
                  </a:lnTo>
                  <a:lnTo>
                    <a:pt x="273" y="1668"/>
                  </a:lnTo>
                  <a:lnTo>
                    <a:pt x="273" y="1665"/>
                  </a:lnTo>
                  <a:lnTo>
                    <a:pt x="275" y="1665"/>
                  </a:lnTo>
                  <a:lnTo>
                    <a:pt x="275" y="1662"/>
                  </a:lnTo>
                  <a:lnTo>
                    <a:pt x="275" y="1662"/>
                  </a:lnTo>
                  <a:lnTo>
                    <a:pt x="275" y="1660"/>
                  </a:lnTo>
                  <a:lnTo>
                    <a:pt x="273" y="1660"/>
                  </a:lnTo>
                  <a:lnTo>
                    <a:pt x="270" y="1657"/>
                  </a:lnTo>
                  <a:lnTo>
                    <a:pt x="270" y="1657"/>
                  </a:lnTo>
                  <a:lnTo>
                    <a:pt x="270" y="1657"/>
                  </a:lnTo>
                  <a:lnTo>
                    <a:pt x="270" y="1654"/>
                  </a:lnTo>
                  <a:lnTo>
                    <a:pt x="270" y="1654"/>
                  </a:lnTo>
                  <a:lnTo>
                    <a:pt x="270" y="1652"/>
                  </a:lnTo>
                  <a:lnTo>
                    <a:pt x="267" y="1652"/>
                  </a:lnTo>
                  <a:lnTo>
                    <a:pt x="267" y="1652"/>
                  </a:lnTo>
                  <a:lnTo>
                    <a:pt x="265" y="1652"/>
                  </a:lnTo>
                  <a:lnTo>
                    <a:pt x="265" y="1654"/>
                  </a:lnTo>
                  <a:lnTo>
                    <a:pt x="262" y="1654"/>
                  </a:lnTo>
                  <a:lnTo>
                    <a:pt x="259" y="1654"/>
                  </a:lnTo>
                  <a:lnTo>
                    <a:pt x="259" y="1654"/>
                  </a:lnTo>
                  <a:lnTo>
                    <a:pt x="257" y="1654"/>
                  </a:lnTo>
                  <a:lnTo>
                    <a:pt x="254" y="1654"/>
                  </a:lnTo>
                  <a:lnTo>
                    <a:pt x="254" y="1654"/>
                  </a:lnTo>
                  <a:lnTo>
                    <a:pt x="251" y="1654"/>
                  </a:lnTo>
                  <a:lnTo>
                    <a:pt x="251" y="1654"/>
                  </a:lnTo>
                  <a:lnTo>
                    <a:pt x="251" y="1657"/>
                  </a:lnTo>
                  <a:lnTo>
                    <a:pt x="251" y="1657"/>
                  </a:lnTo>
                  <a:lnTo>
                    <a:pt x="251" y="1657"/>
                  </a:lnTo>
                  <a:lnTo>
                    <a:pt x="249" y="1657"/>
                  </a:lnTo>
                  <a:lnTo>
                    <a:pt x="249" y="1657"/>
                  </a:lnTo>
                  <a:lnTo>
                    <a:pt x="249" y="1657"/>
                  </a:lnTo>
                  <a:lnTo>
                    <a:pt x="246" y="1657"/>
                  </a:lnTo>
                  <a:lnTo>
                    <a:pt x="246" y="1654"/>
                  </a:lnTo>
                  <a:lnTo>
                    <a:pt x="246" y="1654"/>
                  </a:lnTo>
                  <a:lnTo>
                    <a:pt x="246" y="1652"/>
                  </a:lnTo>
                  <a:lnTo>
                    <a:pt x="246" y="1652"/>
                  </a:lnTo>
                  <a:lnTo>
                    <a:pt x="243" y="1652"/>
                  </a:lnTo>
                  <a:lnTo>
                    <a:pt x="243" y="1652"/>
                  </a:lnTo>
                  <a:lnTo>
                    <a:pt x="240" y="1652"/>
                  </a:lnTo>
                  <a:lnTo>
                    <a:pt x="240" y="1649"/>
                  </a:lnTo>
                  <a:lnTo>
                    <a:pt x="240" y="1649"/>
                  </a:lnTo>
                  <a:lnTo>
                    <a:pt x="240" y="1649"/>
                  </a:lnTo>
                  <a:lnTo>
                    <a:pt x="238" y="1649"/>
                  </a:lnTo>
                  <a:lnTo>
                    <a:pt x="238" y="1646"/>
                  </a:lnTo>
                  <a:lnTo>
                    <a:pt x="238" y="1646"/>
                  </a:lnTo>
                  <a:lnTo>
                    <a:pt x="238" y="1644"/>
                  </a:lnTo>
                  <a:lnTo>
                    <a:pt x="238" y="1644"/>
                  </a:lnTo>
                  <a:lnTo>
                    <a:pt x="238" y="1644"/>
                  </a:lnTo>
                  <a:lnTo>
                    <a:pt x="238" y="1641"/>
                  </a:lnTo>
                  <a:lnTo>
                    <a:pt x="238" y="1641"/>
                  </a:lnTo>
                  <a:lnTo>
                    <a:pt x="240" y="1638"/>
                  </a:lnTo>
                  <a:lnTo>
                    <a:pt x="240" y="1638"/>
                  </a:lnTo>
                  <a:lnTo>
                    <a:pt x="240" y="1638"/>
                  </a:lnTo>
                  <a:lnTo>
                    <a:pt x="240" y="1636"/>
                  </a:lnTo>
                  <a:lnTo>
                    <a:pt x="240" y="1636"/>
                  </a:lnTo>
                  <a:lnTo>
                    <a:pt x="240" y="1633"/>
                  </a:lnTo>
                  <a:lnTo>
                    <a:pt x="240" y="1633"/>
                  </a:lnTo>
                  <a:lnTo>
                    <a:pt x="243" y="1630"/>
                  </a:lnTo>
                  <a:lnTo>
                    <a:pt x="246" y="1630"/>
                  </a:lnTo>
                  <a:lnTo>
                    <a:pt x="243" y="1628"/>
                  </a:lnTo>
                  <a:lnTo>
                    <a:pt x="243" y="1625"/>
                  </a:lnTo>
                  <a:lnTo>
                    <a:pt x="243" y="1622"/>
                  </a:lnTo>
                  <a:lnTo>
                    <a:pt x="243" y="1620"/>
                  </a:lnTo>
                  <a:lnTo>
                    <a:pt x="246" y="1620"/>
                  </a:lnTo>
                  <a:lnTo>
                    <a:pt x="246" y="1617"/>
                  </a:lnTo>
                  <a:lnTo>
                    <a:pt x="246" y="1617"/>
                  </a:lnTo>
                  <a:lnTo>
                    <a:pt x="246" y="1617"/>
                  </a:lnTo>
                  <a:lnTo>
                    <a:pt x="249" y="1614"/>
                  </a:lnTo>
                  <a:lnTo>
                    <a:pt x="251" y="1614"/>
                  </a:lnTo>
                  <a:lnTo>
                    <a:pt x="251" y="1612"/>
                  </a:lnTo>
                  <a:lnTo>
                    <a:pt x="249" y="1612"/>
                  </a:lnTo>
                  <a:lnTo>
                    <a:pt x="249" y="1609"/>
                  </a:lnTo>
                  <a:lnTo>
                    <a:pt x="249" y="1606"/>
                  </a:lnTo>
                  <a:lnTo>
                    <a:pt x="246" y="1606"/>
                  </a:lnTo>
                  <a:lnTo>
                    <a:pt x="243" y="1606"/>
                  </a:lnTo>
                  <a:lnTo>
                    <a:pt x="243" y="1606"/>
                  </a:lnTo>
                  <a:lnTo>
                    <a:pt x="240" y="1604"/>
                  </a:lnTo>
                  <a:lnTo>
                    <a:pt x="240" y="1601"/>
                  </a:lnTo>
                  <a:lnTo>
                    <a:pt x="240" y="1598"/>
                  </a:lnTo>
                  <a:lnTo>
                    <a:pt x="240" y="1598"/>
                  </a:lnTo>
                  <a:lnTo>
                    <a:pt x="240" y="1596"/>
                  </a:lnTo>
                  <a:lnTo>
                    <a:pt x="238" y="1596"/>
                  </a:lnTo>
                  <a:lnTo>
                    <a:pt x="238" y="1596"/>
                  </a:lnTo>
                  <a:lnTo>
                    <a:pt x="240" y="1593"/>
                  </a:lnTo>
                  <a:lnTo>
                    <a:pt x="238" y="1593"/>
                  </a:lnTo>
                  <a:lnTo>
                    <a:pt x="238" y="1593"/>
                  </a:lnTo>
                  <a:lnTo>
                    <a:pt x="238" y="1590"/>
                  </a:lnTo>
                  <a:lnTo>
                    <a:pt x="238" y="1588"/>
                  </a:lnTo>
                  <a:lnTo>
                    <a:pt x="238" y="1588"/>
                  </a:lnTo>
                  <a:lnTo>
                    <a:pt x="235" y="1585"/>
                  </a:lnTo>
                  <a:lnTo>
                    <a:pt x="235" y="1585"/>
                  </a:lnTo>
                  <a:lnTo>
                    <a:pt x="235" y="1582"/>
                  </a:lnTo>
                  <a:lnTo>
                    <a:pt x="235" y="1582"/>
                  </a:lnTo>
                  <a:lnTo>
                    <a:pt x="235" y="1579"/>
                  </a:lnTo>
                  <a:lnTo>
                    <a:pt x="232" y="1579"/>
                  </a:lnTo>
                  <a:lnTo>
                    <a:pt x="232" y="1577"/>
                  </a:lnTo>
                  <a:lnTo>
                    <a:pt x="232" y="1574"/>
                  </a:lnTo>
                  <a:lnTo>
                    <a:pt x="235" y="1574"/>
                  </a:lnTo>
                  <a:lnTo>
                    <a:pt x="232" y="1571"/>
                  </a:lnTo>
                  <a:lnTo>
                    <a:pt x="232" y="1569"/>
                  </a:lnTo>
                  <a:lnTo>
                    <a:pt x="230" y="1566"/>
                  </a:lnTo>
                  <a:lnTo>
                    <a:pt x="230" y="1566"/>
                  </a:lnTo>
                  <a:lnTo>
                    <a:pt x="230" y="1563"/>
                  </a:lnTo>
                  <a:lnTo>
                    <a:pt x="230" y="1563"/>
                  </a:lnTo>
                  <a:lnTo>
                    <a:pt x="230" y="1561"/>
                  </a:lnTo>
                  <a:lnTo>
                    <a:pt x="230" y="1561"/>
                  </a:lnTo>
                  <a:lnTo>
                    <a:pt x="230" y="1561"/>
                  </a:lnTo>
                  <a:lnTo>
                    <a:pt x="227" y="1561"/>
                  </a:lnTo>
                  <a:lnTo>
                    <a:pt x="224" y="1563"/>
                  </a:lnTo>
                  <a:lnTo>
                    <a:pt x="224" y="1563"/>
                  </a:lnTo>
                  <a:lnTo>
                    <a:pt x="224" y="1561"/>
                  </a:lnTo>
                  <a:lnTo>
                    <a:pt x="224" y="1558"/>
                  </a:lnTo>
                  <a:lnTo>
                    <a:pt x="222" y="1558"/>
                  </a:lnTo>
                  <a:lnTo>
                    <a:pt x="222" y="1555"/>
                  </a:lnTo>
                  <a:lnTo>
                    <a:pt x="222" y="1553"/>
                  </a:lnTo>
                  <a:lnTo>
                    <a:pt x="219" y="1553"/>
                  </a:lnTo>
                  <a:lnTo>
                    <a:pt x="216" y="1553"/>
                  </a:lnTo>
                  <a:lnTo>
                    <a:pt x="216" y="1550"/>
                  </a:lnTo>
                  <a:lnTo>
                    <a:pt x="216" y="1547"/>
                  </a:lnTo>
                  <a:lnTo>
                    <a:pt x="216" y="1547"/>
                  </a:lnTo>
                  <a:lnTo>
                    <a:pt x="214" y="1547"/>
                  </a:lnTo>
                  <a:lnTo>
                    <a:pt x="214" y="1545"/>
                  </a:lnTo>
                  <a:lnTo>
                    <a:pt x="211" y="1545"/>
                  </a:lnTo>
                  <a:lnTo>
                    <a:pt x="211" y="1542"/>
                  </a:lnTo>
                  <a:lnTo>
                    <a:pt x="211" y="1545"/>
                  </a:lnTo>
                  <a:lnTo>
                    <a:pt x="208" y="1542"/>
                  </a:lnTo>
                  <a:lnTo>
                    <a:pt x="208" y="1545"/>
                  </a:lnTo>
                  <a:lnTo>
                    <a:pt x="206" y="1545"/>
                  </a:lnTo>
                  <a:lnTo>
                    <a:pt x="206" y="1545"/>
                  </a:lnTo>
                  <a:lnTo>
                    <a:pt x="203" y="1545"/>
                  </a:lnTo>
                  <a:lnTo>
                    <a:pt x="200" y="1545"/>
                  </a:lnTo>
                  <a:lnTo>
                    <a:pt x="200" y="1545"/>
                  </a:lnTo>
                  <a:lnTo>
                    <a:pt x="198" y="1545"/>
                  </a:lnTo>
                  <a:lnTo>
                    <a:pt x="198" y="1542"/>
                  </a:lnTo>
                  <a:lnTo>
                    <a:pt x="195" y="1542"/>
                  </a:lnTo>
                  <a:lnTo>
                    <a:pt x="192" y="1542"/>
                  </a:lnTo>
                  <a:lnTo>
                    <a:pt x="192" y="1542"/>
                  </a:lnTo>
                  <a:lnTo>
                    <a:pt x="192" y="1542"/>
                  </a:lnTo>
                  <a:lnTo>
                    <a:pt x="190" y="1542"/>
                  </a:lnTo>
                  <a:lnTo>
                    <a:pt x="187" y="1542"/>
                  </a:lnTo>
                  <a:lnTo>
                    <a:pt x="184" y="1542"/>
                  </a:lnTo>
                  <a:lnTo>
                    <a:pt x="182" y="1542"/>
                  </a:lnTo>
                  <a:lnTo>
                    <a:pt x="182" y="1545"/>
                  </a:lnTo>
                  <a:lnTo>
                    <a:pt x="179" y="1545"/>
                  </a:lnTo>
                  <a:lnTo>
                    <a:pt x="176" y="1545"/>
                  </a:lnTo>
                  <a:lnTo>
                    <a:pt x="176" y="1545"/>
                  </a:lnTo>
                  <a:lnTo>
                    <a:pt x="174" y="1547"/>
                  </a:lnTo>
                  <a:lnTo>
                    <a:pt x="171" y="1547"/>
                  </a:lnTo>
                  <a:lnTo>
                    <a:pt x="168" y="1547"/>
                  </a:lnTo>
                  <a:lnTo>
                    <a:pt x="168" y="1547"/>
                  </a:lnTo>
                  <a:lnTo>
                    <a:pt x="168" y="1545"/>
                  </a:lnTo>
                  <a:lnTo>
                    <a:pt x="168" y="1545"/>
                  </a:lnTo>
                  <a:lnTo>
                    <a:pt x="168" y="1542"/>
                  </a:lnTo>
                  <a:lnTo>
                    <a:pt x="168" y="1542"/>
                  </a:lnTo>
                  <a:lnTo>
                    <a:pt x="168" y="1539"/>
                  </a:lnTo>
                  <a:lnTo>
                    <a:pt x="171" y="1539"/>
                  </a:lnTo>
                  <a:lnTo>
                    <a:pt x="171" y="1539"/>
                  </a:lnTo>
                  <a:lnTo>
                    <a:pt x="171" y="1539"/>
                  </a:lnTo>
                  <a:lnTo>
                    <a:pt x="174" y="1537"/>
                  </a:lnTo>
                  <a:lnTo>
                    <a:pt x="174" y="1537"/>
                  </a:lnTo>
                  <a:lnTo>
                    <a:pt x="174" y="1534"/>
                  </a:lnTo>
                  <a:lnTo>
                    <a:pt x="174" y="1534"/>
                  </a:lnTo>
                  <a:lnTo>
                    <a:pt x="174" y="1531"/>
                  </a:lnTo>
                  <a:lnTo>
                    <a:pt x="174" y="1529"/>
                  </a:lnTo>
                  <a:lnTo>
                    <a:pt x="174" y="1526"/>
                  </a:lnTo>
                  <a:lnTo>
                    <a:pt x="174" y="1526"/>
                  </a:lnTo>
                  <a:lnTo>
                    <a:pt x="174" y="1523"/>
                  </a:lnTo>
                  <a:lnTo>
                    <a:pt x="174" y="1521"/>
                  </a:lnTo>
                  <a:lnTo>
                    <a:pt x="174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6" y="1521"/>
                  </a:lnTo>
                  <a:lnTo>
                    <a:pt x="179" y="1523"/>
                  </a:lnTo>
                  <a:lnTo>
                    <a:pt x="179" y="1523"/>
                  </a:lnTo>
                  <a:lnTo>
                    <a:pt x="182" y="1523"/>
                  </a:lnTo>
                  <a:lnTo>
                    <a:pt x="182" y="1523"/>
                  </a:lnTo>
                  <a:lnTo>
                    <a:pt x="182" y="1523"/>
                  </a:lnTo>
                  <a:lnTo>
                    <a:pt x="184" y="1523"/>
                  </a:lnTo>
                  <a:lnTo>
                    <a:pt x="184" y="1521"/>
                  </a:lnTo>
                  <a:lnTo>
                    <a:pt x="184" y="1521"/>
                  </a:lnTo>
                  <a:lnTo>
                    <a:pt x="187" y="1521"/>
                  </a:lnTo>
                  <a:lnTo>
                    <a:pt x="187" y="1521"/>
                  </a:lnTo>
                  <a:lnTo>
                    <a:pt x="187" y="1521"/>
                  </a:lnTo>
                  <a:lnTo>
                    <a:pt x="190" y="1521"/>
                  </a:lnTo>
                  <a:lnTo>
                    <a:pt x="190" y="1521"/>
                  </a:lnTo>
                  <a:lnTo>
                    <a:pt x="190" y="1521"/>
                  </a:lnTo>
                  <a:lnTo>
                    <a:pt x="192" y="1521"/>
                  </a:lnTo>
                  <a:lnTo>
                    <a:pt x="192" y="1518"/>
                  </a:lnTo>
                  <a:lnTo>
                    <a:pt x="195" y="1518"/>
                  </a:lnTo>
                  <a:lnTo>
                    <a:pt x="195" y="1518"/>
                  </a:lnTo>
                  <a:lnTo>
                    <a:pt x="195" y="1515"/>
                  </a:lnTo>
                  <a:lnTo>
                    <a:pt x="195" y="1515"/>
                  </a:lnTo>
                  <a:lnTo>
                    <a:pt x="192" y="1513"/>
                  </a:lnTo>
                  <a:lnTo>
                    <a:pt x="192" y="1510"/>
                  </a:lnTo>
                  <a:lnTo>
                    <a:pt x="192" y="1510"/>
                  </a:lnTo>
                  <a:lnTo>
                    <a:pt x="190" y="1510"/>
                  </a:lnTo>
                  <a:lnTo>
                    <a:pt x="190" y="1507"/>
                  </a:lnTo>
                  <a:lnTo>
                    <a:pt x="190" y="1507"/>
                  </a:lnTo>
                  <a:lnTo>
                    <a:pt x="190" y="1505"/>
                  </a:lnTo>
                  <a:lnTo>
                    <a:pt x="190" y="1505"/>
                  </a:lnTo>
                  <a:lnTo>
                    <a:pt x="190" y="1502"/>
                  </a:lnTo>
                  <a:lnTo>
                    <a:pt x="190" y="1502"/>
                  </a:lnTo>
                  <a:lnTo>
                    <a:pt x="190" y="1502"/>
                  </a:lnTo>
                  <a:lnTo>
                    <a:pt x="187" y="1499"/>
                  </a:lnTo>
                  <a:lnTo>
                    <a:pt x="187" y="1499"/>
                  </a:lnTo>
                  <a:lnTo>
                    <a:pt x="184" y="1499"/>
                  </a:lnTo>
                  <a:lnTo>
                    <a:pt x="184" y="1497"/>
                  </a:lnTo>
                  <a:lnTo>
                    <a:pt x="184" y="1497"/>
                  </a:lnTo>
                  <a:lnTo>
                    <a:pt x="182" y="1497"/>
                  </a:lnTo>
                  <a:lnTo>
                    <a:pt x="182" y="1494"/>
                  </a:lnTo>
                  <a:lnTo>
                    <a:pt x="182" y="1494"/>
                  </a:lnTo>
                  <a:lnTo>
                    <a:pt x="182" y="1491"/>
                  </a:lnTo>
                  <a:lnTo>
                    <a:pt x="182" y="1491"/>
                  </a:lnTo>
                  <a:lnTo>
                    <a:pt x="179" y="1491"/>
                  </a:lnTo>
                  <a:lnTo>
                    <a:pt x="179" y="1491"/>
                  </a:lnTo>
                  <a:lnTo>
                    <a:pt x="179" y="1489"/>
                  </a:lnTo>
                  <a:lnTo>
                    <a:pt x="176" y="1489"/>
                  </a:lnTo>
                  <a:lnTo>
                    <a:pt x="179" y="1486"/>
                  </a:lnTo>
                  <a:lnTo>
                    <a:pt x="179" y="1486"/>
                  </a:lnTo>
                  <a:lnTo>
                    <a:pt x="179" y="1483"/>
                  </a:lnTo>
                  <a:lnTo>
                    <a:pt x="179" y="1483"/>
                  </a:lnTo>
                  <a:lnTo>
                    <a:pt x="179" y="1483"/>
                  </a:lnTo>
                  <a:lnTo>
                    <a:pt x="176" y="1483"/>
                  </a:lnTo>
                  <a:lnTo>
                    <a:pt x="176" y="1481"/>
                  </a:lnTo>
                  <a:lnTo>
                    <a:pt x="176" y="1481"/>
                  </a:lnTo>
                  <a:lnTo>
                    <a:pt x="176" y="1481"/>
                  </a:lnTo>
                  <a:lnTo>
                    <a:pt x="176" y="1478"/>
                  </a:lnTo>
                  <a:lnTo>
                    <a:pt x="179" y="1478"/>
                  </a:lnTo>
                  <a:lnTo>
                    <a:pt x="179" y="1478"/>
                  </a:lnTo>
                  <a:lnTo>
                    <a:pt x="176" y="1478"/>
                  </a:lnTo>
                  <a:lnTo>
                    <a:pt x="176" y="1478"/>
                  </a:lnTo>
                  <a:lnTo>
                    <a:pt x="176" y="1478"/>
                  </a:lnTo>
                  <a:lnTo>
                    <a:pt x="174" y="1475"/>
                  </a:lnTo>
                  <a:lnTo>
                    <a:pt x="174" y="1475"/>
                  </a:lnTo>
                  <a:lnTo>
                    <a:pt x="174" y="1473"/>
                  </a:lnTo>
                  <a:lnTo>
                    <a:pt x="174" y="1473"/>
                  </a:lnTo>
                  <a:lnTo>
                    <a:pt x="171" y="1473"/>
                  </a:lnTo>
                  <a:lnTo>
                    <a:pt x="171" y="1473"/>
                  </a:lnTo>
                  <a:lnTo>
                    <a:pt x="171" y="1473"/>
                  </a:lnTo>
                  <a:lnTo>
                    <a:pt x="168" y="1473"/>
                  </a:lnTo>
                  <a:lnTo>
                    <a:pt x="168" y="1473"/>
                  </a:lnTo>
                  <a:lnTo>
                    <a:pt x="168" y="1475"/>
                  </a:lnTo>
                  <a:lnTo>
                    <a:pt x="168" y="1475"/>
                  </a:lnTo>
                  <a:lnTo>
                    <a:pt x="168" y="1478"/>
                  </a:lnTo>
                  <a:lnTo>
                    <a:pt x="168" y="1478"/>
                  </a:lnTo>
                  <a:lnTo>
                    <a:pt x="166" y="1478"/>
                  </a:lnTo>
                  <a:lnTo>
                    <a:pt x="166" y="1478"/>
                  </a:lnTo>
                  <a:lnTo>
                    <a:pt x="166" y="1478"/>
                  </a:lnTo>
                  <a:lnTo>
                    <a:pt x="163" y="1478"/>
                  </a:lnTo>
                  <a:lnTo>
                    <a:pt x="163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60" y="1478"/>
                  </a:lnTo>
                  <a:lnTo>
                    <a:pt x="158" y="1481"/>
                  </a:lnTo>
                  <a:lnTo>
                    <a:pt x="158" y="1481"/>
                  </a:lnTo>
                  <a:lnTo>
                    <a:pt x="158" y="1481"/>
                  </a:lnTo>
                  <a:lnTo>
                    <a:pt x="155" y="1483"/>
                  </a:lnTo>
                  <a:lnTo>
                    <a:pt x="155" y="1483"/>
                  </a:lnTo>
                  <a:lnTo>
                    <a:pt x="155" y="1489"/>
                  </a:lnTo>
                  <a:lnTo>
                    <a:pt x="152" y="1491"/>
                  </a:lnTo>
                  <a:lnTo>
                    <a:pt x="150" y="1489"/>
                  </a:lnTo>
                  <a:lnTo>
                    <a:pt x="150" y="1489"/>
                  </a:lnTo>
                  <a:lnTo>
                    <a:pt x="150" y="1489"/>
                  </a:lnTo>
                  <a:lnTo>
                    <a:pt x="147" y="1489"/>
                  </a:lnTo>
                  <a:lnTo>
                    <a:pt x="147" y="1486"/>
                  </a:lnTo>
                  <a:lnTo>
                    <a:pt x="144" y="1486"/>
                  </a:lnTo>
                  <a:lnTo>
                    <a:pt x="144" y="1486"/>
                  </a:lnTo>
                  <a:lnTo>
                    <a:pt x="142" y="1486"/>
                  </a:lnTo>
                  <a:lnTo>
                    <a:pt x="142" y="1483"/>
                  </a:lnTo>
                  <a:lnTo>
                    <a:pt x="139" y="1483"/>
                  </a:lnTo>
                  <a:lnTo>
                    <a:pt x="139" y="1483"/>
                  </a:lnTo>
                  <a:lnTo>
                    <a:pt x="136" y="1481"/>
                  </a:lnTo>
                  <a:lnTo>
                    <a:pt x="136" y="1481"/>
                  </a:lnTo>
                  <a:lnTo>
                    <a:pt x="134" y="1481"/>
                  </a:lnTo>
                  <a:lnTo>
                    <a:pt x="134" y="1481"/>
                  </a:lnTo>
                  <a:lnTo>
                    <a:pt x="131" y="1481"/>
                  </a:lnTo>
                  <a:lnTo>
                    <a:pt x="128" y="1481"/>
                  </a:lnTo>
                  <a:lnTo>
                    <a:pt x="128" y="1483"/>
                  </a:lnTo>
                  <a:lnTo>
                    <a:pt x="128" y="1483"/>
                  </a:lnTo>
                  <a:lnTo>
                    <a:pt x="126" y="1483"/>
                  </a:lnTo>
                  <a:lnTo>
                    <a:pt x="123" y="1486"/>
                  </a:lnTo>
                  <a:lnTo>
                    <a:pt x="118" y="1481"/>
                  </a:lnTo>
                  <a:lnTo>
                    <a:pt x="118" y="1481"/>
                  </a:lnTo>
                  <a:lnTo>
                    <a:pt x="118" y="1478"/>
                  </a:lnTo>
                  <a:lnTo>
                    <a:pt x="115" y="1478"/>
                  </a:lnTo>
                  <a:lnTo>
                    <a:pt x="112" y="1478"/>
                  </a:lnTo>
                  <a:lnTo>
                    <a:pt x="110" y="1478"/>
                  </a:lnTo>
                  <a:lnTo>
                    <a:pt x="110" y="1475"/>
                  </a:lnTo>
                  <a:lnTo>
                    <a:pt x="107" y="1475"/>
                  </a:lnTo>
                  <a:lnTo>
                    <a:pt x="104" y="1475"/>
                  </a:lnTo>
                  <a:lnTo>
                    <a:pt x="102" y="1473"/>
                  </a:lnTo>
                  <a:lnTo>
                    <a:pt x="99" y="1470"/>
                  </a:lnTo>
                  <a:lnTo>
                    <a:pt x="99" y="1473"/>
                  </a:lnTo>
                  <a:lnTo>
                    <a:pt x="99" y="1473"/>
                  </a:lnTo>
                  <a:lnTo>
                    <a:pt x="96" y="1473"/>
                  </a:lnTo>
                  <a:lnTo>
                    <a:pt x="94" y="1473"/>
                  </a:lnTo>
                  <a:lnTo>
                    <a:pt x="94" y="1473"/>
                  </a:lnTo>
                  <a:lnTo>
                    <a:pt x="94" y="1470"/>
                  </a:lnTo>
                  <a:lnTo>
                    <a:pt x="91" y="1470"/>
                  </a:lnTo>
                  <a:lnTo>
                    <a:pt x="91" y="1467"/>
                  </a:lnTo>
                  <a:lnTo>
                    <a:pt x="91" y="1467"/>
                  </a:lnTo>
                  <a:lnTo>
                    <a:pt x="91" y="1465"/>
                  </a:lnTo>
                  <a:lnTo>
                    <a:pt x="88" y="1465"/>
                  </a:lnTo>
                  <a:lnTo>
                    <a:pt x="88" y="1465"/>
                  </a:lnTo>
                  <a:lnTo>
                    <a:pt x="88" y="1462"/>
                  </a:lnTo>
                  <a:lnTo>
                    <a:pt x="86" y="1462"/>
                  </a:lnTo>
                  <a:lnTo>
                    <a:pt x="86" y="1462"/>
                  </a:lnTo>
                  <a:lnTo>
                    <a:pt x="86" y="1465"/>
                  </a:lnTo>
                  <a:lnTo>
                    <a:pt x="86" y="1465"/>
                  </a:lnTo>
                  <a:lnTo>
                    <a:pt x="86" y="1467"/>
                  </a:lnTo>
                  <a:lnTo>
                    <a:pt x="86" y="1467"/>
                  </a:lnTo>
                  <a:lnTo>
                    <a:pt x="86" y="1470"/>
                  </a:lnTo>
                  <a:lnTo>
                    <a:pt x="86" y="1473"/>
                  </a:lnTo>
                  <a:lnTo>
                    <a:pt x="83" y="1473"/>
                  </a:lnTo>
                  <a:lnTo>
                    <a:pt x="83" y="1473"/>
                  </a:lnTo>
                  <a:lnTo>
                    <a:pt x="80" y="1473"/>
                  </a:lnTo>
                  <a:lnTo>
                    <a:pt x="78" y="1473"/>
                  </a:lnTo>
                  <a:lnTo>
                    <a:pt x="78" y="1473"/>
                  </a:lnTo>
                  <a:lnTo>
                    <a:pt x="75" y="1473"/>
                  </a:lnTo>
                  <a:lnTo>
                    <a:pt x="75" y="1475"/>
                  </a:lnTo>
                  <a:lnTo>
                    <a:pt x="75" y="1475"/>
                  </a:lnTo>
                  <a:lnTo>
                    <a:pt x="75" y="1473"/>
                  </a:lnTo>
                  <a:lnTo>
                    <a:pt x="72" y="1473"/>
                  </a:lnTo>
                  <a:lnTo>
                    <a:pt x="72" y="1475"/>
                  </a:lnTo>
                  <a:lnTo>
                    <a:pt x="72" y="1475"/>
                  </a:lnTo>
                  <a:lnTo>
                    <a:pt x="70" y="1478"/>
                  </a:lnTo>
                  <a:lnTo>
                    <a:pt x="67" y="1478"/>
                  </a:lnTo>
                  <a:lnTo>
                    <a:pt x="67" y="1478"/>
                  </a:lnTo>
                  <a:lnTo>
                    <a:pt x="67" y="1475"/>
                  </a:lnTo>
                  <a:lnTo>
                    <a:pt x="64" y="1475"/>
                  </a:lnTo>
                  <a:lnTo>
                    <a:pt x="64" y="1473"/>
                  </a:lnTo>
                  <a:lnTo>
                    <a:pt x="67" y="1473"/>
                  </a:lnTo>
                  <a:lnTo>
                    <a:pt x="67" y="1473"/>
                  </a:lnTo>
                  <a:lnTo>
                    <a:pt x="67" y="1470"/>
                  </a:lnTo>
                  <a:lnTo>
                    <a:pt x="67" y="1470"/>
                  </a:lnTo>
                  <a:lnTo>
                    <a:pt x="64" y="1470"/>
                  </a:lnTo>
                  <a:lnTo>
                    <a:pt x="64" y="1467"/>
                  </a:lnTo>
                  <a:lnTo>
                    <a:pt x="62" y="1467"/>
                  </a:lnTo>
                  <a:lnTo>
                    <a:pt x="62" y="1467"/>
                  </a:lnTo>
                  <a:lnTo>
                    <a:pt x="59" y="1465"/>
                  </a:lnTo>
                  <a:lnTo>
                    <a:pt x="59" y="1467"/>
                  </a:lnTo>
                  <a:lnTo>
                    <a:pt x="59" y="1470"/>
                  </a:lnTo>
                  <a:lnTo>
                    <a:pt x="59" y="1470"/>
                  </a:lnTo>
                  <a:lnTo>
                    <a:pt x="56" y="1470"/>
                  </a:lnTo>
                  <a:lnTo>
                    <a:pt x="56" y="1470"/>
                  </a:lnTo>
                  <a:lnTo>
                    <a:pt x="54" y="1470"/>
                  </a:lnTo>
                  <a:lnTo>
                    <a:pt x="54" y="1470"/>
                  </a:lnTo>
                  <a:lnTo>
                    <a:pt x="51" y="1473"/>
                  </a:lnTo>
                  <a:lnTo>
                    <a:pt x="51" y="1470"/>
                  </a:lnTo>
                  <a:lnTo>
                    <a:pt x="51" y="1467"/>
                  </a:lnTo>
                  <a:lnTo>
                    <a:pt x="51" y="1467"/>
                  </a:lnTo>
                  <a:lnTo>
                    <a:pt x="51" y="1465"/>
                  </a:lnTo>
                  <a:lnTo>
                    <a:pt x="48" y="1465"/>
                  </a:lnTo>
                  <a:lnTo>
                    <a:pt x="48" y="1462"/>
                  </a:lnTo>
                  <a:lnTo>
                    <a:pt x="46" y="1462"/>
                  </a:lnTo>
                  <a:lnTo>
                    <a:pt x="48" y="1459"/>
                  </a:lnTo>
                  <a:lnTo>
                    <a:pt x="48" y="1457"/>
                  </a:lnTo>
                  <a:lnTo>
                    <a:pt x="46" y="1457"/>
                  </a:lnTo>
                  <a:lnTo>
                    <a:pt x="46" y="1454"/>
                  </a:lnTo>
                  <a:lnTo>
                    <a:pt x="46" y="1451"/>
                  </a:lnTo>
                  <a:lnTo>
                    <a:pt x="48" y="1454"/>
                  </a:lnTo>
                  <a:lnTo>
                    <a:pt x="48" y="1454"/>
                  </a:lnTo>
                  <a:lnTo>
                    <a:pt x="51" y="1454"/>
                  </a:lnTo>
                  <a:lnTo>
                    <a:pt x="51" y="1454"/>
                  </a:lnTo>
                  <a:lnTo>
                    <a:pt x="51" y="1451"/>
                  </a:lnTo>
                  <a:lnTo>
                    <a:pt x="51" y="1449"/>
                  </a:lnTo>
                  <a:lnTo>
                    <a:pt x="51" y="1449"/>
                  </a:lnTo>
                  <a:lnTo>
                    <a:pt x="51" y="1446"/>
                  </a:lnTo>
                  <a:lnTo>
                    <a:pt x="51" y="1443"/>
                  </a:lnTo>
                  <a:lnTo>
                    <a:pt x="51" y="1441"/>
                  </a:lnTo>
                  <a:lnTo>
                    <a:pt x="51" y="1441"/>
                  </a:lnTo>
                  <a:lnTo>
                    <a:pt x="51" y="1438"/>
                  </a:lnTo>
                  <a:lnTo>
                    <a:pt x="51" y="1435"/>
                  </a:lnTo>
                  <a:lnTo>
                    <a:pt x="51" y="1435"/>
                  </a:lnTo>
                  <a:lnTo>
                    <a:pt x="51" y="1435"/>
                  </a:lnTo>
                  <a:lnTo>
                    <a:pt x="54" y="1438"/>
                  </a:lnTo>
                  <a:lnTo>
                    <a:pt x="56" y="1438"/>
                  </a:lnTo>
                  <a:lnTo>
                    <a:pt x="56" y="1438"/>
                  </a:lnTo>
                  <a:lnTo>
                    <a:pt x="56" y="1435"/>
                  </a:lnTo>
                  <a:lnTo>
                    <a:pt x="54" y="1435"/>
                  </a:lnTo>
                  <a:lnTo>
                    <a:pt x="54" y="1433"/>
                  </a:lnTo>
                  <a:lnTo>
                    <a:pt x="54" y="1430"/>
                  </a:lnTo>
                  <a:lnTo>
                    <a:pt x="51" y="1427"/>
                  </a:lnTo>
                  <a:lnTo>
                    <a:pt x="54" y="1427"/>
                  </a:lnTo>
                  <a:lnTo>
                    <a:pt x="56" y="1424"/>
                  </a:lnTo>
                  <a:lnTo>
                    <a:pt x="56" y="1427"/>
                  </a:lnTo>
                  <a:lnTo>
                    <a:pt x="56" y="1427"/>
                  </a:lnTo>
                  <a:lnTo>
                    <a:pt x="59" y="1430"/>
                  </a:lnTo>
                  <a:lnTo>
                    <a:pt x="59" y="1430"/>
                  </a:lnTo>
                  <a:lnTo>
                    <a:pt x="59" y="1430"/>
                  </a:lnTo>
                  <a:lnTo>
                    <a:pt x="62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4" y="1430"/>
                  </a:lnTo>
                  <a:lnTo>
                    <a:pt x="62" y="1427"/>
                  </a:lnTo>
                  <a:lnTo>
                    <a:pt x="62" y="1427"/>
                  </a:lnTo>
                  <a:lnTo>
                    <a:pt x="59" y="1424"/>
                  </a:lnTo>
                  <a:lnTo>
                    <a:pt x="59" y="1422"/>
                  </a:lnTo>
                  <a:lnTo>
                    <a:pt x="59" y="1419"/>
                  </a:lnTo>
                  <a:lnTo>
                    <a:pt x="59" y="1419"/>
                  </a:lnTo>
                  <a:lnTo>
                    <a:pt x="56" y="1419"/>
                  </a:lnTo>
                  <a:lnTo>
                    <a:pt x="56" y="1419"/>
                  </a:lnTo>
                  <a:lnTo>
                    <a:pt x="54" y="1416"/>
                  </a:lnTo>
                  <a:lnTo>
                    <a:pt x="54" y="1416"/>
                  </a:lnTo>
                  <a:lnTo>
                    <a:pt x="51" y="1414"/>
                  </a:lnTo>
                  <a:lnTo>
                    <a:pt x="51" y="1414"/>
                  </a:lnTo>
                  <a:lnTo>
                    <a:pt x="54" y="1411"/>
                  </a:lnTo>
                  <a:lnTo>
                    <a:pt x="56" y="1411"/>
                  </a:lnTo>
                  <a:lnTo>
                    <a:pt x="56" y="1408"/>
                  </a:lnTo>
                  <a:lnTo>
                    <a:pt x="59" y="1408"/>
                  </a:lnTo>
                  <a:lnTo>
                    <a:pt x="59" y="1408"/>
                  </a:lnTo>
                  <a:lnTo>
                    <a:pt x="59" y="1406"/>
                  </a:lnTo>
                  <a:lnTo>
                    <a:pt x="62" y="1403"/>
                  </a:lnTo>
                  <a:lnTo>
                    <a:pt x="62" y="1403"/>
                  </a:lnTo>
                  <a:lnTo>
                    <a:pt x="64" y="1400"/>
                  </a:lnTo>
                  <a:lnTo>
                    <a:pt x="64" y="1400"/>
                  </a:lnTo>
                  <a:lnTo>
                    <a:pt x="67" y="1400"/>
                  </a:lnTo>
                  <a:lnTo>
                    <a:pt x="64" y="1400"/>
                  </a:lnTo>
                  <a:lnTo>
                    <a:pt x="64" y="1398"/>
                  </a:lnTo>
                  <a:lnTo>
                    <a:pt x="67" y="1395"/>
                  </a:lnTo>
                  <a:lnTo>
                    <a:pt x="67" y="1392"/>
                  </a:lnTo>
                  <a:lnTo>
                    <a:pt x="67" y="1392"/>
                  </a:lnTo>
                  <a:lnTo>
                    <a:pt x="70" y="1392"/>
                  </a:lnTo>
                  <a:lnTo>
                    <a:pt x="70" y="1392"/>
                  </a:lnTo>
                  <a:lnTo>
                    <a:pt x="72" y="1392"/>
                  </a:lnTo>
                  <a:lnTo>
                    <a:pt x="72" y="1392"/>
                  </a:lnTo>
                  <a:lnTo>
                    <a:pt x="75" y="1392"/>
                  </a:lnTo>
                  <a:lnTo>
                    <a:pt x="75" y="1392"/>
                  </a:lnTo>
                  <a:lnTo>
                    <a:pt x="72" y="1392"/>
                  </a:lnTo>
                  <a:lnTo>
                    <a:pt x="72" y="1390"/>
                  </a:lnTo>
                  <a:lnTo>
                    <a:pt x="70" y="1390"/>
                  </a:lnTo>
                  <a:lnTo>
                    <a:pt x="70" y="1387"/>
                  </a:lnTo>
                  <a:lnTo>
                    <a:pt x="70" y="1387"/>
                  </a:lnTo>
                  <a:lnTo>
                    <a:pt x="70" y="1382"/>
                  </a:lnTo>
                  <a:lnTo>
                    <a:pt x="70" y="1382"/>
                  </a:lnTo>
                  <a:lnTo>
                    <a:pt x="72" y="1379"/>
                  </a:lnTo>
                  <a:lnTo>
                    <a:pt x="72" y="1379"/>
                  </a:lnTo>
                  <a:lnTo>
                    <a:pt x="72" y="1376"/>
                  </a:lnTo>
                  <a:lnTo>
                    <a:pt x="72" y="1376"/>
                  </a:lnTo>
                  <a:lnTo>
                    <a:pt x="72" y="1374"/>
                  </a:lnTo>
                  <a:lnTo>
                    <a:pt x="75" y="1374"/>
                  </a:lnTo>
                  <a:lnTo>
                    <a:pt x="75" y="1374"/>
                  </a:lnTo>
                  <a:lnTo>
                    <a:pt x="78" y="1374"/>
                  </a:lnTo>
                  <a:lnTo>
                    <a:pt x="78" y="1374"/>
                  </a:lnTo>
                  <a:lnTo>
                    <a:pt x="80" y="1374"/>
                  </a:lnTo>
                  <a:lnTo>
                    <a:pt x="80" y="1374"/>
                  </a:lnTo>
                  <a:lnTo>
                    <a:pt x="83" y="1374"/>
                  </a:lnTo>
                  <a:lnTo>
                    <a:pt x="83" y="1374"/>
                  </a:lnTo>
                  <a:lnTo>
                    <a:pt x="86" y="1374"/>
                  </a:lnTo>
                  <a:lnTo>
                    <a:pt x="86" y="1371"/>
                  </a:lnTo>
                  <a:lnTo>
                    <a:pt x="86" y="1368"/>
                  </a:lnTo>
                  <a:lnTo>
                    <a:pt x="86" y="1368"/>
                  </a:lnTo>
                  <a:lnTo>
                    <a:pt x="86" y="1366"/>
                  </a:lnTo>
                  <a:lnTo>
                    <a:pt x="86" y="1363"/>
                  </a:lnTo>
                  <a:lnTo>
                    <a:pt x="88" y="1363"/>
                  </a:lnTo>
                  <a:lnTo>
                    <a:pt x="88" y="1360"/>
                  </a:lnTo>
                  <a:lnTo>
                    <a:pt x="88" y="1360"/>
                  </a:lnTo>
                  <a:lnTo>
                    <a:pt x="88" y="1360"/>
                  </a:lnTo>
                  <a:lnTo>
                    <a:pt x="88" y="1358"/>
                  </a:lnTo>
                  <a:lnTo>
                    <a:pt x="88" y="1358"/>
                  </a:lnTo>
                  <a:lnTo>
                    <a:pt x="86" y="1358"/>
                  </a:lnTo>
                  <a:lnTo>
                    <a:pt x="86" y="1358"/>
                  </a:lnTo>
                  <a:lnTo>
                    <a:pt x="83" y="1358"/>
                  </a:lnTo>
                  <a:lnTo>
                    <a:pt x="83" y="1358"/>
                  </a:lnTo>
                  <a:lnTo>
                    <a:pt x="83" y="1358"/>
                  </a:lnTo>
                  <a:lnTo>
                    <a:pt x="80" y="1358"/>
                  </a:lnTo>
                  <a:lnTo>
                    <a:pt x="78" y="1358"/>
                  </a:lnTo>
                  <a:lnTo>
                    <a:pt x="78" y="1358"/>
                  </a:lnTo>
                  <a:lnTo>
                    <a:pt x="78" y="1358"/>
                  </a:lnTo>
                  <a:lnTo>
                    <a:pt x="78" y="1355"/>
                  </a:lnTo>
                  <a:lnTo>
                    <a:pt x="78" y="1355"/>
                  </a:lnTo>
                  <a:lnTo>
                    <a:pt x="78" y="1352"/>
                  </a:lnTo>
                  <a:lnTo>
                    <a:pt x="78" y="1352"/>
                  </a:lnTo>
                  <a:lnTo>
                    <a:pt x="75" y="1350"/>
                  </a:lnTo>
                  <a:lnTo>
                    <a:pt x="75" y="1350"/>
                  </a:lnTo>
                  <a:lnTo>
                    <a:pt x="72" y="1350"/>
                  </a:lnTo>
                  <a:lnTo>
                    <a:pt x="75" y="1350"/>
                  </a:lnTo>
                  <a:lnTo>
                    <a:pt x="72" y="1347"/>
                  </a:lnTo>
                  <a:lnTo>
                    <a:pt x="72" y="1347"/>
                  </a:lnTo>
                  <a:lnTo>
                    <a:pt x="70" y="1347"/>
                  </a:lnTo>
                  <a:lnTo>
                    <a:pt x="70" y="1347"/>
                  </a:lnTo>
                  <a:lnTo>
                    <a:pt x="67" y="1347"/>
                  </a:lnTo>
                  <a:lnTo>
                    <a:pt x="64" y="1347"/>
                  </a:lnTo>
                  <a:lnTo>
                    <a:pt x="64" y="1344"/>
                  </a:lnTo>
                  <a:lnTo>
                    <a:pt x="62" y="1344"/>
                  </a:lnTo>
                  <a:lnTo>
                    <a:pt x="62" y="1342"/>
                  </a:lnTo>
                  <a:lnTo>
                    <a:pt x="62" y="1342"/>
                  </a:lnTo>
                  <a:lnTo>
                    <a:pt x="64" y="1339"/>
                  </a:lnTo>
                  <a:lnTo>
                    <a:pt x="64" y="1339"/>
                  </a:lnTo>
                  <a:lnTo>
                    <a:pt x="64" y="1336"/>
                  </a:lnTo>
                  <a:lnTo>
                    <a:pt x="62" y="1336"/>
                  </a:lnTo>
                  <a:lnTo>
                    <a:pt x="62" y="1334"/>
                  </a:lnTo>
                  <a:lnTo>
                    <a:pt x="62" y="1334"/>
                  </a:lnTo>
                  <a:lnTo>
                    <a:pt x="64" y="1331"/>
                  </a:lnTo>
                  <a:lnTo>
                    <a:pt x="64" y="1331"/>
                  </a:lnTo>
                  <a:lnTo>
                    <a:pt x="64" y="1331"/>
                  </a:lnTo>
                  <a:lnTo>
                    <a:pt x="62" y="1331"/>
                  </a:lnTo>
                  <a:lnTo>
                    <a:pt x="62" y="1328"/>
                  </a:lnTo>
                  <a:lnTo>
                    <a:pt x="62" y="1328"/>
                  </a:lnTo>
                  <a:lnTo>
                    <a:pt x="64" y="1326"/>
                  </a:lnTo>
                  <a:lnTo>
                    <a:pt x="64" y="1326"/>
                  </a:lnTo>
                  <a:lnTo>
                    <a:pt x="64" y="1323"/>
                  </a:lnTo>
                  <a:lnTo>
                    <a:pt x="64" y="1323"/>
                  </a:lnTo>
                  <a:lnTo>
                    <a:pt x="64" y="1323"/>
                  </a:lnTo>
                  <a:lnTo>
                    <a:pt x="64" y="1320"/>
                  </a:lnTo>
                  <a:lnTo>
                    <a:pt x="62" y="1318"/>
                  </a:lnTo>
                  <a:lnTo>
                    <a:pt x="62" y="1318"/>
                  </a:lnTo>
                  <a:lnTo>
                    <a:pt x="62" y="1315"/>
                  </a:lnTo>
                  <a:lnTo>
                    <a:pt x="62" y="1315"/>
                  </a:lnTo>
                  <a:lnTo>
                    <a:pt x="62" y="1312"/>
                  </a:lnTo>
                  <a:lnTo>
                    <a:pt x="62" y="1312"/>
                  </a:lnTo>
                  <a:lnTo>
                    <a:pt x="62" y="1310"/>
                  </a:lnTo>
                  <a:lnTo>
                    <a:pt x="62" y="1310"/>
                  </a:lnTo>
                  <a:lnTo>
                    <a:pt x="62" y="1307"/>
                  </a:lnTo>
                  <a:lnTo>
                    <a:pt x="59" y="1304"/>
                  </a:lnTo>
                  <a:lnTo>
                    <a:pt x="59" y="1304"/>
                  </a:lnTo>
                  <a:lnTo>
                    <a:pt x="56" y="1304"/>
                  </a:lnTo>
                  <a:lnTo>
                    <a:pt x="56" y="1304"/>
                  </a:lnTo>
                  <a:lnTo>
                    <a:pt x="56" y="1302"/>
                  </a:lnTo>
                  <a:lnTo>
                    <a:pt x="56" y="1302"/>
                  </a:lnTo>
                  <a:lnTo>
                    <a:pt x="54" y="1299"/>
                  </a:lnTo>
                  <a:lnTo>
                    <a:pt x="54" y="1299"/>
                  </a:lnTo>
                  <a:lnTo>
                    <a:pt x="54" y="1296"/>
                  </a:lnTo>
                  <a:lnTo>
                    <a:pt x="54" y="1296"/>
                  </a:lnTo>
                  <a:lnTo>
                    <a:pt x="51" y="1296"/>
                  </a:lnTo>
                  <a:lnTo>
                    <a:pt x="48" y="1296"/>
                  </a:lnTo>
                  <a:lnTo>
                    <a:pt x="48" y="1296"/>
                  </a:lnTo>
                  <a:lnTo>
                    <a:pt x="46" y="1296"/>
                  </a:lnTo>
                  <a:lnTo>
                    <a:pt x="43" y="1294"/>
                  </a:lnTo>
                  <a:lnTo>
                    <a:pt x="43" y="1294"/>
                  </a:lnTo>
                  <a:lnTo>
                    <a:pt x="43" y="1291"/>
                  </a:lnTo>
                  <a:lnTo>
                    <a:pt x="43" y="1291"/>
                  </a:lnTo>
                  <a:lnTo>
                    <a:pt x="43" y="1288"/>
                  </a:lnTo>
                  <a:lnTo>
                    <a:pt x="43" y="1286"/>
                  </a:lnTo>
                  <a:lnTo>
                    <a:pt x="43" y="1286"/>
                  </a:lnTo>
                  <a:lnTo>
                    <a:pt x="43" y="1283"/>
                  </a:lnTo>
                  <a:lnTo>
                    <a:pt x="43" y="1283"/>
                  </a:lnTo>
                  <a:lnTo>
                    <a:pt x="43" y="1280"/>
                  </a:lnTo>
                  <a:lnTo>
                    <a:pt x="43" y="1280"/>
                  </a:lnTo>
                  <a:lnTo>
                    <a:pt x="40" y="1278"/>
                  </a:lnTo>
                  <a:lnTo>
                    <a:pt x="40" y="1278"/>
                  </a:lnTo>
                  <a:lnTo>
                    <a:pt x="40" y="1275"/>
                  </a:lnTo>
                  <a:lnTo>
                    <a:pt x="40" y="1272"/>
                  </a:lnTo>
                  <a:lnTo>
                    <a:pt x="40" y="1272"/>
                  </a:lnTo>
                  <a:lnTo>
                    <a:pt x="43" y="1270"/>
                  </a:lnTo>
                  <a:lnTo>
                    <a:pt x="43" y="1270"/>
                  </a:lnTo>
                  <a:lnTo>
                    <a:pt x="43" y="1267"/>
                  </a:lnTo>
                  <a:lnTo>
                    <a:pt x="46" y="1267"/>
                  </a:lnTo>
                  <a:lnTo>
                    <a:pt x="46" y="1267"/>
                  </a:lnTo>
                  <a:lnTo>
                    <a:pt x="46" y="1264"/>
                  </a:lnTo>
                  <a:lnTo>
                    <a:pt x="48" y="1264"/>
                  </a:lnTo>
                  <a:lnTo>
                    <a:pt x="48" y="1261"/>
                  </a:lnTo>
                  <a:lnTo>
                    <a:pt x="48" y="1261"/>
                  </a:lnTo>
                  <a:lnTo>
                    <a:pt x="48" y="1259"/>
                  </a:lnTo>
                  <a:lnTo>
                    <a:pt x="46" y="1259"/>
                  </a:lnTo>
                  <a:lnTo>
                    <a:pt x="48" y="1256"/>
                  </a:lnTo>
                  <a:lnTo>
                    <a:pt x="48" y="1256"/>
                  </a:lnTo>
                  <a:lnTo>
                    <a:pt x="46" y="1253"/>
                  </a:lnTo>
                  <a:lnTo>
                    <a:pt x="46" y="1253"/>
                  </a:lnTo>
                  <a:lnTo>
                    <a:pt x="43" y="1251"/>
                  </a:lnTo>
                  <a:lnTo>
                    <a:pt x="40" y="1253"/>
                  </a:lnTo>
                  <a:lnTo>
                    <a:pt x="43" y="1248"/>
                  </a:lnTo>
                  <a:lnTo>
                    <a:pt x="40" y="1245"/>
                  </a:lnTo>
                  <a:lnTo>
                    <a:pt x="40" y="1243"/>
                  </a:lnTo>
                  <a:lnTo>
                    <a:pt x="40" y="1243"/>
                  </a:lnTo>
                  <a:lnTo>
                    <a:pt x="43" y="1240"/>
                  </a:lnTo>
                  <a:lnTo>
                    <a:pt x="43" y="1240"/>
                  </a:lnTo>
                  <a:lnTo>
                    <a:pt x="40" y="1240"/>
                  </a:lnTo>
                  <a:lnTo>
                    <a:pt x="40" y="1237"/>
                  </a:lnTo>
                  <a:lnTo>
                    <a:pt x="38" y="1237"/>
                  </a:lnTo>
                  <a:lnTo>
                    <a:pt x="38" y="1237"/>
                  </a:lnTo>
                  <a:lnTo>
                    <a:pt x="38" y="1235"/>
                  </a:lnTo>
                  <a:lnTo>
                    <a:pt x="38" y="1235"/>
                  </a:lnTo>
                  <a:lnTo>
                    <a:pt x="38" y="1235"/>
                  </a:lnTo>
                  <a:lnTo>
                    <a:pt x="38" y="1232"/>
                  </a:lnTo>
                  <a:lnTo>
                    <a:pt x="38" y="1232"/>
                  </a:lnTo>
                  <a:lnTo>
                    <a:pt x="38" y="1229"/>
                  </a:lnTo>
                  <a:lnTo>
                    <a:pt x="38" y="1229"/>
                  </a:lnTo>
                  <a:lnTo>
                    <a:pt x="38" y="1229"/>
                  </a:lnTo>
                  <a:lnTo>
                    <a:pt x="35" y="1229"/>
                  </a:lnTo>
                  <a:lnTo>
                    <a:pt x="35" y="1229"/>
                  </a:lnTo>
                  <a:lnTo>
                    <a:pt x="32" y="1232"/>
                  </a:lnTo>
                  <a:lnTo>
                    <a:pt x="32" y="1232"/>
                  </a:lnTo>
                  <a:lnTo>
                    <a:pt x="32" y="1232"/>
                  </a:lnTo>
                  <a:lnTo>
                    <a:pt x="30" y="1232"/>
                  </a:lnTo>
                  <a:lnTo>
                    <a:pt x="30" y="1229"/>
                  </a:lnTo>
                  <a:lnTo>
                    <a:pt x="30" y="1227"/>
                  </a:lnTo>
                  <a:lnTo>
                    <a:pt x="32" y="1224"/>
                  </a:lnTo>
                  <a:lnTo>
                    <a:pt x="32" y="1224"/>
                  </a:lnTo>
                  <a:lnTo>
                    <a:pt x="32" y="1221"/>
                  </a:lnTo>
                  <a:lnTo>
                    <a:pt x="30" y="1219"/>
                  </a:lnTo>
                  <a:lnTo>
                    <a:pt x="30" y="1219"/>
                  </a:lnTo>
                  <a:lnTo>
                    <a:pt x="30" y="1219"/>
                  </a:lnTo>
                  <a:lnTo>
                    <a:pt x="27" y="1219"/>
                  </a:lnTo>
                  <a:lnTo>
                    <a:pt x="27" y="1219"/>
                  </a:lnTo>
                  <a:lnTo>
                    <a:pt x="24" y="1219"/>
                  </a:lnTo>
                  <a:lnTo>
                    <a:pt x="22" y="1216"/>
                  </a:lnTo>
                  <a:lnTo>
                    <a:pt x="22" y="1216"/>
                  </a:lnTo>
                  <a:lnTo>
                    <a:pt x="22" y="1216"/>
                  </a:lnTo>
                  <a:lnTo>
                    <a:pt x="19" y="1216"/>
                  </a:lnTo>
                  <a:lnTo>
                    <a:pt x="19" y="1216"/>
                  </a:lnTo>
                  <a:lnTo>
                    <a:pt x="16" y="1219"/>
                  </a:lnTo>
                  <a:lnTo>
                    <a:pt x="16" y="1219"/>
                  </a:lnTo>
                  <a:lnTo>
                    <a:pt x="14" y="1216"/>
                  </a:lnTo>
                  <a:lnTo>
                    <a:pt x="11" y="1216"/>
                  </a:lnTo>
                  <a:lnTo>
                    <a:pt x="11" y="1213"/>
                  </a:lnTo>
                  <a:lnTo>
                    <a:pt x="11" y="1213"/>
                  </a:lnTo>
                  <a:lnTo>
                    <a:pt x="11" y="1213"/>
                  </a:lnTo>
                  <a:lnTo>
                    <a:pt x="6" y="1211"/>
                  </a:lnTo>
                  <a:lnTo>
                    <a:pt x="6" y="1208"/>
                  </a:lnTo>
                  <a:lnTo>
                    <a:pt x="8" y="1208"/>
                  </a:lnTo>
                  <a:lnTo>
                    <a:pt x="11" y="1208"/>
                  </a:lnTo>
                  <a:lnTo>
                    <a:pt x="11" y="1208"/>
                  </a:lnTo>
                  <a:lnTo>
                    <a:pt x="14" y="1208"/>
                  </a:lnTo>
                  <a:lnTo>
                    <a:pt x="16" y="1208"/>
                  </a:lnTo>
                  <a:lnTo>
                    <a:pt x="16" y="1208"/>
                  </a:lnTo>
                  <a:lnTo>
                    <a:pt x="16" y="1205"/>
                  </a:lnTo>
                  <a:lnTo>
                    <a:pt x="19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2" y="1205"/>
                  </a:lnTo>
                  <a:lnTo>
                    <a:pt x="24" y="1205"/>
                  </a:lnTo>
                  <a:lnTo>
                    <a:pt x="24" y="1203"/>
                  </a:lnTo>
                  <a:lnTo>
                    <a:pt x="24" y="1200"/>
                  </a:lnTo>
                  <a:lnTo>
                    <a:pt x="27" y="1197"/>
                  </a:lnTo>
                  <a:lnTo>
                    <a:pt x="27" y="1197"/>
                  </a:lnTo>
                  <a:lnTo>
                    <a:pt x="27" y="1195"/>
                  </a:lnTo>
                  <a:lnTo>
                    <a:pt x="27" y="1195"/>
                  </a:lnTo>
                  <a:lnTo>
                    <a:pt x="27" y="1192"/>
                  </a:lnTo>
                  <a:lnTo>
                    <a:pt x="27" y="1192"/>
                  </a:lnTo>
                  <a:lnTo>
                    <a:pt x="30" y="1189"/>
                  </a:lnTo>
                  <a:lnTo>
                    <a:pt x="30" y="1189"/>
                  </a:lnTo>
                  <a:lnTo>
                    <a:pt x="32" y="1189"/>
                  </a:lnTo>
                  <a:lnTo>
                    <a:pt x="35" y="1189"/>
                  </a:lnTo>
                  <a:lnTo>
                    <a:pt x="35" y="1187"/>
                  </a:lnTo>
                  <a:lnTo>
                    <a:pt x="38" y="1184"/>
                  </a:lnTo>
                  <a:lnTo>
                    <a:pt x="40" y="1184"/>
                  </a:lnTo>
                  <a:lnTo>
                    <a:pt x="40" y="1181"/>
                  </a:lnTo>
                  <a:lnTo>
                    <a:pt x="40" y="1179"/>
                  </a:lnTo>
                  <a:lnTo>
                    <a:pt x="43" y="1179"/>
                  </a:lnTo>
                  <a:lnTo>
                    <a:pt x="43" y="1179"/>
                  </a:lnTo>
                  <a:lnTo>
                    <a:pt x="46" y="1176"/>
                  </a:lnTo>
                  <a:lnTo>
                    <a:pt x="46" y="1176"/>
                  </a:lnTo>
                  <a:lnTo>
                    <a:pt x="46" y="1176"/>
                  </a:lnTo>
                  <a:lnTo>
                    <a:pt x="48" y="1176"/>
                  </a:lnTo>
                  <a:lnTo>
                    <a:pt x="48" y="1179"/>
                  </a:lnTo>
                  <a:lnTo>
                    <a:pt x="48" y="1179"/>
                  </a:lnTo>
                  <a:lnTo>
                    <a:pt x="51" y="1179"/>
                  </a:lnTo>
                  <a:lnTo>
                    <a:pt x="51" y="1179"/>
                  </a:lnTo>
                  <a:lnTo>
                    <a:pt x="54" y="1173"/>
                  </a:lnTo>
                  <a:lnTo>
                    <a:pt x="56" y="1168"/>
                  </a:lnTo>
                  <a:lnTo>
                    <a:pt x="51" y="1115"/>
                  </a:lnTo>
                  <a:lnTo>
                    <a:pt x="51" y="1093"/>
                  </a:lnTo>
                  <a:lnTo>
                    <a:pt x="43" y="1048"/>
                  </a:lnTo>
                  <a:lnTo>
                    <a:pt x="43" y="1048"/>
                  </a:lnTo>
                  <a:lnTo>
                    <a:pt x="40" y="1029"/>
                  </a:lnTo>
                  <a:lnTo>
                    <a:pt x="40" y="1024"/>
                  </a:lnTo>
                  <a:lnTo>
                    <a:pt x="38" y="1010"/>
                  </a:lnTo>
                  <a:lnTo>
                    <a:pt x="38" y="1008"/>
                  </a:lnTo>
                  <a:lnTo>
                    <a:pt x="0" y="952"/>
                  </a:lnTo>
                  <a:lnTo>
                    <a:pt x="0" y="949"/>
                  </a:lnTo>
                  <a:lnTo>
                    <a:pt x="3" y="949"/>
                  </a:lnTo>
                  <a:lnTo>
                    <a:pt x="3" y="949"/>
                  </a:lnTo>
                  <a:lnTo>
                    <a:pt x="6" y="946"/>
                  </a:lnTo>
                  <a:lnTo>
                    <a:pt x="6" y="943"/>
                  </a:lnTo>
                  <a:lnTo>
                    <a:pt x="6" y="941"/>
                  </a:lnTo>
                  <a:lnTo>
                    <a:pt x="6" y="941"/>
                  </a:lnTo>
                  <a:lnTo>
                    <a:pt x="8" y="938"/>
                  </a:lnTo>
                  <a:lnTo>
                    <a:pt x="8" y="938"/>
                  </a:lnTo>
                  <a:lnTo>
                    <a:pt x="8" y="935"/>
                  </a:lnTo>
                  <a:lnTo>
                    <a:pt x="8" y="935"/>
                  </a:lnTo>
                  <a:lnTo>
                    <a:pt x="8" y="933"/>
                  </a:lnTo>
                  <a:lnTo>
                    <a:pt x="11" y="933"/>
                  </a:lnTo>
                  <a:lnTo>
                    <a:pt x="11" y="933"/>
                  </a:lnTo>
                  <a:lnTo>
                    <a:pt x="14" y="933"/>
                  </a:lnTo>
                  <a:lnTo>
                    <a:pt x="14" y="933"/>
                  </a:lnTo>
                  <a:lnTo>
                    <a:pt x="16" y="933"/>
                  </a:lnTo>
                  <a:lnTo>
                    <a:pt x="16" y="935"/>
                  </a:lnTo>
                  <a:lnTo>
                    <a:pt x="16" y="935"/>
                  </a:lnTo>
                  <a:lnTo>
                    <a:pt x="16" y="938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22" y="935"/>
                  </a:lnTo>
                  <a:lnTo>
                    <a:pt x="24" y="935"/>
                  </a:lnTo>
                  <a:lnTo>
                    <a:pt x="24" y="935"/>
                  </a:lnTo>
                  <a:lnTo>
                    <a:pt x="27" y="935"/>
                  </a:lnTo>
                  <a:lnTo>
                    <a:pt x="30" y="935"/>
                  </a:lnTo>
                  <a:lnTo>
                    <a:pt x="30" y="933"/>
                  </a:lnTo>
                  <a:lnTo>
                    <a:pt x="32" y="933"/>
                  </a:lnTo>
                  <a:lnTo>
                    <a:pt x="35" y="930"/>
                  </a:lnTo>
                  <a:lnTo>
                    <a:pt x="35" y="930"/>
                  </a:lnTo>
                  <a:lnTo>
                    <a:pt x="35" y="927"/>
                  </a:lnTo>
                  <a:lnTo>
                    <a:pt x="38" y="927"/>
                  </a:lnTo>
                  <a:lnTo>
                    <a:pt x="40" y="925"/>
                  </a:lnTo>
                  <a:lnTo>
                    <a:pt x="43" y="925"/>
                  </a:lnTo>
                  <a:lnTo>
                    <a:pt x="46" y="925"/>
                  </a:lnTo>
                  <a:lnTo>
                    <a:pt x="46" y="922"/>
                  </a:lnTo>
                  <a:lnTo>
                    <a:pt x="48" y="919"/>
                  </a:lnTo>
                  <a:lnTo>
                    <a:pt x="51" y="919"/>
                  </a:lnTo>
                  <a:lnTo>
                    <a:pt x="54" y="917"/>
                  </a:lnTo>
                  <a:lnTo>
                    <a:pt x="54" y="917"/>
                  </a:lnTo>
                  <a:lnTo>
                    <a:pt x="56" y="914"/>
                  </a:lnTo>
                  <a:lnTo>
                    <a:pt x="56" y="914"/>
                  </a:lnTo>
                  <a:lnTo>
                    <a:pt x="59" y="914"/>
                  </a:lnTo>
                  <a:lnTo>
                    <a:pt x="62" y="914"/>
                  </a:lnTo>
                  <a:lnTo>
                    <a:pt x="62" y="914"/>
                  </a:lnTo>
                  <a:lnTo>
                    <a:pt x="64" y="914"/>
                  </a:lnTo>
                  <a:lnTo>
                    <a:pt x="64" y="914"/>
                  </a:lnTo>
                  <a:lnTo>
                    <a:pt x="67" y="911"/>
                  </a:lnTo>
                  <a:lnTo>
                    <a:pt x="67" y="909"/>
                  </a:lnTo>
                  <a:lnTo>
                    <a:pt x="67" y="909"/>
                  </a:lnTo>
                  <a:lnTo>
                    <a:pt x="67" y="906"/>
                  </a:lnTo>
                  <a:lnTo>
                    <a:pt x="67" y="906"/>
                  </a:lnTo>
                  <a:lnTo>
                    <a:pt x="67" y="903"/>
                  </a:lnTo>
                  <a:lnTo>
                    <a:pt x="70" y="903"/>
                  </a:lnTo>
                  <a:lnTo>
                    <a:pt x="67" y="901"/>
                  </a:lnTo>
                  <a:lnTo>
                    <a:pt x="67" y="901"/>
                  </a:lnTo>
                  <a:lnTo>
                    <a:pt x="70" y="901"/>
                  </a:lnTo>
                  <a:lnTo>
                    <a:pt x="70" y="901"/>
                  </a:lnTo>
                  <a:lnTo>
                    <a:pt x="70" y="898"/>
                  </a:lnTo>
                  <a:lnTo>
                    <a:pt x="70" y="898"/>
                  </a:lnTo>
                  <a:lnTo>
                    <a:pt x="70" y="895"/>
                  </a:lnTo>
                  <a:lnTo>
                    <a:pt x="72" y="895"/>
                  </a:lnTo>
                  <a:lnTo>
                    <a:pt x="72" y="893"/>
                  </a:lnTo>
                  <a:lnTo>
                    <a:pt x="75" y="893"/>
                  </a:lnTo>
                  <a:lnTo>
                    <a:pt x="78" y="893"/>
                  </a:lnTo>
                  <a:lnTo>
                    <a:pt x="80" y="893"/>
                  </a:lnTo>
                  <a:lnTo>
                    <a:pt x="83" y="893"/>
                  </a:lnTo>
                  <a:lnTo>
                    <a:pt x="86" y="893"/>
                  </a:lnTo>
                  <a:lnTo>
                    <a:pt x="86" y="893"/>
                  </a:lnTo>
                  <a:lnTo>
                    <a:pt x="88" y="893"/>
                  </a:lnTo>
                  <a:lnTo>
                    <a:pt x="91" y="893"/>
                  </a:lnTo>
                  <a:lnTo>
                    <a:pt x="94" y="890"/>
                  </a:lnTo>
                  <a:lnTo>
                    <a:pt x="96" y="890"/>
                  </a:lnTo>
                  <a:lnTo>
                    <a:pt x="96" y="890"/>
                  </a:lnTo>
                  <a:lnTo>
                    <a:pt x="99" y="890"/>
                  </a:lnTo>
                  <a:lnTo>
                    <a:pt x="102" y="890"/>
                  </a:lnTo>
                  <a:lnTo>
                    <a:pt x="102" y="890"/>
                  </a:lnTo>
                  <a:lnTo>
                    <a:pt x="102" y="893"/>
                  </a:lnTo>
                  <a:lnTo>
                    <a:pt x="102" y="893"/>
                  </a:lnTo>
                  <a:lnTo>
                    <a:pt x="99" y="895"/>
                  </a:lnTo>
                  <a:lnTo>
                    <a:pt x="102" y="895"/>
                  </a:lnTo>
                  <a:lnTo>
                    <a:pt x="102" y="898"/>
                  </a:lnTo>
                  <a:lnTo>
                    <a:pt x="104" y="898"/>
                  </a:lnTo>
                  <a:lnTo>
                    <a:pt x="104" y="898"/>
                  </a:lnTo>
                  <a:lnTo>
                    <a:pt x="107" y="898"/>
                  </a:lnTo>
                  <a:lnTo>
                    <a:pt x="110" y="898"/>
                  </a:lnTo>
                  <a:lnTo>
                    <a:pt x="110" y="898"/>
                  </a:lnTo>
                  <a:lnTo>
                    <a:pt x="112" y="898"/>
                  </a:lnTo>
                  <a:lnTo>
                    <a:pt x="112" y="895"/>
                  </a:lnTo>
                  <a:lnTo>
                    <a:pt x="115" y="895"/>
                  </a:lnTo>
                  <a:lnTo>
                    <a:pt x="115" y="895"/>
                  </a:lnTo>
                  <a:lnTo>
                    <a:pt x="118" y="893"/>
                  </a:lnTo>
                  <a:lnTo>
                    <a:pt x="118" y="890"/>
                  </a:lnTo>
                  <a:lnTo>
                    <a:pt x="118" y="890"/>
                  </a:lnTo>
                  <a:lnTo>
                    <a:pt x="118" y="890"/>
                  </a:lnTo>
                  <a:lnTo>
                    <a:pt x="118" y="887"/>
                  </a:lnTo>
                  <a:lnTo>
                    <a:pt x="118" y="885"/>
                  </a:lnTo>
                  <a:lnTo>
                    <a:pt x="118" y="885"/>
                  </a:lnTo>
                  <a:lnTo>
                    <a:pt x="118" y="882"/>
                  </a:lnTo>
                  <a:lnTo>
                    <a:pt x="118" y="882"/>
                  </a:lnTo>
                  <a:lnTo>
                    <a:pt x="118" y="879"/>
                  </a:lnTo>
                  <a:lnTo>
                    <a:pt x="118" y="879"/>
                  </a:lnTo>
                  <a:lnTo>
                    <a:pt x="118" y="877"/>
                  </a:lnTo>
                  <a:lnTo>
                    <a:pt x="118" y="874"/>
                  </a:lnTo>
                  <a:lnTo>
                    <a:pt x="118" y="871"/>
                  </a:lnTo>
                  <a:lnTo>
                    <a:pt x="118" y="871"/>
                  </a:lnTo>
                  <a:lnTo>
                    <a:pt x="120" y="869"/>
                  </a:lnTo>
                  <a:lnTo>
                    <a:pt x="120" y="869"/>
                  </a:lnTo>
                  <a:lnTo>
                    <a:pt x="120" y="866"/>
                  </a:lnTo>
                  <a:lnTo>
                    <a:pt x="118" y="863"/>
                  </a:lnTo>
                  <a:lnTo>
                    <a:pt x="118" y="863"/>
                  </a:lnTo>
                  <a:lnTo>
                    <a:pt x="115" y="863"/>
                  </a:lnTo>
                  <a:lnTo>
                    <a:pt x="115" y="863"/>
                  </a:lnTo>
                  <a:lnTo>
                    <a:pt x="112" y="861"/>
                  </a:lnTo>
                  <a:lnTo>
                    <a:pt x="112" y="861"/>
                  </a:lnTo>
                  <a:lnTo>
                    <a:pt x="112" y="858"/>
                  </a:lnTo>
                  <a:lnTo>
                    <a:pt x="112" y="855"/>
                  </a:lnTo>
                  <a:lnTo>
                    <a:pt x="110" y="855"/>
                  </a:lnTo>
                  <a:lnTo>
                    <a:pt x="110" y="853"/>
                  </a:lnTo>
                  <a:lnTo>
                    <a:pt x="110" y="853"/>
                  </a:lnTo>
                  <a:lnTo>
                    <a:pt x="110" y="850"/>
                  </a:lnTo>
                  <a:lnTo>
                    <a:pt x="110" y="847"/>
                  </a:lnTo>
                  <a:lnTo>
                    <a:pt x="110" y="847"/>
                  </a:lnTo>
                  <a:lnTo>
                    <a:pt x="112" y="847"/>
                  </a:lnTo>
                  <a:lnTo>
                    <a:pt x="115" y="845"/>
                  </a:lnTo>
                  <a:lnTo>
                    <a:pt x="118" y="845"/>
                  </a:lnTo>
                  <a:lnTo>
                    <a:pt x="118" y="842"/>
                  </a:lnTo>
                  <a:lnTo>
                    <a:pt x="118" y="842"/>
                  </a:lnTo>
                  <a:lnTo>
                    <a:pt x="118" y="834"/>
                  </a:lnTo>
                  <a:lnTo>
                    <a:pt x="115" y="831"/>
                  </a:lnTo>
                  <a:lnTo>
                    <a:pt x="118" y="829"/>
                  </a:lnTo>
                  <a:lnTo>
                    <a:pt x="118" y="829"/>
                  </a:lnTo>
                  <a:lnTo>
                    <a:pt x="120" y="829"/>
                  </a:lnTo>
                  <a:lnTo>
                    <a:pt x="123" y="826"/>
                  </a:lnTo>
                  <a:lnTo>
                    <a:pt x="126" y="826"/>
                  </a:lnTo>
                  <a:lnTo>
                    <a:pt x="126" y="823"/>
                  </a:lnTo>
                  <a:lnTo>
                    <a:pt x="128" y="823"/>
                  </a:lnTo>
                  <a:lnTo>
                    <a:pt x="131" y="823"/>
                  </a:lnTo>
                  <a:lnTo>
                    <a:pt x="131" y="823"/>
                  </a:lnTo>
                  <a:lnTo>
                    <a:pt x="131" y="821"/>
                  </a:lnTo>
                  <a:lnTo>
                    <a:pt x="134" y="821"/>
                  </a:lnTo>
                  <a:lnTo>
                    <a:pt x="134" y="823"/>
                  </a:lnTo>
                  <a:lnTo>
                    <a:pt x="134" y="821"/>
                  </a:lnTo>
                  <a:lnTo>
                    <a:pt x="136" y="821"/>
                  </a:lnTo>
                  <a:lnTo>
                    <a:pt x="139" y="821"/>
                  </a:lnTo>
                  <a:lnTo>
                    <a:pt x="139" y="821"/>
                  </a:lnTo>
                  <a:lnTo>
                    <a:pt x="142" y="821"/>
                  </a:lnTo>
                  <a:lnTo>
                    <a:pt x="142" y="821"/>
                  </a:lnTo>
                  <a:lnTo>
                    <a:pt x="142" y="818"/>
                  </a:lnTo>
                  <a:lnTo>
                    <a:pt x="142" y="818"/>
                  </a:lnTo>
                  <a:lnTo>
                    <a:pt x="139" y="815"/>
                  </a:lnTo>
                  <a:lnTo>
                    <a:pt x="136" y="815"/>
                  </a:lnTo>
                  <a:lnTo>
                    <a:pt x="136" y="815"/>
                  </a:lnTo>
                  <a:lnTo>
                    <a:pt x="134" y="815"/>
                  </a:lnTo>
                  <a:lnTo>
                    <a:pt x="134" y="813"/>
                  </a:lnTo>
                  <a:lnTo>
                    <a:pt x="134" y="813"/>
                  </a:lnTo>
                  <a:lnTo>
                    <a:pt x="134" y="810"/>
                  </a:lnTo>
                  <a:lnTo>
                    <a:pt x="131" y="810"/>
                  </a:lnTo>
                  <a:lnTo>
                    <a:pt x="131" y="807"/>
                  </a:lnTo>
                  <a:lnTo>
                    <a:pt x="134" y="807"/>
                  </a:lnTo>
                  <a:lnTo>
                    <a:pt x="134" y="807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4" y="805"/>
                  </a:lnTo>
                  <a:lnTo>
                    <a:pt x="131" y="802"/>
                  </a:lnTo>
                  <a:lnTo>
                    <a:pt x="131" y="799"/>
                  </a:lnTo>
                  <a:lnTo>
                    <a:pt x="131" y="799"/>
                  </a:lnTo>
                  <a:lnTo>
                    <a:pt x="131" y="794"/>
                  </a:lnTo>
                  <a:lnTo>
                    <a:pt x="134" y="794"/>
                  </a:lnTo>
                  <a:lnTo>
                    <a:pt x="134" y="794"/>
                  </a:lnTo>
                  <a:lnTo>
                    <a:pt x="134" y="791"/>
                  </a:lnTo>
                  <a:lnTo>
                    <a:pt x="136" y="791"/>
                  </a:lnTo>
                  <a:lnTo>
                    <a:pt x="136" y="789"/>
                  </a:lnTo>
                  <a:lnTo>
                    <a:pt x="139" y="789"/>
                  </a:lnTo>
                  <a:lnTo>
                    <a:pt x="139" y="789"/>
                  </a:lnTo>
                  <a:lnTo>
                    <a:pt x="142" y="786"/>
                  </a:lnTo>
                  <a:lnTo>
                    <a:pt x="144" y="786"/>
                  </a:lnTo>
                  <a:lnTo>
                    <a:pt x="142" y="783"/>
                  </a:lnTo>
                  <a:lnTo>
                    <a:pt x="142" y="780"/>
                  </a:lnTo>
                  <a:lnTo>
                    <a:pt x="144" y="780"/>
                  </a:lnTo>
                  <a:lnTo>
                    <a:pt x="144" y="778"/>
                  </a:lnTo>
                  <a:lnTo>
                    <a:pt x="147" y="778"/>
                  </a:lnTo>
                  <a:lnTo>
                    <a:pt x="147" y="775"/>
                  </a:lnTo>
                  <a:lnTo>
                    <a:pt x="150" y="775"/>
                  </a:lnTo>
                  <a:lnTo>
                    <a:pt x="150" y="772"/>
                  </a:lnTo>
                  <a:lnTo>
                    <a:pt x="152" y="775"/>
                  </a:lnTo>
                  <a:lnTo>
                    <a:pt x="152" y="775"/>
                  </a:lnTo>
                  <a:lnTo>
                    <a:pt x="155" y="775"/>
                  </a:lnTo>
                  <a:lnTo>
                    <a:pt x="155" y="775"/>
                  </a:lnTo>
                  <a:lnTo>
                    <a:pt x="158" y="775"/>
                  </a:lnTo>
                  <a:lnTo>
                    <a:pt x="158" y="775"/>
                  </a:lnTo>
                  <a:lnTo>
                    <a:pt x="158" y="772"/>
                  </a:lnTo>
                  <a:lnTo>
                    <a:pt x="158" y="772"/>
                  </a:lnTo>
                  <a:lnTo>
                    <a:pt x="160" y="770"/>
                  </a:lnTo>
                  <a:lnTo>
                    <a:pt x="160" y="770"/>
                  </a:lnTo>
                  <a:lnTo>
                    <a:pt x="163" y="770"/>
                  </a:lnTo>
                  <a:lnTo>
                    <a:pt x="163" y="767"/>
                  </a:lnTo>
                  <a:lnTo>
                    <a:pt x="166" y="767"/>
                  </a:lnTo>
                  <a:lnTo>
                    <a:pt x="166" y="767"/>
                  </a:lnTo>
                  <a:lnTo>
                    <a:pt x="168" y="764"/>
                  </a:lnTo>
                  <a:lnTo>
                    <a:pt x="168" y="767"/>
                  </a:lnTo>
                  <a:lnTo>
                    <a:pt x="171" y="764"/>
                  </a:lnTo>
                  <a:lnTo>
                    <a:pt x="174" y="764"/>
                  </a:lnTo>
                  <a:lnTo>
                    <a:pt x="174" y="762"/>
                  </a:lnTo>
                  <a:lnTo>
                    <a:pt x="174" y="759"/>
                  </a:lnTo>
                  <a:lnTo>
                    <a:pt x="174" y="759"/>
                  </a:lnTo>
                  <a:lnTo>
                    <a:pt x="174" y="756"/>
                  </a:lnTo>
                  <a:lnTo>
                    <a:pt x="174" y="756"/>
                  </a:lnTo>
                  <a:lnTo>
                    <a:pt x="179" y="756"/>
                  </a:lnTo>
                  <a:lnTo>
                    <a:pt x="179" y="754"/>
                  </a:lnTo>
                  <a:lnTo>
                    <a:pt x="182" y="754"/>
                  </a:lnTo>
                  <a:lnTo>
                    <a:pt x="182" y="751"/>
                  </a:lnTo>
                  <a:lnTo>
                    <a:pt x="184" y="751"/>
                  </a:lnTo>
                  <a:lnTo>
                    <a:pt x="184" y="751"/>
                  </a:lnTo>
                  <a:lnTo>
                    <a:pt x="184" y="751"/>
                  </a:lnTo>
                  <a:lnTo>
                    <a:pt x="187" y="751"/>
                  </a:lnTo>
                  <a:lnTo>
                    <a:pt x="190" y="748"/>
                  </a:lnTo>
                  <a:lnTo>
                    <a:pt x="190" y="748"/>
                  </a:lnTo>
                  <a:lnTo>
                    <a:pt x="190" y="746"/>
                  </a:lnTo>
                  <a:lnTo>
                    <a:pt x="190" y="746"/>
                  </a:lnTo>
                  <a:lnTo>
                    <a:pt x="190" y="743"/>
                  </a:lnTo>
                  <a:lnTo>
                    <a:pt x="190" y="743"/>
                  </a:lnTo>
                  <a:lnTo>
                    <a:pt x="192" y="740"/>
                  </a:lnTo>
                  <a:lnTo>
                    <a:pt x="192" y="740"/>
                  </a:lnTo>
                  <a:lnTo>
                    <a:pt x="192" y="738"/>
                  </a:lnTo>
                  <a:lnTo>
                    <a:pt x="195" y="738"/>
                  </a:lnTo>
                  <a:lnTo>
                    <a:pt x="198" y="740"/>
                  </a:lnTo>
                  <a:lnTo>
                    <a:pt x="198" y="743"/>
                  </a:lnTo>
                  <a:lnTo>
                    <a:pt x="198" y="743"/>
                  </a:lnTo>
                  <a:lnTo>
                    <a:pt x="200" y="743"/>
                  </a:lnTo>
                  <a:lnTo>
                    <a:pt x="200" y="740"/>
                  </a:lnTo>
                  <a:lnTo>
                    <a:pt x="200" y="740"/>
                  </a:lnTo>
                  <a:lnTo>
                    <a:pt x="203" y="738"/>
                  </a:lnTo>
                  <a:lnTo>
                    <a:pt x="203" y="735"/>
                  </a:lnTo>
                  <a:lnTo>
                    <a:pt x="203" y="735"/>
                  </a:lnTo>
                  <a:lnTo>
                    <a:pt x="206" y="735"/>
                  </a:lnTo>
                  <a:lnTo>
                    <a:pt x="208" y="735"/>
                  </a:lnTo>
                  <a:lnTo>
                    <a:pt x="208" y="732"/>
                  </a:lnTo>
                  <a:lnTo>
                    <a:pt x="208" y="732"/>
                  </a:lnTo>
                  <a:lnTo>
                    <a:pt x="208" y="732"/>
                  </a:lnTo>
                  <a:lnTo>
                    <a:pt x="211" y="732"/>
                  </a:lnTo>
                  <a:lnTo>
                    <a:pt x="211" y="730"/>
                  </a:lnTo>
                  <a:lnTo>
                    <a:pt x="206" y="727"/>
                  </a:lnTo>
                  <a:lnTo>
                    <a:pt x="206" y="724"/>
                  </a:lnTo>
                  <a:lnTo>
                    <a:pt x="206" y="722"/>
                  </a:lnTo>
                  <a:lnTo>
                    <a:pt x="208" y="722"/>
                  </a:lnTo>
                  <a:lnTo>
                    <a:pt x="208" y="722"/>
                  </a:lnTo>
                  <a:lnTo>
                    <a:pt x="211" y="722"/>
                  </a:lnTo>
                  <a:lnTo>
                    <a:pt x="211" y="719"/>
                  </a:lnTo>
                  <a:lnTo>
                    <a:pt x="211" y="716"/>
                  </a:lnTo>
                  <a:lnTo>
                    <a:pt x="211" y="714"/>
                  </a:lnTo>
                  <a:lnTo>
                    <a:pt x="211" y="714"/>
                  </a:lnTo>
                  <a:lnTo>
                    <a:pt x="208" y="711"/>
                  </a:lnTo>
                  <a:lnTo>
                    <a:pt x="208" y="708"/>
                  </a:lnTo>
                  <a:lnTo>
                    <a:pt x="206" y="708"/>
                  </a:lnTo>
                  <a:lnTo>
                    <a:pt x="206" y="711"/>
                  </a:lnTo>
                  <a:lnTo>
                    <a:pt x="203" y="711"/>
                  </a:lnTo>
                  <a:lnTo>
                    <a:pt x="203" y="711"/>
                  </a:lnTo>
                  <a:lnTo>
                    <a:pt x="203" y="711"/>
                  </a:lnTo>
                  <a:lnTo>
                    <a:pt x="200" y="708"/>
                  </a:lnTo>
                  <a:lnTo>
                    <a:pt x="198" y="708"/>
                  </a:lnTo>
                  <a:lnTo>
                    <a:pt x="198" y="706"/>
                  </a:lnTo>
                  <a:lnTo>
                    <a:pt x="195" y="706"/>
                  </a:lnTo>
                  <a:lnTo>
                    <a:pt x="192" y="706"/>
                  </a:lnTo>
                  <a:lnTo>
                    <a:pt x="192" y="703"/>
                  </a:lnTo>
                  <a:lnTo>
                    <a:pt x="190" y="703"/>
                  </a:lnTo>
                  <a:lnTo>
                    <a:pt x="187" y="700"/>
                  </a:lnTo>
                  <a:lnTo>
                    <a:pt x="184" y="700"/>
                  </a:lnTo>
                  <a:lnTo>
                    <a:pt x="184" y="700"/>
                  </a:lnTo>
                  <a:lnTo>
                    <a:pt x="182" y="700"/>
                  </a:lnTo>
                  <a:lnTo>
                    <a:pt x="182" y="700"/>
                  </a:lnTo>
                  <a:lnTo>
                    <a:pt x="168" y="625"/>
                  </a:lnTo>
                  <a:lnTo>
                    <a:pt x="166" y="623"/>
                  </a:lnTo>
                  <a:lnTo>
                    <a:pt x="166" y="620"/>
                  </a:lnTo>
                  <a:lnTo>
                    <a:pt x="163" y="623"/>
                  </a:lnTo>
                  <a:lnTo>
                    <a:pt x="160" y="623"/>
                  </a:lnTo>
                  <a:lnTo>
                    <a:pt x="160" y="620"/>
                  </a:lnTo>
                  <a:lnTo>
                    <a:pt x="158" y="620"/>
                  </a:lnTo>
                  <a:lnTo>
                    <a:pt x="155" y="620"/>
                  </a:lnTo>
                  <a:lnTo>
                    <a:pt x="158" y="617"/>
                  </a:lnTo>
                  <a:lnTo>
                    <a:pt x="158" y="617"/>
                  </a:lnTo>
                  <a:lnTo>
                    <a:pt x="155" y="617"/>
                  </a:lnTo>
                  <a:lnTo>
                    <a:pt x="155" y="617"/>
                  </a:lnTo>
                  <a:lnTo>
                    <a:pt x="152" y="617"/>
                  </a:lnTo>
                  <a:lnTo>
                    <a:pt x="152" y="615"/>
                  </a:lnTo>
                  <a:lnTo>
                    <a:pt x="152" y="615"/>
                  </a:lnTo>
                  <a:lnTo>
                    <a:pt x="155" y="612"/>
                  </a:lnTo>
                  <a:lnTo>
                    <a:pt x="152" y="609"/>
                  </a:lnTo>
                  <a:lnTo>
                    <a:pt x="152" y="609"/>
                  </a:lnTo>
                  <a:lnTo>
                    <a:pt x="152" y="607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7"/>
                  </a:lnTo>
                  <a:lnTo>
                    <a:pt x="139" y="607"/>
                  </a:lnTo>
                  <a:lnTo>
                    <a:pt x="139" y="607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4" y="604"/>
                  </a:lnTo>
                  <a:lnTo>
                    <a:pt x="131" y="604"/>
                  </a:lnTo>
                  <a:lnTo>
                    <a:pt x="131" y="604"/>
                  </a:lnTo>
                  <a:lnTo>
                    <a:pt x="128" y="601"/>
                  </a:lnTo>
                  <a:lnTo>
                    <a:pt x="128" y="601"/>
                  </a:lnTo>
                  <a:lnTo>
                    <a:pt x="128" y="599"/>
                  </a:lnTo>
                  <a:lnTo>
                    <a:pt x="128" y="599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8" y="593"/>
                  </a:lnTo>
                  <a:lnTo>
                    <a:pt x="131" y="593"/>
                  </a:lnTo>
                  <a:lnTo>
                    <a:pt x="131" y="591"/>
                  </a:lnTo>
                  <a:lnTo>
                    <a:pt x="131" y="591"/>
                  </a:lnTo>
                  <a:lnTo>
                    <a:pt x="134" y="591"/>
                  </a:lnTo>
                  <a:lnTo>
                    <a:pt x="136" y="588"/>
                  </a:lnTo>
                  <a:lnTo>
                    <a:pt x="136" y="585"/>
                  </a:lnTo>
                  <a:lnTo>
                    <a:pt x="134" y="585"/>
                  </a:lnTo>
                  <a:lnTo>
                    <a:pt x="134" y="585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28" y="580"/>
                  </a:lnTo>
                  <a:lnTo>
                    <a:pt x="126" y="580"/>
                  </a:lnTo>
                  <a:lnTo>
                    <a:pt x="123" y="580"/>
                  </a:lnTo>
                  <a:lnTo>
                    <a:pt x="123" y="580"/>
                  </a:lnTo>
                  <a:lnTo>
                    <a:pt x="120" y="580"/>
                  </a:lnTo>
                  <a:lnTo>
                    <a:pt x="120" y="580"/>
                  </a:lnTo>
                  <a:lnTo>
                    <a:pt x="118" y="580"/>
                  </a:lnTo>
                  <a:lnTo>
                    <a:pt x="118" y="577"/>
                  </a:lnTo>
                  <a:lnTo>
                    <a:pt x="120" y="577"/>
                  </a:lnTo>
                  <a:lnTo>
                    <a:pt x="120" y="575"/>
                  </a:lnTo>
                  <a:lnTo>
                    <a:pt x="120" y="575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5"/>
                  </a:lnTo>
                  <a:lnTo>
                    <a:pt x="115" y="575"/>
                  </a:lnTo>
                  <a:lnTo>
                    <a:pt x="112" y="572"/>
                  </a:lnTo>
                  <a:lnTo>
                    <a:pt x="112" y="569"/>
                  </a:lnTo>
                  <a:lnTo>
                    <a:pt x="112" y="569"/>
                  </a:lnTo>
                  <a:lnTo>
                    <a:pt x="110" y="567"/>
                  </a:lnTo>
                  <a:lnTo>
                    <a:pt x="110" y="564"/>
                  </a:lnTo>
                  <a:lnTo>
                    <a:pt x="110" y="561"/>
                  </a:lnTo>
                  <a:lnTo>
                    <a:pt x="107" y="559"/>
                  </a:lnTo>
                  <a:lnTo>
                    <a:pt x="107" y="559"/>
                  </a:lnTo>
                  <a:lnTo>
                    <a:pt x="107" y="559"/>
                  </a:lnTo>
                  <a:lnTo>
                    <a:pt x="110" y="559"/>
                  </a:lnTo>
                  <a:lnTo>
                    <a:pt x="110" y="556"/>
                  </a:lnTo>
                  <a:lnTo>
                    <a:pt x="110" y="553"/>
                  </a:lnTo>
                  <a:lnTo>
                    <a:pt x="110" y="553"/>
                  </a:lnTo>
                  <a:lnTo>
                    <a:pt x="107" y="551"/>
                  </a:lnTo>
                  <a:lnTo>
                    <a:pt x="107" y="551"/>
                  </a:lnTo>
                  <a:lnTo>
                    <a:pt x="107" y="548"/>
                  </a:lnTo>
                  <a:lnTo>
                    <a:pt x="107" y="545"/>
                  </a:lnTo>
                  <a:lnTo>
                    <a:pt x="107" y="545"/>
                  </a:lnTo>
                  <a:lnTo>
                    <a:pt x="110" y="545"/>
                  </a:lnTo>
                  <a:lnTo>
                    <a:pt x="110" y="543"/>
                  </a:lnTo>
                  <a:lnTo>
                    <a:pt x="112" y="543"/>
                  </a:lnTo>
                  <a:lnTo>
                    <a:pt x="112" y="540"/>
                  </a:lnTo>
                  <a:lnTo>
                    <a:pt x="112" y="540"/>
                  </a:lnTo>
                  <a:lnTo>
                    <a:pt x="107" y="540"/>
                  </a:lnTo>
                  <a:lnTo>
                    <a:pt x="104" y="537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10" y="532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7"/>
                  </a:lnTo>
                  <a:lnTo>
                    <a:pt x="107" y="527"/>
                  </a:lnTo>
                  <a:lnTo>
                    <a:pt x="107" y="524"/>
                  </a:lnTo>
                  <a:lnTo>
                    <a:pt x="104" y="524"/>
                  </a:lnTo>
                  <a:lnTo>
                    <a:pt x="104" y="524"/>
                  </a:lnTo>
                  <a:lnTo>
                    <a:pt x="104" y="521"/>
                  </a:lnTo>
                  <a:lnTo>
                    <a:pt x="107" y="521"/>
                  </a:lnTo>
                  <a:lnTo>
                    <a:pt x="107" y="521"/>
                  </a:lnTo>
                  <a:lnTo>
                    <a:pt x="107" y="519"/>
                  </a:lnTo>
                  <a:lnTo>
                    <a:pt x="107" y="519"/>
                  </a:lnTo>
                  <a:lnTo>
                    <a:pt x="107" y="516"/>
                  </a:lnTo>
                  <a:lnTo>
                    <a:pt x="107" y="516"/>
                  </a:lnTo>
                  <a:lnTo>
                    <a:pt x="104" y="516"/>
                  </a:lnTo>
                  <a:lnTo>
                    <a:pt x="102" y="516"/>
                  </a:lnTo>
                  <a:lnTo>
                    <a:pt x="99" y="516"/>
                  </a:lnTo>
                  <a:lnTo>
                    <a:pt x="99" y="516"/>
                  </a:lnTo>
                  <a:lnTo>
                    <a:pt x="96" y="516"/>
                  </a:lnTo>
                  <a:lnTo>
                    <a:pt x="96" y="516"/>
                  </a:lnTo>
                  <a:lnTo>
                    <a:pt x="96" y="516"/>
                  </a:lnTo>
                  <a:lnTo>
                    <a:pt x="94" y="516"/>
                  </a:lnTo>
                  <a:lnTo>
                    <a:pt x="94" y="516"/>
                  </a:lnTo>
                  <a:lnTo>
                    <a:pt x="94" y="516"/>
                  </a:lnTo>
                  <a:lnTo>
                    <a:pt x="91" y="516"/>
                  </a:lnTo>
                  <a:lnTo>
                    <a:pt x="91" y="516"/>
                  </a:lnTo>
                  <a:lnTo>
                    <a:pt x="91" y="516"/>
                  </a:lnTo>
                  <a:lnTo>
                    <a:pt x="91" y="513"/>
                  </a:lnTo>
                  <a:lnTo>
                    <a:pt x="91" y="513"/>
                  </a:lnTo>
                  <a:lnTo>
                    <a:pt x="94" y="511"/>
                  </a:lnTo>
                  <a:lnTo>
                    <a:pt x="94" y="511"/>
                  </a:lnTo>
                  <a:lnTo>
                    <a:pt x="96" y="508"/>
                  </a:lnTo>
                  <a:lnTo>
                    <a:pt x="96" y="508"/>
                  </a:lnTo>
                  <a:lnTo>
                    <a:pt x="99" y="505"/>
                  </a:lnTo>
                  <a:lnTo>
                    <a:pt x="99" y="505"/>
                  </a:lnTo>
                  <a:lnTo>
                    <a:pt x="96" y="505"/>
                  </a:lnTo>
                  <a:lnTo>
                    <a:pt x="96" y="503"/>
                  </a:lnTo>
                  <a:lnTo>
                    <a:pt x="94" y="503"/>
                  </a:lnTo>
                  <a:lnTo>
                    <a:pt x="94" y="500"/>
                  </a:lnTo>
                  <a:lnTo>
                    <a:pt x="94" y="500"/>
                  </a:lnTo>
                  <a:lnTo>
                    <a:pt x="91" y="500"/>
                  </a:lnTo>
                  <a:lnTo>
                    <a:pt x="88" y="500"/>
                  </a:lnTo>
                  <a:lnTo>
                    <a:pt x="88" y="500"/>
                  </a:lnTo>
                  <a:lnTo>
                    <a:pt x="86" y="497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78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3" y="492"/>
                  </a:lnTo>
                  <a:lnTo>
                    <a:pt x="83" y="492"/>
                  </a:lnTo>
                  <a:lnTo>
                    <a:pt x="83" y="492"/>
                  </a:lnTo>
                  <a:lnTo>
                    <a:pt x="86" y="492"/>
                  </a:lnTo>
                  <a:lnTo>
                    <a:pt x="86" y="492"/>
                  </a:lnTo>
                  <a:lnTo>
                    <a:pt x="88" y="492"/>
                  </a:lnTo>
                  <a:lnTo>
                    <a:pt x="88" y="492"/>
                  </a:lnTo>
                  <a:lnTo>
                    <a:pt x="91" y="492"/>
                  </a:lnTo>
                  <a:lnTo>
                    <a:pt x="91" y="489"/>
                  </a:lnTo>
                  <a:lnTo>
                    <a:pt x="94" y="489"/>
                  </a:lnTo>
                  <a:lnTo>
                    <a:pt x="94" y="487"/>
                  </a:lnTo>
                  <a:lnTo>
                    <a:pt x="94" y="487"/>
                  </a:lnTo>
                  <a:lnTo>
                    <a:pt x="96" y="484"/>
                  </a:lnTo>
                  <a:lnTo>
                    <a:pt x="96" y="481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9" y="476"/>
                  </a:lnTo>
                  <a:lnTo>
                    <a:pt x="99" y="476"/>
                  </a:lnTo>
                  <a:lnTo>
                    <a:pt x="99" y="476"/>
                  </a:lnTo>
                  <a:lnTo>
                    <a:pt x="102" y="473"/>
                  </a:lnTo>
                  <a:lnTo>
                    <a:pt x="99" y="473"/>
                  </a:lnTo>
                  <a:lnTo>
                    <a:pt x="99" y="473"/>
                  </a:lnTo>
                  <a:lnTo>
                    <a:pt x="99" y="471"/>
                  </a:lnTo>
                  <a:lnTo>
                    <a:pt x="102" y="471"/>
                  </a:lnTo>
                  <a:lnTo>
                    <a:pt x="104" y="471"/>
                  </a:lnTo>
                  <a:lnTo>
                    <a:pt x="104" y="471"/>
                  </a:lnTo>
                  <a:lnTo>
                    <a:pt x="107" y="468"/>
                  </a:lnTo>
                  <a:lnTo>
                    <a:pt x="107" y="468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0" y="465"/>
                  </a:lnTo>
                  <a:lnTo>
                    <a:pt x="112" y="462"/>
                  </a:lnTo>
                  <a:lnTo>
                    <a:pt x="112" y="462"/>
                  </a:lnTo>
                  <a:lnTo>
                    <a:pt x="110" y="462"/>
                  </a:lnTo>
                  <a:lnTo>
                    <a:pt x="110" y="462"/>
                  </a:lnTo>
                  <a:lnTo>
                    <a:pt x="110" y="462"/>
                  </a:lnTo>
                  <a:lnTo>
                    <a:pt x="110" y="460"/>
                  </a:lnTo>
                  <a:lnTo>
                    <a:pt x="107" y="457"/>
                  </a:lnTo>
                  <a:lnTo>
                    <a:pt x="107" y="457"/>
                  </a:lnTo>
                  <a:lnTo>
                    <a:pt x="107" y="457"/>
                  </a:lnTo>
                  <a:lnTo>
                    <a:pt x="104" y="457"/>
                  </a:lnTo>
                  <a:lnTo>
                    <a:pt x="104" y="457"/>
                  </a:lnTo>
                  <a:lnTo>
                    <a:pt x="102" y="457"/>
                  </a:lnTo>
                  <a:lnTo>
                    <a:pt x="99" y="454"/>
                  </a:lnTo>
                  <a:lnTo>
                    <a:pt x="99" y="454"/>
                  </a:lnTo>
                  <a:lnTo>
                    <a:pt x="96" y="454"/>
                  </a:lnTo>
                  <a:lnTo>
                    <a:pt x="96" y="452"/>
                  </a:lnTo>
                  <a:lnTo>
                    <a:pt x="96" y="449"/>
                  </a:lnTo>
                  <a:lnTo>
                    <a:pt x="96" y="449"/>
                  </a:lnTo>
                  <a:lnTo>
                    <a:pt x="96" y="446"/>
                  </a:lnTo>
                  <a:lnTo>
                    <a:pt x="96" y="446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99" y="441"/>
                  </a:lnTo>
                  <a:lnTo>
                    <a:pt x="102" y="441"/>
                  </a:lnTo>
                  <a:lnTo>
                    <a:pt x="102" y="441"/>
                  </a:lnTo>
                  <a:lnTo>
                    <a:pt x="104" y="438"/>
                  </a:lnTo>
                  <a:lnTo>
                    <a:pt x="104" y="438"/>
                  </a:lnTo>
                  <a:lnTo>
                    <a:pt x="107" y="438"/>
                  </a:lnTo>
                  <a:lnTo>
                    <a:pt x="107" y="438"/>
                  </a:lnTo>
                  <a:lnTo>
                    <a:pt x="107" y="436"/>
                  </a:lnTo>
                  <a:lnTo>
                    <a:pt x="110" y="436"/>
                  </a:lnTo>
                  <a:lnTo>
                    <a:pt x="110" y="436"/>
                  </a:lnTo>
                  <a:lnTo>
                    <a:pt x="112" y="438"/>
                  </a:lnTo>
                  <a:lnTo>
                    <a:pt x="118" y="441"/>
                  </a:lnTo>
                  <a:lnTo>
                    <a:pt x="118" y="441"/>
                  </a:lnTo>
                  <a:lnTo>
                    <a:pt x="123" y="444"/>
                  </a:lnTo>
                  <a:lnTo>
                    <a:pt x="126" y="444"/>
                  </a:lnTo>
                  <a:lnTo>
                    <a:pt x="128" y="446"/>
                  </a:lnTo>
                  <a:lnTo>
                    <a:pt x="131" y="446"/>
                  </a:lnTo>
                  <a:lnTo>
                    <a:pt x="136" y="446"/>
                  </a:lnTo>
                  <a:lnTo>
                    <a:pt x="139" y="446"/>
                  </a:lnTo>
                  <a:lnTo>
                    <a:pt x="142" y="446"/>
                  </a:lnTo>
                  <a:lnTo>
                    <a:pt x="144" y="446"/>
                  </a:lnTo>
                  <a:lnTo>
                    <a:pt x="150" y="446"/>
                  </a:lnTo>
                  <a:lnTo>
                    <a:pt x="152" y="444"/>
                  </a:lnTo>
                  <a:lnTo>
                    <a:pt x="155" y="444"/>
                  </a:lnTo>
                  <a:lnTo>
                    <a:pt x="160" y="441"/>
                  </a:lnTo>
                  <a:lnTo>
                    <a:pt x="163" y="438"/>
                  </a:lnTo>
                  <a:lnTo>
                    <a:pt x="163" y="436"/>
                  </a:lnTo>
                  <a:lnTo>
                    <a:pt x="163" y="433"/>
                  </a:lnTo>
                  <a:lnTo>
                    <a:pt x="163" y="430"/>
                  </a:lnTo>
                  <a:lnTo>
                    <a:pt x="163" y="425"/>
                  </a:lnTo>
                  <a:lnTo>
                    <a:pt x="160" y="422"/>
                  </a:lnTo>
                  <a:lnTo>
                    <a:pt x="160" y="420"/>
                  </a:lnTo>
                  <a:lnTo>
                    <a:pt x="158" y="417"/>
                  </a:lnTo>
                  <a:lnTo>
                    <a:pt x="158" y="414"/>
                  </a:lnTo>
                  <a:lnTo>
                    <a:pt x="155" y="414"/>
                  </a:lnTo>
                  <a:lnTo>
                    <a:pt x="155" y="412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8" y="409"/>
                  </a:lnTo>
                  <a:lnTo>
                    <a:pt x="158" y="412"/>
                  </a:lnTo>
                  <a:lnTo>
                    <a:pt x="160" y="414"/>
                  </a:lnTo>
                  <a:lnTo>
                    <a:pt x="163" y="417"/>
                  </a:lnTo>
                  <a:lnTo>
                    <a:pt x="166" y="420"/>
                  </a:lnTo>
                  <a:lnTo>
                    <a:pt x="168" y="422"/>
                  </a:lnTo>
                  <a:lnTo>
                    <a:pt x="171" y="425"/>
                  </a:lnTo>
                  <a:lnTo>
                    <a:pt x="171" y="428"/>
                  </a:lnTo>
                  <a:lnTo>
                    <a:pt x="174" y="430"/>
                  </a:lnTo>
                  <a:lnTo>
                    <a:pt x="176" y="433"/>
                  </a:lnTo>
                  <a:lnTo>
                    <a:pt x="179" y="438"/>
                  </a:lnTo>
                  <a:lnTo>
                    <a:pt x="182" y="441"/>
                  </a:lnTo>
                  <a:lnTo>
                    <a:pt x="182" y="444"/>
                  </a:lnTo>
                  <a:lnTo>
                    <a:pt x="184" y="446"/>
                  </a:lnTo>
                  <a:lnTo>
                    <a:pt x="184" y="449"/>
                  </a:lnTo>
                  <a:lnTo>
                    <a:pt x="184" y="452"/>
                  </a:lnTo>
                  <a:lnTo>
                    <a:pt x="184" y="452"/>
                  </a:lnTo>
                  <a:lnTo>
                    <a:pt x="182" y="452"/>
                  </a:lnTo>
                  <a:lnTo>
                    <a:pt x="179" y="454"/>
                  </a:lnTo>
                  <a:lnTo>
                    <a:pt x="179" y="460"/>
                  </a:lnTo>
                  <a:lnTo>
                    <a:pt x="179" y="462"/>
                  </a:lnTo>
                  <a:lnTo>
                    <a:pt x="179" y="465"/>
                  </a:lnTo>
                  <a:lnTo>
                    <a:pt x="179" y="468"/>
                  </a:lnTo>
                  <a:lnTo>
                    <a:pt x="176" y="468"/>
                  </a:lnTo>
                  <a:lnTo>
                    <a:pt x="176" y="471"/>
                  </a:lnTo>
                  <a:lnTo>
                    <a:pt x="182" y="471"/>
                  </a:lnTo>
                  <a:lnTo>
                    <a:pt x="184" y="473"/>
                  </a:lnTo>
                  <a:lnTo>
                    <a:pt x="184" y="476"/>
                  </a:lnTo>
                  <a:lnTo>
                    <a:pt x="187" y="476"/>
                  </a:lnTo>
                  <a:lnTo>
                    <a:pt x="190" y="479"/>
                  </a:lnTo>
                  <a:lnTo>
                    <a:pt x="192" y="479"/>
                  </a:lnTo>
                  <a:lnTo>
                    <a:pt x="192" y="479"/>
                  </a:lnTo>
                  <a:lnTo>
                    <a:pt x="195" y="481"/>
                  </a:lnTo>
                  <a:lnTo>
                    <a:pt x="195" y="484"/>
                  </a:lnTo>
                  <a:lnTo>
                    <a:pt x="195" y="487"/>
                  </a:lnTo>
                  <a:lnTo>
                    <a:pt x="195" y="487"/>
                  </a:lnTo>
                  <a:lnTo>
                    <a:pt x="198" y="487"/>
                  </a:lnTo>
                  <a:lnTo>
                    <a:pt x="198" y="484"/>
                  </a:lnTo>
                  <a:lnTo>
                    <a:pt x="200" y="481"/>
                  </a:lnTo>
                  <a:lnTo>
                    <a:pt x="200" y="479"/>
                  </a:lnTo>
                  <a:lnTo>
                    <a:pt x="200" y="479"/>
                  </a:lnTo>
                  <a:lnTo>
                    <a:pt x="203" y="479"/>
                  </a:lnTo>
                  <a:lnTo>
                    <a:pt x="206" y="479"/>
                  </a:lnTo>
                  <a:lnTo>
                    <a:pt x="206" y="479"/>
                  </a:lnTo>
                  <a:lnTo>
                    <a:pt x="208" y="476"/>
                  </a:lnTo>
                  <a:lnTo>
                    <a:pt x="211" y="476"/>
                  </a:lnTo>
                  <a:lnTo>
                    <a:pt x="211" y="476"/>
                  </a:lnTo>
                  <a:lnTo>
                    <a:pt x="211" y="473"/>
                  </a:lnTo>
                  <a:lnTo>
                    <a:pt x="208" y="473"/>
                  </a:lnTo>
                  <a:lnTo>
                    <a:pt x="206" y="473"/>
                  </a:lnTo>
                  <a:lnTo>
                    <a:pt x="206" y="476"/>
                  </a:lnTo>
                  <a:lnTo>
                    <a:pt x="203" y="476"/>
                  </a:lnTo>
                  <a:lnTo>
                    <a:pt x="200" y="473"/>
                  </a:lnTo>
                  <a:lnTo>
                    <a:pt x="200" y="473"/>
                  </a:lnTo>
                  <a:lnTo>
                    <a:pt x="198" y="471"/>
                  </a:lnTo>
                  <a:lnTo>
                    <a:pt x="198" y="471"/>
                  </a:lnTo>
                  <a:lnTo>
                    <a:pt x="195" y="471"/>
                  </a:lnTo>
                  <a:lnTo>
                    <a:pt x="192" y="468"/>
                  </a:lnTo>
                  <a:lnTo>
                    <a:pt x="190" y="468"/>
                  </a:lnTo>
                  <a:lnTo>
                    <a:pt x="190" y="465"/>
                  </a:lnTo>
                  <a:lnTo>
                    <a:pt x="190" y="462"/>
                  </a:lnTo>
                  <a:lnTo>
                    <a:pt x="190" y="462"/>
                  </a:lnTo>
                  <a:lnTo>
                    <a:pt x="187" y="460"/>
                  </a:lnTo>
                  <a:lnTo>
                    <a:pt x="187" y="460"/>
                  </a:lnTo>
                  <a:lnTo>
                    <a:pt x="190" y="457"/>
                  </a:lnTo>
                  <a:lnTo>
                    <a:pt x="192" y="457"/>
                  </a:lnTo>
                  <a:lnTo>
                    <a:pt x="192" y="454"/>
                  </a:lnTo>
                  <a:lnTo>
                    <a:pt x="195" y="454"/>
                  </a:lnTo>
                  <a:lnTo>
                    <a:pt x="198" y="454"/>
                  </a:lnTo>
                  <a:lnTo>
                    <a:pt x="198" y="454"/>
                  </a:lnTo>
                  <a:lnTo>
                    <a:pt x="200" y="452"/>
                  </a:lnTo>
                  <a:lnTo>
                    <a:pt x="200" y="449"/>
                  </a:lnTo>
                  <a:lnTo>
                    <a:pt x="203" y="449"/>
                  </a:lnTo>
                  <a:lnTo>
                    <a:pt x="203" y="449"/>
                  </a:lnTo>
                  <a:lnTo>
                    <a:pt x="203" y="449"/>
                  </a:lnTo>
                  <a:lnTo>
                    <a:pt x="203" y="446"/>
                  </a:lnTo>
                  <a:lnTo>
                    <a:pt x="206" y="446"/>
                  </a:lnTo>
                  <a:lnTo>
                    <a:pt x="206" y="446"/>
                  </a:lnTo>
                  <a:lnTo>
                    <a:pt x="208" y="446"/>
                  </a:lnTo>
                  <a:lnTo>
                    <a:pt x="208" y="446"/>
                  </a:lnTo>
                  <a:lnTo>
                    <a:pt x="208" y="444"/>
                  </a:lnTo>
                  <a:lnTo>
                    <a:pt x="211" y="444"/>
                  </a:lnTo>
                  <a:lnTo>
                    <a:pt x="211" y="444"/>
                  </a:lnTo>
                  <a:lnTo>
                    <a:pt x="211" y="444"/>
                  </a:lnTo>
                  <a:lnTo>
                    <a:pt x="214" y="444"/>
                  </a:lnTo>
                  <a:lnTo>
                    <a:pt x="214" y="444"/>
                  </a:lnTo>
                  <a:lnTo>
                    <a:pt x="219" y="444"/>
                  </a:lnTo>
                  <a:lnTo>
                    <a:pt x="219" y="444"/>
                  </a:lnTo>
                  <a:lnTo>
                    <a:pt x="222" y="444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7" y="441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0" y="438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3"/>
                  </a:lnTo>
                  <a:lnTo>
                    <a:pt x="235" y="433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5" y="430"/>
                  </a:lnTo>
                  <a:lnTo>
                    <a:pt x="238" y="428"/>
                  </a:lnTo>
                  <a:lnTo>
                    <a:pt x="238" y="428"/>
                  </a:lnTo>
                  <a:lnTo>
                    <a:pt x="238" y="428"/>
                  </a:lnTo>
                  <a:lnTo>
                    <a:pt x="238" y="425"/>
                  </a:lnTo>
                  <a:lnTo>
                    <a:pt x="240" y="425"/>
                  </a:lnTo>
                  <a:lnTo>
                    <a:pt x="240" y="425"/>
                  </a:lnTo>
                  <a:lnTo>
                    <a:pt x="243" y="425"/>
                  </a:lnTo>
                  <a:lnTo>
                    <a:pt x="243" y="425"/>
                  </a:lnTo>
                  <a:lnTo>
                    <a:pt x="246" y="422"/>
                  </a:lnTo>
                  <a:lnTo>
                    <a:pt x="246" y="422"/>
                  </a:lnTo>
                  <a:lnTo>
                    <a:pt x="249" y="422"/>
                  </a:lnTo>
                  <a:lnTo>
                    <a:pt x="249" y="422"/>
                  </a:lnTo>
                  <a:lnTo>
                    <a:pt x="251" y="422"/>
                  </a:lnTo>
                  <a:lnTo>
                    <a:pt x="251" y="422"/>
                  </a:lnTo>
                  <a:lnTo>
                    <a:pt x="254" y="422"/>
                  </a:lnTo>
                  <a:lnTo>
                    <a:pt x="254" y="422"/>
                  </a:lnTo>
                  <a:lnTo>
                    <a:pt x="254" y="422"/>
                  </a:lnTo>
                  <a:lnTo>
                    <a:pt x="257" y="422"/>
                  </a:lnTo>
                  <a:lnTo>
                    <a:pt x="257" y="422"/>
                  </a:lnTo>
                  <a:lnTo>
                    <a:pt x="259" y="422"/>
                  </a:lnTo>
                  <a:lnTo>
                    <a:pt x="262" y="422"/>
                  </a:lnTo>
                  <a:lnTo>
                    <a:pt x="262" y="422"/>
                  </a:lnTo>
                  <a:lnTo>
                    <a:pt x="265" y="422"/>
                  </a:lnTo>
                  <a:lnTo>
                    <a:pt x="265" y="422"/>
                  </a:lnTo>
                  <a:lnTo>
                    <a:pt x="267" y="422"/>
                  </a:lnTo>
                  <a:lnTo>
                    <a:pt x="270" y="422"/>
                  </a:lnTo>
                  <a:lnTo>
                    <a:pt x="273" y="422"/>
                  </a:lnTo>
                  <a:lnTo>
                    <a:pt x="275" y="422"/>
                  </a:lnTo>
                  <a:lnTo>
                    <a:pt x="275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3" y="420"/>
                  </a:lnTo>
                  <a:lnTo>
                    <a:pt x="286" y="420"/>
                  </a:lnTo>
                  <a:lnTo>
                    <a:pt x="286" y="420"/>
                  </a:lnTo>
                  <a:lnTo>
                    <a:pt x="289" y="420"/>
                  </a:lnTo>
                  <a:lnTo>
                    <a:pt x="291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4" y="420"/>
                  </a:lnTo>
                  <a:lnTo>
                    <a:pt x="297" y="420"/>
                  </a:lnTo>
                  <a:lnTo>
                    <a:pt x="297" y="420"/>
                  </a:lnTo>
                  <a:lnTo>
                    <a:pt x="297" y="420"/>
                  </a:lnTo>
                  <a:lnTo>
                    <a:pt x="302" y="420"/>
                  </a:lnTo>
                  <a:lnTo>
                    <a:pt x="302" y="420"/>
                  </a:lnTo>
                  <a:lnTo>
                    <a:pt x="305" y="422"/>
                  </a:lnTo>
                  <a:lnTo>
                    <a:pt x="305" y="422"/>
                  </a:lnTo>
                  <a:lnTo>
                    <a:pt x="307" y="422"/>
                  </a:lnTo>
                  <a:lnTo>
                    <a:pt x="310" y="422"/>
                  </a:lnTo>
                  <a:lnTo>
                    <a:pt x="313" y="422"/>
                  </a:lnTo>
                  <a:lnTo>
                    <a:pt x="313" y="422"/>
                  </a:lnTo>
                  <a:lnTo>
                    <a:pt x="315" y="420"/>
                  </a:lnTo>
                  <a:lnTo>
                    <a:pt x="318" y="420"/>
                  </a:lnTo>
                  <a:lnTo>
                    <a:pt x="321" y="420"/>
                  </a:lnTo>
                  <a:lnTo>
                    <a:pt x="323" y="420"/>
                  </a:lnTo>
                  <a:lnTo>
                    <a:pt x="323" y="420"/>
                  </a:lnTo>
                  <a:lnTo>
                    <a:pt x="329" y="420"/>
                  </a:lnTo>
                  <a:lnTo>
                    <a:pt x="329" y="417"/>
                  </a:lnTo>
                  <a:lnTo>
                    <a:pt x="329" y="417"/>
                  </a:lnTo>
                  <a:lnTo>
                    <a:pt x="331" y="417"/>
                  </a:lnTo>
                  <a:lnTo>
                    <a:pt x="331" y="417"/>
                  </a:lnTo>
                  <a:lnTo>
                    <a:pt x="334" y="417"/>
                  </a:lnTo>
                  <a:lnTo>
                    <a:pt x="334" y="417"/>
                  </a:lnTo>
                  <a:lnTo>
                    <a:pt x="337" y="414"/>
                  </a:lnTo>
                  <a:lnTo>
                    <a:pt x="339" y="414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5" y="414"/>
                  </a:lnTo>
                  <a:lnTo>
                    <a:pt x="347" y="414"/>
                  </a:lnTo>
                  <a:lnTo>
                    <a:pt x="347" y="414"/>
                  </a:lnTo>
                  <a:lnTo>
                    <a:pt x="350" y="412"/>
                  </a:lnTo>
                  <a:lnTo>
                    <a:pt x="353" y="412"/>
                  </a:lnTo>
                  <a:lnTo>
                    <a:pt x="353" y="412"/>
                  </a:lnTo>
                  <a:lnTo>
                    <a:pt x="355" y="412"/>
                  </a:lnTo>
                  <a:lnTo>
                    <a:pt x="358" y="412"/>
                  </a:lnTo>
                  <a:lnTo>
                    <a:pt x="361" y="414"/>
                  </a:lnTo>
                  <a:lnTo>
                    <a:pt x="361" y="414"/>
                  </a:lnTo>
                  <a:lnTo>
                    <a:pt x="363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6" y="417"/>
                  </a:lnTo>
                  <a:lnTo>
                    <a:pt x="369" y="420"/>
                  </a:lnTo>
                  <a:lnTo>
                    <a:pt x="369" y="420"/>
                  </a:lnTo>
                  <a:lnTo>
                    <a:pt x="366" y="420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1" y="422"/>
                  </a:lnTo>
                  <a:lnTo>
                    <a:pt x="361" y="422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61" y="425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5" y="422"/>
                  </a:lnTo>
                  <a:lnTo>
                    <a:pt x="355" y="422"/>
                  </a:lnTo>
                  <a:lnTo>
                    <a:pt x="355" y="422"/>
                  </a:lnTo>
                  <a:lnTo>
                    <a:pt x="353" y="422"/>
                  </a:lnTo>
                  <a:lnTo>
                    <a:pt x="353" y="422"/>
                  </a:lnTo>
                  <a:lnTo>
                    <a:pt x="353" y="425"/>
                  </a:lnTo>
                  <a:lnTo>
                    <a:pt x="353" y="425"/>
                  </a:lnTo>
                  <a:lnTo>
                    <a:pt x="353" y="425"/>
                  </a:lnTo>
                  <a:lnTo>
                    <a:pt x="350" y="425"/>
                  </a:lnTo>
                  <a:lnTo>
                    <a:pt x="350" y="428"/>
                  </a:lnTo>
                  <a:lnTo>
                    <a:pt x="350" y="428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0" y="433"/>
                  </a:lnTo>
                  <a:lnTo>
                    <a:pt x="350" y="433"/>
                  </a:lnTo>
                  <a:lnTo>
                    <a:pt x="350" y="433"/>
                  </a:lnTo>
                  <a:lnTo>
                    <a:pt x="350" y="436"/>
                  </a:lnTo>
                  <a:lnTo>
                    <a:pt x="350" y="436"/>
                  </a:lnTo>
                  <a:lnTo>
                    <a:pt x="353" y="436"/>
                  </a:lnTo>
                  <a:lnTo>
                    <a:pt x="353" y="436"/>
                  </a:lnTo>
                  <a:lnTo>
                    <a:pt x="353" y="436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38"/>
                  </a:lnTo>
                  <a:lnTo>
                    <a:pt x="353" y="441"/>
                  </a:lnTo>
                  <a:lnTo>
                    <a:pt x="353" y="441"/>
                  </a:lnTo>
                  <a:lnTo>
                    <a:pt x="353" y="444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3" y="446"/>
                  </a:lnTo>
                  <a:lnTo>
                    <a:pt x="355" y="449"/>
                  </a:lnTo>
                  <a:lnTo>
                    <a:pt x="355" y="449"/>
                  </a:lnTo>
                  <a:lnTo>
                    <a:pt x="355" y="452"/>
                  </a:lnTo>
                  <a:lnTo>
                    <a:pt x="355" y="452"/>
                  </a:lnTo>
                  <a:lnTo>
                    <a:pt x="355" y="452"/>
                  </a:lnTo>
                  <a:lnTo>
                    <a:pt x="358" y="452"/>
                  </a:lnTo>
                  <a:lnTo>
                    <a:pt x="358" y="452"/>
                  </a:lnTo>
                  <a:lnTo>
                    <a:pt x="358" y="454"/>
                  </a:lnTo>
                  <a:lnTo>
                    <a:pt x="361" y="454"/>
                  </a:lnTo>
                  <a:lnTo>
                    <a:pt x="361" y="454"/>
                  </a:lnTo>
                  <a:lnTo>
                    <a:pt x="361" y="454"/>
                  </a:lnTo>
                  <a:lnTo>
                    <a:pt x="363" y="454"/>
                  </a:lnTo>
                  <a:lnTo>
                    <a:pt x="363" y="454"/>
                  </a:lnTo>
                  <a:lnTo>
                    <a:pt x="366" y="457"/>
                  </a:lnTo>
                  <a:lnTo>
                    <a:pt x="366" y="457"/>
                  </a:lnTo>
                  <a:lnTo>
                    <a:pt x="369" y="457"/>
                  </a:lnTo>
                  <a:lnTo>
                    <a:pt x="369" y="457"/>
                  </a:lnTo>
                  <a:lnTo>
                    <a:pt x="369" y="457"/>
                  </a:lnTo>
                  <a:lnTo>
                    <a:pt x="371" y="457"/>
                  </a:lnTo>
                  <a:lnTo>
                    <a:pt x="371" y="457"/>
                  </a:lnTo>
                  <a:lnTo>
                    <a:pt x="374" y="457"/>
                  </a:lnTo>
                  <a:lnTo>
                    <a:pt x="374" y="457"/>
                  </a:lnTo>
                  <a:lnTo>
                    <a:pt x="374" y="457"/>
                  </a:lnTo>
                  <a:lnTo>
                    <a:pt x="377" y="460"/>
                  </a:lnTo>
                  <a:lnTo>
                    <a:pt x="377" y="460"/>
                  </a:lnTo>
                  <a:lnTo>
                    <a:pt x="379" y="460"/>
                  </a:lnTo>
                  <a:lnTo>
                    <a:pt x="379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2" y="460"/>
                  </a:lnTo>
                  <a:lnTo>
                    <a:pt x="385" y="460"/>
                  </a:lnTo>
                  <a:lnTo>
                    <a:pt x="385" y="460"/>
                  </a:lnTo>
                  <a:lnTo>
                    <a:pt x="387" y="460"/>
                  </a:lnTo>
                  <a:lnTo>
                    <a:pt x="387" y="460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3" y="460"/>
                  </a:lnTo>
                  <a:lnTo>
                    <a:pt x="393" y="460"/>
                  </a:lnTo>
                  <a:lnTo>
                    <a:pt x="393" y="460"/>
                  </a:lnTo>
                  <a:lnTo>
                    <a:pt x="395" y="460"/>
                  </a:lnTo>
                  <a:lnTo>
                    <a:pt x="395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401" y="462"/>
                  </a:lnTo>
                  <a:lnTo>
                    <a:pt x="401" y="462"/>
                  </a:lnTo>
                  <a:lnTo>
                    <a:pt x="401" y="462"/>
                  </a:lnTo>
                  <a:lnTo>
                    <a:pt x="401" y="465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3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5"/>
                  </a:lnTo>
                  <a:lnTo>
                    <a:pt x="406" y="462"/>
                  </a:lnTo>
                  <a:lnTo>
                    <a:pt x="406" y="462"/>
                  </a:lnTo>
                  <a:lnTo>
                    <a:pt x="406" y="462"/>
                  </a:lnTo>
                  <a:lnTo>
                    <a:pt x="409" y="462"/>
                  </a:lnTo>
                  <a:lnTo>
                    <a:pt x="409" y="462"/>
                  </a:lnTo>
                  <a:lnTo>
                    <a:pt x="409" y="462"/>
                  </a:lnTo>
                  <a:lnTo>
                    <a:pt x="411" y="462"/>
                  </a:lnTo>
                  <a:lnTo>
                    <a:pt x="411" y="462"/>
                  </a:lnTo>
                  <a:lnTo>
                    <a:pt x="414" y="462"/>
                  </a:lnTo>
                  <a:lnTo>
                    <a:pt x="414" y="462"/>
                  </a:lnTo>
                  <a:lnTo>
                    <a:pt x="414" y="462"/>
                  </a:lnTo>
                  <a:lnTo>
                    <a:pt x="417" y="462"/>
                  </a:lnTo>
                  <a:lnTo>
                    <a:pt x="417" y="460"/>
                  </a:lnTo>
                  <a:lnTo>
                    <a:pt x="419" y="460"/>
                  </a:lnTo>
                  <a:lnTo>
                    <a:pt x="419" y="460"/>
                  </a:lnTo>
                  <a:lnTo>
                    <a:pt x="419" y="460"/>
                  </a:lnTo>
                  <a:lnTo>
                    <a:pt x="422" y="460"/>
                  </a:lnTo>
                  <a:lnTo>
                    <a:pt x="422" y="460"/>
                  </a:lnTo>
                  <a:lnTo>
                    <a:pt x="422" y="460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5" y="460"/>
                  </a:lnTo>
                  <a:lnTo>
                    <a:pt x="427" y="460"/>
                  </a:lnTo>
                  <a:lnTo>
                    <a:pt x="427" y="460"/>
                  </a:lnTo>
                  <a:lnTo>
                    <a:pt x="430" y="460"/>
                  </a:lnTo>
                  <a:lnTo>
                    <a:pt x="430" y="460"/>
                  </a:lnTo>
                  <a:lnTo>
                    <a:pt x="430" y="460"/>
                  </a:lnTo>
                  <a:lnTo>
                    <a:pt x="433" y="460"/>
                  </a:lnTo>
                  <a:lnTo>
                    <a:pt x="433" y="460"/>
                  </a:lnTo>
                  <a:lnTo>
                    <a:pt x="435" y="460"/>
                  </a:lnTo>
                  <a:lnTo>
                    <a:pt x="438" y="460"/>
                  </a:lnTo>
                  <a:lnTo>
                    <a:pt x="441" y="460"/>
                  </a:lnTo>
                  <a:lnTo>
                    <a:pt x="441" y="460"/>
                  </a:lnTo>
                  <a:lnTo>
                    <a:pt x="443" y="460"/>
                  </a:lnTo>
                  <a:lnTo>
                    <a:pt x="446" y="460"/>
                  </a:lnTo>
                  <a:lnTo>
                    <a:pt x="446" y="460"/>
                  </a:lnTo>
                  <a:lnTo>
                    <a:pt x="446" y="460"/>
                  </a:lnTo>
                  <a:lnTo>
                    <a:pt x="449" y="460"/>
                  </a:lnTo>
                  <a:lnTo>
                    <a:pt x="449" y="460"/>
                  </a:lnTo>
                  <a:lnTo>
                    <a:pt x="451" y="460"/>
                  </a:lnTo>
                  <a:lnTo>
                    <a:pt x="451" y="460"/>
                  </a:lnTo>
                  <a:lnTo>
                    <a:pt x="454" y="457"/>
                  </a:lnTo>
                  <a:lnTo>
                    <a:pt x="454" y="457"/>
                  </a:lnTo>
                  <a:lnTo>
                    <a:pt x="457" y="457"/>
                  </a:lnTo>
                  <a:lnTo>
                    <a:pt x="457" y="457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9" y="452"/>
                  </a:lnTo>
                  <a:lnTo>
                    <a:pt x="462" y="452"/>
                  </a:lnTo>
                  <a:lnTo>
                    <a:pt x="462" y="452"/>
                  </a:lnTo>
                  <a:lnTo>
                    <a:pt x="465" y="452"/>
                  </a:lnTo>
                  <a:lnTo>
                    <a:pt x="465" y="452"/>
                  </a:lnTo>
                  <a:lnTo>
                    <a:pt x="467" y="449"/>
                  </a:lnTo>
                  <a:lnTo>
                    <a:pt x="467" y="449"/>
                  </a:lnTo>
                  <a:lnTo>
                    <a:pt x="470" y="449"/>
                  </a:lnTo>
                  <a:lnTo>
                    <a:pt x="470" y="449"/>
                  </a:lnTo>
                  <a:lnTo>
                    <a:pt x="470" y="449"/>
                  </a:lnTo>
                  <a:lnTo>
                    <a:pt x="473" y="449"/>
                  </a:lnTo>
                  <a:lnTo>
                    <a:pt x="473" y="449"/>
                  </a:lnTo>
                  <a:lnTo>
                    <a:pt x="473" y="449"/>
                  </a:lnTo>
                  <a:lnTo>
                    <a:pt x="475" y="449"/>
                  </a:lnTo>
                  <a:lnTo>
                    <a:pt x="475" y="449"/>
                  </a:lnTo>
                  <a:lnTo>
                    <a:pt x="475" y="449"/>
                  </a:lnTo>
                  <a:lnTo>
                    <a:pt x="478" y="449"/>
                  </a:lnTo>
                  <a:lnTo>
                    <a:pt x="478" y="446"/>
                  </a:lnTo>
                  <a:lnTo>
                    <a:pt x="478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1" y="446"/>
                  </a:lnTo>
                  <a:lnTo>
                    <a:pt x="484" y="446"/>
                  </a:lnTo>
                  <a:lnTo>
                    <a:pt x="484" y="446"/>
                  </a:lnTo>
                  <a:lnTo>
                    <a:pt x="486" y="446"/>
                  </a:lnTo>
                  <a:lnTo>
                    <a:pt x="486" y="446"/>
                  </a:lnTo>
                  <a:lnTo>
                    <a:pt x="486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89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6"/>
                  </a:lnTo>
                  <a:lnTo>
                    <a:pt x="492" y="444"/>
                  </a:lnTo>
                  <a:lnTo>
                    <a:pt x="492" y="444"/>
                  </a:lnTo>
                  <a:lnTo>
                    <a:pt x="494" y="444"/>
                  </a:lnTo>
                  <a:lnTo>
                    <a:pt x="494" y="444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41"/>
                  </a:lnTo>
                  <a:lnTo>
                    <a:pt x="494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8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3"/>
                  </a:lnTo>
                  <a:lnTo>
                    <a:pt x="497" y="433"/>
                  </a:lnTo>
                  <a:lnTo>
                    <a:pt x="497" y="433"/>
                  </a:lnTo>
                  <a:lnTo>
                    <a:pt x="500" y="433"/>
                  </a:lnTo>
                  <a:lnTo>
                    <a:pt x="502" y="433"/>
                  </a:lnTo>
                  <a:lnTo>
                    <a:pt x="502" y="433"/>
                  </a:lnTo>
                  <a:lnTo>
                    <a:pt x="505" y="433"/>
                  </a:lnTo>
                  <a:lnTo>
                    <a:pt x="505" y="433"/>
                  </a:lnTo>
                  <a:lnTo>
                    <a:pt x="508" y="433"/>
                  </a:lnTo>
                  <a:lnTo>
                    <a:pt x="508" y="433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10" y="436"/>
                  </a:lnTo>
                  <a:lnTo>
                    <a:pt x="508" y="436"/>
                  </a:lnTo>
                  <a:lnTo>
                    <a:pt x="508" y="438"/>
                  </a:lnTo>
                  <a:lnTo>
                    <a:pt x="508" y="438"/>
                  </a:lnTo>
                  <a:lnTo>
                    <a:pt x="510" y="438"/>
                  </a:lnTo>
                  <a:lnTo>
                    <a:pt x="510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3" y="438"/>
                  </a:lnTo>
                  <a:lnTo>
                    <a:pt x="516" y="438"/>
                  </a:lnTo>
                  <a:lnTo>
                    <a:pt x="518" y="438"/>
                  </a:lnTo>
                  <a:lnTo>
                    <a:pt x="518" y="441"/>
                  </a:lnTo>
                  <a:lnTo>
                    <a:pt x="518" y="441"/>
                  </a:lnTo>
                  <a:lnTo>
                    <a:pt x="518" y="441"/>
                  </a:lnTo>
                  <a:lnTo>
                    <a:pt x="521" y="441"/>
                  </a:lnTo>
                  <a:lnTo>
                    <a:pt x="521" y="441"/>
                  </a:lnTo>
                  <a:lnTo>
                    <a:pt x="521" y="441"/>
                  </a:lnTo>
                  <a:lnTo>
                    <a:pt x="521" y="438"/>
                  </a:lnTo>
                  <a:lnTo>
                    <a:pt x="521" y="438"/>
                  </a:lnTo>
                  <a:lnTo>
                    <a:pt x="524" y="438"/>
                  </a:lnTo>
                  <a:lnTo>
                    <a:pt x="524" y="438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3"/>
                  </a:lnTo>
                  <a:lnTo>
                    <a:pt x="524" y="430"/>
                  </a:lnTo>
                  <a:lnTo>
                    <a:pt x="524" y="430"/>
                  </a:lnTo>
                  <a:lnTo>
                    <a:pt x="526" y="430"/>
                  </a:lnTo>
                  <a:lnTo>
                    <a:pt x="526" y="430"/>
                  </a:lnTo>
                  <a:lnTo>
                    <a:pt x="526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4" y="428"/>
                  </a:lnTo>
                  <a:lnTo>
                    <a:pt x="521" y="425"/>
                  </a:lnTo>
                  <a:lnTo>
                    <a:pt x="524" y="425"/>
                  </a:lnTo>
                  <a:lnTo>
                    <a:pt x="524" y="425"/>
                  </a:lnTo>
                  <a:lnTo>
                    <a:pt x="521" y="422"/>
                  </a:lnTo>
                  <a:lnTo>
                    <a:pt x="521" y="422"/>
                  </a:lnTo>
                  <a:lnTo>
                    <a:pt x="521" y="422"/>
                  </a:lnTo>
                  <a:lnTo>
                    <a:pt x="521" y="420"/>
                  </a:lnTo>
                  <a:lnTo>
                    <a:pt x="521" y="420"/>
                  </a:lnTo>
                  <a:lnTo>
                    <a:pt x="521" y="420"/>
                  </a:lnTo>
                  <a:lnTo>
                    <a:pt x="521" y="417"/>
                  </a:lnTo>
                  <a:lnTo>
                    <a:pt x="521" y="417"/>
                  </a:lnTo>
                  <a:lnTo>
                    <a:pt x="524" y="417"/>
                  </a:lnTo>
                  <a:lnTo>
                    <a:pt x="524" y="417"/>
                  </a:lnTo>
                  <a:lnTo>
                    <a:pt x="524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4"/>
                  </a:lnTo>
                  <a:lnTo>
                    <a:pt x="521" y="412"/>
                  </a:lnTo>
                  <a:lnTo>
                    <a:pt x="518" y="412"/>
                  </a:lnTo>
                  <a:lnTo>
                    <a:pt x="518" y="412"/>
                  </a:lnTo>
                  <a:lnTo>
                    <a:pt x="518" y="409"/>
                  </a:lnTo>
                  <a:lnTo>
                    <a:pt x="518" y="409"/>
                  </a:lnTo>
                  <a:lnTo>
                    <a:pt x="521" y="409"/>
                  </a:lnTo>
                  <a:lnTo>
                    <a:pt x="521" y="409"/>
                  </a:lnTo>
                  <a:lnTo>
                    <a:pt x="521" y="406"/>
                  </a:lnTo>
                  <a:lnTo>
                    <a:pt x="524" y="406"/>
                  </a:lnTo>
                  <a:lnTo>
                    <a:pt x="524" y="406"/>
                  </a:lnTo>
                  <a:lnTo>
                    <a:pt x="524" y="409"/>
                  </a:lnTo>
                  <a:lnTo>
                    <a:pt x="524" y="409"/>
                  </a:lnTo>
                  <a:lnTo>
                    <a:pt x="524" y="409"/>
                  </a:lnTo>
                  <a:lnTo>
                    <a:pt x="526" y="409"/>
                  </a:lnTo>
                  <a:lnTo>
                    <a:pt x="526" y="409"/>
                  </a:lnTo>
                  <a:lnTo>
                    <a:pt x="526" y="409"/>
                  </a:lnTo>
                  <a:lnTo>
                    <a:pt x="526" y="406"/>
                  </a:lnTo>
                  <a:lnTo>
                    <a:pt x="529" y="406"/>
                  </a:lnTo>
                  <a:lnTo>
                    <a:pt x="526" y="406"/>
                  </a:lnTo>
                  <a:lnTo>
                    <a:pt x="526" y="406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6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4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4"/>
                  </a:lnTo>
                  <a:lnTo>
                    <a:pt x="521" y="401"/>
                  </a:lnTo>
                  <a:lnTo>
                    <a:pt x="518" y="401"/>
                  </a:lnTo>
                  <a:lnTo>
                    <a:pt x="518" y="401"/>
                  </a:lnTo>
                  <a:lnTo>
                    <a:pt x="518" y="401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8" y="398"/>
                  </a:lnTo>
                  <a:lnTo>
                    <a:pt x="516" y="398"/>
                  </a:lnTo>
                  <a:lnTo>
                    <a:pt x="516" y="398"/>
                  </a:lnTo>
                  <a:lnTo>
                    <a:pt x="513" y="398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3"/>
                  </a:lnTo>
                  <a:lnTo>
                    <a:pt x="513" y="393"/>
                  </a:lnTo>
                  <a:lnTo>
                    <a:pt x="510" y="393"/>
                  </a:lnTo>
                  <a:lnTo>
                    <a:pt x="510" y="390"/>
                  </a:lnTo>
                  <a:lnTo>
                    <a:pt x="510" y="390"/>
                  </a:lnTo>
                  <a:lnTo>
                    <a:pt x="510" y="390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10" y="388"/>
                  </a:lnTo>
                  <a:lnTo>
                    <a:pt x="508" y="388"/>
                  </a:lnTo>
                  <a:lnTo>
                    <a:pt x="508" y="388"/>
                  </a:lnTo>
                  <a:lnTo>
                    <a:pt x="508" y="388"/>
                  </a:lnTo>
                  <a:lnTo>
                    <a:pt x="505" y="388"/>
                  </a:lnTo>
                  <a:lnTo>
                    <a:pt x="505" y="388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5" y="385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2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80"/>
                  </a:lnTo>
                  <a:lnTo>
                    <a:pt x="505" y="377"/>
                  </a:lnTo>
                  <a:lnTo>
                    <a:pt x="502" y="377"/>
                  </a:lnTo>
                  <a:lnTo>
                    <a:pt x="505" y="377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2" y="374"/>
                  </a:lnTo>
                  <a:lnTo>
                    <a:pt x="502" y="374"/>
                  </a:lnTo>
                  <a:lnTo>
                    <a:pt x="502" y="372"/>
                  </a:lnTo>
                  <a:lnTo>
                    <a:pt x="502" y="372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2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6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5" y="364"/>
                  </a:lnTo>
                  <a:lnTo>
                    <a:pt x="502" y="364"/>
                  </a:lnTo>
                  <a:lnTo>
                    <a:pt x="502" y="361"/>
                  </a:lnTo>
                  <a:lnTo>
                    <a:pt x="502" y="361"/>
                  </a:lnTo>
                  <a:lnTo>
                    <a:pt x="502" y="358"/>
                  </a:lnTo>
                  <a:lnTo>
                    <a:pt x="502" y="358"/>
                  </a:lnTo>
                  <a:lnTo>
                    <a:pt x="502" y="358"/>
                  </a:lnTo>
                  <a:lnTo>
                    <a:pt x="500" y="358"/>
                  </a:lnTo>
                  <a:lnTo>
                    <a:pt x="500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2" y="356"/>
                  </a:lnTo>
                  <a:lnTo>
                    <a:pt x="505" y="356"/>
                  </a:lnTo>
                  <a:lnTo>
                    <a:pt x="505" y="356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3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5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0"/>
                  </a:lnTo>
                  <a:lnTo>
                    <a:pt x="508" y="353"/>
                  </a:lnTo>
                  <a:lnTo>
                    <a:pt x="508" y="353"/>
                  </a:lnTo>
                  <a:lnTo>
                    <a:pt x="508" y="353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6"/>
                  </a:lnTo>
                  <a:lnTo>
                    <a:pt x="508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58"/>
                  </a:lnTo>
                  <a:lnTo>
                    <a:pt x="510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61"/>
                  </a:lnTo>
                  <a:lnTo>
                    <a:pt x="513" y="358"/>
                  </a:lnTo>
                  <a:lnTo>
                    <a:pt x="513" y="358"/>
                  </a:lnTo>
                  <a:lnTo>
                    <a:pt x="516" y="358"/>
                  </a:lnTo>
                  <a:lnTo>
                    <a:pt x="516" y="358"/>
                  </a:lnTo>
                  <a:lnTo>
                    <a:pt x="516" y="356"/>
                  </a:lnTo>
                  <a:lnTo>
                    <a:pt x="516" y="356"/>
                  </a:lnTo>
                  <a:lnTo>
                    <a:pt x="516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3"/>
                  </a:lnTo>
                  <a:lnTo>
                    <a:pt x="521" y="350"/>
                  </a:lnTo>
                  <a:lnTo>
                    <a:pt x="521" y="350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8"/>
                  </a:lnTo>
                  <a:lnTo>
                    <a:pt x="521" y="345"/>
                  </a:lnTo>
                  <a:lnTo>
                    <a:pt x="521" y="345"/>
                  </a:lnTo>
                  <a:lnTo>
                    <a:pt x="521" y="345"/>
                  </a:lnTo>
                  <a:lnTo>
                    <a:pt x="521" y="342"/>
                  </a:lnTo>
                  <a:lnTo>
                    <a:pt x="524" y="342"/>
                  </a:lnTo>
                  <a:lnTo>
                    <a:pt x="524" y="342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40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4" y="337"/>
                  </a:lnTo>
                  <a:lnTo>
                    <a:pt x="526" y="334"/>
                  </a:lnTo>
                  <a:lnTo>
                    <a:pt x="526" y="334"/>
                  </a:lnTo>
                  <a:lnTo>
                    <a:pt x="526" y="334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6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2"/>
                  </a:lnTo>
                  <a:lnTo>
                    <a:pt x="529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2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4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37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4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37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0" y="340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2" y="337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4"/>
                  </a:lnTo>
                  <a:lnTo>
                    <a:pt x="545" y="337"/>
                  </a:lnTo>
                  <a:lnTo>
                    <a:pt x="545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48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0" y="337"/>
                  </a:lnTo>
                  <a:lnTo>
                    <a:pt x="553" y="337"/>
                  </a:lnTo>
                  <a:lnTo>
                    <a:pt x="553" y="337"/>
                  </a:lnTo>
                  <a:lnTo>
                    <a:pt x="553" y="337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3" y="334"/>
                  </a:lnTo>
                  <a:lnTo>
                    <a:pt x="556" y="334"/>
                  </a:lnTo>
                  <a:lnTo>
                    <a:pt x="556" y="334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37"/>
                  </a:lnTo>
                  <a:lnTo>
                    <a:pt x="556" y="340"/>
                  </a:lnTo>
                  <a:lnTo>
                    <a:pt x="558" y="340"/>
                  </a:lnTo>
                  <a:lnTo>
                    <a:pt x="558" y="340"/>
                  </a:lnTo>
                  <a:lnTo>
                    <a:pt x="558" y="340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58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5"/>
                  </a:lnTo>
                  <a:lnTo>
                    <a:pt x="561" y="348"/>
                  </a:lnTo>
                  <a:lnTo>
                    <a:pt x="561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48"/>
                  </a:lnTo>
                  <a:lnTo>
                    <a:pt x="564" y="350"/>
                  </a:lnTo>
                  <a:lnTo>
                    <a:pt x="564" y="350"/>
                  </a:lnTo>
                  <a:lnTo>
                    <a:pt x="564" y="350"/>
                  </a:lnTo>
                  <a:lnTo>
                    <a:pt x="566" y="350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6" y="348"/>
                  </a:lnTo>
                  <a:lnTo>
                    <a:pt x="564" y="345"/>
                  </a:lnTo>
                  <a:lnTo>
                    <a:pt x="566" y="345"/>
                  </a:lnTo>
                  <a:lnTo>
                    <a:pt x="566" y="342"/>
                  </a:lnTo>
                  <a:lnTo>
                    <a:pt x="566" y="342"/>
                  </a:lnTo>
                  <a:lnTo>
                    <a:pt x="566" y="342"/>
                  </a:lnTo>
                  <a:lnTo>
                    <a:pt x="569" y="342"/>
                  </a:lnTo>
                  <a:lnTo>
                    <a:pt x="569" y="342"/>
                  </a:lnTo>
                  <a:lnTo>
                    <a:pt x="569" y="342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5"/>
                  </a:lnTo>
                  <a:lnTo>
                    <a:pt x="569" y="348"/>
                  </a:lnTo>
                  <a:lnTo>
                    <a:pt x="569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2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7" y="345"/>
                  </a:lnTo>
                  <a:lnTo>
                    <a:pt x="577" y="345"/>
                  </a:lnTo>
                  <a:lnTo>
                    <a:pt x="577" y="348"/>
                  </a:lnTo>
                  <a:lnTo>
                    <a:pt x="577" y="348"/>
                  </a:lnTo>
                  <a:lnTo>
                    <a:pt x="577" y="348"/>
                  </a:lnTo>
                  <a:lnTo>
                    <a:pt x="577" y="350"/>
                  </a:lnTo>
                  <a:lnTo>
                    <a:pt x="577" y="350"/>
                  </a:lnTo>
                  <a:lnTo>
                    <a:pt x="577" y="350"/>
                  </a:lnTo>
                  <a:lnTo>
                    <a:pt x="580" y="350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0" y="353"/>
                  </a:lnTo>
                  <a:lnTo>
                    <a:pt x="582" y="353"/>
                  </a:lnTo>
                  <a:lnTo>
                    <a:pt x="582" y="353"/>
                  </a:lnTo>
                  <a:lnTo>
                    <a:pt x="582" y="350"/>
                  </a:lnTo>
                  <a:lnTo>
                    <a:pt x="582" y="350"/>
                  </a:lnTo>
                  <a:lnTo>
                    <a:pt x="585" y="350"/>
                  </a:lnTo>
                  <a:lnTo>
                    <a:pt x="585" y="350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8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5"/>
                  </a:lnTo>
                  <a:lnTo>
                    <a:pt x="585" y="342"/>
                  </a:lnTo>
                  <a:lnTo>
                    <a:pt x="585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5"/>
                  </a:lnTo>
                  <a:lnTo>
                    <a:pt x="588" y="348"/>
                  </a:lnTo>
                  <a:lnTo>
                    <a:pt x="588" y="348"/>
                  </a:lnTo>
                  <a:lnTo>
                    <a:pt x="588" y="348"/>
                  </a:lnTo>
                  <a:lnTo>
                    <a:pt x="590" y="348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3" y="356"/>
                  </a:lnTo>
                  <a:lnTo>
                    <a:pt x="593" y="356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3"/>
                  </a:lnTo>
                  <a:lnTo>
                    <a:pt x="593" y="350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5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6" y="337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598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0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1" y="342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5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48"/>
                  </a:lnTo>
                  <a:lnTo>
                    <a:pt x="604" y="350"/>
                  </a:lnTo>
                  <a:lnTo>
                    <a:pt x="604" y="350"/>
                  </a:lnTo>
                  <a:lnTo>
                    <a:pt x="604" y="350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4" y="353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0"/>
                  </a:lnTo>
                  <a:lnTo>
                    <a:pt x="606" y="353"/>
                  </a:lnTo>
                  <a:lnTo>
                    <a:pt x="606" y="353"/>
                  </a:lnTo>
                  <a:lnTo>
                    <a:pt x="606" y="353"/>
                  </a:lnTo>
                  <a:lnTo>
                    <a:pt x="609" y="353"/>
                  </a:lnTo>
                  <a:lnTo>
                    <a:pt x="609" y="353"/>
                  </a:lnTo>
                  <a:lnTo>
                    <a:pt x="609" y="353"/>
                  </a:lnTo>
                  <a:lnTo>
                    <a:pt x="612" y="353"/>
                  </a:lnTo>
                  <a:lnTo>
                    <a:pt x="612" y="353"/>
                  </a:lnTo>
                  <a:lnTo>
                    <a:pt x="612" y="353"/>
                  </a:lnTo>
                  <a:lnTo>
                    <a:pt x="614" y="353"/>
                  </a:lnTo>
                  <a:lnTo>
                    <a:pt x="614" y="353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4" y="350"/>
                  </a:lnTo>
                  <a:lnTo>
                    <a:pt x="617" y="350"/>
                  </a:lnTo>
                  <a:lnTo>
                    <a:pt x="617" y="350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4" y="345"/>
                  </a:lnTo>
                  <a:lnTo>
                    <a:pt x="614" y="342"/>
                  </a:lnTo>
                  <a:lnTo>
                    <a:pt x="614" y="342"/>
                  </a:lnTo>
                  <a:lnTo>
                    <a:pt x="614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5"/>
                  </a:lnTo>
                  <a:lnTo>
                    <a:pt x="617" y="348"/>
                  </a:lnTo>
                  <a:lnTo>
                    <a:pt x="617" y="348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50"/>
                  </a:lnTo>
                  <a:lnTo>
                    <a:pt x="622" y="350"/>
                  </a:lnTo>
                  <a:lnTo>
                    <a:pt x="620" y="350"/>
                  </a:lnTo>
                  <a:lnTo>
                    <a:pt x="622" y="350"/>
                  </a:lnTo>
                  <a:lnTo>
                    <a:pt x="620" y="350"/>
                  </a:lnTo>
                  <a:lnTo>
                    <a:pt x="620" y="350"/>
                  </a:lnTo>
                  <a:lnTo>
                    <a:pt x="620" y="348"/>
                  </a:lnTo>
                  <a:lnTo>
                    <a:pt x="620" y="348"/>
                  </a:lnTo>
                  <a:lnTo>
                    <a:pt x="620" y="345"/>
                  </a:lnTo>
                  <a:lnTo>
                    <a:pt x="620" y="345"/>
                  </a:lnTo>
                  <a:lnTo>
                    <a:pt x="620" y="345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20" y="340"/>
                  </a:lnTo>
                  <a:lnTo>
                    <a:pt x="620" y="340"/>
                  </a:lnTo>
                  <a:lnTo>
                    <a:pt x="620" y="340"/>
                  </a:lnTo>
                  <a:lnTo>
                    <a:pt x="620" y="337"/>
                  </a:lnTo>
                  <a:lnTo>
                    <a:pt x="620" y="337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7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17" y="332"/>
                  </a:lnTo>
                  <a:lnTo>
                    <a:pt x="620" y="332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2" y="329"/>
                  </a:lnTo>
                  <a:lnTo>
                    <a:pt x="625" y="326"/>
                  </a:lnTo>
                  <a:lnTo>
                    <a:pt x="625" y="326"/>
                  </a:lnTo>
                  <a:lnTo>
                    <a:pt x="625" y="326"/>
                  </a:lnTo>
                  <a:lnTo>
                    <a:pt x="628" y="326"/>
                  </a:lnTo>
                  <a:lnTo>
                    <a:pt x="628" y="326"/>
                  </a:lnTo>
                  <a:lnTo>
                    <a:pt x="628" y="326"/>
                  </a:lnTo>
                  <a:lnTo>
                    <a:pt x="628" y="329"/>
                  </a:lnTo>
                  <a:lnTo>
                    <a:pt x="628" y="329"/>
                  </a:lnTo>
                  <a:lnTo>
                    <a:pt x="630" y="329"/>
                  </a:lnTo>
                  <a:lnTo>
                    <a:pt x="630" y="329"/>
                  </a:lnTo>
                  <a:lnTo>
                    <a:pt x="630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29"/>
                  </a:lnTo>
                  <a:lnTo>
                    <a:pt x="633" y="332"/>
                  </a:lnTo>
                  <a:lnTo>
                    <a:pt x="636" y="332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8" y="329"/>
                  </a:lnTo>
                  <a:lnTo>
                    <a:pt x="638" y="329"/>
                  </a:lnTo>
                  <a:lnTo>
                    <a:pt x="638" y="329"/>
                  </a:lnTo>
                  <a:lnTo>
                    <a:pt x="641" y="329"/>
                  </a:lnTo>
                  <a:lnTo>
                    <a:pt x="641" y="329"/>
                  </a:lnTo>
                  <a:lnTo>
                    <a:pt x="641" y="329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6" y="326"/>
                  </a:lnTo>
                  <a:lnTo>
                    <a:pt x="649" y="326"/>
                  </a:lnTo>
                  <a:lnTo>
                    <a:pt x="649" y="326"/>
                  </a:lnTo>
                  <a:lnTo>
                    <a:pt x="649" y="326"/>
                  </a:lnTo>
                  <a:lnTo>
                    <a:pt x="652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4" y="326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2" y="332"/>
                  </a:lnTo>
                  <a:lnTo>
                    <a:pt x="652" y="329"/>
                  </a:lnTo>
                  <a:lnTo>
                    <a:pt x="652" y="329"/>
                  </a:lnTo>
                  <a:lnTo>
                    <a:pt x="654" y="329"/>
                  </a:lnTo>
                  <a:lnTo>
                    <a:pt x="654" y="329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2"/>
                  </a:lnTo>
                  <a:lnTo>
                    <a:pt x="657" y="334"/>
                  </a:lnTo>
                  <a:lnTo>
                    <a:pt x="657" y="334"/>
                  </a:lnTo>
                  <a:lnTo>
                    <a:pt x="657" y="337"/>
                  </a:lnTo>
                  <a:lnTo>
                    <a:pt x="657" y="337"/>
                  </a:lnTo>
                  <a:lnTo>
                    <a:pt x="657" y="337"/>
                  </a:lnTo>
                  <a:lnTo>
                    <a:pt x="657" y="340"/>
                  </a:lnTo>
                  <a:lnTo>
                    <a:pt x="660" y="340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0" y="337"/>
                  </a:lnTo>
                  <a:lnTo>
                    <a:pt x="662" y="334"/>
                  </a:lnTo>
                  <a:lnTo>
                    <a:pt x="662" y="334"/>
                  </a:lnTo>
                  <a:lnTo>
                    <a:pt x="662" y="334"/>
                  </a:lnTo>
                  <a:lnTo>
                    <a:pt x="665" y="334"/>
                  </a:lnTo>
                  <a:lnTo>
                    <a:pt x="665" y="334"/>
                  </a:lnTo>
                  <a:lnTo>
                    <a:pt x="668" y="334"/>
                  </a:lnTo>
                  <a:lnTo>
                    <a:pt x="668" y="334"/>
                  </a:lnTo>
                  <a:lnTo>
                    <a:pt x="668" y="332"/>
                  </a:lnTo>
                  <a:lnTo>
                    <a:pt x="670" y="332"/>
                  </a:lnTo>
                  <a:lnTo>
                    <a:pt x="670" y="332"/>
                  </a:lnTo>
                  <a:lnTo>
                    <a:pt x="670" y="334"/>
                  </a:lnTo>
                  <a:lnTo>
                    <a:pt x="670" y="334"/>
                  </a:lnTo>
                  <a:lnTo>
                    <a:pt x="670" y="334"/>
                  </a:lnTo>
                  <a:lnTo>
                    <a:pt x="670" y="337"/>
                  </a:lnTo>
                  <a:lnTo>
                    <a:pt x="668" y="337"/>
                  </a:lnTo>
                  <a:lnTo>
                    <a:pt x="670" y="337"/>
                  </a:lnTo>
                  <a:lnTo>
                    <a:pt x="670" y="340"/>
                  </a:lnTo>
                  <a:lnTo>
                    <a:pt x="670" y="340"/>
                  </a:lnTo>
                  <a:lnTo>
                    <a:pt x="670" y="340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68" y="342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68" y="345"/>
                  </a:lnTo>
                  <a:lnTo>
                    <a:pt x="670" y="345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3" y="342"/>
                  </a:lnTo>
                  <a:lnTo>
                    <a:pt x="673" y="342"/>
                  </a:lnTo>
                  <a:lnTo>
                    <a:pt x="676" y="342"/>
                  </a:lnTo>
                  <a:lnTo>
                    <a:pt x="676" y="342"/>
                  </a:lnTo>
                  <a:lnTo>
                    <a:pt x="676" y="345"/>
                  </a:lnTo>
                  <a:lnTo>
                    <a:pt x="676" y="342"/>
                  </a:lnTo>
                  <a:lnTo>
                    <a:pt x="678" y="342"/>
                  </a:lnTo>
                  <a:lnTo>
                    <a:pt x="678" y="342"/>
                  </a:lnTo>
                  <a:lnTo>
                    <a:pt x="678" y="342"/>
                  </a:lnTo>
                  <a:lnTo>
                    <a:pt x="681" y="340"/>
                  </a:lnTo>
                  <a:lnTo>
                    <a:pt x="681" y="340"/>
                  </a:lnTo>
                  <a:lnTo>
                    <a:pt x="684" y="340"/>
                  </a:lnTo>
                  <a:lnTo>
                    <a:pt x="684" y="340"/>
                  </a:lnTo>
                  <a:lnTo>
                    <a:pt x="684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0"/>
                  </a:lnTo>
                  <a:lnTo>
                    <a:pt x="686" y="342"/>
                  </a:lnTo>
                  <a:lnTo>
                    <a:pt x="689" y="342"/>
                  </a:lnTo>
                  <a:lnTo>
                    <a:pt x="689" y="342"/>
                  </a:lnTo>
                  <a:lnTo>
                    <a:pt x="689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2" y="342"/>
                  </a:lnTo>
                  <a:lnTo>
                    <a:pt x="694" y="342"/>
                  </a:lnTo>
                  <a:lnTo>
                    <a:pt x="694" y="342"/>
                  </a:lnTo>
                  <a:lnTo>
                    <a:pt x="694" y="342"/>
                  </a:lnTo>
                  <a:lnTo>
                    <a:pt x="694" y="345"/>
                  </a:lnTo>
                  <a:lnTo>
                    <a:pt x="694" y="345"/>
                  </a:lnTo>
                  <a:lnTo>
                    <a:pt x="694" y="348"/>
                  </a:lnTo>
                  <a:lnTo>
                    <a:pt x="692" y="348"/>
                  </a:lnTo>
                  <a:lnTo>
                    <a:pt x="692" y="348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0"/>
                  </a:lnTo>
                  <a:lnTo>
                    <a:pt x="694" y="353"/>
                  </a:lnTo>
                  <a:lnTo>
                    <a:pt x="694" y="353"/>
                  </a:lnTo>
                  <a:lnTo>
                    <a:pt x="694" y="356"/>
                  </a:lnTo>
                  <a:lnTo>
                    <a:pt x="694" y="356"/>
                  </a:lnTo>
                  <a:lnTo>
                    <a:pt x="694" y="358"/>
                  </a:lnTo>
                  <a:lnTo>
                    <a:pt x="694" y="358"/>
                  </a:lnTo>
                  <a:lnTo>
                    <a:pt x="694" y="358"/>
                  </a:lnTo>
                  <a:lnTo>
                    <a:pt x="697" y="358"/>
                  </a:lnTo>
                  <a:lnTo>
                    <a:pt x="697" y="356"/>
                  </a:lnTo>
                  <a:lnTo>
                    <a:pt x="697" y="356"/>
                  </a:lnTo>
                  <a:lnTo>
                    <a:pt x="697" y="353"/>
                  </a:lnTo>
                  <a:lnTo>
                    <a:pt x="697" y="353"/>
                  </a:lnTo>
                  <a:lnTo>
                    <a:pt x="697" y="353"/>
                  </a:lnTo>
                  <a:lnTo>
                    <a:pt x="697" y="350"/>
                  </a:lnTo>
                  <a:lnTo>
                    <a:pt x="697" y="350"/>
                  </a:lnTo>
                  <a:lnTo>
                    <a:pt x="697" y="350"/>
                  </a:lnTo>
                  <a:lnTo>
                    <a:pt x="700" y="350"/>
                  </a:lnTo>
                  <a:lnTo>
                    <a:pt x="700" y="348"/>
                  </a:lnTo>
                  <a:lnTo>
                    <a:pt x="700" y="348"/>
                  </a:lnTo>
                  <a:lnTo>
                    <a:pt x="702" y="348"/>
                  </a:lnTo>
                  <a:lnTo>
                    <a:pt x="702" y="348"/>
                  </a:lnTo>
                  <a:lnTo>
                    <a:pt x="702" y="348"/>
                  </a:lnTo>
                  <a:lnTo>
                    <a:pt x="702" y="350"/>
                  </a:lnTo>
                  <a:lnTo>
                    <a:pt x="702" y="350"/>
                  </a:lnTo>
                  <a:lnTo>
                    <a:pt x="705" y="350"/>
                  </a:lnTo>
                  <a:lnTo>
                    <a:pt x="705" y="353"/>
                  </a:lnTo>
                  <a:lnTo>
                    <a:pt x="705" y="353"/>
                  </a:lnTo>
                  <a:lnTo>
                    <a:pt x="705" y="353"/>
                  </a:lnTo>
                  <a:lnTo>
                    <a:pt x="705" y="356"/>
                  </a:lnTo>
                  <a:lnTo>
                    <a:pt x="705" y="356"/>
                  </a:lnTo>
                  <a:lnTo>
                    <a:pt x="705" y="358"/>
                  </a:lnTo>
                  <a:lnTo>
                    <a:pt x="705" y="358"/>
                  </a:lnTo>
                  <a:lnTo>
                    <a:pt x="705" y="361"/>
                  </a:lnTo>
                  <a:lnTo>
                    <a:pt x="705" y="361"/>
                  </a:lnTo>
                  <a:lnTo>
                    <a:pt x="705" y="361"/>
                  </a:lnTo>
                  <a:lnTo>
                    <a:pt x="705" y="364"/>
                  </a:lnTo>
                  <a:lnTo>
                    <a:pt x="705" y="366"/>
                  </a:lnTo>
                  <a:lnTo>
                    <a:pt x="705" y="366"/>
                  </a:lnTo>
                  <a:lnTo>
                    <a:pt x="708" y="366"/>
                  </a:lnTo>
                  <a:lnTo>
                    <a:pt x="708" y="369"/>
                  </a:lnTo>
                  <a:lnTo>
                    <a:pt x="708" y="369"/>
                  </a:lnTo>
                  <a:lnTo>
                    <a:pt x="713" y="369"/>
                  </a:lnTo>
                  <a:lnTo>
                    <a:pt x="713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6" y="369"/>
                  </a:lnTo>
                  <a:lnTo>
                    <a:pt x="718" y="369"/>
                  </a:lnTo>
                  <a:lnTo>
                    <a:pt x="718" y="372"/>
                  </a:lnTo>
                  <a:lnTo>
                    <a:pt x="718" y="372"/>
                  </a:lnTo>
                  <a:lnTo>
                    <a:pt x="724" y="372"/>
                  </a:lnTo>
                  <a:lnTo>
                    <a:pt x="724" y="372"/>
                  </a:lnTo>
                  <a:lnTo>
                    <a:pt x="724" y="374"/>
                  </a:lnTo>
                  <a:lnTo>
                    <a:pt x="721" y="374"/>
                  </a:lnTo>
                  <a:lnTo>
                    <a:pt x="718" y="374"/>
                  </a:lnTo>
                  <a:lnTo>
                    <a:pt x="718" y="374"/>
                  </a:lnTo>
                  <a:lnTo>
                    <a:pt x="718" y="374"/>
                  </a:lnTo>
                  <a:lnTo>
                    <a:pt x="716" y="374"/>
                  </a:lnTo>
                  <a:lnTo>
                    <a:pt x="716" y="374"/>
                  </a:lnTo>
                  <a:lnTo>
                    <a:pt x="713" y="374"/>
                  </a:lnTo>
                  <a:lnTo>
                    <a:pt x="713" y="374"/>
                  </a:lnTo>
                  <a:lnTo>
                    <a:pt x="713" y="374"/>
                  </a:lnTo>
                  <a:lnTo>
                    <a:pt x="713" y="377"/>
                  </a:lnTo>
                  <a:lnTo>
                    <a:pt x="713" y="377"/>
                  </a:lnTo>
                  <a:lnTo>
                    <a:pt x="716" y="377"/>
                  </a:lnTo>
                  <a:lnTo>
                    <a:pt x="716" y="377"/>
                  </a:lnTo>
                  <a:lnTo>
                    <a:pt x="716" y="377"/>
                  </a:lnTo>
                  <a:lnTo>
                    <a:pt x="718" y="377"/>
                  </a:lnTo>
                  <a:lnTo>
                    <a:pt x="718" y="377"/>
                  </a:lnTo>
                  <a:lnTo>
                    <a:pt x="718" y="377"/>
                  </a:lnTo>
                  <a:lnTo>
                    <a:pt x="718" y="380"/>
                  </a:lnTo>
                  <a:lnTo>
                    <a:pt x="721" y="380"/>
                  </a:lnTo>
                  <a:lnTo>
                    <a:pt x="721" y="380"/>
                  </a:lnTo>
                  <a:lnTo>
                    <a:pt x="721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0"/>
                  </a:lnTo>
                  <a:lnTo>
                    <a:pt x="724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21" y="382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8" y="385"/>
                  </a:lnTo>
                  <a:lnTo>
                    <a:pt x="716" y="385"/>
                  </a:lnTo>
                  <a:lnTo>
                    <a:pt x="716" y="385"/>
                  </a:lnTo>
                  <a:lnTo>
                    <a:pt x="716" y="385"/>
                  </a:lnTo>
                  <a:lnTo>
                    <a:pt x="713" y="385"/>
                  </a:lnTo>
                  <a:lnTo>
                    <a:pt x="713" y="385"/>
                  </a:lnTo>
                  <a:lnTo>
                    <a:pt x="713" y="388"/>
                  </a:lnTo>
                  <a:lnTo>
                    <a:pt x="710" y="388"/>
                  </a:lnTo>
                  <a:lnTo>
                    <a:pt x="710" y="388"/>
                  </a:lnTo>
                  <a:lnTo>
                    <a:pt x="710" y="388"/>
                  </a:lnTo>
                  <a:lnTo>
                    <a:pt x="710" y="390"/>
                  </a:lnTo>
                  <a:lnTo>
                    <a:pt x="710" y="390"/>
                  </a:lnTo>
                  <a:lnTo>
                    <a:pt x="713" y="390"/>
                  </a:lnTo>
                  <a:lnTo>
                    <a:pt x="713" y="390"/>
                  </a:lnTo>
                  <a:lnTo>
                    <a:pt x="716" y="390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18" y="390"/>
                  </a:lnTo>
                  <a:lnTo>
                    <a:pt x="721" y="390"/>
                  </a:lnTo>
                  <a:lnTo>
                    <a:pt x="721" y="390"/>
                  </a:lnTo>
                  <a:lnTo>
                    <a:pt x="724" y="390"/>
                  </a:lnTo>
                  <a:lnTo>
                    <a:pt x="724" y="390"/>
                  </a:lnTo>
                  <a:lnTo>
                    <a:pt x="727" y="390"/>
                  </a:lnTo>
                  <a:lnTo>
                    <a:pt x="727" y="390"/>
                  </a:lnTo>
                  <a:lnTo>
                    <a:pt x="727" y="388"/>
                  </a:lnTo>
                  <a:lnTo>
                    <a:pt x="729" y="388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9" y="390"/>
                  </a:lnTo>
                  <a:lnTo>
                    <a:pt x="727" y="390"/>
                  </a:lnTo>
                  <a:lnTo>
                    <a:pt x="727" y="390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3"/>
                  </a:lnTo>
                  <a:lnTo>
                    <a:pt x="727" y="396"/>
                  </a:lnTo>
                  <a:lnTo>
                    <a:pt x="727" y="396"/>
                  </a:lnTo>
                  <a:lnTo>
                    <a:pt x="727" y="396"/>
                  </a:lnTo>
                  <a:lnTo>
                    <a:pt x="724" y="396"/>
                  </a:lnTo>
                  <a:lnTo>
                    <a:pt x="724" y="396"/>
                  </a:lnTo>
                  <a:lnTo>
                    <a:pt x="724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21" y="396"/>
                  </a:lnTo>
                  <a:lnTo>
                    <a:pt x="718" y="398"/>
                  </a:lnTo>
                  <a:lnTo>
                    <a:pt x="718" y="398"/>
                  </a:lnTo>
                  <a:lnTo>
                    <a:pt x="718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398"/>
                  </a:lnTo>
                  <a:lnTo>
                    <a:pt x="716" y="401"/>
                  </a:lnTo>
                  <a:lnTo>
                    <a:pt x="716" y="401"/>
                  </a:lnTo>
                  <a:lnTo>
                    <a:pt x="716" y="401"/>
                  </a:lnTo>
                  <a:lnTo>
                    <a:pt x="718" y="401"/>
                  </a:lnTo>
                  <a:lnTo>
                    <a:pt x="718" y="404"/>
                  </a:lnTo>
                  <a:lnTo>
                    <a:pt x="721" y="404"/>
                  </a:lnTo>
                  <a:lnTo>
                    <a:pt x="721" y="404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21" y="406"/>
                  </a:lnTo>
                  <a:lnTo>
                    <a:pt x="718" y="406"/>
                  </a:lnTo>
                  <a:lnTo>
                    <a:pt x="718" y="406"/>
                  </a:lnTo>
                  <a:lnTo>
                    <a:pt x="718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09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6" y="412"/>
                  </a:lnTo>
                  <a:lnTo>
                    <a:pt x="718" y="414"/>
                  </a:lnTo>
                  <a:lnTo>
                    <a:pt x="716" y="414"/>
                  </a:lnTo>
                  <a:lnTo>
                    <a:pt x="716" y="414"/>
                  </a:lnTo>
                  <a:lnTo>
                    <a:pt x="716" y="417"/>
                  </a:lnTo>
                  <a:lnTo>
                    <a:pt x="713" y="417"/>
                  </a:lnTo>
                  <a:lnTo>
                    <a:pt x="713" y="417"/>
                  </a:lnTo>
                  <a:lnTo>
                    <a:pt x="713" y="417"/>
                  </a:lnTo>
                  <a:lnTo>
                    <a:pt x="710" y="417"/>
                  </a:lnTo>
                  <a:lnTo>
                    <a:pt x="710" y="420"/>
                  </a:lnTo>
                  <a:lnTo>
                    <a:pt x="710" y="420"/>
                  </a:lnTo>
                  <a:lnTo>
                    <a:pt x="713" y="420"/>
                  </a:lnTo>
                  <a:lnTo>
                    <a:pt x="716" y="420"/>
                  </a:lnTo>
                  <a:lnTo>
                    <a:pt x="716" y="422"/>
                  </a:lnTo>
                  <a:lnTo>
                    <a:pt x="716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21" y="420"/>
                  </a:lnTo>
                  <a:lnTo>
                    <a:pt x="721" y="420"/>
                  </a:lnTo>
                  <a:lnTo>
                    <a:pt x="721" y="420"/>
                  </a:lnTo>
                  <a:lnTo>
                    <a:pt x="724" y="420"/>
                  </a:lnTo>
                  <a:lnTo>
                    <a:pt x="724" y="420"/>
                  </a:lnTo>
                  <a:lnTo>
                    <a:pt x="724" y="420"/>
                  </a:lnTo>
                  <a:lnTo>
                    <a:pt x="724" y="417"/>
                  </a:lnTo>
                  <a:lnTo>
                    <a:pt x="727" y="417"/>
                  </a:lnTo>
                  <a:lnTo>
                    <a:pt x="727" y="417"/>
                  </a:lnTo>
                  <a:lnTo>
                    <a:pt x="727" y="417"/>
                  </a:lnTo>
                  <a:lnTo>
                    <a:pt x="729" y="417"/>
                  </a:lnTo>
                  <a:lnTo>
                    <a:pt x="729" y="414"/>
                  </a:lnTo>
                  <a:lnTo>
                    <a:pt x="732" y="414"/>
                  </a:lnTo>
                  <a:lnTo>
                    <a:pt x="732" y="414"/>
                  </a:lnTo>
                  <a:lnTo>
                    <a:pt x="735" y="414"/>
                  </a:lnTo>
                  <a:lnTo>
                    <a:pt x="735" y="414"/>
                  </a:lnTo>
                  <a:lnTo>
                    <a:pt x="737" y="414"/>
                  </a:lnTo>
                  <a:lnTo>
                    <a:pt x="737" y="414"/>
                  </a:lnTo>
                  <a:lnTo>
                    <a:pt x="737" y="417"/>
                  </a:lnTo>
                  <a:lnTo>
                    <a:pt x="737" y="417"/>
                  </a:lnTo>
                  <a:lnTo>
                    <a:pt x="737" y="417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37" y="420"/>
                  </a:lnTo>
                  <a:lnTo>
                    <a:pt x="740" y="420"/>
                  </a:lnTo>
                  <a:lnTo>
                    <a:pt x="743" y="420"/>
                  </a:lnTo>
                  <a:lnTo>
                    <a:pt x="743" y="420"/>
                  </a:lnTo>
                  <a:lnTo>
                    <a:pt x="745" y="420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2"/>
                  </a:lnTo>
                  <a:lnTo>
                    <a:pt x="748" y="425"/>
                  </a:lnTo>
                  <a:lnTo>
                    <a:pt x="748" y="425"/>
                  </a:lnTo>
                  <a:lnTo>
                    <a:pt x="748" y="425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8" y="428"/>
                  </a:lnTo>
                  <a:lnTo>
                    <a:pt x="745" y="428"/>
                  </a:lnTo>
                  <a:lnTo>
                    <a:pt x="745" y="430"/>
                  </a:lnTo>
                  <a:lnTo>
                    <a:pt x="745" y="430"/>
                  </a:lnTo>
                  <a:lnTo>
                    <a:pt x="745" y="430"/>
                  </a:lnTo>
                  <a:lnTo>
                    <a:pt x="743" y="430"/>
                  </a:lnTo>
                  <a:lnTo>
                    <a:pt x="743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5" y="433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48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1" y="436"/>
                  </a:lnTo>
                  <a:lnTo>
                    <a:pt x="753" y="436"/>
                  </a:lnTo>
                  <a:lnTo>
                    <a:pt x="756" y="436"/>
                  </a:lnTo>
                  <a:lnTo>
                    <a:pt x="753" y="436"/>
                  </a:lnTo>
                  <a:lnTo>
                    <a:pt x="753" y="436"/>
                  </a:lnTo>
                  <a:lnTo>
                    <a:pt x="753" y="436"/>
                  </a:lnTo>
                  <a:lnTo>
                    <a:pt x="753" y="438"/>
                  </a:lnTo>
                  <a:lnTo>
                    <a:pt x="753" y="438"/>
                  </a:lnTo>
                  <a:lnTo>
                    <a:pt x="751" y="438"/>
                  </a:lnTo>
                  <a:lnTo>
                    <a:pt x="751" y="438"/>
                  </a:lnTo>
                  <a:lnTo>
                    <a:pt x="751" y="441"/>
                  </a:lnTo>
                  <a:lnTo>
                    <a:pt x="751" y="441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51" y="444"/>
                  </a:lnTo>
                  <a:lnTo>
                    <a:pt x="748" y="446"/>
                  </a:lnTo>
                  <a:lnTo>
                    <a:pt x="751" y="446"/>
                  </a:lnTo>
                  <a:lnTo>
                    <a:pt x="751" y="449"/>
                  </a:lnTo>
                  <a:lnTo>
                    <a:pt x="751" y="449"/>
                  </a:lnTo>
                  <a:lnTo>
                    <a:pt x="751" y="446"/>
                  </a:lnTo>
                  <a:lnTo>
                    <a:pt x="751" y="446"/>
                  </a:lnTo>
                  <a:lnTo>
                    <a:pt x="753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6"/>
                  </a:lnTo>
                  <a:lnTo>
                    <a:pt x="756" y="449"/>
                  </a:lnTo>
                  <a:lnTo>
                    <a:pt x="756" y="449"/>
                  </a:lnTo>
                  <a:lnTo>
                    <a:pt x="753" y="449"/>
                  </a:lnTo>
                  <a:lnTo>
                    <a:pt x="753" y="452"/>
                  </a:lnTo>
                  <a:lnTo>
                    <a:pt x="753" y="452"/>
                  </a:lnTo>
                  <a:lnTo>
                    <a:pt x="751" y="452"/>
                  </a:lnTo>
                  <a:lnTo>
                    <a:pt x="751" y="454"/>
                  </a:lnTo>
                  <a:lnTo>
                    <a:pt x="748" y="454"/>
                  </a:lnTo>
                  <a:lnTo>
                    <a:pt x="748" y="454"/>
                  </a:lnTo>
                  <a:lnTo>
                    <a:pt x="748" y="454"/>
                  </a:lnTo>
                  <a:lnTo>
                    <a:pt x="745" y="454"/>
                  </a:lnTo>
                  <a:lnTo>
                    <a:pt x="745" y="454"/>
                  </a:lnTo>
                  <a:lnTo>
                    <a:pt x="745" y="457"/>
                  </a:lnTo>
                  <a:lnTo>
                    <a:pt x="745" y="457"/>
                  </a:lnTo>
                  <a:lnTo>
                    <a:pt x="745" y="457"/>
                  </a:lnTo>
                  <a:lnTo>
                    <a:pt x="743" y="457"/>
                  </a:lnTo>
                  <a:lnTo>
                    <a:pt x="743" y="457"/>
                  </a:lnTo>
                  <a:lnTo>
                    <a:pt x="743" y="457"/>
                  </a:lnTo>
                  <a:lnTo>
                    <a:pt x="743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40" y="460"/>
                  </a:lnTo>
                  <a:lnTo>
                    <a:pt x="737" y="460"/>
                  </a:lnTo>
                  <a:lnTo>
                    <a:pt x="737" y="460"/>
                  </a:lnTo>
                  <a:lnTo>
                    <a:pt x="737" y="460"/>
                  </a:lnTo>
                  <a:lnTo>
                    <a:pt x="735" y="462"/>
                  </a:lnTo>
                  <a:lnTo>
                    <a:pt x="735" y="462"/>
                  </a:lnTo>
                  <a:lnTo>
                    <a:pt x="735" y="462"/>
                  </a:lnTo>
                  <a:lnTo>
                    <a:pt x="732" y="462"/>
                  </a:lnTo>
                  <a:lnTo>
                    <a:pt x="732" y="462"/>
                  </a:lnTo>
                  <a:lnTo>
                    <a:pt x="729" y="462"/>
                  </a:lnTo>
                  <a:lnTo>
                    <a:pt x="729" y="460"/>
                  </a:lnTo>
                  <a:lnTo>
                    <a:pt x="729" y="460"/>
                  </a:lnTo>
                  <a:lnTo>
                    <a:pt x="727" y="460"/>
                  </a:lnTo>
                  <a:lnTo>
                    <a:pt x="727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60"/>
                  </a:lnTo>
                  <a:lnTo>
                    <a:pt x="724" y="457"/>
                  </a:lnTo>
                  <a:lnTo>
                    <a:pt x="724" y="457"/>
                  </a:lnTo>
                  <a:lnTo>
                    <a:pt x="724" y="457"/>
                  </a:lnTo>
                  <a:lnTo>
                    <a:pt x="724" y="454"/>
                  </a:lnTo>
                  <a:lnTo>
                    <a:pt x="724" y="454"/>
                  </a:lnTo>
                  <a:lnTo>
                    <a:pt x="724" y="454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4" y="452"/>
                  </a:lnTo>
                  <a:lnTo>
                    <a:pt x="721" y="452"/>
                  </a:lnTo>
                  <a:lnTo>
                    <a:pt x="721" y="452"/>
                  </a:lnTo>
                  <a:lnTo>
                    <a:pt x="721" y="452"/>
                  </a:lnTo>
                  <a:lnTo>
                    <a:pt x="718" y="452"/>
                  </a:lnTo>
                  <a:lnTo>
                    <a:pt x="718" y="452"/>
                  </a:lnTo>
                  <a:lnTo>
                    <a:pt x="716" y="449"/>
                  </a:lnTo>
                  <a:lnTo>
                    <a:pt x="716" y="449"/>
                  </a:lnTo>
                  <a:lnTo>
                    <a:pt x="716" y="449"/>
                  </a:lnTo>
                  <a:lnTo>
                    <a:pt x="713" y="449"/>
                  </a:lnTo>
                  <a:lnTo>
                    <a:pt x="713" y="449"/>
                  </a:lnTo>
                  <a:lnTo>
                    <a:pt x="710" y="449"/>
                  </a:lnTo>
                  <a:lnTo>
                    <a:pt x="710" y="449"/>
                  </a:lnTo>
                  <a:lnTo>
                    <a:pt x="710" y="449"/>
                  </a:lnTo>
                  <a:lnTo>
                    <a:pt x="708" y="449"/>
                  </a:lnTo>
                  <a:lnTo>
                    <a:pt x="708" y="449"/>
                  </a:lnTo>
                  <a:lnTo>
                    <a:pt x="705" y="449"/>
                  </a:lnTo>
                  <a:lnTo>
                    <a:pt x="705" y="449"/>
                  </a:lnTo>
                  <a:lnTo>
                    <a:pt x="702" y="449"/>
                  </a:lnTo>
                  <a:lnTo>
                    <a:pt x="702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697" y="444"/>
                  </a:lnTo>
                  <a:lnTo>
                    <a:pt x="697" y="444"/>
                  </a:lnTo>
                  <a:lnTo>
                    <a:pt x="697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89" y="444"/>
                  </a:lnTo>
                  <a:lnTo>
                    <a:pt x="689" y="444"/>
                  </a:lnTo>
                  <a:lnTo>
                    <a:pt x="689" y="444"/>
                  </a:lnTo>
                  <a:lnTo>
                    <a:pt x="689" y="446"/>
                  </a:lnTo>
                  <a:lnTo>
                    <a:pt x="689" y="446"/>
                  </a:lnTo>
                  <a:lnTo>
                    <a:pt x="689" y="446"/>
                  </a:lnTo>
                  <a:lnTo>
                    <a:pt x="692" y="446"/>
                  </a:lnTo>
                  <a:lnTo>
                    <a:pt x="692" y="449"/>
                  </a:lnTo>
                  <a:lnTo>
                    <a:pt x="694" y="449"/>
                  </a:lnTo>
                  <a:lnTo>
                    <a:pt x="694" y="449"/>
                  </a:lnTo>
                  <a:lnTo>
                    <a:pt x="694" y="449"/>
                  </a:lnTo>
                  <a:lnTo>
                    <a:pt x="697" y="449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2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694" y="454"/>
                  </a:lnTo>
                  <a:lnTo>
                    <a:pt x="694" y="454"/>
                  </a:lnTo>
                  <a:lnTo>
                    <a:pt x="694" y="454"/>
                  </a:lnTo>
                  <a:lnTo>
                    <a:pt x="697" y="457"/>
                  </a:lnTo>
                  <a:lnTo>
                    <a:pt x="697" y="454"/>
                  </a:lnTo>
                  <a:lnTo>
                    <a:pt x="697" y="454"/>
                  </a:lnTo>
                  <a:lnTo>
                    <a:pt x="700" y="454"/>
                  </a:lnTo>
                  <a:lnTo>
                    <a:pt x="700" y="454"/>
                  </a:lnTo>
                  <a:lnTo>
                    <a:pt x="700" y="454"/>
                  </a:lnTo>
                  <a:lnTo>
                    <a:pt x="702" y="454"/>
                  </a:lnTo>
                  <a:lnTo>
                    <a:pt x="702" y="457"/>
                  </a:lnTo>
                  <a:lnTo>
                    <a:pt x="702" y="457"/>
                  </a:lnTo>
                  <a:lnTo>
                    <a:pt x="705" y="457"/>
                  </a:lnTo>
                  <a:lnTo>
                    <a:pt x="705" y="457"/>
                  </a:lnTo>
                  <a:lnTo>
                    <a:pt x="705" y="457"/>
                  </a:lnTo>
                  <a:lnTo>
                    <a:pt x="708" y="457"/>
                  </a:lnTo>
                  <a:lnTo>
                    <a:pt x="708" y="460"/>
                  </a:lnTo>
                  <a:lnTo>
                    <a:pt x="708" y="460"/>
                  </a:lnTo>
                  <a:lnTo>
                    <a:pt x="710" y="460"/>
                  </a:lnTo>
                  <a:lnTo>
                    <a:pt x="710" y="462"/>
                  </a:lnTo>
                  <a:lnTo>
                    <a:pt x="710" y="462"/>
                  </a:lnTo>
                  <a:lnTo>
                    <a:pt x="713" y="462"/>
                  </a:lnTo>
                  <a:lnTo>
                    <a:pt x="713" y="462"/>
                  </a:lnTo>
                  <a:lnTo>
                    <a:pt x="716" y="462"/>
                  </a:lnTo>
                  <a:lnTo>
                    <a:pt x="716" y="462"/>
                  </a:lnTo>
                  <a:lnTo>
                    <a:pt x="718" y="462"/>
                  </a:lnTo>
                  <a:lnTo>
                    <a:pt x="718" y="465"/>
                  </a:lnTo>
                  <a:lnTo>
                    <a:pt x="718" y="465"/>
                  </a:lnTo>
                  <a:lnTo>
                    <a:pt x="721" y="465"/>
                  </a:lnTo>
                  <a:lnTo>
                    <a:pt x="721" y="465"/>
                  </a:lnTo>
                  <a:lnTo>
                    <a:pt x="724" y="468"/>
                  </a:lnTo>
                  <a:lnTo>
                    <a:pt x="724" y="468"/>
                  </a:lnTo>
                  <a:lnTo>
                    <a:pt x="724" y="468"/>
                  </a:lnTo>
                  <a:lnTo>
                    <a:pt x="727" y="468"/>
                  </a:lnTo>
                  <a:lnTo>
                    <a:pt x="727" y="471"/>
                  </a:lnTo>
                  <a:lnTo>
                    <a:pt x="727" y="471"/>
                  </a:lnTo>
                  <a:lnTo>
                    <a:pt x="729" y="471"/>
                  </a:lnTo>
                  <a:lnTo>
                    <a:pt x="729" y="471"/>
                  </a:lnTo>
                  <a:lnTo>
                    <a:pt x="729" y="473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29" y="476"/>
                  </a:lnTo>
                  <a:lnTo>
                    <a:pt x="732" y="479"/>
                  </a:lnTo>
                  <a:lnTo>
                    <a:pt x="732" y="479"/>
                  </a:lnTo>
                  <a:lnTo>
                    <a:pt x="735" y="481"/>
                  </a:lnTo>
                  <a:lnTo>
                    <a:pt x="735" y="481"/>
                  </a:lnTo>
                  <a:lnTo>
                    <a:pt x="737" y="481"/>
                  </a:lnTo>
                  <a:lnTo>
                    <a:pt x="737" y="481"/>
                  </a:lnTo>
                  <a:lnTo>
                    <a:pt x="740" y="484"/>
                  </a:lnTo>
                  <a:lnTo>
                    <a:pt x="740" y="484"/>
                  </a:lnTo>
                  <a:lnTo>
                    <a:pt x="740" y="484"/>
                  </a:lnTo>
                  <a:lnTo>
                    <a:pt x="743" y="484"/>
                  </a:lnTo>
                  <a:lnTo>
                    <a:pt x="743" y="487"/>
                  </a:lnTo>
                  <a:lnTo>
                    <a:pt x="743" y="487"/>
                  </a:lnTo>
                  <a:lnTo>
                    <a:pt x="743" y="487"/>
                  </a:lnTo>
                  <a:lnTo>
                    <a:pt x="745" y="489"/>
                  </a:lnTo>
                  <a:lnTo>
                    <a:pt x="745" y="492"/>
                  </a:lnTo>
                  <a:lnTo>
                    <a:pt x="745" y="492"/>
                  </a:lnTo>
                  <a:lnTo>
                    <a:pt x="748" y="492"/>
                  </a:lnTo>
                  <a:lnTo>
                    <a:pt x="748" y="495"/>
                  </a:lnTo>
                  <a:lnTo>
                    <a:pt x="751" y="495"/>
                  </a:lnTo>
                  <a:lnTo>
                    <a:pt x="751" y="495"/>
                  </a:lnTo>
                  <a:lnTo>
                    <a:pt x="753" y="495"/>
                  </a:lnTo>
                  <a:lnTo>
                    <a:pt x="756" y="492"/>
                  </a:lnTo>
                  <a:lnTo>
                    <a:pt x="756" y="492"/>
                  </a:lnTo>
                  <a:lnTo>
                    <a:pt x="759" y="492"/>
                  </a:lnTo>
                  <a:lnTo>
                    <a:pt x="759" y="489"/>
                  </a:lnTo>
                  <a:lnTo>
                    <a:pt x="759" y="487"/>
                  </a:lnTo>
                  <a:lnTo>
                    <a:pt x="761" y="487"/>
                  </a:lnTo>
                  <a:lnTo>
                    <a:pt x="761" y="487"/>
                  </a:lnTo>
                  <a:lnTo>
                    <a:pt x="761" y="484"/>
                  </a:lnTo>
                  <a:lnTo>
                    <a:pt x="761" y="484"/>
                  </a:lnTo>
                  <a:lnTo>
                    <a:pt x="761" y="481"/>
                  </a:lnTo>
                  <a:lnTo>
                    <a:pt x="761" y="481"/>
                  </a:lnTo>
                  <a:lnTo>
                    <a:pt x="761" y="481"/>
                  </a:lnTo>
                  <a:lnTo>
                    <a:pt x="759" y="479"/>
                  </a:lnTo>
                  <a:lnTo>
                    <a:pt x="759" y="479"/>
                  </a:lnTo>
                  <a:lnTo>
                    <a:pt x="759" y="479"/>
                  </a:lnTo>
                  <a:lnTo>
                    <a:pt x="756" y="476"/>
                  </a:lnTo>
                  <a:lnTo>
                    <a:pt x="756" y="476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3"/>
                  </a:lnTo>
                  <a:lnTo>
                    <a:pt x="753" y="471"/>
                  </a:lnTo>
                  <a:lnTo>
                    <a:pt x="751" y="471"/>
                  </a:lnTo>
                  <a:lnTo>
                    <a:pt x="751" y="471"/>
                  </a:lnTo>
                  <a:lnTo>
                    <a:pt x="751" y="468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51" y="465"/>
                  </a:lnTo>
                  <a:lnTo>
                    <a:pt x="751" y="465"/>
                  </a:lnTo>
                  <a:lnTo>
                    <a:pt x="751" y="468"/>
                  </a:lnTo>
                  <a:lnTo>
                    <a:pt x="753" y="468"/>
                  </a:lnTo>
                  <a:lnTo>
                    <a:pt x="753" y="468"/>
                  </a:lnTo>
                  <a:lnTo>
                    <a:pt x="753" y="468"/>
                  </a:lnTo>
                  <a:lnTo>
                    <a:pt x="756" y="471"/>
                  </a:lnTo>
                  <a:lnTo>
                    <a:pt x="756" y="471"/>
                  </a:lnTo>
                  <a:lnTo>
                    <a:pt x="759" y="473"/>
                  </a:lnTo>
                  <a:lnTo>
                    <a:pt x="759" y="473"/>
                  </a:lnTo>
                  <a:lnTo>
                    <a:pt x="761" y="473"/>
                  </a:lnTo>
                  <a:lnTo>
                    <a:pt x="761" y="476"/>
                  </a:lnTo>
                  <a:lnTo>
                    <a:pt x="764" y="476"/>
                  </a:lnTo>
                  <a:lnTo>
                    <a:pt x="764" y="476"/>
                  </a:lnTo>
                  <a:lnTo>
                    <a:pt x="764" y="479"/>
                  </a:lnTo>
                  <a:lnTo>
                    <a:pt x="764" y="479"/>
                  </a:lnTo>
                  <a:lnTo>
                    <a:pt x="764" y="479"/>
                  </a:lnTo>
                  <a:lnTo>
                    <a:pt x="764" y="481"/>
                  </a:lnTo>
                  <a:lnTo>
                    <a:pt x="764" y="481"/>
                  </a:lnTo>
                  <a:lnTo>
                    <a:pt x="764" y="481"/>
                  </a:lnTo>
                  <a:lnTo>
                    <a:pt x="767" y="481"/>
                  </a:lnTo>
                  <a:lnTo>
                    <a:pt x="767" y="481"/>
                  </a:lnTo>
                  <a:lnTo>
                    <a:pt x="767" y="481"/>
                  </a:lnTo>
                  <a:lnTo>
                    <a:pt x="769" y="484"/>
                  </a:lnTo>
                  <a:lnTo>
                    <a:pt x="769" y="484"/>
                  </a:lnTo>
                  <a:lnTo>
                    <a:pt x="769" y="484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5" y="487"/>
                  </a:lnTo>
                  <a:lnTo>
                    <a:pt x="775" y="487"/>
                  </a:lnTo>
                  <a:lnTo>
                    <a:pt x="775" y="489"/>
                  </a:lnTo>
                  <a:lnTo>
                    <a:pt x="775" y="487"/>
                  </a:lnTo>
                  <a:lnTo>
                    <a:pt x="775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72" y="487"/>
                  </a:lnTo>
                  <a:lnTo>
                    <a:pt x="769" y="487"/>
                  </a:lnTo>
                  <a:lnTo>
                    <a:pt x="769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7" y="489"/>
                  </a:lnTo>
                  <a:lnTo>
                    <a:pt x="764" y="489"/>
                  </a:lnTo>
                  <a:lnTo>
                    <a:pt x="764" y="492"/>
                  </a:lnTo>
                  <a:lnTo>
                    <a:pt x="764" y="492"/>
                  </a:lnTo>
                  <a:lnTo>
                    <a:pt x="764" y="492"/>
                  </a:lnTo>
                  <a:lnTo>
                    <a:pt x="761" y="495"/>
                  </a:lnTo>
                  <a:lnTo>
                    <a:pt x="761" y="495"/>
                  </a:lnTo>
                  <a:lnTo>
                    <a:pt x="761" y="495"/>
                  </a:lnTo>
                  <a:lnTo>
                    <a:pt x="759" y="495"/>
                  </a:lnTo>
                  <a:lnTo>
                    <a:pt x="759" y="497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6" y="500"/>
                  </a:lnTo>
                  <a:lnTo>
                    <a:pt x="756" y="500"/>
                  </a:lnTo>
                  <a:lnTo>
                    <a:pt x="756" y="500"/>
                  </a:lnTo>
                  <a:lnTo>
                    <a:pt x="753" y="503"/>
                  </a:lnTo>
                  <a:lnTo>
                    <a:pt x="756" y="503"/>
                  </a:lnTo>
                  <a:lnTo>
                    <a:pt x="756" y="505"/>
                  </a:lnTo>
                  <a:lnTo>
                    <a:pt x="756" y="505"/>
                  </a:lnTo>
                  <a:lnTo>
                    <a:pt x="759" y="505"/>
                  </a:lnTo>
                  <a:lnTo>
                    <a:pt x="759" y="505"/>
                  </a:lnTo>
                  <a:lnTo>
                    <a:pt x="759" y="508"/>
                  </a:lnTo>
                  <a:lnTo>
                    <a:pt x="759" y="508"/>
                  </a:lnTo>
                  <a:lnTo>
                    <a:pt x="759" y="508"/>
                  </a:lnTo>
                  <a:lnTo>
                    <a:pt x="761" y="508"/>
                  </a:lnTo>
                  <a:lnTo>
                    <a:pt x="761" y="508"/>
                  </a:lnTo>
                  <a:lnTo>
                    <a:pt x="761" y="508"/>
                  </a:lnTo>
                  <a:lnTo>
                    <a:pt x="764" y="508"/>
                  </a:lnTo>
                  <a:lnTo>
                    <a:pt x="764" y="508"/>
                  </a:lnTo>
                  <a:lnTo>
                    <a:pt x="764" y="505"/>
                  </a:lnTo>
                  <a:lnTo>
                    <a:pt x="767" y="505"/>
                  </a:lnTo>
                  <a:lnTo>
                    <a:pt x="767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69" y="505"/>
                  </a:lnTo>
                  <a:lnTo>
                    <a:pt x="772" y="505"/>
                  </a:lnTo>
                  <a:lnTo>
                    <a:pt x="772" y="508"/>
                  </a:lnTo>
                  <a:lnTo>
                    <a:pt x="772" y="508"/>
                  </a:lnTo>
                  <a:lnTo>
                    <a:pt x="775" y="508"/>
                  </a:lnTo>
                  <a:lnTo>
                    <a:pt x="775" y="511"/>
                  </a:lnTo>
                  <a:lnTo>
                    <a:pt x="775" y="511"/>
                  </a:lnTo>
                  <a:lnTo>
                    <a:pt x="775" y="511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75" y="513"/>
                  </a:lnTo>
                  <a:lnTo>
                    <a:pt x="775" y="516"/>
                  </a:lnTo>
                  <a:lnTo>
                    <a:pt x="777" y="516"/>
                  </a:lnTo>
                  <a:lnTo>
                    <a:pt x="777" y="516"/>
                  </a:lnTo>
                  <a:lnTo>
                    <a:pt x="780" y="516"/>
                  </a:lnTo>
                  <a:lnTo>
                    <a:pt x="780" y="516"/>
                  </a:lnTo>
                  <a:lnTo>
                    <a:pt x="780" y="519"/>
                  </a:lnTo>
                  <a:lnTo>
                    <a:pt x="783" y="521"/>
                  </a:lnTo>
                  <a:lnTo>
                    <a:pt x="785" y="524"/>
                  </a:lnTo>
                  <a:lnTo>
                    <a:pt x="785" y="524"/>
                  </a:lnTo>
                  <a:lnTo>
                    <a:pt x="785" y="527"/>
                  </a:lnTo>
                  <a:lnTo>
                    <a:pt x="788" y="529"/>
                  </a:lnTo>
                  <a:lnTo>
                    <a:pt x="791" y="532"/>
                  </a:lnTo>
                  <a:lnTo>
                    <a:pt x="793" y="532"/>
                  </a:lnTo>
                  <a:lnTo>
                    <a:pt x="796" y="535"/>
                  </a:lnTo>
                  <a:lnTo>
                    <a:pt x="796" y="535"/>
                  </a:lnTo>
                  <a:lnTo>
                    <a:pt x="801" y="535"/>
                  </a:lnTo>
                  <a:lnTo>
                    <a:pt x="801" y="535"/>
                  </a:lnTo>
                  <a:lnTo>
                    <a:pt x="801" y="537"/>
                  </a:lnTo>
                  <a:lnTo>
                    <a:pt x="804" y="537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3"/>
                  </a:lnTo>
                  <a:lnTo>
                    <a:pt x="807" y="545"/>
                  </a:lnTo>
                  <a:lnTo>
                    <a:pt x="809" y="548"/>
                  </a:lnTo>
                  <a:lnTo>
                    <a:pt x="809" y="548"/>
                  </a:lnTo>
                  <a:lnTo>
                    <a:pt x="809" y="548"/>
                  </a:lnTo>
                  <a:lnTo>
                    <a:pt x="812" y="548"/>
                  </a:lnTo>
                  <a:lnTo>
                    <a:pt x="812" y="548"/>
                  </a:lnTo>
                  <a:lnTo>
                    <a:pt x="812" y="548"/>
                  </a:lnTo>
                  <a:lnTo>
                    <a:pt x="815" y="548"/>
                  </a:lnTo>
                  <a:lnTo>
                    <a:pt x="815" y="548"/>
                  </a:lnTo>
                  <a:lnTo>
                    <a:pt x="815" y="548"/>
                  </a:lnTo>
                  <a:lnTo>
                    <a:pt x="817" y="548"/>
                  </a:lnTo>
                  <a:lnTo>
                    <a:pt x="817" y="548"/>
                  </a:lnTo>
                  <a:lnTo>
                    <a:pt x="817" y="548"/>
                  </a:lnTo>
                  <a:lnTo>
                    <a:pt x="817" y="551"/>
                  </a:lnTo>
                  <a:lnTo>
                    <a:pt x="817" y="551"/>
                  </a:lnTo>
                  <a:lnTo>
                    <a:pt x="817" y="551"/>
                  </a:lnTo>
                  <a:lnTo>
                    <a:pt x="820" y="551"/>
                  </a:lnTo>
                  <a:lnTo>
                    <a:pt x="820" y="548"/>
                  </a:lnTo>
                  <a:lnTo>
                    <a:pt x="820" y="548"/>
                  </a:lnTo>
                  <a:lnTo>
                    <a:pt x="820" y="548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5" y="548"/>
                  </a:lnTo>
                  <a:lnTo>
                    <a:pt x="825" y="548"/>
                  </a:lnTo>
                  <a:lnTo>
                    <a:pt x="825" y="548"/>
                  </a:lnTo>
                  <a:lnTo>
                    <a:pt x="825" y="551"/>
                  </a:lnTo>
                  <a:lnTo>
                    <a:pt x="825" y="551"/>
                  </a:lnTo>
                  <a:lnTo>
                    <a:pt x="828" y="551"/>
                  </a:lnTo>
                  <a:lnTo>
                    <a:pt x="828" y="553"/>
                  </a:lnTo>
                  <a:lnTo>
                    <a:pt x="831" y="553"/>
                  </a:lnTo>
                  <a:lnTo>
                    <a:pt x="831" y="553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1" y="556"/>
                  </a:lnTo>
                  <a:lnTo>
                    <a:pt x="833" y="559"/>
                  </a:lnTo>
                  <a:lnTo>
                    <a:pt x="833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6" y="559"/>
                  </a:lnTo>
                  <a:lnTo>
                    <a:pt x="839" y="559"/>
                  </a:lnTo>
                  <a:lnTo>
                    <a:pt x="839" y="559"/>
                  </a:lnTo>
                  <a:lnTo>
                    <a:pt x="839" y="559"/>
                  </a:lnTo>
                  <a:lnTo>
                    <a:pt x="839" y="556"/>
                  </a:lnTo>
                  <a:lnTo>
                    <a:pt x="841" y="556"/>
                  </a:lnTo>
                  <a:lnTo>
                    <a:pt x="841" y="556"/>
                  </a:lnTo>
                  <a:lnTo>
                    <a:pt x="841" y="556"/>
                  </a:lnTo>
                  <a:lnTo>
                    <a:pt x="841" y="559"/>
                  </a:lnTo>
                  <a:lnTo>
                    <a:pt x="844" y="559"/>
                  </a:lnTo>
                  <a:lnTo>
                    <a:pt x="844" y="559"/>
                  </a:lnTo>
                  <a:lnTo>
                    <a:pt x="844" y="561"/>
                  </a:lnTo>
                  <a:lnTo>
                    <a:pt x="844" y="561"/>
                  </a:lnTo>
                  <a:lnTo>
                    <a:pt x="847" y="561"/>
                  </a:lnTo>
                  <a:lnTo>
                    <a:pt x="847" y="561"/>
                  </a:lnTo>
                  <a:lnTo>
                    <a:pt x="849" y="561"/>
                  </a:lnTo>
                  <a:lnTo>
                    <a:pt x="849" y="559"/>
                  </a:lnTo>
                  <a:lnTo>
                    <a:pt x="849" y="559"/>
                  </a:lnTo>
                  <a:lnTo>
                    <a:pt x="852" y="559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2" y="553"/>
                  </a:lnTo>
                  <a:lnTo>
                    <a:pt x="852" y="553"/>
                  </a:lnTo>
                  <a:lnTo>
                    <a:pt x="852" y="553"/>
                  </a:lnTo>
                  <a:lnTo>
                    <a:pt x="852" y="551"/>
                  </a:lnTo>
                  <a:lnTo>
                    <a:pt x="849" y="551"/>
                  </a:lnTo>
                  <a:lnTo>
                    <a:pt x="849" y="551"/>
                  </a:lnTo>
                  <a:lnTo>
                    <a:pt x="849" y="551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49" y="545"/>
                  </a:lnTo>
                  <a:lnTo>
                    <a:pt x="849" y="545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49" y="548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2" y="551"/>
                  </a:lnTo>
                  <a:lnTo>
                    <a:pt x="855" y="553"/>
                  </a:lnTo>
                  <a:lnTo>
                    <a:pt x="855" y="553"/>
                  </a:lnTo>
                  <a:lnTo>
                    <a:pt x="855" y="553"/>
                  </a:lnTo>
                  <a:lnTo>
                    <a:pt x="855" y="556"/>
                  </a:lnTo>
                  <a:lnTo>
                    <a:pt x="857" y="556"/>
                  </a:lnTo>
                  <a:lnTo>
                    <a:pt x="857" y="559"/>
                  </a:lnTo>
                  <a:lnTo>
                    <a:pt x="857" y="559"/>
                  </a:lnTo>
                  <a:lnTo>
                    <a:pt x="857" y="559"/>
                  </a:lnTo>
                  <a:lnTo>
                    <a:pt x="860" y="559"/>
                  </a:lnTo>
                  <a:lnTo>
                    <a:pt x="860" y="561"/>
                  </a:lnTo>
                  <a:lnTo>
                    <a:pt x="860" y="561"/>
                  </a:lnTo>
                  <a:lnTo>
                    <a:pt x="860" y="564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3" y="567"/>
                  </a:lnTo>
                  <a:lnTo>
                    <a:pt x="865" y="567"/>
                  </a:lnTo>
                  <a:lnTo>
                    <a:pt x="865" y="569"/>
                  </a:lnTo>
                  <a:lnTo>
                    <a:pt x="868" y="569"/>
                  </a:lnTo>
                  <a:lnTo>
                    <a:pt x="868" y="569"/>
                  </a:lnTo>
                  <a:lnTo>
                    <a:pt x="868" y="569"/>
                  </a:lnTo>
                  <a:lnTo>
                    <a:pt x="871" y="567"/>
                  </a:lnTo>
                  <a:lnTo>
                    <a:pt x="871" y="567"/>
                  </a:lnTo>
                  <a:lnTo>
                    <a:pt x="873" y="567"/>
                  </a:lnTo>
                  <a:lnTo>
                    <a:pt x="873" y="564"/>
                  </a:lnTo>
                  <a:lnTo>
                    <a:pt x="873" y="564"/>
                  </a:lnTo>
                  <a:lnTo>
                    <a:pt x="876" y="564"/>
                  </a:lnTo>
                  <a:lnTo>
                    <a:pt x="876" y="561"/>
                  </a:lnTo>
                  <a:lnTo>
                    <a:pt x="876" y="561"/>
                  </a:lnTo>
                  <a:lnTo>
                    <a:pt x="876" y="559"/>
                  </a:lnTo>
                  <a:lnTo>
                    <a:pt x="876" y="559"/>
                  </a:lnTo>
                  <a:lnTo>
                    <a:pt x="876" y="559"/>
                  </a:lnTo>
                  <a:lnTo>
                    <a:pt x="879" y="556"/>
                  </a:lnTo>
                  <a:lnTo>
                    <a:pt x="879" y="556"/>
                  </a:lnTo>
                  <a:lnTo>
                    <a:pt x="879" y="556"/>
                  </a:lnTo>
                  <a:lnTo>
                    <a:pt x="879" y="553"/>
                  </a:lnTo>
                  <a:lnTo>
                    <a:pt x="879" y="553"/>
                  </a:lnTo>
                  <a:lnTo>
                    <a:pt x="879" y="551"/>
                  </a:lnTo>
                  <a:lnTo>
                    <a:pt x="879" y="548"/>
                  </a:lnTo>
                  <a:lnTo>
                    <a:pt x="879" y="548"/>
                  </a:lnTo>
                  <a:lnTo>
                    <a:pt x="879" y="545"/>
                  </a:lnTo>
                  <a:lnTo>
                    <a:pt x="879" y="545"/>
                  </a:lnTo>
                  <a:lnTo>
                    <a:pt x="879" y="545"/>
                  </a:lnTo>
                  <a:lnTo>
                    <a:pt x="879" y="543"/>
                  </a:lnTo>
                  <a:lnTo>
                    <a:pt x="879" y="543"/>
                  </a:lnTo>
                  <a:lnTo>
                    <a:pt x="879" y="540"/>
                  </a:lnTo>
                  <a:lnTo>
                    <a:pt x="879" y="540"/>
                  </a:lnTo>
                  <a:lnTo>
                    <a:pt x="879" y="537"/>
                  </a:lnTo>
                  <a:lnTo>
                    <a:pt x="879" y="537"/>
                  </a:lnTo>
                  <a:lnTo>
                    <a:pt x="879" y="535"/>
                  </a:lnTo>
                  <a:lnTo>
                    <a:pt x="879" y="532"/>
                  </a:lnTo>
                  <a:lnTo>
                    <a:pt x="879" y="532"/>
                  </a:lnTo>
                  <a:lnTo>
                    <a:pt x="879" y="529"/>
                  </a:lnTo>
                  <a:lnTo>
                    <a:pt x="876" y="527"/>
                  </a:lnTo>
                  <a:lnTo>
                    <a:pt x="879" y="527"/>
                  </a:lnTo>
                  <a:lnTo>
                    <a:pt x="879" y="524"/>
                  </a:lnTo>
                  <a:lnTo>
                    <a:pt x="876" y="521"/>
                  </a:lnTo>
                  <a:lnTo>
                    <a:pt x="876" y="521"/>
                  </a:lnTo>
                  <a:lnTo>
                    <a:pt x="876" y="519"/>
                  </a:lnTo>
                  <a:lnTo>
                    <a:pt x="876" y="519"/>
                  </a:lnTo>
                  <a:lnTo>
                    <a:pt x="873" y="516"/>
                  </a:lnTo>
                  <a:lnTo>
                    <a:pt x="876" y="516"/>
                  </a:lnTo>
                  <a:lnTo>
                    <a:pt x="876" y="513"/>
                  </a:lnTo>
                  <a:lnTo>
                    <a:pt x="876" y="513"/>
                  </a:lnTo>
                  <a:lnTo>
                    <a:pt x="876" y="513"/>
                  </a:lnTo>
                  <a:lnTo>
                    <a:pt x="876" y="511"/>
                  </a:lnTo>
                  <a:lnTo>
                    <a:pt x="873" y="511"/>
                  </a:lnTo>
                  <a:lnTo>
                    <a:pt x="873" y="511"/>
                  </a:lnTo>
                  <a:lnTo>
                    <a:pt x="876" y="508"/>
                  </a:lnTo>
                  <a:lnTo>
                    <a:pt x="876" y="508"/>
                  </a:lnTo>
                  <a:lnTo>
                    <a:pt x="876" y="508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6" y="505"/>
                  </a:lnTo>
                  <a:lnTo>
                    <a:pt x="879" y="505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81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3"/>
                  </a:lnTo>
                  <a:lnTo>
                    <a:pt x="884" y="500"/>
                  </a:lnTo>
                  <a:lnTo>
                    <a:pt x="884" y="500"/>
                  </a:lnTo>
                  <a:lnTo>
                    <a:pt x="881" y="500"/>
                  </a:lnTo>
                  <a:lnTo>
                    <a:pt x="881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9" y="503"/>
                  </a:lnTo>
                  <a:lnTo>
                    <a:pt x="876" y="503"/>
                  </a:lnTo>
                  <a:lnTo>
                    <a:pt x="876" y="503"/>
                  </a:lnTo>
                  <a:lnTo>
                    <a:pt x="876" y="503"/>
                  </a:lnTo>
                  <a:lnTo>
                    <a:pt x="876" y="500"/>
                  </a:lnTo>
                  <a:lnTo>
                    <a:pt x="876" y="500"/>
                  </a:lnTo>
                  <a:lnTo>
                    <a:pt x="876" y="500"/>
                  </a:lnTo>
                  <a:lnTo>
                    <a:pt x="876" y="497"/>
                  </a:lnTo>
                  <a:lnTo>
                    <a:pt x="876" y="497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5"/>
                  </a:lnTo>
                  <a:lnTo>
                    <a:pt x="876" y="492"/>
                  </a:lnTo>
                  <a:lnTo>
                    <a:pt x="876" y="492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9"/>
                  </a:lnTo>
                  <a:lnTo>
                    <a:pt x="873" y="487"/>
                  </a:lnTo>
                  <a:lnTo>
                    <a:pt x="873" y="487"/>
                  </a:lnTo>
                  <a:lnTo>
                    <a:pt x="873" y="487"/>
                  </a:lnTo>
                  <a:lnTo>
                    <a:pt x="873" y="484"/>
                  </a:lnTo>
                  <a:lnTo>
                    <a:pt x="873" y="484"/>
                  </a:lnTo>
                  <a:lnTo>
                    <a:pt x="873" y="484"/>
                  </a:lnTo>
                  <a:lnTo>
                    <a:pt x="873" y="481"/>
                  </a:lnTo>
                  <a:lnTo>
                    <a:pt x="873" y="481"/>
                  </a:lnTo>
                  <a:lnTo>
                    <a:pt x="873" y="481"/>
                  </a:lnTo>
                  <a:lnTo>
                    <a:pt x="871" y="479"/>
                  </a:lnTo>
                  <a:lnTo>
                    <a:pt x="871" y="479"/>
                  </a:lnTo>
                  <a:lnTo>
                    <a:pt x="871" y="476"/>
                  </a:lnTo>
                  <a:lnTo>
                    <a:pt x="871" y="476"/>
                  </a:lnTo>
                  <a:lnTo>
                    <a:pt x="871" y="473"/>
                  </a:lnTo>
                  <a:lnTo>
                    <a:pt x="871" y="473"/>
                  </a:lnTo>
                  <a:lnTo>
                    <a:pt x="871" y="473"/>
                  </a:lnTo>
                  <a:lnTo>
                    <a:pt x="871" y="471"/>
                  </a:lnTo>
                  <a:lnTo>
                    <a:pt x="871" y="468"/>
                  </a:lnTo>
                  <a:lnTo>
                    <a:pt x="871" y="468"/>
                  </a:lnTo>
                  <a:lnTo>
                    <a:pt x="871" y="468"/>
                  </a:lnTo>
                  <a:lnTo>
                    <a:pt x="871" y="465"/>
                  </a:lnTo>
                  <a:lnTo>
                    <a:pt x="868" y="465"/>
                  </a:lnTo>
                  <a:lnTo>
                    <a:pt x="868" y="462"/>
                  </a:lnTo>
                  <a:lnTo>
                    <a:pt x="868" y="462"/>
                  </a:lnTo>
                  <a:lnTo>
                    <a:pt x="868" y="460"/>
                  </a:lnTo>
                  <a:lnTo>
                    <a:pt x="868" y="457"/>
                  </a:lnTo>
                  <a:lnTo>
                    <a:pt x="868" y="454"/>
                  </a:lnTo>
                  <a:lnTo>
                    <a:pt x="868" y="452"/>
                  </a:lnTo>
                  <a:lnTo>
                    <a:pt x="868" y="449"/>
                  </a:lnTo>
                  <a:lnTo>
                    <a:pt x="868" y="449"/>
                  </a:lnTo>
                  <a:lnTo>
                    <a:pt x="868" y="444"/>
                  </a:lnTo>
                  <a:lnTo>
                    <a:pt x="868" y="441"/>
                  </a:lnTo>
                  <a:lnTo>
                    <a:pt x="868" y="436"/>
                  </a:lnTo>
                  <a:lnTo>
                    <a:pt x="868" y="436"/>
                  </a:lnTo>
                  <a:lnTo>
                    <a:pt x="868" y="433"/>
                  </a:lnTo>
                  <a:lnTo>
                    <a:pt x="865" y="430"/>
                  </a:lnTo>
                  <a:lnTo>
                    <a:pt x="868" y="428"/>
                  </a:lnTo>
                  <a:lnTo>
                    <a:pt x="868" y="425"/>
                  </a:lnTo>
                  <a:lnTo>
                    <a:pt x="868" y="425"/>
                  </a:lnTo>
                  <a:lnTo>
                    <a:pt x="868" y="422"/>
                  </a:lnTo>
                  <a:lnTo>
                    <a:pt x="868" y="420"/>
                  </a:lnTo>
                  <a:lnTo>
                    <a:pt x="868" y="420"/>
                  </a:lnTo>
                  <a:lnTo>
                    <a:pt x="871" y="420"/>
                  </a:lnTo>
                  <a:lnTo>
                    <a:pt x="871" y="420"/>
                  </a:lnTo>
                  <a:lnTo>
                    <a:pt x="871" y="420"/>
                  </a:lnTo>
                  <a:lnTo>
                    <a:pt x="871" y="422"/>
                  </a:lnTo>
                  <a:lnTo>
                    <a:pt x="873" y="422"/>
                  </a:lnTo>
                  <a:lnTo>
                    <a:pt x="873" y="425"/>
                  </a:lnTo>
                  <a:lnTo>
                    <a:pt x="873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28"/>
                  </a:lnTo>
                  <a:lnTo>
                    <a:pt x="876" y="430"/>
                  </a:lnTo>
                  <a:lnTo>
                    <a:pt x="876" y="430"/>
                  </a:lnTo>
                  <a:lnTo>
                    <a:pt x="876" y="430"/>
                  </a:lnTo>
                  <a:lnTo>
                    <a:pt x="876" y="433"/>
                  </a:lnTo>
                  <a:lnTo>
                    <a:pt x="879" y="436"/>
                  </a:lnTo>
                  <a:lnTo>
                    <a:pt x="879" y="436"/>
                  </a:lnTo>
                  <a:lnTo>
                    <a:pt x="881" y="438"/>
                  </a:lnTo>
                  <a:lnTo>
                    <a:pt x="881" y="438"/>
                  </a:lnTo>
                  <a:lnTo>
                    <a:pt x="884" y="438"/>
                  </a:lnTo>
                  <a:lnTo>
                    <a:pt x="884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7" y="438"/>
                  </a:lnTo>
                  <a:lnTo>
                    <a:pt x="889" y="438"/>
                  </a:lnTo>
                  <a:lnTo>
                    <a:pt x="889" y="441"/>
                  </a:lnTo>
                  <a:lnTo>
                    <a:pt x="892" y="441"/>
                  </a:lnTo>
                  <a:lnTo>
                    <a:pt x="892" y="444"/>
                  </a:lnTo>
                  <a:lnTo>
                    <a:pt x="895" y="444"/>
                  </a:lnTo>
                  <a:lnTo>
                    <a:pt x="895" y="444"/>
                  </a:lnTo>
                  <a:lnTo>
                    <a:pt x="897" y="446"/>
                  </a:lnTo>
                  <a:lnTo>
                    <a:pt x="900" y="449"/>
                  </a:lnTo>
                  <a:lnTo>
                    <a:pt x="903" y="452"/>
                  </a:lnTo>
                  <a:lnTo>
                    <a:pt x="908" y="452"/>
                  </a:lnTo>
                  <a:lnTo>
                    <a:pt x="908" y="454"/>
                  </a:lnTo>
                  <a:lnTo>
                    <a:pt x="911" y="454"/>
                  </a:lnTo>
                  <a:lnTo>
                    <a:pt x="913" y="454"/>
                  </a:lnTo>
                  <a:lnTo>
                    <a:pt x="916" y="454"/>
                  </a:lnTo>
                  <a:lnTo>
                    <a:pt x="919" y="457"/>
                  </a:lnTo>
                  <a:lnTo>
                    <a:pt x="919" y="457"/>
                  </a:lnTo>
                  <a:lnTo>
                    <a:pt x="921" y="457"/>
                  </a:lnTo>
                  <a:lnTo>
                    <a:pt x="924" y="457"/>
                  </a:lnTo>
                  <a:lnTo>
                    <a:pt x="927" y="457"/>
                  </a:lnTo>
                  <a:lnTo>
                    <a:pt x="929" y="457"/>
                  </a:lnTo>
                  <a:lnTo>
                    <a:pt x="932" y="457"/>
                  </a:lnTo>
                  <a:lnTo>
                    <a:pt x="932" y="457"/>
                  </a:lnTo>
                  <a:lnTo>
                    <a:pt x="935" y="457"/>
                  </a:lnTo>
                  <a:lnTo>
                    <a:pt x="935" y="457"/>
                  </a:lnTo>
                  <a:lnTo>
                    <a:pt x="937" y="457"/>
                  </a:lnTo>
                  <a:lnTo>
                    <a:pt x="937" y="454"/>
                  </a:lnTo>
                  <a:lnTo>
                    <a:pt x="940" y="457"/>
                  </a:lnTo>
                  <a:lnTo>
                    <a:pt x="943" y="454"/>
                  </a:lnTo>
                  <a:lnTo>
                    <a:pt x="943" y="454"/>
                  </a:lnTo>
                  <a:lnTo>
                    <a:pt x="945" y="454"/>
                  </a:lnTo>
                  <a:lnTo>
                    <a:pt x="945" y="454"/>
                  </a:lnTo>
                  <a:lnTo>
                    <a:pt x="945" y="454"/>
                  </a:lnTo>
                  <a:lnTo>
                    <a:pt x="948" y="454"/>
                  </a:lnTo>
                  <a:lnTo>
                    <a:pt x="948" y="454"/>
                  </a:lnTo>
                  <a:lnTo>
                    <a:pt x="951" y="454"/>
                  </a:lnTo>
                  <a:lnTo>
                    <a:pt x="951" y="452"/>
                  </a:lnTo>
                  <a:lnTo>
                    <a:pt x="951" y="452"/>
                  </a:lnTo>
                  <a:lnTo>
                    <a:pt x="953" y="452"/>
                  </a:lnTo>
                  <a:lnTo>
                    <a:pt x="953" y="452"/>
                  </a:lnTo>
                  <a:lnTo>
                    <a:pt x="953" y="449"/>
                  </a:lnTo>
                  <a:lnTo>
                    <a:pt x="956" y="449"/>
                  </a:lnTo>
                  <a:lnTo>
                    <a:pt x="956" y="449"/>
                  </a:lnTo>
                  <a:lnTo>
                    <a:pt x="956" y="446"/>
                  </a:lnTo>
                  <a:lnTo>
                    <a:pt x="956" y="446"/>
                  </a:lnTo>
                  <a:lnTo>
                    <a:pt x="959" y="446"/>
                  </a:lnTo>
                  <a:lnTo>
                    <a:pt x="959" y="446"/>
                  </a:lnTo>
                  <a:lnTo>
                    <a:pt x="959" y="446"/>
                  </a:lnTo>
                  <a:lnTo>
                    <a:pt x="961" y="446"/>
                  </a:lnTo>
                  <a:lnTo>
                    <a:pt x="961" y="446"/>
                  </a:lnTo>
                  <a:lnTo>
                    <a:pt x="961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4"/>
                  </a:lnTo>
                  <a:lnTo>
                    <a:pt x="964" y="457"/>
                  </a:lnTo>
                  <a:lnTo>
                    <a:pt x="964" y="457"/>
                  </a:lnTo>
                  <a:lnTo>
                    <a:pt x="964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7"/>
                  </a:lnTo>
                  <a:lnTo>
                    <a:pt x="967" y="454"/>
                  </a:lnTo>
                  <a:lnTo>
                    <a:pt x="967" y="454"/>
                  </a:lnTo>
                  <a:lnTo>
                    <a:pt x="967" y="454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52"/>
                  </a:lnTo>
                  <a:lnTo>
                    <a:pt x="964" y="449"/>
                  </a:lnTo>
                  <a:lnTo>
                    <a:pt x="964" y="449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6"/>
                  </a:lnTo>
                  <a:lnTo>
                    <a:pt x="964" y="444"/>
                  </a:lnTo>
                  <a:lnTo>
                    <a:pt x="964" y="444"/>
                  </a:lnTo>
                  <a:lnTo>
                    <a:pt x="964" y="444"/>
                  </a:lnTo>
                  <a:lnTo>
                    <a:pt x="961" y="444"/>
                  </a:lnTo>
                  <a:lnTo>
                    <a:pt x="961" y="444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41"/>
                  </a:lnTo>
                  <a:lnTo>
                    <a:pt x="961" y="438"/>
                  </a:lnTo>
                  <a:lnTo>
                    <a:pt x="959" y="438"/>
                  </a:lnTo>
                  <a:lnTo>
                    <a:pt x="959" y="436"/>
                  </a:lnTo>
                  <a:lnTo>
                    <a:pt x="959" y="436"/>
                  </a:lnTo>
                  <a:lnTo>
                    <a:pt x="961" y="433"/>
                  </a:lnTo>
                  <a:lnTo>
                    <a:pt x="961" y="430"/>
                  </a:lnTo>
                  <a:lnTo>
                    <a:pt x="961" y="430"/>
                  </a:lnTo>
                  <a:lnTo>
                    <a:pt x="961" y="428"/>
                  </a:lnTo>
                  <a:lnTo>
                    <a:pt x="964" y="428"/>
                  </a:lnTo>
                  <a:lnTo>
                    <a:pt x="964" y="428"/>
                  </a:lnTo>
                  <a:lnTo>
                    <a:pt x="964" y="428"/>
                  </a:lnTo>
                  <a:lnTo>
                    <a:pt x="964" y="425"/>
                  </a:lnTo>
                  <a:lnTo>
                    <a:pt x="964" y="425"/>
                  </a:lnTo>
                  <a:lnTo>
                    <a:pt x="964" y="425"/>
                  </a:lnTo>
                  <a:lnTo>
                    <a:pt x="967" y="425"/>
                  </a:lnTo>
                  <a:lnTo>
                    <a:pt x="967" y="425"/>
                  </a:lnTo>
                  <a:lnTo>
                    <a:pt x="967" y="422"/>
                  </a:lnTo>
                  <a:lnTo>
                    <a:pt x="967" y="422"/>
                  </a:lnTo>
                  <a:lnTo>
                    <a:pt x="970" y="422"/>
                  </a:lnTo>
                  <a:lnTo>
                    <a:pt x="970" y="420"/>
                  </a:lnTo>
                  <a:lnTo>
                    <a:pt x="972" y="420"/>
                  </a:lnTo>
                  <a:lnTo>
                    <a:pt x="972" y="420"/>
                  </a:lnTo>
                  <a:lnTo>
                    <a:pt x="972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8" y="420"/>
                  </a:lnTo>
                  <a:lnTo>
                    <a:pt x="975" y="420"/>
                  </a:lnTo>
                  <a:lnTo>
                    <a:pt x="975" y="420"/>
                  </a:lnTo>
                  <a:lnTo>
                    <a:pt x="975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7"/>
                  </a:lnTo>
                  <a:lnTo>
                    <a:pt x="972" y="414"/>
                  </a:lnTo>
                  <a:lnTo>
                    <a:pt x="972" y="414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5" y="412"/>
                  </a:lnTo>
                  <a:lnTo>
                    <a:pt x="978" y="409"/>
                  </a:lnTo>
                  <a:lnTo>
                    <a:pt x="978" y="409"/>
                  </a:lnTo>
                  <a:lnTo>
                    <a:pt x="978" y="409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0" y="406"/>
                  </a:lnTo>
                  <a:lnTo>
                    <a:pt x="983" y="406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3" y="404"/>
                  </a:lnTo>
                  <a:lnTo>
                    <a:pt x="986" y="404"/>
                  </a:lnTo>
                  <a:lnTo>
                    <a:pt x="986" y="401"/>
                  </a:lnTo>
                  <a:lnTo>
                    <a:pt x="986" y="401"/>
                  </a:lnTo>
                  <a:lnTo>
                    <a:pt x="988" y="401"/>
                  </a:lnTo>
                  <a:lnTo>
                    <a:pt x="988" y="401"/>
                  </a:lnTo>
                  <a:lnTo>
                    <a:pt x="988" y="401"/>
                  </a:lnTo>
                  <a:lnTo>
                    <a:pt x="991" y="401"/>
                  </a:lnTo>
                  <a:lnTo>
                    <a:pt x="991" y="401"/>
                  </a:lnTo>
                  <a:lnTo>
                    <a:pt x="991" y="401"/>
                  </a:lnTo>
                  <a:lnTo>
                    <a:pt x="994" y="401"/>
                  </a:lnTo>
                  <a:lnTo>
                    <a:pt x="994" y="401"/>
                  </a:lnTo>
                  <a:lnTo>
                    <a:pt x="994" y="401"/>
                  </a:lnTo>
                  <a:lnTo>
                    <a:pt x="994" y="398"/>
                  </a:lnTo>
                  <a:lnTo>
                    <a:pt x="996" y="398"/>
                  </a:lnTo>
                  <a:lnTo>
                    <a:pt x="996" y="398"/>
                  </a:lnTo>
                  <a:lnTo>
                    <a:pt x="996" y="401"/>
                  </a:lnTo>
                  <a:lnTo>
                    <a:pt x="999" y="401"/>
                  </a:lnTo>
                  <a:lnTo>
                    <a:pt x="999" y="401"/>
                  </a:lnTo>
                  <a:lnTo>
                    <a:pt x="999" y="401"/>
                  </a:lnTo>
                  <a:lnTo>
                    <a:pt x="1002" y="401"/>
                  </a:lnTo>
                  <a:lnTo>
                    <a:pt x="1002" y="398"/>
                  </a:lnTo>
                  <a:lnTo>
                    <a:pt x="1004" y="398"/>
                  </a:lnTo>
                  <a:lnTo>
                    <a:pt x="1004" y="398"/>
                  </a:lnTo>
                  <a:lnTo>
                    <a:pt x="1007" y="398"/>
                  </a:lnTo>
                  <a:lnTo>
                    <a:pt x="1010" y="398"/>
                  </a:lnTo>
                  <a:lnTo>
                    <a:pt x="1010" y="398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1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2" y="404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6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4"/>
                  </a:lnTo>
                  <a:lnTo>
                    <a:pt x="1015" y="401"/>
                  </a:lnTo>
                  <a:lnTo>
                    <a:pt x="1015" y="401"/>
                  </a:lnTo>
                  <a:lnTo>
                    <a:pt x="1018" y="401"/>
                  </a:lnTo>
                  <a:lnTo>
                    <a:pt x="1018" y="398"/>
                  </a:lnTo>
                  <a:lnTo>
                    <a:pt x="1018" y="398"/>
                  </a:lnTo>
                  <a:lnTo>
                    <a:pt x="1018" y="398"/>
                  </a:lnTo>
                  <a:lnTo>
                    <a:pt x="1020" y="398"/>
                  </a:lnTo>
                  <a:lnTo>
                    <a:pt x="1020" y="398"/>
                  </a:lnTo>
                  <a:lnTo>
                    <a:pt x="1020" y="398"/>
                  </a:lnTo>
                  <a:lnTo>
                    <a:pt x="1023" y="398"/>
                  </a:lnTo>
                  <a:lnTo>
                    <a:pt x="1023" y="398"/>
                  </a:lnTo>
                  <a:lnTo>
                    <a:pt x="1023" y="398"/>
                  </a:lnTo>
                  <a:lnTo>
                    <a:pt x="1026" y="398"/>
                  </a:lnTo>
                  <a:lnTo>
                    <a:pt x="1026" y="401"/>
                  </a:lnTo>
                  <a:lnTo>
                    <a:pt x="1026" y="401"/>
                  </a:lnTo>
                  <a:lnTo>
                    <a:pt x="1026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28" y="401"/>
                  </a:lnTo>
                  <a:lnTo>
                    <a:pt x="1031" y="401"/>
                  </a:lnTo>
                  <a:lnTo>
                    <a:pt x="1031" y="401"/>
                  </a:lnTo>
                  <a:lnTo>
                    <a:pt x="1031" y="404"/>
                  </a:lnTo>
                  <a:lnTo>
                    <a:pt x="1031" y="404"/>
                  </a:lnTo>
                  <a:lnTo>
                    <a:pt x="1034" y="404"/>
                  </a:lnTo>
                  <a:lnTo>
                    <a:pt x="1034" y="404"/>
                  </a:lnTo>
                  <a:lnTo>
                    <a:pt x="1034" y="404"/>
                  </a:lnTo>
                  <a:lnTo>
                    <a:pt x="1036" y="404"/>
                  </a:lnTo>
                  <a:lnTo>
                    <a:pt x="1036" y="404"/>
                  </a:lnTo>
                  <a:lnTo>
                    <a:pt x="1036" y="404"/>
                  </a:lnTo>
                  <a:lnTo>
                    <a:pt x="1039" y="404"/>
                  </a:lnTo>
                  <a:lnTo>
                    <a:pt x="1039" y="404"/>
                  </a:lnTo>
                  <a:lnTo>
                    <a:pt x="1042" y="404"/>
                  </a:lnTo>
                  <a:lnTo>
                    <a:pt x="1042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4" y="404"/>
                  </a:lnTo>
                  <a:lnTo>
                    <a:pt x="1047" y="404"/>
                  </a:lnTo>
                  <a:lnTo>
                    <a:pt x="1047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0" y="404"/>
                  </a:lnTo>
                  <a:lnTo>
                    <a:pt x="1052" y="406"/>
                  </a:lnTo>
                  <a:lnTo>
                    <a:pt x="1052" y="406"/>
                  </a:lnTo>
                  <a:lnTo>
                    <a:pt x="1052" y="406"/>
                  </a:lnTo>
                  <a:lnTo>
                    <a:pt x="1055" y="406"/>
                  </a:lnTo>
                  <a:lnTo>
                    <a:pt x="1055" y="406"/>
                  </a:lnTo>
                  <a:lnTo>
                    <a:pt x="1055" y="409"/>
                  </a:lnTo>
                  <a:lnTo>
                    <a:pt x="1055" y="409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5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2"/>
                  </a:lnTo>
                  <a:lnTo>
                    <a:pt x="1058" y="414"/>
                  </a:lnTo>
                  <a:lnTo>
                    <a:pt x="1060" y="414"/>
                  </a:lnTo>
                  <a:lnTo>
                    <a:pt x="1060" y="414"/>
                  </a:lnTo>
                  <a:lnTo>
                    <a:pt x="1060" y="414"/>
                  </a:lnTo>
                  <a:lnTo>
                    <a:pt x="1060" y="412"/>
                  </a:lnTo>
                  <a:lnTo>
                    <a:pt x="1060" y="412"/>
                  </a:lnTo>
                  <a:lnTo>
                    <a:pt x="1060" y="412"/>
                  </a:lnTo>
                  <a:lnTo>
                    <a:pt x="1060" y="409"/>
                  </a:lnTo>
                  <a:lnTo>
                    <a:pt x="1060" y="409"/>
                  </a:lnTo>
                  <a:lnTo>
                    <a:pt x="1060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3" y="409"/>
                  </a:lnTo>
                  <a:lnTo>
                    <a:pt x="1066" y="409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3" y="412"/>
                  </a:lnTo>
                  <a:lnTo>
                    <a:pt x="1063" y="412"/>
                  </a:lnTo>
                  <a:lnTo>
                    <a:pt x="1063" y="414"/>
                  </a:lnTo>
                  <a:lnTo>
                    <a:pt x="1063" y="414"/>
                  </a:lnTo>
                  <a:lnTo>
                    <a:pt x="1063" y="414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6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68" y="417"/>
                  </a:lnTo>
                  <a:lnTo>
                    <a:pt x="1071" y="420"/>
                  </a:lnTo>
                  <a:lnTo>
                    <a:pt x="1071" y="420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22"/>
                  </a:lnTo>
                  <a:lnTo>
                    <a:pt x="1074" y="422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20"/>
                  </a:lnTo>
                  <a:lnTo>
                    <a:pt x="1074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6" y="417"/>
                  </a:lnTo>
                  <a:lnTo>
                    <a:pt x="1079" y="417"/>
                  </a:lnTo>
                  <a:lnTo>
                    <a:pt x="1079" y="417"/>
                  </a:lnTo>
                  <a:lnTo>
                    <a:pt x="1079" y="417"/>
                  </a:lnTo>
                  <a:lnTo>
                    <a:pt x="1079" y="420"/>
                  </a:lnTo>
                  <a:lnTo>
                    <a:pt x="1079" y="420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7"/>
                  </a:lnTo>
                  <a:lnTo>
                    <a:pt x="1082" y="414"/>
                  </a:lnTo>
                  <a:lnTo>
                    <a:pt x="1082" y="414"/>
                  </a:lnTo>
                  <a:lnTo>
                    <a:pt x="1082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9" y="414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71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8" y="414"/>
                  </a:lnTo>
                  <a:lnTo>
                    <a:pt x="1066" y="414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6" y="412"/>
                  </a:lnTo>
                  <a:lnTo>
                    <a:pt x="1068" y="412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68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1" y="409"/>
                  </a:lnTo>
                  <a:lnTo>
                    <a:pt x="1074" y="409"/>
                  </a:lnTo>
                  <a:lnTo>
                    <a:pt x="1074" y="409"/>
                  </a:lnTo>
                  <a:lnTo>
                    <a:pt x="1076" y="409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6"/>
                  </a:lnTo>
                  <a:lnTo>
                    <a:pt x="1076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4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82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9" y="401"/>
                  </a:lnTo>
                  <a:lnTo>
                    <a:pt x="1076" y="401"/>
                  </a:lnTo>
                  <a:lnTo>
                    <a:pt x="1076" y="401"/>
                  </a:lnTo>
                  <a:lnTo>
                    <a:pt x="1074" y="401"/>
                  </a:lnTo>
                  <a:lnTo>
                    <a:pt x="1074" y="401"/>
                  </a:lnTo>
                  <a:lnTo>
                    <a:pt x="1074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401"/>
                  </a:lnTo>
                  <a:lnTo>
                    <a:pt x="1071" y="398"/>
                  </a:lnTo>
                  <a:lnTo>
                    <a:pt x="1071" y="398"/>
                  </a:lnTo>
                  <a:lnTo>
                    <a:pt x="1071" y="398"/>
                  </a:lnTo>
                  <a:lnTo>
                    <a:pt x="1068" y="398"/>
                  </a:lnTo>
                  <a:lnTo>
                    <a:pt x="1068" y="398"/>
                  </a:lnTo>
                  <a:lnTo>
                    <a:pt x="1068" y="398"/>
                  </a:lnTo>
                  <a:lnTo>
                    <a:pt x="1066" y="398"/>
                  </a:lnTo>
                  <a:lnTo>
                    <a:pt x="1066" y="396"/>
                  </a:lnTo>
                  <a:lnTo>
                    <a:pt x="1066" y="396"/>
                  </a:lnTo>
                  <a:lnTo>
                    <a:pt x="1066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3" y="396"/>
                  </a:lnTo>
                  <a:lnTo>
                    <a:pt x="1060" y="396"/>
                  </a:lnTo>
                  <a:lnTo>
                    <a:pt x="1060" y="393"/>
                  </a:lnTo>
                  <a:lnTo>
                    <a:pt x="1060" y="393"/>
                  </a:lnTo>
                  <a:lnTo>
                    <a:pt x="1063" y="393"/>
                  </a:lnTo>
                  <a:lnTo>
                    <a:pt x="1063" y="393"/>
                  </a:lnTo>
                  <a:lnTo>
                    <a:pt x="1063" y="393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90"/>
                  </a:lnTo>
                  <a:lnTo>
                    <a:pt x="1063" y="388"/>
                  </a:lnTo>
                  <a:lnTo>
                    <a:pt x="1063" y="388"/>
                  </a:lnTo>
                  <a:lnTo>
                    <a:pt x="1063" y="385"/>
                  </a:lnTo>
                  <a:lnTo>
                    <a:pt x="1063" y="385"/>
                  </a:lnTo>
                  <a:lnTo>
                    <a:pt x="1063" y="382"/>
                  </a:lnTo>
                  <a:lnTo>
                    <a:pt x="1063" y="382"/>
                  </a:lnTo>
                  <a:lnTo>
                    <a:pt x="1063" y="380"/>
                  </a:lnTo>
                  <a:lnTo>
                    <a:pt x="1060" y="380"/>
                  </a:lnTo>
                  <a:lnTo>
                    <a:pt x="1060" y="380"/>
                  </a:lnTo>
                  <a:lnTo>
                    <a:pt x="1060" y="377"/>
                  </a:lnTo>
                  <a:lnTo>
                    <a:pt x="1060" y="374"/>
                  </a:lnTo>
                  <a:lnTo>
                    <a:pt x="1060" y="374"/>
                  </a:lnTo>
                  <a:lnTo>
                    <a:pt x="1058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72"/>
                  </a:lnTo>
                  <a:lnTo>
                    <a:pt x="1060" y="369"/>
                  </a:lnTo>
                  <a:lnTo>
                    <a:pt x="1060" y="369"/>
                  </a:lnTo>
                  <a:lnTo>
                    <a:pt x="1063" y="369"/>
                  </a:lnTo>
                  <a:lnTo>
                    <a:pt x="1063" y="369"/>
                  </a:lnTo>
                  <a:lnTo>
                    <a:pt x="1063" y="366"/>
                  </a:lnTo>
                  <a:lnTo>
                    <a:pt x="1063" y="366"/>
                  </a:lnTo>
                  <a:lnTo>
                    <a:pt x="1066" y="366"/>
                  </a:lnTo>
                  <a:lnTo>
                    <a:pt x="1066" y="366"/>
                  </a:lnTo>
                  <a:lnTo>
                    <a:pt x="1066" y="364"/>
                  </a:lnTo>
                  <a:lnTo>
                    <a:pt x="1066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1"/>
                  </a:lnTo>
                  <a:lnTo>
                    <a:pt x="1068" y="361"/>
                  </a:lnTo>
                  <a:lnTo>
                    <a:pt x="1071" y="361"/>
                  </a:lnTo>
                  <a:lnTo>
                    <a:pt x="1071" y="361"/>
                  </a:lnTo>
                  <a:lnTo>
                    <a:pt x="1071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4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68" y="366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1" y="369"/>
                  </a:lnTo>
                  <a:lnTo>
                    <a:pt x="1074" y="369"/>
                  </a:lnTo>
                  <a:lnTo>
                    <a:pt x="1074" y="366"/>
                  </a:lnTo>
                  <a:lnTo>
                    <a:pt x="1074" y="366"/>
                  </a:lnTo>
                  <a:lnTo>
                    <a:pt x="1074" y="366"/>
                  </a:lnTo>
                  <a:lnTo>
                    <a:pt x="1076" y="366"/>
                  </a:lnTo>
                  <a:lnTo>
                    <a:pt x="1076" y="366"/>
                  </a:lnTo>
                  <a:lnTo>
                    <a:pt x="1076" y="364"/>
                  </a:lnTo>
                  <a:lnTo>
                    <a:pt x="1076" y="364"/>
                  </a:lnTo>
                  <a:lnTo>
                    <a:pt x="1076" y="364"/>
                  </a:lnTo>
                  <a:lnTo>
                    <a:pt x="1074" y="364"/>
                  </a:lnTo>
                  <a:lnTo>
                    <a:pt x="1074" y="364"/>
                  </a:lnTo>
                  <a:lnTo>
                    <a:pt x="1074" y="364"/>
                  </a:lnTo>
                  <a:lnTo>
                    <a:pt x="1074" y="361"/>
                  </a:lnTo>
                  <a:lnTo>
                    <a:pt x="1074" y="361"/>
                  </a:lnTo>
                  <a:lnTo>
                    <a:pt x="1071" y="361"/>
                  </a:lnTo>
                  <a:lnTo>
                    <a:pt x="1071" y="361"/>
                  </a:lnTo>
                  <a:lnTo>
                    <a:pt x="1074" y="358"/>
                  </a:lnTo>
                  <a:lnTo>
                    <a:pt x="1074" y="358"/>
                  </a:lnTo>
                  <a:lnTo>
                    <a:pt x="1074" y="358"/>
                  </a:lnTo>
                  <a:lnTo>
                    <a:pt x="1074" y="356"/>
                  </a:lnTo>
                  <a:lnTo>
                    <a:pt x="1074" y="356"/>
                  </a:lnTo>
                  <a:lnTo>
                    <a:pt x="1076" y="356"/>
                  </a:lnTo>
                  <a:lnTo>
                    <a:pt x="1076" y="356"/>
                  </a:lnTo>
                  <a:lnTo>
                    <a:pt x="1076" y="356"/>
                  </a:lnTo>
                  <a:lnTo>
                    <a:pt x="1079" y="356"/>
                  </a:lnTo>
                  <a:lnTo>
                    <a:pt x="1079" y="356"/>
                  </a:lnTo>
                  <a:lnTo>
                    <a:pt x="1079" y="356"/>
                  </a:lnTo>
                  <a:lnTo>
                    <a:pt x="1082" y="356"/>
                  </a:lnTo>
                  <a:lnTo>
                    <a:pt x="1082" y="356"/>
                  </a:lnTo>
                  <a:lnTo>
                    <a:pt x="1082" y="356"/>
                  </a:lnTo>
                  <a:lnTo>
                    <a:pt x="1084" y="356"/>
                  </a:lnTo>
                  <a:lnTo>
                    <a:pt x="1084" y="356"/>
                  </a:lnTo>
                  <a:lnTo>
                    <a:pt x="1084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87" y="356"/>
                  </a:lnTo>
                  <a:lnTo>
                    <a:pt x="1090" y="356"/>
                  </a:lnTo>
                  <a:lnTo>
                    <a:pt x="1090" y="356"/>
                  </a:lnTo>
                  <a:lnTo>
                    <a:pt x="1090" y="356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2" y="358"/>
                  </a:lnTo>
                  <a:lnTo>
                    <a:pt x="1095" y="361"/>
                  </a:lnTo>
                  <a:lnTo>
                    <a:pt x="1095" y="361"/>
                  </a:lnTo>
                  <a:lnTo>
                    <a:pt x="1095" y="364"/>
                  </a:lnTo>
                  <a:lnTo>
                    <a:pt x="1095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4"/>
                  </a:lnTo>
                  <a:lnTo>
                    <a:pt x="1098" y="366"/>
                  </a:lnTo>
                  <a:lnTo>
                    <a:pt x="1098" y="366"/>
                  </a:lnTo>
                  <a:lnTo>
                    <a:pt x="1100" y="366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0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6" y="369"/>
                  </a:lnTo>
                  <a:lnTo>
                    <a:pt x="1106" y="366"/>
                  </a:lnTo>
                  <a:lnTo>
                    <a:pt x="1106" y="366"/>
                  </a:lnTo>
                  <a:lnTo>
                    <a:pt x="1106" y="366"/>
                  </a:lnTo>
                  <a:lnTo>
                    <a:pt x="1108" y="366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08" y="361"/>
                  </a:lnTo>
                  <a:lnTo>
                    <a:pt x="1108" y="361"/>
                  </a:lnTo>
                  <a:lnTo>
                    <a:pt x="1106" y="361"/>
                  </a:lnTo>
                  <a:lnTo>
                    <a:pt x="1106" y="361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11" y="356"/>
                  </a:lnTo>
                  <a:lnTo>
                    <a:pt x="1111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4" y="356"/>
                  </a:lnTo>
                  <a:lnTo>
                    <a:pt x="1116" y="356"/>
                  </a:lnTo>
                  <a:lnTo>
                    <a:pt x="1116" y="356"/>
                  </a:lnTo>
                  <a:lnTo>
                    <a:pt x="1119" y="353"/>
                  </a:lnTo>
                  <a:lnTo>
                    <a:pt x="1119" y="353"/>
                  </a:lnTo>
                  <a:lnTo>
                    <a:pt x="1119" y="353"/>
                  </a:lnTo>
                  <a:lnTo>
                    <a:pt x="1119" y="350"/>
                  </a:lnTo>
                  <a:lnTo>
                    <a:pt x="1119" y="350"/>
                  </a:lnTo>
                  <a:lnTo>
                    <a:pt x="1119" y="350"/>
                  </a:lnTo>
                  <a:lnTo>
                    <a:pt x="1122" y="350"/>
                  </a:lnTo>
                  <a:lnTo>
                    <a:pt x="1122" y="350"/>
                  </a:lnTo>
                  <a:lnTo>
                    <a:pt x="1122" y="348"/>
                  </a:lnTo>
                  <a:lnTo>
                    <a:pt x="1122" y="348"/>
                  </a:lnTo>
                  <a:lnTo>
                    <a:pt x="1122" y="348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22" y="345"/>
                  </a:lnTo>
                  <a:lnTo>
                    <a:pt x="1119" y="345"/>
                  </a:lnTo>
                  <a:lnTo>
                    <a:pt x="1119" y="345"/>
                  </a:lnTo>
                  <a:lnTo>
                    <a:pt x="1116" y="342"/>
                  </a:lnTo>
                  <a:lnTo>
                    <a:pt x="1114" y="342"/>
                  </a:lnTo>
                  <a:lnTo>
                    <a:pt x="1114" y="342"/>
                  </a:lnTo>
                  <a:lnTo>
                    <a:pt x="1114" y="340"/>
                  </a:lnTo>
                  <a:lnTo>
                    <a:pt x="1111" y="340"/>
                  </a:lnTo>
                  <a:lnTo>
                    <a:pt x="1111" y="340"/>
                  </a:lnTo>
                  <a:lnTo>
                    <a:pt x="1111" y="340"/>
                  </a:lnTo>
                  <a:lnTo>
                    <a:pt x="1108" y="337"/>
                  </a:lnTo>
                  <a:lnTo>
                    <a:pt x="1108" y="337"/>
                  </a:lnTo>
                  <a:lnTo>
                    <a:pt x="1108" y="334"/>
                  </a:lnTo>
                  <a:lnTo>
                    <a:pt x="1106" y="334"/>
                  </a:lnTo>
                  <a:lnTo>
                    <a:pt x="1106" y="334"/>
                  </a:lnTo>
                  <a:lnTo>
                    <a:pt x="1106" y="334"/>
                  </a:lnTo>
                  <a:lnTo>
                    <a:pt x="1103" y="332"/>
                  </a:lnTo>
                  <a:lnTo>
                    <a:pt x="1103" y="332"/>
                  </a:lnTo>
                  <a:lnTo>
                    <a:pt x="1103" y="332"/>
                  </a:lnTo>
                  <a:lnTo>
                    <a:pt x="1103" y="329"/>
                  </a:lnTo>
                  <a:lnTo>
                    <a:pt x="1100" y="329"/>
                  </a:lnTo>
                  <a:lnTo>
                    <a:pt x="1100" y="326"/>
                  </a:lnTo>
                  <a:lnTo>
                    <a:pt x="1100" y="326"/>
                  </a:lnTo>
                  <a:lnTo>
                    <a:pt x="1100" y="326"/>
                  </a:lnTo>
                  <a:lnTo>
                    <a:pt x="1100" y="324"/>
                  </a:lnTo>
                  <a:lnTo>
                    <a:pt x="1098" y="324"/>
                  </a:lnTo>
                  <a:lnTo>
                    <a:pt x="1098" y="324"/>
                  </a:lnTo>
                  <a:lnTo>
                    <a:pt x="1098" y="321"/>
                  </a:lnTo>
                  <a:lnTo>
                    <a:pt x="1098" y="321"/>
                  </a:lnTo>
                  <a:lnTo>
                    <a:pt x="1098" y="321"/>
                  </a:lnTo>
                  <a:lnTo>
                    <a:pt x="1098" y="318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8" y="316"/>
                  </a:lnTo>
                  <a:lnTo>
                    <a:pt x="1095" y="316"/>
                  </a:lnTo>
                  <a:lnTo>
                    <a:pt x="1095" y="316"/>
                  </a:lnTo>
                  <a:lnTo>
                    <a:pt x="1095" y="316"/>
                  </a:lnTo>
                  <a:lnTo>
                    <a:pt x="1092" y="316"/>
                  </a:lnTo>
                  <a:lnTo>
                    <a:pt x="1092" y="313"/>
                  </a:lnTo>
                  <a:lnTo>
                    <a:pt x="1092" y="313"/>
                  </a:lnTo>
                  <a:lnTo>
                    <a:pt x="1092" y="313"/>
                  </a:lnTo>
                  <a:lnTo>
                    <a:pt x="1090" y="310"/>
                  </a:lnTo>
                  <a:lnTo>
                    <a:pt x="1090" y="310"/>
                  </a:lnTo>
                  <a:lnTo>
                    <a:pt x="1090" y="310"/>
                  </a:lnTo>
                  <a:lnTo>
                    <a:pt x="1087" y="313"/>
                  </a:lnTo>
                  <a:lnTo>
                    <a:pt x="1087" y="313"/>
                  </a:lnTo>
                  <a:lnTo>
                    <a:pt x="1087" y="313"/>
                  </a:lnTo>
                  <a:lnTo>
                    <a:pt x="1084" y="313"/>
                  </a:lnTo>
                  <a:lnTo>
                    <a:pt x="1084" y="313"/>
                  </a:lnTo>
                  <a:lnTo>
                    <a:pt x="1084" y="313"/>
                  </a:lnTo>
                  <a:lnTo>
                    <a:pt x="1082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6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79" y="313"/>
                  </a:lnTo>
                  <a:lnTo>
                    <a:pt x="1082" y="313"/>
                  </a:lnTo>
                  <a:lnTo>
                    <a:pt x="1082" y="313"/>
                  </a:lnTo>
                  <a:lnTo>
                    <a:pt x="1082" y="310"/>
                  </a:lnTo>
                  <a:lnTo>
                    <a:pt x="1082" y="310"/>
                  </a:lnTo>
                  <a:lnTo>
                    <a:pt x="1084" y="310"/>
                  </a:lnTo>
                  <a:lnTo>
                    <a:pt x="1084" y="310"/>
                  </a:lnTo>
                  <a:lnTo>
                    <a:pt x="1084" y="310"/>
                  </a:lnTo>
                  <a:lnTo>
                    <a:pt x="1087" y="310"/>
                  </a:lnTo>
                  <a:lnTo>
                    <a:pt x="1087" y="308"/>
                  </a:lnTo>
                  <a:lnTo>
                    <a:pt x="1087" y="308"/>
                  </a:lnTo>
                  <a:lnTo>
                    <a:pt x="1087" y="308"/>
                  </a:lnTo>
                  <a:lnTo>
                    <a:pt x="1087" y="305"/>
                  </a:lnTo>
                  <a:lnTo>
                    <a:pt x="1087" y="305"/>
                  </a:lnTo>
                  <a:lnTo>
                    <a:pt x="1087" y="302"/>
                  </a:lnTo>
                  <a:lnTo>
                    <a:pt x="1087" y="302"/>
                  </a:lnTo>
                  <a:lnTo>
                    <a:pt x="1084" y="302"/>
                  </a:lnTo>
                  <a:lnTo>
                    <a:pt x="1084" y="299"/>
                  </a:lnTo>
                  <a:lnTo>
                    <a:pt x="1084" y="299"/>
                  </a:lnTo>
                  <a:lnTo>
                    <a:pt x="1084" y="299"/>
                  </a:lnTo>
                  <a:lnTo>
                    <a:pt x="1084" y="297"/>
                  </a:lnTo>
                  <a:lnTo>
                    <a:pt x="1084" y="297"/>
                  </a:lnTo>
                  <a:lnTo>
                    <a:pt x="1084" y="297"/>
                  </a:lnTo>
                  <a:lnTo>
                    <a:pt x="1084" y="294"/>
                  </a:lnTo>
                  <a:lnTo>
                    <a:pt x="1084" y="294"/>
                  </a:lnTo>
                  <a:lnTo>
                    <a:pt x="1084" y="291"/>
                  </a:lnTo>
                  <a:lnTo>
                    <a:pt x="1084" y="291"/>
                  </a:lnTo>
                  <a:lnTo>
                    <a:pt x="1084" y="289"/>
                  </a:lnTo>
                  <a:lnTo>
                    <a:pt x="1084" y="289"/>
                  </a:lnTo>
                  <a:lnTo>
                    <a:pt x="1084" y="286"/>
                  </a:lnTo>
                  <a:lnTo>
                    <a:pt x="1084" y="286"/>
                  </a:lnTo>
                  <a:lnTo>
                    <a:pt x="1084" y="286"/>
                  </a:lnTo>
                  <a:lnTo>
                    <a:pt x="1084" y="283"/>
                  </a:lnTo>
                  <a:lnTo>
                    <a:pt x="1084" y="283"/>
                  </a:lnTo>
                  <a:lnTo>
                    <a:pt x="1084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87" y="283"/>
                  </a:lnTo>
                  <a:lnTo>
                    <a:pt x="1090" y="283"/>
                  </a:lnTo>
                  <a:lnTo>
                    <a:pt x="1090" y="283"/>
                  </a:lnTo>
                  <a:lnTo>
                    <a:pt x="1090" y="283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81"/>
                  </a:lnTo>
                  <a:lnTo>
                    <a:pt x="1092" y="278"/>
                  </a:lnTo>
                  <a:lnTo>
                    <a:pt x="1092" y="278"/>
                  </a:lnTo>
                  <a:lnTo>
                    <a:pt x="1092" y="275"/>
                  </a:lnTo>
                  <a:lnTo>
                    <a:pt x="1092" y="275"/>
                  </a:lnTo>
                  <a:lnTo>
                    <a:pt x="1092" y="275"/>
                  </a:lnTo>
                  <a:lnTo>
                    <a:pt x="1090" y="273"/>
                  </a:lnTo>
                  <a:lnTo>
                    <a:pt x="1090" y="275"/>
                  </a:lnTo>
                  <a:lnTo>
                    <a:pt x="1087" y="275"/>
                  </a:lnTo>
                  <a:lnTo>
                    <a:pt x="1087" y="275"/>
                  </a:lnTo>
                  <a:lnTo>
                    <a:pt x="1087" y="275"/>
                  </a:lnTo>
                  <a:lnTo>
                    <a:pt x="1084" y="275"/>
                  </a:lnTo>
                  <a:lnTo>
                    <a:pt x="1084" y="275"/>
                  </a:lnTo>
                  <a:lnTo>
                    <a:pt x="1084" y="275"/>
                  </a:lnTo>
                  <a:lnTo>
                    <a:pt x="1082" y="275"/>
                  </a:lnTo>
                  <a:lnTo>
                    <a:pt x="1082" y="278"/>
                  </a:lnTo>
                  <a:lnTo>
                    <a:pt x="1082" y="278"/>
                  </a:lnTo>
                  <a:lnTo>
                    <a:pt x="1079" y="278"/>
                  </a:lnTo>
                  <a:lnTo>
                    <a:pt x="1079" y="278"/>
                  </a:lnTo>
                  <a:lnTo>
                    <a:pt x="1076" y="281"/>
                  </a:lnTo>
                  <a:lnTo>
                    <a:pt x="1076" y="281"/>
                  </a:lnTo>
                  <a:lnTo>
                    <a:pt x="1074" y="281"/>
                  </a:lnTo>
                  <a:lnTo>
                    <a:pt x="1074" y="281"/>
                  </a:lnTo>
                  <a:lnTo>
                    <a:pt x="1074" y="281"/>
                  </a:lnTo>
                  <a:lnTo>
                    <a:pt x="1071" y="281"/>
                  </a:lnTo>
                  <a:lnTo>
                    <a:pt x="1071" y="281"/>
                  </a:lnTo>
                  <a:lnTo>
                    <a:pt x="1071" y="283"/>
                  </a:lnTo>
                  <a:lnTo>
                    <a:pt x="1068" y="283"/>
                  </a:lnTo>
                  <a:lnTo>
                    <a:pt x="1068" y="286"/>
                  </a:lnTo>
                  <a:lnTo>
                    <a:pt x="1068" y="286"/>
                  </a:lnTo>
                  <a:lnTo>
                    <a:pt x="1068" y="286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89"/>
                  </a:lnTo>
                  <a:lnTo>
                    <a:pt x="1068" y="291"/>
                  </a:lnTo>
                  <a:lnTo>
                    <a:pt x="1068" y="291"/>
                  </a:lnTo>
                  <a:lnTo>
                    <a:pt x="1071" y="291"/>
                  </a:lnTo>
                  <a:lnTo>
                    <a:pt x="1071" y="289"/>
                  </a:lnTo>
                  <a:lnTo>
                    <a:pt x="1074" y="289"/>
                  </a:lnTo>
                  <a:lnTo>
                    <a:pt x="1076" y="289"/>
                  </a:lnTo>
                  <a:lnTo>
                    <a:pt x="1074" y="291"/>
                  </a:lnTo>
                  <a:lnTo>
                    <a:pt x="1074" y="291"/>
                  </a:lnTo>
                  <a:lnTo>
                    <a:pt x="1071" y="291"/>
                  </a:lnTo>
                  <a:lnTo>
                    <a:pt x="1071" y="291"/>
                  </a:lnTo>
                  <a:lnTo>
                    <a:pt x="1071" y="291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6" y="297"/>
                  </a:lnTo>
                  <a:lnTo>
                    <a:pt x="1066" y="297"/>
                  </a:lnTo>
                  <a:lnTo>
                    <a:pt x="1066" y="297"/>
                  </a:lnTo>
                  <a:lnTo>
                    <a:pt x="1063" y="297"/>
                  </a:lnTo>
                  <a:lnTo>
                    <a:pt x="1063" y="297"/>
                  </a:lnTo>
                  <a:lnTo>
                    <a:pt x="1063" y="297"/>
                  </a:lnTo>
                  <a:lnTo>
                    <a:pt x="1060" y="297"/>
                  </a:lnTo>
                  <a:lnTo>
                    <a:pt x="1060" y="294"/>
                  </a:lnTo>
                  <a:lnTo>
                    <a:pt x="1060" y="294"/>
                  </a:lnTo>
                  <a:lnTo>
                    <a:pt x="1058" y="294"/>
                  </a:lnTo>
                  <a:lnTo>
                    <a:pt x="1058" y="294"/>
                  </a:lnTo>
                  <a:lnTo>
                    <a:pt x="1058" y="291"/>
                  </a:lnTo>
                  <a:lnTo>
                    <a:pt x="1055" y="291"/>
                  </a:lnTo>
                  <a:lnTo>
                    <a:pt x="1055" y="289"/>
                  </a:lnTo>
                  <a:lnTo>
                    <a:pt x="1055" y="286"/>
                  </a:lnTo>
                  <a:lnTo>
                    <a:pt x="1055" y="283"/>
                  </a:lnTo>
                  <a:lnTo>
                    <a:pt x="1052" y="283"/>
                  </a:lnTo>
                  <a:lnTo>
                    <a:pt x="1052" y="281"/>
                  </a:lnTo>
                  <a:lnTo>
                    <a:pt x="1052" y="281"/>
                  </a:lnTo>
                  <a:lnTo>
                    <a:pt x="1052" y="278"/>
                  </a:lnTo>
                  <a:lnTo>
                    <a:pt x="1052" y="275"/>
                  </a:lnTo>
                  <a:lnTo>
                    <a:pt x="1052" y="275"/>
                  </a:lnTo>
                  <a:lnTo>
                    <a:pt x="1055" y="273"/>
                  </a:lnTo>
                  <a:lnTo>
                    <a:pt x="1055" y="273"/>
                  </a:lnTo>
                  <a:lnTo>
                    <a:pt x="1052" y="270"/>
                  </a:lnTo>
                  <a:lnTo>
                    <a:pt x="1055" y="270"/>
                  </a:lnTo>
                  <a:lnTo>
                    <a:pt x="1055" y="267"/>
                  </a:lnTo>
                  <a:lnTo>
                    <a:pt x="1055" y="265"/>
                  </a:lnTo>
                  <a:lnTo>
                    <a:pt x="1055" y="265"/>
                  </a:lnTo>
                  <a:lnTo>
                    <a:pt x="1055" y="262"/>
                  </a:lnTo>
                  <a:lnTo>
                    <a:pt x="1055" y="259"/>
                  </a:lnTo>
                  <a:lnTo>
                    <a:pt x="1058" y="259"/>
                  </a:lnTo>
                  <a:lnTo>
                    <a:pt x="1058" y="257"/>
                  </a:lnTo>
                  <a:lnTo>
                    <a:pt x="1058" y="257"/>
                  </a:lnTo>
                  <a:lnTo>
                    <a:pt x="1060" y="254"/>
                  </a:lnTo>
                  <a:lnTo>
                    <a:pt x="1060" y="254"/>
                  </a:lnTo>
                  <a:lnTo>
                    <a:pt x="1063" y="254"/>
                  </a:lnTo>
                  <a:lnTo>
                    <a:pt x="1066" y="251"/>
                  </a:lnTo>
                  <a:lnTo>
                    <a:pt x="1066" y="251"/>
                  </a:lnTo>
                  <a:lnTo>
                    <a:pt x="1068" y="251"/>
                  </a:lnTo>
                  <a:lnTo>
                    <a:pt x="1071" y="251"/>
                  </a:lnTo>
                  <a:lnTo>
                    <a:pt x="1071" y="251"/>
                  </a:lnTo>
                  <a:lnTo>
                    <a:pt x="1074" y="251"/>
                  </a:lnTo>
                  <a:lnTo>
                    <a:pt x="1074" y="249"/>
                  </a:lnTo>
                  <a:lnTo>
                    <a:pt x="1076" y="249"/>
                  </a:lnTo>
                  <a:lnTo>
                    <a:pt x="1079" y="246"/>
                  </a:lnTo>
                  <a:lnTo>
                    <a:pt x="1079" y="246"/>
                  </a:lnTo>
                  <a:lnTo>
                    <a:pt x="1082" y="246"/>
                  </a:lnTo>
                  <a:lnTo>
                    <a:pt x="1082" y="243"/>
                  </a:lnTo>
                  <a:lnTo>
                    <a:pt x="1084" y="243"/>
                  </a:lnTo>
                  <a:lnTo>
                    <a:pt x="1084" y="243"/>
                  </a:lnTo>
                  <a:lnTo>
                    <a:pt x="1084" y="243"/>
                  </a:lnTo>
                  <a:lnTo>
                    <a:pt x="1087" y="241"/>
                  </a:lnTo>
                  <a:lnTo>
                    <a:pt x="1087" y="241"/>
                  </a:lnTo>
                  <a:lnTo>
                    <a:pt x="1087" y="241"/>
                  </a:lnTo>
                  <a:lnTo>
                    <a:pt x="1087" y="238"/>
                  </a:lnTo>
                  <a:lnTo>
                    <a:pt x="1087" y="238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90" y="235"/>
                  </a:lnTo>
                  <a:lnTo>
                    <a:pt x="1090" y="235"/>
                  </a:lnTo>
                  <a:lnTo>
                    <a:pt x="1090" y="235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2" y="233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5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7"/>
                  </a:lnTo>
                  <a:lnTo>
                    <a:pt x="1092" y="225"/>
                  </a:lnTo>
                  <a:lnTo>
                    <a:pt x="1092" y="225"/>
                  </a:lnTo>
                  <a:lnTo>
                    <a:pt x="1092" y="222"/>
                  </a:lnTo>
                  <a:lnTo>
                    <a:pt x="1092" y="222"/>
                  </a:lnTo>
                  <a:lnTo>
                    <a:pt x="1092" y="222"/>
                  </a:lnTo>
                  <a:lnTo>
                    <a:pt x="1092" y="219"/>
                  </a:lnTo>
                  <a:lnTo>
                    <a:pt x="1092" y="219"/>
                  </a:lnTo>
                  <a:lnTo>
                    <a:pt x="1090" y="219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7"/>
                  </a:lnTo>
                  <a:lnTo>
                    <a:pt x="1090" y="214"/>
                  </a:lnTo>
                  <a:lnTo>
                    <a:pt x="1087" y="214"/>
                  </a:lnTo>
                  <a:lnTo>
                    <a:pt x="1084" y="211"/>
                  </a:lnTo>
                  <a:lnTo>
                    <a:pt x="1084" y="214"/>
                  </a:lnTo>
                  <a:lnTo>
                    <a:pt x="1084" y="214"/>
                  </a:lnTo>
                  <a:lnTo>
                    <a:pt x="1084" y="214"/>
                  </a:lnTo>
                  <a:lnTo>
                    <a:pt x="1079" y="211"/>
                  </a:lnTo>
                  <a:lnTo>
                    <a:pt x="1079" y="211"/>
                  </a:lnTo>
                  <a:lnTo>
                    <a:pt x="1076" y="211"/>
                  </a:lnTo>
                  <a:lnTo>
                    <a:pt x="1074" y="209"/>
                  </a:lnTo>
                  <a:lnTo>
                    <a:pt x="1074" y="209"/>
                  </a:lnTo>
                  <a:lnTo>
                    <a:pt x="1074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71" y="209"/>
                  </a:lnTo>
                  <a:lnTo>
                    <a:pt x="1068" y="206"/>
                  </a:lnTo>
                  <a:lnTo>
                    <a:pt x="1068" y="203"/>
                  </a:lnTo>
                  <a:lnTo>
                    <a:pt x="1066" y="203"/>
                  </a:lnTo>
                  <a:lnTo>
                    <a:pt x="1066" y="203"/>
                  </a:lnTo>
                  <a:lnTo>
                    <a:pt x="1066" y="201"/>
                  </a:lnTo>
                  <a:lnTo>
                    <a:pt x="1071" y="198"/>
                  </a:lnTo>
                  <a:lnTo>
                    <a:pt x="1074" y="198"/>
                  </a:lnTo>
                  <a:lnTo>
                    <a:pt x="1074" y="198"/>
                  </a:lnTo>
                  <a:lnTo>
                    <a:pt x="1076" y="198"/>
                  </a:lnTo>
                  <a:lnTo>
                    <a:pt x="1076" y="198"/>
                  </a:lnTo>
                  <a:lnTo>
                    <a:pt x="1079" y="195"/>
                  </a:lnTo>
                  <a:lnTo>
                    <a:pt x="1082" y="195"/>
                  </a:lnTo>
                  <a:lnTo>
                    <a:pt x="1082" y="195"/>
                  </a:lnTo>
                  <a:lnTo>
                    <a:pt x="1084" y="195"/>
                  </a:lnTo>
                  <a:lnTo>
                    <a:pt x="1084" y="195"/>
                  </a:lnTo>
                  <a:lnTo>
                    <a:pt x="1087" y="193"/>
                  </a:lnTo>
                  <a:lnTo>
                    <a:pt x="1087" y="193"/>
                  </a:lnTo>
                  <a:lnTo>
                    <a:pt x="1090" y="193"/>
                  </a:lnTo>
                  <a:lnTo>
                    <a:pt x="1092" y="193"/>
                  </a:lnTo>
                  <a:lnTo>
                    <a:pt x="1092" y="195"/>
                  </a:lnTo>
                  <a:lnTo>
                    <a:pt x="1095" y="195"/>
                  </a:lnTo>
                  <a:lnTo>
                    <a:pt x="1100" y="198"/>
                  </a:lnTo>
                  <a:lnTo>
                    <a:pt x="1103" y="198"/>
                  </a:lnTo>
                  <a:lnTo>
                    <a:pt x="1106" y="195"/>
                  </a:lnTo>
                  <a:lnTo>
                    <a:pt x="1111" y="195"/>
                  </a:lnTo>
                  <a:lnTo>
                    <a:pt x="1119" y="193"/>
                  </a:lnTo>
                  <a:lnTo>
                    <a:pt x="1127" y="190"/>
                  </a:lnTo>
                  <a:lnTo>
                    <a:pt x="1132" y="187"/>
                  </a:lnTo>
                  <a:lnTo>
                    <a:pt x="1138" y="185"/>
                  </a:lnTo>
                  <a:lnTo>
                    <a:pt x="1143" y="179"/>
                  </a:lnTo>
                  <a:lnTo>
                    <a:pt x="1154" y="174"/>
                  </a:lnTo>
                  <a:lnTo>
                    <a:pt x="1159" y="171"/>
                  </a:lnTo>
                  <a:lnTo>
                    <a:pt x="1162" y="171"/>
                  </a:lnTo>
                  <a:lnTo>
                    <a:pt x="1164" y="171"/>
                  </a:lnTo>
                  <a:lnTo>
                    <a:pt x="1164" y="171"/>
                  </a:lnTo>
                  <a:lnTo>
                    <a:pt x="1167" y="171"/>
                  </a:lnTo>
                  <a:lnTo>
                    <a:pt x="1167" y="169"/>
                  </a:lnTo>
                  <a:lnTo>
                    <a:pt x="1170" y="169"/>
                  </a:lnTo>
                  <a:lnTo>
                    <a:pt x="1170" y="169"/>
                  </a:lnTo>
                  <a:lnTo>
                    <a:pt x="1170" y="169"/>
                  </a:lnTo>
                  <a:lnTo>
                    <a:pt x="1172" y="166"/>
                  </a:lnTo>
                  <a:lnTo>
                    <a:pt x="1175" y="166"/>
                  </a:lnTo>
                  <a:lnTo>
                    <a:pt x="1178" y="166"/>
                  </a:lnTo>
                  <a:lnTo>
                    <a:pt x="1178" y="163"/>
                  </a:lnTo>
                  <a:lnTo>
                    <a:pt x="1180" y="163"/>
                  </a:lnTo>
                  <a:lnTo>
                    <a:pt x="1188" y="161"/>
                  </a:lnTo>
                  <a:lnTo>
                    <a:pt x="1188" y="161"/>
                  </a:lnTo>
                  <a:lnTo>
                    <a:pt x="1191" y="158"/>
                  </a:lnTo>
                  <a:lnTo>
                    <a:pt x="1191" y="158"/>
                  </a:lnTo>
                  <a:lnTo>
                    <a:pt x="1194" y="158"/>
                  </a:lnTo>
                  <a:lnTo>
                    <a:pt x="1196" y="158"/>
                  </a:lnTo>
                  <a:lnTo>
                    <a:pt x="1196" y="158"/>
                  </a:lnTo>
                  <a:lnTo>
                    <a:pt x="1199" y="158"/>
                  </a:lnTo>
                  <a:lnTo>
                    <a:pt x="1202" y="155"/>
                  </a:lnTo>
                  <a:lnTo>
                    <a:pt x="1205" y="155"/>
                  </a:lnTo>
                  <a:lnTo>
                    <a:pt x="1205" y="155"/>
                  </a:lnTo>
                  <a:lnTo>
                    <a:pt x="1207" y="155"/>
                  </a:lnTo>
                  <a:lnTo>
                    <a:pt x="1207" y="155"/>
                  </a:lnTo>
                  <a:lnTo>
                    <a:pt x="1210" y="155"/>
                  </a:lnTo>
                  <a:lnTo>
                    <a:pt x="1215" y="153"/>
                  </a:lnTo>
                  <a:lnTo>
                    <a:pt x="1215" y="153"/>
                  </a:lnTo>
                  <a:lnTo>
                    <a:pt x="1221" y="150"/>
                  </a:lnTo>
                  <a:lnTo>
                    <a:pt x="1221" y="150"/>
                  </a:lnTo>
                  <a:lnTo>
                    <a:pt x="1223" y="147"/>
                  </a:lnTo>
                  <a:lnTo>
                    <a:pt x="1223" y="147"/>
                  </a:lnTo>
                  <a:lnTo>
                    <a:pt x="1226" y="147"/>
                  </a:lnTo>
                  <a:lnTo>
                    <a:pt x="1226" y="147"/>
                  </a:lnTo>
                  <a:lnTo>
                    <a:pt x="1229" y="147"/>
                  </a:lnTo>
                  <a:lnTo>
                    <a:pt x="1229" y="147"/>
                  </a:lnTo>
                  <a:lnTo>
                    <a:pt x="1231" y="147"/>
                  </a:lnTo>
                  <a:lnTo>
                    <a:pt x="1239" y="147"/>
                  </a:lnTo>
                  <a:lnTo>
                    <a:pt x="1242" y="147"/>
                  </a:lnTo>
                  <a:lnTo>
                    <a:pt x="1242" y="144"/>
                  </a:lnTo>
                  <a:lnTo>
                    <a:pt x="1242" y="147"/>
                  </a:lnTo>
                  <a:lnTo>
                    <a:pt x="1245" y="144"/>
                  </a:lnTo>
                  <a:lnTo>
                    <a:pt x="1247" y="144"/>
                  </a:lnTo>
                  <a:lnTo>
                    <a:pt x="1253" y="142"/>
                  </a:lnTo>
                  <a:lnTo>
                    <a:pt x="1255" y="142"/>
                  </a:lnTo>
                  <a:lnTo>
                    <a:pt x="1261" y="142"/>
                  </a:lnTo>
                  <a:lnTo>
                    <a:pt x="1266" y="142"/>
                  </a:lnTo>
                  <a:lnTo>
                    <a:pt x="1271" y="142"/>
                  </a:lnTo>
                  <a:lnTo>
                    <a:pt x="1271" y="142"/>
                  </a:lnTo>
                  <a:lnTo>
                    <a:pt x="1274" y="142"/>
                  </a:lnTo>
                  <a:lnTo>
                    <a:pt x="1277" y="142"/>
                  </a:lnTo>
                  <a:lnTo>
                    <a:pt x="1277" y="142"/>
                  </a:lnTo>
                  <a:lnTo>
                    <a:pt x="1277" y="142"/>
                  </a:lnTo>
                  <a:lnTo>
                    <a:pt x="1274" y="144"/>
                  </a:lnTo>
                  <a:lnTo>
                    <a:pt x="1271" y="147"/>
                  </a:lnTo>
                  <a:lnTo>
                    <a:pt x="1269" y="147"/>
                  </a:lnTo>
                  <a:lnTo>
                    <a:pt x="1266" y="150"/>
                  </a:lnTo>
                  <a:lnTo>
                    <a:pt x="1261" y="153"/>
                  </a:lnTo>
                  <a:lnTo>
                    <a:pt x="1255" y="155"/>
                  </a:lnTo>
                  <a:lnTo>
                    <a:pt x="1253" y="158"/>
                  </a:lnTo>
                  <a:lnTo>
                    <a:pt x="1250" y="161"/>
                  </a:lnTo>
                  <a:lnTo>
                    <a:pt x="1247" y="161"/>
                  </a:lnTo>
                  <a:lnTo>
                    <a:pt x="1245" y="163"/>
                  </a:lnTo>
                  <a:lnTo>
                    <a:pt x="1242" y="163"/>
                  </a:lnTo>
                  <a:lnTo>
                    <a:pt x="1242" y="163"/>
                  </a:lnTo>
                  <a:lnTo>
                    <a:pt x="1239" y="166"/>
                  </a:lnTo>
                  <a:lnTo>
                    <a:pt x="1239" y="166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7" y="169"/>
                  </a:lnTo>
                  <a:lnTo>
                    <a:pt x="1234" y="169"/>
                  </a:lnTo>
                  <a:lnTo>
                    <a:pt x="1234" y="166"/>
                  </a:lnTo>
                  <a:lnTo>
                    <a:pt x="1231" y="166"/>
                  </a:lnTo>
                  <a:lnTo>
                    <a:pt x="1231" y="166"/>
                  </a:lnTo>
                  <a:lnTo>
                    <a:pt x="1229" y="166"/>
                  </a:lnTo>
                  <a:lnTo>
                    <a:pt x="1229" y="166"/>
                  </a:lnTo>
                  <a:lnTo>
                    <a:pt x="1229" y="163"/>
                  </a:lnTo>
                  <a:lnTo>
                    <a:pt x="1226" y="163"/>
                  </a:lnTo>
                  <a:lnTo>
                    <a:pt x="1226" y="163"/>
                  </a:lnTo>
                  <a:lnTo>
                    <a:pt x="1226" y="166"/>
                  </a:lnTo>
                  <a:lnTo>
                    <a:pt x="1226" y="166"/>
                  </a:lnTo>
                  <a:lnTo>
                    <a:pt x="1226" y="169"/>
                  </a:lnTo>
                  <a:lnTo>
                    <a:pt x="1223" y="169"/>
                  </a:lnTo>
                  <a:lnTo>
                    <a:pt x="1223" y="169"/>
                  </a:lnTo>
                  <a:lnTo>
                    <a:pt x="1223" y="169"/>
                  </a:lnTo>
                  <a:lnTo>
                    <a:pt x="1221" y="169"/>
                  </a:lnTo>
                  <a:lnTo>
                    <a:pt x="1221" y="166"/>
                  </a:lnTo>
                  <a:lnTo>
                    <a:pt x="1218" y="166"/>
                  </a:lnTo>
                  <a:lnTo>
                    <a:pt x="1218" y="169"/>
                  </a:lnTo>
                  <a:lnTo>
                    <a:pt x="1215" y="169"/>
                  </a:lnTo>
                  <a:lnTo>
                    <a:pt x="1215" y="171"/>
                  </a:lnTo>
                  <a:lnTo>
                    <a:pt x="1215" y="174"/>
                  </a:lnTo>
                  <a:lnTo>
                    <a:pt x="1215" y="174"/>
                  </a:lnTo>
                  <a:lnTo>
                    <a:pt x="1213" y="177"/>
                  </a:lnTo>
                  <a:lnTo>
                    <a:pt x="1215" y="179"/>
                  </a:lnTo>
                  <a:lnTo>
                    <a:pt x="1215" y="182"/>
                  </a:lnTo>
                  <a:lnTo>
                    <a:pt x="1215" y="185"/>
                  </a:lnTo>
                  <a:lnTo>
                    <a:pt x="1215" y="187"/>
                  </a:lnTo>
                  <a:lnTo>
                    <a:pt x="1218" y="195"/>
                  </a:lnTo>
                  <a:lnTo>
                    <a:pt x="1215" y="195"/>
                  </a:lnTo>
                  <a:lnTo>
                    <a:pt x="1215" y="198"/>
                  </a:lnTo>
                  <a:lnTo>
                    <a:pt x="1215" y="198"/>
                  </a:lnTo>
                  <a:lnTo>
                    <a:pt x="1213" y="195"/>
                  </a:lnTo>
                  <a:lnTo>
                    <a:pt x="1213" y="195"/>
                  </a:lnTo>
                  <a:lnTo>
                    <a:pt x="1210" y="195"/>
                  </a:lnTo>
                  <a:lnTo>
                    <a:pt x="1210" y="195"/>
                  </a:lnTo>
                  <a:lnTo>
                    <a:pt x="1210" y="193"/>
                  </a:lnTo>
                  <a:lnTo>
                    <a:pt x="1207" y="193"/>
                  </a:lnTo>
                  <a:lnTo>
                    <a:pt x="1207" y="195"/>
                  </a:lnTo>
                  <a:lnTo>
                    <a:pt x="1207" y="195"/>
                  </a:lnTo>
                  <a:lnTo>
                    <a:pt x="1207" y="198"/>
                  </a:lnTo>
                  <a:lnTo>
                    <a:pt x="1207" y="201"/>
                  </a:lnTo>
                  <a:lnTo>
                    <a:pt x="1207" y="201"/>
                  </a:lnTo>
                  <a:lnTo>
                    <a:pt x="1207" y="201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07" y="203"/>
                  </a:lnTo>
                  <a:lnTo>
                    <a:pt x="1210" y="203"/>
                  </a:lnTo>
                  <a:lnTo>
                    <a:pt x="1210" y="203"/>
                  </a:lnTo>
                  <a:lnTo>
                    <a:pt x="1213" y="203"/>
                  </a:lnTo>
                  <a:lnTo>
                    <a:pt x="1218" y="203"/>
                  </a:lnTo>
                  <a:lnTo>
                    <a:pt x="1221" y="203"/>
                  </a:lnTo>
                  <a:lnTo>
                    <a:pt x="1221" y="203"/>
                  </a:lnTo>
                  <a:lnTo>
                    <a:pt x="1223" y="201"/>
                  </a:lnTo>
                  <a:lnTo>
                    <a:pt x="1223" y="198"/>
                  </a:lnTo>
                  <a:lnTo>
                    <a:pt x="1223" y="198"/>
                  </a:lnTo>
                  <a:lnTo>
                    <a:pt x="1223" y="195"/>
                  </a:lnTo>
                  <a:lnTo>
                    <a:pt x="1223" y="195"/>
                  </a:lnTo>
                  <a:lnTo>
                    <a:pt x="1223" y="193"/>
                  </a:lnTo>
                  <a:lnTo>
                    <a:pt x="1223" y="193"/>
                  </a:lnTo>
                  <a:lnTo>
                    <a:pt x="1223" y="193"/>
                  </a:lnTo>
                  <a:lnTo>
                    <a:pt x="1226" y="190"/>
                  </a:lnTo>
                  <a:lnTo>
                    <a:pt x="1226" y="190"/>
                  </a:lnTo>
                  <a:lnTo>
                    <a:pt x="1229" y="187"/>
                  </a:lnTo>
                  <a:lnTo>
                    <a:pt x="1229" y="187"/>
                  </a:lnTo>
                  <a:lnTo>
                    <a:pt x="1229" y="185"/>
                  </a:lnTo>
                  <a:lnTo>
                    <a:pt x="1231" y="185"/>
                  </a:lnTo>
                  <a:lnTo>
                    <a:pt x="1231" y="182"/>
                  </a:lnTo>
                  <a:lnTo>
                    <a:pt x="1234" y="182"/>
                  </a:lnTo>
                  <a:lnTo>
                    <a:pt x="1234" y="179"/>
                  </a:lnTo>
                  <a:lnTo>
                    <a:pt x="1234" y="179"/>
                  </a:lnTo>
                  <a:lnTo>
                    <a:pt x="1239" y="179"/>
                  </a:lnTo>
                  <a:lnTo>
                    <a:pt x="1245" y="171"/>
                  </a:lnTo>
                  <a:lnTo>
                    <a:pt x="1247" y="169"/>
                  </a:lnTo>
                  <a:lnTo>
                    <a:pt x="1247" y="169"/>
                  </a:lnTo>
                  <a:lnTo>
                    <a:pt x="1261" y="158"/>
                  </a:lnTo>
                  <a:lnTo>
                    <a:pt x="1263" y="158"/>
                  </a:lnTo>
                  <a:lnTo>
                    <a:pt x="1277" y="144"/>
                  </a:lnTo>
                  <a:lnTo>
                    <a:pt x="1279" y="144"/>
                  </a:lnTo>
                  <a:lnTo>
                    <a:pt x="1279" y="142"/>
                  </a:lnTo>
                  <a:lnTo>
                    <a:pt x="1282" y="142"/>
                  </a:lnTo>
                  <a:lnTo>
                    <a:pt x="1282" y="144"/>
                  </a:lnTo>
                  <a:lnTo>
                    <a:pt x="1285" y="147"/>
                  </a:lnTo>
                  <a:lnTo>
                    <a:pt x="1282" y="150"/>
                  </a:lnTo>
                  <a:lnTo>
                    <a:pt x="1282" y="153"/>
                  </a:lnTo>
                  <a:lnTo>
                    <a:pt x="1282" y="158"/>
                  </a:lnTo>
                  <a:lnTo>
                    <a:pt x="1282" y="161"/>
                  </a:lnTo>
                  <a:lnTo>
                    <a:pt x="1282" y="169"/>
                  </a:lnTo>
                  <a:lnTo>
                    <a:pt x="1282" y="174"/>
                  </a:lnTo>
                  <a:lnTo>
                    <a:pt x="1282" y="179"/>
                  </a:lnTo>
                  <a:lnTo>
                    <a:pt x="1282" y="179"/>
                  </a:lnTo>
                  <a:lnTo>
                    <a:pt x="1282" y="182"/>
                  </a:lnTo>
                  <a:lnTo>
                    <a:pt x="1282" y="185"/>
                  </a:lnTo>
                  <a:lnTo>
                    <a:pt x="1282" y="187"/>
                  </a:lnTo>
                  <a:lnTo>
                    <a:pt x="1282" y="190"/>
                  </a:lnTo>
                  <a:lnTo>
                    <a:pt x="1282" y="190"/>
                  </a:lnTo>
                  <a:lnTo>
                    <a:pt x="1282" y="193"/>
                  </a:lnTo>
                  <a:lnTo>
                    <a:pt x="1282" y="193"/>
                  </a:lnTo>
                  <a:lnTo>
                    <a:pt x="1282" y="195"/>
                  </a:lnTo>
                  <a:lnTo>
                    <a:pt x="1282" y="198"/>
                  </a:lnTo>
                  <a:lnTo>
                    <a:pt x="1282" y="201"/>
                  </a:lnTo>
                  <a:lnTo>
                    <a:pt x="1282" y="201"/>
                  </a:lnTo>
                  <a:lnTo>
                    <a:pt x="1282" y="203"/>
                  </a:lnTo>
                  <a:lnTo>
                    <a:pt x="1282" y="203"/>
                  </a:lnTo>
                  <a:lnTo>
                    <a:pt x="1282" y="203"/>
                  </a:lnTo>
                  <a:lnTo>
                    <a:pt x="1279" y="201"/>
                  </a:lnTo>
                  <a:lnTo>
                    <a:pt x="1279" y="198"/>
                  </a:lnTo>
                  <a:lnTo>
                    <a:pt x="1277" y="195"/>
                  </a:lnTo>
                  <a:lnTo>
                    <a:pt x="1277" y="193"/>
                  </a:lnTo>
                  <a:lnTo>
                    <a:pt x="1277" y="193"/>
                  </a:lnTo>
                  <a:lnTo>
                    <a:pt x="1274" y="190"/>
                  </a:lnTo>
                  <a:lnTo>
                    <a:pt x="1271" y="187"/>
                  </a:lnTo>
                  <a:lnTo>
                    <a:pt x="1271" y="187"/>
                  </a:lnTo>
                  <a:lnTo>
                    <a:pt x="1271" y="185"/>
                  </a:lnTo>
                  <a:lnTo>
                    <a:pt x="1274" y="187"/>
                  </a:lnTo>
                  <a:lnTo>
                    <a:pt x="1274" y="187"/>
                  </a:lnTo>
                  <a:lnTo>
                    <a:pt x="1274" y="185"/>
                  </a:lnTo>
                  <a:lnTo>
                    <a:pt x="1274" y="185"/>
                  </a:lnTo>
                  <a:lnTo>
                    <a:pt x="1277" y="182"/>
                  </a:lnTo>
                  <a:lnTo>
                    <a:pt x="1277" y="179"/>
                  </a:lnTo>
                  <a:lnTo>
                    <a:pt x="1277" y="179"/>
                  </a:lnTo>
                  <a:lnTo>
                    <a:pt x="1277" y="177"/>
                  </a:lnTo>
                  <a:lnTo>
                    <a:pt x="1277" y="177"/>
                  </a:lnTo>
                  <a:lnTo>
                    <a:pt x="1277" y="174"/>
                  </a:lnTo>
                  <a:lnTo>
                    <a:pt x="1277" y="174"/>
                  </a:lnTo>
                  <a:lnTo>
                    <a:pt x="1277" y="174"/>
                  </a:lnTo>
                  <a:lnTo>
                    <a:pt x="1277" y="171"/>
                  </a:lnTo>
                  <a:lnTo>
                    <a:pt x="1277" y="171"/>
                  </a:lnTo>
                  <a:lnTo>
                    <a:pt x="1274" y="171"/>
                  </a:lnTo>
                  <a:lnTo>
                    <a:pt x="1274" y="171"/>
                  </a:lnTo>
                  <a:lnTo>
                    <a:pt x="1274" y="171"/>
                  </a:lnTo>
                  <a:lnTo>
                    <a:pt x="1271" y="171"/>
                  </a:lnTo>
                  <a:lnTo>
                    <a:pt x="1271" y="171"/>
                  </a:lnTo>
                  <a:lnTo>
                    <a:pt x="1271" y="169"/>
                  </a:lnTo>
                  <a:lnTo>
                    <a:pt x="1271" y="169"/>
                  </a:lnTo>
                  <a:lnTo>
                    <a:pt x="1269" y="169"/>
                  </a:lnTo>
                  <a:lnTo>
                    <a:pt x="1269" y="169"/>
                  </a:lnTo>
                  <a:lnTo>
                    <a:pt x="1269" y="171"/>
                  </a:lnTo>
                  <a:lnTo>
                    <a:pt x="1269" y="171"/>
                  </a:lnTo>
                  <a:lnTo>
                    <a:pt x="1269" y="171"/>
                  </a:lnTo>
                  <a:lnTo>
                    <a:pt x="1269" y="174"/>
                  </a:lnTo>
                  <a:lnTo>
                    <a:pt x="1266" y="174"/>
                  </a:lnTo>
                  <a:lnTo>
                    <a:pt x="1266" y="177"/>
                  </a:lnTo>
                  <a:lnTo>
                    <a:pt x="1269" y="177"/>
                  </a:lnTo>
                  <a:lnTo>
                    <a:pt x="1269" y="177"/>
                  </a:lnTo>
                  <a:lnTo>
                    <a:pt x="1269" y="177"/>
                  </a:lnTo>
                  <a:lnTo>
                    <a:pt x="1269" y="179"/>
                  </a:lnTo>
                  <a:lnTo>
                    <a:pt x="1269" y="179"/>
                  </a:lnTo>
                  <a:lnTo>
                    <a:pt x="1269" y="182"/>
                  </a:lnTo>
                  <a:lnTo>
                    <a:pt x="1271" y="182"/>
                  </a:lnTo>
                  <a:lnTo>
                    <a:pt x="1271" y="185"/>
                  </a:lnTo>
                  <a:lnTo>
                    <a:pt x="1269" y="185"/>
                  </a:lnTo>
                  <a:lnTo>
                    <a:pt x="1269" y="182"/>
                  </a:lnTo>
                  <a:lnTo>
                    <a:pt x="1266" y="182"/>
                  </a:lnTo>
                  <a:lnTo>
                    <a:pt x="1266" y="179"/>
                  </a:lnTo>
                  <a:lnTo>
                    <a:pt x="1266" y="177"/>
                  </a:lnTo>
                  <a:lnTo>
                    <a:pt x="1263" y="174"/>
                  </a:lnTo>
                  <a:lnTo>
                    <a:pt x="1263" y="171"/>
                  </a:lnTo>
                  <a:lnTo>
                    <a:pt x="1263" y="169"/>
                  </a:lnTo>
                  <a:lnTo>
                    <a:pt x="1263" y="169"/>
                  </a:lnTo>
                  <a:lnTo>
                    <a:pt x="1263" y="169"/>
                  </a:lnTo>
                  <a:lnTo>
                    <a:pt x="1261" y="169"/>
                  </a:lnTo>
                  <a:lnTo>
                    <a:pt x="1263" y="171"/>
                  </a:lnTo>
                  <a:lnTo>
                    <a:pt x="1263" y="174"/>
                  </a:lnTo>
                  <a:lnTo>
                    <a:pt x="1263" y="174"/>
                  </a:lnTo>
                  <a:lnTo>
                    <a:pt x="1263" y="177"/>
                  </a:lnTo>
                  <a:lnTo>
                    <a:pt x="1263" y="177"/>
                  </a:lnTo>
                  <a:lnTo>
                    <a:pt x="1261" y="177"/>
                  </a:lnTo>
                  <a:lnTo>
                    <a:pt x="1261" y="179"/>
                  </a:lnTo>
                  <a:lnTo>
                    <a:pt x="1261" y="177"/>
                  </a:lnTo>
                  <a:lnTo>
                    <a:pt x="1261" y="177"/>
                  </a:lnTo>
                  <a:lnTo>
                    <a:pt x="1258" y="177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4"/>
                  </a:lnTo>
                  <a:lnTo>
                    <a:pt x="1258" y="171"/>
                  </a:lnTo>
                  <a:lnTo>
                    <a:pt x="1255" y="171"/>
                  </a:lnTo>
                  <a:lnTo>
                    <a:pt x="1255" y="171"/>
                  </a:lnTo>
                  <a:lnTo>
                    <a:pt x="1255" y="171"/>
                  </a:lnTo>
                  <a:lnTo>
                    <a:pt x="1253" y="171"/>
                  </a:lnTo>
                  <a:lnTo>
                    <a:pt x="1253" y="171"/>
                  </a:lnTo>
                  <a:lnTo>
                    <a:pt x="1250" y="171"/>
                  </a:lnTo>
                  <a:lnTo>
                    <a:pt x="1250" y="171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4"/>
                  </a:lnTo>
                  <a:lnTo>
                    <a:pt x="1250" y="177"/>
                  </a:lnTo>
                  <a:lnTo>
                    <a:pt x="1253" y="177"/>
                  </a:lnTo>
                  <a:lnTo>
                    <a:pt x="1253" y="177"/>
                  </a:lnTo>
                  <a:lnTo>
                    <a:pt x="1253" y="177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5" y="174"/>
                  </a:lnTo>
                  <a:lnTo>
                    <a:pt x="1255" y="174"/>
                  </a:lnTo>
                  <a:lnTo>
                    <a:pt x="1255" y="177"/>
                  </a:lnTo>
                  <a:lnTo>
                    <a:pt x="1255" y="177"/>
                  </a:lnTo>
                  <a:lnTo>
                    <a:pt x="1258" y="177"/>
                  </a:lnTo>
                  <a:lnTo>
                    <a:pt x="1258" y="179"/>
                  </a:lnTo>
                  <a:lnTo>
                    <a:pt x="1258" y="179"/>
                  </a:lnTo>
                  <a:lnTo>
                    <a:pt x="1258" y="179"/>
                  </a:lnTo>
                  <a:lnTo>
                    <a:pt x="1258" y="182"/>
                  </a:lnTo>
                  <a:lnTo>
                    <a:pt x="1258" y="182"/>
                  </a:lnTo>
                  <a:lnTo>
                    <a:pt x="1258" y="182"/>
                  </a:lnTo>
                  <a:lnTo>
                    <a:pt x="1255" y="182"/>
                  </a:lnTo>
                  <a:lnTo>
                    <a:pt x="1258" y="185"/>
                  </a:lnTo>
                  <a:lnTo>
                    <a:pt x="1258" y="185"/>
                  </a:lnTo>
                  <a:lnTo>
                    <a:pt x="1258" y="187"/>
                  </a:lnTo>
                  <a:lnTo>
                    <a:pt x="1258" y="187"/>
                  </a:lnTo>
                  <a:lnTo>
                    <a:pt x="1258" y="187"/>
                  </a:lnTo>
                  <a:lnTo>
                    <a:pt x="1258" y="190"/>
                  </a:lnTo>
                  <a:lnTo>
                    <a:pt x="1261" y="190"/>
                  </a:lnTo>
                  <a:lnTo>
                    <a:pt x="1261" y="190"/>
                  </a:lnTo>
                  <a:lnTo>
                    <a:pt x="1261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3" y="193"/>
                  </a:lnTo>
                  <a:lnTo>
                    <a:pt x="1266" y="190"/>
                  </a:lnTo>
                  <a:lnTo>
                    <a:pt x="1266" y="193"/>
                  </a:lnTo>
                  <a:lnTo>
                    <a:pt x="1269" y="193"/>
                  </a:lnTo>
                  <a:lnTo>
                    <a:pt x="1269" y="195"/>
                  </a:lnTo>
                  <a:lnTo>
                    <a:pt x="1271" y="195"/>
                  </a:lnTo>
                  <a:lnTo>
                    <a:pt x="1271" y="198"/>
                  </a:lnTo>
                  <a:lnTo>
                    <a:pt x="1274" y="198"/>
                  </a:lnTo>
                  <a:lnTo>
                    <a:pt x="1274" y="201"/>
                  </a:lnTo>
                  <a:lnTo>
                    <a:pt x="1271" y="201"/>
                  </a:lnTo>
                  <a:lnTo>
                    <a:pt x="1274" y="203"/>
                  </a:lnTo>
                  <a:lnTo>
                    <a:pt x="1271" y="203"/>
                  </a:lnTo>
                  <a:lnTo>
                    <a:pt x="1271" y="203"/>
                  </a:lnTo>
                  <a:lnTo>
                    <a:pt x="1271" y="203"/>
                  </a:lnTo>
                  <a:lnTo>
                    <a:pt x="1269" y="206"/>
                  </a:lnTo>
                  <a:lnTo>
                    <a:pt x="1269" y="206"/>
                  </a:lnTo>
                  <a:lnTo>
                    <a:pt x="1266" y="206"/>
                  </a:lnTo>
                  <a:lnTo>
                    <a:pt x="1266" y="211"/>
                  </a:lnTo>
                  <a:lnTo>
                    <a:pt x="1266" y="211"/>
                  </a:lnTo>
                  <a:lnTo>
                    <a:pt x="1263" y="211"/>
                  </a:lnTo>
                  <a:lnTo>
                    <a:pt x="1263" y="214"/>
                  </a:lnTo>
                  <a:lnTo>
                    <a:pt x="1263" y="214"/>
                  </a:lnTo>
                  <a:lnTo>
                    <a:pt x="1263" y="217"/>
                  </a:lnTo>
                  <a:lnTo>
                    <a:pt x="1263" y="217"/>
                  </a:lnTo>
                  <a:lnTo>
                    <a:pt x="1261" y="214"/>
                  </a:lnTo>
                  <a:lnTo>
                    <a:pt x="1261" y="214"/>
                  </a:lnTo>
                  <a:lnTo>
                    <a:pt x="1258" y="214"/>
                  </a:lnTo>
                  <a:lnTo>
                    <a:pt x="1258" y="214"/>
                  </a:lnTo>
                  <a:lnTo>
                    <a:pt x="1258" y="214"/>
                  </a:lnTo>
                  <a:lnTo>
                    <a:pt x="1255" y="214"/>
                  </a:lnTo>
                  <a:lnTo>
                    <a:pt x="1255" y="214"/>
                  </a:lnTo>
                  <a:lnTo>
                    <a:pt x="1253" y="214"/>
                  </a:lnTo>
                  <a:lnTo>
                    <a:pt x="1253" y="214"/>
                  </a:lnTo>
                  <a:lnTo>
                    <a:pt x="1250" y="214"/>
                  </a:lnTo>
                  <a:lnTo>
                    <a:pt x="1250" y="214"/>
                  </a:lnTo>
                  <a:lnTo>
                    <a:pt x="1250" y="214"/>
                  </a:lnTo>
                  <a:lnTo>
                    <a:pt x="1250" y="211"/>
                  </a:lnTo>
                  <a:lnTo>
                    <a:pt x="1250" y="211"/>
                  </a:lnTo>
                  <a:lnTo>
                    <a:pt x="1247" y="211"/>
                  </a:lnTo>
                  <a:lnTo>
                    <a:pt x="1247" y="211"/>
                  </a:lnTo>
                  <a:lnTo>
                    <a:pt x="1247" y="214"/>
                  </a:lnTo>
                  <a:lnTo>
                    <a:pt x="1247" y="217"/>
                  </a:lnTo>
                  <a:lnTo>
                    <a:pt x="1250" y="217"/>
                  </a:lnTo>
                  <a:lnTo>
                    <a:pt x="1250" y="219"/>
                  </a:lnTo>
                  <a:lnTo>
                    <a:pt x="1253" y="219"/>
                  </a:lnTo>
                  <a:lnTo>
                    <a:pt x="1255" y="219"/>
                  </a:lnTo>
                  <a:lnTo>
                    <a:pt x="1255" y="219"/>
                  </a:lnTo>
                  <a:lnTo>
                    <a:pt x="1258" y="219"/>
                  </a:lnTo>
                  <a:lnTo>
                    <a:pt x="1258" y="219"/>
                  </a:lnTo>
                  <a:lnTo>
                    <a:pt x="1261" y="219"/>
                  </a:lnTo>
                  <a:lnTo>
                    <a:pt x="1261" y="219"/>
                  </a:lnTo>
                  <a:lnTo>
                    <a:pt x="1261" y="219"/>
                  </a:lnTo>
                  <a:lnTo>
                    <a:pt x="1261" y="222"/>
                  </a:lnTo>
                  <a:lnTo>
                    <a:pt x="1261" y="222"/>
                  </a:lnTo>
                  <a:lnTo>
                    <a:pt x="1261" y="222"/>
                  </a:lnTo>
                  <a:lnTo>
                    <a:pt x="1263" y="225"/>
                  </a:lnTo>
                  <a:lnTo>
                    <a:pt x="1263" y="225"/>
                  </a:lnTo>
                  <a:lnTo>
                    <a:pt x="1261" y="225"/>
                  </a:lnTo>
                  <a:lnTo>
                    <a:pt x="1261" y="227"/>
                  </a:lnTo>
                  <a:lnTo>
                    <a:pt x="1261" y="227"/>
                  </a:lnTo>
                  <a:lnTo>
                    <a:pt x="1261" y="230"/>
                  </a:lnTo>
                  <a:lnTo>
                    <a:pt x="1261" y="230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58" y="233"/>
                  </a:lnTo>
                  <a:lnTo>
                    <a:pt x="1261" y="233"/>
                  </a:lnTo>
                  <a:lnTo>
                    <a:pt x="1261" y="233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5"/>
                  </a:lnTo>
                  <a:lnTo>
                    <a:pt x="1261" y="238"/>
                  </a:lnTo>
                  <a:lnTo>
                    <a:pt x="1261" y="238"/>
                  </a:lnTo>
                  <a:lnTo>
                    <a:pt x="1261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41"/>
                  </a:lnTo>
                  <a:lnTo>
                    <a:pt x="1263" y="243"/>
                  </a:lnTo>
                  <a:lnTo>
                    <a:pt x="1263" y="241"/>
                  </a:lnTo>
                  <a:lnTo>
                    <a:pt x="1263" y="241"/>
                  </a:lnTo>
                  <a:lnTo>
                    <a:pt x="1263" y="241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3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8"/>
                  </a:lnTo>
                  <a:lnTo>
                    <a:pt x="1266" y="235"/>
                  </a:lnTo>
                  <a:lnTo>
                    <a:pt x="1269" y="235"/>
                  </a:lnTo>
                  <a:lnTo>
                    <a:pt x="1269" y="235"/>
                  </a:lnTo>
                  <a:lnTo>
                    <a:pt x="1269" y="238"/>
                  </a:lnTo>
                  <a:lnTo>
                    <a:pt x="1269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1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4" y="235"/>
                  </a:lnTo>
                  <a:lnTo>
                    <a:pt x="1277" y="235"/>
                  </a:lnTo>
                  <a:lnTo>
                    <a:pt x="1277" y="233"/>
                  </a:lnTo>
                  <a:lnTo>
                    <a:pt x="1279" y="230"/>
                  </a:lnTo>
                  <a:lnTo>
                    <a:pt x="1279" y="227"/>
                  </a:lnTo>
                  <a:lnTo>
                    <a:pt x="1279" y="227"/>
                  </a:lnTo>
                  <a:lnTo>
                    <a:pt x="1279" y="225"/>
                  </a:lnTo>
                  <a:lnTo>
                    <a:pt x="1279" y="225"/>
                  </a:lnTo>
                  <a:lnTo>
                    <a:pt x="1282" y="222"/>
                  </a:lnTo>
                  <a:lnTo>
                    <a:pt x="1282" y="222"/>
                  </a:lnTo>
                  <a:lnTo>
                    <a:pt x="1285" y="222"/>
                  </a:lnTo>
                  <a:lnTo>
                    <a:pt x="1287" y="219"/>
                  </a:lnTo>
                  <a:lnTo>
                    <a:pt x="1287" y="219"/>
                  </a:lnTo>
                  <a:lnTo>
                    <a:pt x="1287" y="217"/>
                  </a:lnTo>
                  <a:lnTo>
                    <a:pt x="1287" y="214"/>
                  </a:lnTo>
                  <a:lnTo>
                    <a:pt x="1287" y="211"/>
                  </a:lnTo>
                  <a:lnTo>
                    <a:pt x="1290" y="209"/>
                  </a:lnTo>
                  <a:lnTo>
                    <a:pt x="1290" y="206"/>
                  </a:lnTo>
                  <a:lnTo>
                    <a:pt x="1290" y="203"/>
                  </a:lnTo>
                  <a:lnTo>
                    <a:pt x="1290" y="201"/>
                  </a:lnTo>
                  <a:lnTo>
                    <a:pt x="1290" y="201"/>
                  </a:lnTo>
                  <a:lnTo>
                    <a:pt x="1290" y="198"/>
                  </a:lnTo>
                  <a:lnTo>
                    <a:pt x="1293" y="195"/>
                  </a:lnTo>
                  <a:lnTo>
                    <a:pt x="1290" y="193"/>
                  </a:lnTo>
                  <a:lnTo>
                    <a:pt x="1290" y="187"/>
                  </a:lnTo>
                  <a:lnTo>
                    <a:pt x="1290" y="187"/>
                  </a:lnTo>
                  <a:lnTo>
                    <a:pt x="1290" y="185"/>
                  </a:lnTo>
                  <a:lnTo>
                    <a:pt x="1290" y="182"/>
                  </a:lnTo>
                  <a:lnTo>
                    <a:pt x="1290" y="179"/>
                  </a:lnTo>
                  <a:lnTo>
                    <a:pt x="1287" y="177"/>
                  </a:lnTo>
                  <a:lnTo>
                    <a:pt x="1290" y="174"/>
                  </a:lnTo>
                  <a:lnTo>
                    <a:pt x="1287" y="171"/>
                  </a:lnTo>
                  <a:lnTo>
                    <a:pt x="1287" y="169"/>
                  </a:lnTo>
                  <a:lnTo>
                    <a:pt x="1287" y="166"/>
                  </a:lnTo>
                  <a:lnTo>
                    <a:pt x="1287" y="163"/>
                  </a:lnTo>
                  <a:lnTo>
                    <a:pt x="1287" y="158"/>
                  </a:lnTo>
                  <a:lnTo>
                    <a:pt x="1287" y="155"/>
                  </a:lnTo>
                  <a:lnTo>
                    <a:pt x="1287" y="150"/>
                  </a:lnTo>
                  <a:lnTo>
                    <a:pt x="1287" y="147"/>
                  </a:lnTo>
                  <a:lnTo>
                    <a:pt x="1287" y="142"/>
                  </a:lnTo>
                  <a:lnTo>
                    <a:pt x="1287" y="139"/>
                  </a:lnTo>
                  <a:lnTo>
                    <a:pt x="1287" y="139"/>
                  </a:lnTo>
                  <a:lnTo>
                    <a:pt x="1290" y="136"/>
                  </a:lnTo>
                  <a:lnTo>
                    <a:pt x="1290" y="136"/>
                  </a:lnTo>
                  <a:lnTo>
                    <a:pt x="1293" y="134"/>
                  </a:lnTo>
                  <a:lnTo>
                    <a:pt x="1295" y="134"/>
                  </a:lnTo>
                  <a:lnTo>
                    <a:pt x="1298" y="131"/>
                  </a:lnTo>
                  <a:lnTo>
                    <a:pt x="1301" y="128"/>
                  </a:lnTo>
                  <a:lnTo>
                    <a:pt x="1303" y="126"/>
                  </a:lnTo>
                  <a:lnTo>
                    <a:pt x="1309" y="123"/>
                  </a:lnTo>
                  <a:lnTo>
                    <a:pt x="1311" y="120"/>
                  </a:lnTo>
                  <a:lnTo>
                    <a:pt x="1314" y="120"/>
                  </a:lnTo>
                  <a:lnTo>
                    <a:pt x="1317" y="118"/>
                  </a:lnTo>
                  <a:lnTo>
                    <a:pt x="1319" y="118"/>
                  </a:lnTo>
                  <a:lnTo>
                    <a:pt x="1322" y="115"/>
                  </a:lnTo>
                  <a:lnTo>
                    <a:pt x="1322" y="115"/>
                  </a:lnTo>
                  <a:lnTo>
                    <a:pt x="1325" y="112"/>
                  </a:lnTo>
                  <a:lnTo>
                    <a:pt x="1330" y="112"/>
                  </a:lnTo>
                  <a:lnTo>
                    <a:pt x="1335" y="112"/>
                  </a:lnTo>
                  <a:lnTo>
                    <a:pt x="1338" y="110"/>
                  </a:lnTo>
                  <a:lnTo>
                    <a:pt x="1341" y="110"/>
                  </a:lnTo>
                  <a:lnTo>
                    <a:pt x="1343" y="107"/>
                  </a:lnTo>
                  <a:lnTo>
                    <a:pt x="1346" y="107"/>
                  </a:lnTo>
                  <a:lnTo>
                    <a:pt x="1362" y="107"/>
                  </a:lnTo>
                  <a:lnTo>
                    <a:pt x="1367" y="104"/>
                  </a:lnTo>
                  <a:lnTo>
                    <a:pt x="1373" y="104"/>
                  </a:lnTo>
                  <a:lnTo>
                    <a:pt x="1375" y="104"/>
                  </a:lnTo>
                  <a:lnTo>
                    <a:pt x="1378" y="107"/>
                  </a:lnTo>
                  <a:lnTo>
                    <a:pt x="1383" y="107"/>
                  </a:lnTo>
                  <a:lnTo>
                    <a:pt x="1386" y="107"/>
                  </a:lnTo>
                  <a:lnTo>
                    <a:pt x="1389" y="110"/>
                  </a:lnTo>
                  <a:lnTo>
                    <a:pt x="1391" y="110"/>
                  </a:lnTo>
                  <a:lnTo>
                    <a:pt x="1391" y="112"/>
                  </a:lnTo>
                  <a:lnTo>
                    <a:pt x="1397" y="115"/>
                  </a:lnTo>
                  <a:lnTo>
                    <a:pt x="1397" y="115"/>
                  </a:lnTo>
                  <a:lnTo>
                    <a:pt x="1399" y="118"/>
                  </a:lnTo>
                  <a:lnTo>
                    <a:pt x="1402" y="120"/>
                  </a:lnTo>
                  <a:lnTo>
                    <a:pt x="1402" y="120"/>
                  </a:lnTo>
                  <a:lnTo>
                    <a:pt x="1402" y="123"/>
                  </a:lnTo>
                  <a:lnTo>
                    <a:pt x="1402" y="126"/>
                  </a:lnTo>
                  <a:lnTo>
                    <a:pt x="1399" y="128"/>
                  </a:lnTo>
                  <a:lnTo>
                    <a:pt x="1399" y="131"/>
                  </a:lnTo>
                  <a:lnTo>
                    <a:pt x="1399" y="134"/>
                  </a:lnTo>
                  <a:lnTo>
                    <a:pt x="1397" y="134"/>
                  </a:lnTo>
                  <a:lnTo>
                    <a:pt x="1397" y="136"/>
                  </a:lnTo>
                  <a:lnTo>
                    <a:pt x="1397" y="139"/>
                  </a:lnTo>
                  <a:lnTo>
                    <a:pt x="1397" y="139"/>
                  </a:lnTo>
                  <a:lnTo>
                    <a:pt x="1394" y="136"/>
                  </a:lnTo>
                  <a:lnTo>
                    <a:pt x="1394" y="136"/>
                  </a:lnTo>
                  <a:lnTo>
                    <a:pt x="1391" y="136"/>
                  </a:lnTo>
                  <a:lnTo>
                    <a:pt x="1391" y="136"/>
                  </a:lnTo>
                  <a:lnTo>
                    <a:pt x="1391" y="136"/>
                  </a:lnTo>
                  <a:lnTo>
                    <a:pt x="1389" y="136"/>
                  </a:lnTo>
                  <a:lnTo>
                    <a:pt x="1389" y="134"/>
                  </a:lnTo>
                  <a:lnTo>
                    <a:pt x="1389" y="134"/>
                  </a:lnTo>
                  <a:lnTo>
                    <a:pt x="1386" y="134"/>
                  </a:lnTo>
                  <a:lnTo>
                    <a:pt x="1386" y="134"/>
                  </a:lnTo>
                  <a:lnTo>
                    <a:pt x="1383" y="131"/>
                  </a:lnTo>
                  <a:lnTo>
                    <a:pt x="1383" y="131"/>
                  </a:lnTo>
                  <a:lnTo>
                    <a:pt x="1383" y="131"/>
                  </a:lnTo>
                  <a:lnTo>
                    <a:pt x="1381" y="131"/>
                  </a:lnTo>
                  <a:lnTo>
                    <a:pt x="1381" y="131"/>
                  </a:lnTo>
                  <a:lnTo>
                    <a:pt x="1381" y="131"/>
                  </a:lnTo>
                  <a:lnTo>
                    <a:pt x="1378" y="131"/>
                  </a:lnTo>
                  <a:lnTo>
                    <a:pt x="1378" y="131"/>
                  </a:lnTo>
                  <a:lnTo>
                    <a:pt x="1378" y="134"/>
                  </a:lnTo>
                  <a:lnTo>
                    <a:pt x="1378" y="134"/>
                  </a:lnTo>
                  <a:lnTo>
                    <a:pt x="1381" y="134"/>
                  </a:lnTo>
                  <a:lnTo>
                    <a:pt x="1381" y="134"/>
                  </a:lnTo>
                  <a:lnTo>
                    <a:pt x="1381" y="136"/>
                  </a:lnTo>
                  <a:lnTo>
                    <a:pt x="1381" y="136"/>
                  </a:lnTo>
                  <a:lnTo>
                    <a:pt x="1381" y="136"/>
                  </a:lnTo>
                  <a:lnTo>
                    <a:pt x="1381" y="139"/>
                  </a:lnTo>
                  <a:lnTo>
                    <a:pt x="1381" y="139"/>
                  </a:lnTo>
                  <a:lnTo>
                    <a:pt x="1378" y="139"/>
                  </a:lnTo>
                  <a:lnTo>
                    <a:pt x="1381" y="142"/>
                  </a:lnTo>
                  <a:lnTo>
                    <a:pt x="1381" y="144"/>
                  </a:lnTo>
                  <a:lnTo>
                    <a:pt x="1381" y="147"/>
                  </a:lnTo>
                  <a:lnTo>
                    <a:pt x="1381" y="147"/>
                  </a:lnTo>
                  <a:lnTo>
                    <a:pt x="1381" y="147"/>
                  </a:lnTo>
                  <a:lnTo>
                    <a:pt x="1381" y="150"/>
                  </a:lnTo>
                  <a:lnTo>
                    <a:pt x="1378" y="150"/>
                  </a:lnTo>
                  <a:lnTo>
                    <a:pt x="1378" y="150"/>
                  </a:lnTo>
                  <a:lnTo>
                    <a:pt x="1375" y="150"/>
                  </a:lnTo>
                  <a:lnTo>
                    <a:pt x="1375" y="150"/>
                  </a:lnTo>
                  <a:lnTo>
                    <a:pt x="1373" y="150"/>
                  </a:lnTo>
                  <a:lnTo>
                    <a:pt x="1373" y="150"/>
                  </a:lnTo>
                  <a:lnTo>
                    <a:pt x="1370" y="150"/>
                  </a:lnTo>
                  <a:lnTo>
                    <a:pt x="1370" y="150"/>
                  </a:lnTo>
                  <a:lnTo>
                    <a:pt x="1370" y="150"/>
                  </a:lnTo>
                  <a:lnTo>
                    <a:pt x="1373" y="153"/>
                  </a:lnTo>
                  <a:lnTo>
                    <a:pt x="1373" y="153"/>
                  </a:lnTo>
                  <a:lnTo>
                    <a:pt x="1375" y="153"/>
                  </a:lnTo>
                  <a:lnTo>
                    <a:pt x="1375" y="153"/>
                  </a:lnTo>
                  <a:lnTo>
                    <a:pt x="1378" y="150"/>
                  </a:lnTo>
                  <a:lnTo>
                    <a:pt x="1378" y="153"/>
                  </a:lnTo>
                  <a:lnTo>
                    <a:pt x="1378" y="153"/>
                  </a:lnTo>
                  <a:lnTo>
                    <a:pt x="1381" y="155"/>
                  </a:lnTo>
                  <a:lnTo>
                    <a:pt x="1381" y="158"/>
                  </a:lnTo>
                  <a:lnTo>
                    <a:pt x="1381" y="158"/>
                  </a:lnTo>
                  <a:lnTo>
                    <a:pt x="1381" y="158"/>
                  </a:lnTo>
                  <a:lnTo>
                    <a:pt x="1378" y="158"/>
                  </a:lnTo>
                  <a:lnTo>
                    <a:pt x="1378" y="158"/>
                  </a:lnTo>
                  <a:lnTo>
                    <a:pt x="1375" y="158"/>
                  </a:lnTo>
                  <a:lnTo>
                    <a:pt x="1378" y="161"/>
                  </a:lnTo>
                  <a:lnTo>
                    <a:pt x="1378" y="161"/>
                  </a:lnTo>
                  <a:lnTo>
                    <a:pt x="1378" y="163"/>
                  </a:lnTo>
                  <a:lnTo>
                    <a:pt x="1378" y="163"/>
                  </a:lnTo>
                  <a:lnTo>
                    <a:pt x="1381" y="161"/>
                  </a:lnTo>
                  <a:lnTo>
                    <a:pt x="1381" y="161"/>
                  </a:lnTo>
                  <a:lnTo>
                    <a:pt x="1381" y="161"/>
                  </a:lnTo>
                  <a:lnTo>
                    <a:pt x="1383" y="161"/>
                  </a:lnTo>
                  <a:lnTo>
                    <a:pt x="1383" y="158"/>
                  </a:lnTo>
                  <a:lnTo>
                    <a:pt x="1386" y="158"/>
                  </a:lnTo>
                  <a:lnTo>
                    <a:pt x="1386" y="158"/>
                  </a:lnTo>
                  <a:lnTo>
                    <a:pt x="1386" y="155"/>
                  </a:lnTo>
                  <a:lnTo>
                    <a:pt x="1386" y="155"/>
                  </a:lnTo>
                  <a:lnTo>
                    <a:pt x="1386" y="155"/>
                  </a:lnTo>
                  <a:lnTo>
                    <a:pt x="1389" y="155"/>
                  </a:lnTo>
                  <a:lnTo>
                    <a:pt x="1389" y="153"/>
                  </a:lnTo>
                  <a:lnTo>
                    <a:pt x="1389" y="153"/>
                  </a:lnTo>
                  <a:lnTo>
                    <a:pt x="1391" y="153"/>
                  </a:lnTo>
                  <a:lnTo>
                    <a:pt x="1391" y="153"/>
                  </a:lnTo>
                  <a:lnTo>
                    <a:pt x="1394" y="153"/>
                  </a:lnTo>
                  <a:lnTo>
                    <a:pt x="1394" y="153"/>
                  </a:lnTo>
                  <a:lnTo>
                    <a:pt x="1394" y="153"/>
                  </a:lnTo>
                  <a:lnTo>
                    <a:pt x="1397" y="153"/>
                  </a:lnTo>
                  <a:lnTo>
                    <a:pt x="1397" y="153"/>
                  </a:lnTo>
                  <a:lnTo>
                    <a:pt x="1399" y="153"/>
                  </a:lnTo>
                  <a:lnTo>
                    <a:pt x="1399" y="150"/>
                  </a:lnTo>
                  <a:lnTo>
                    <a:pt x="1399" y="150"/>
                  </a:lnTo>
                  <a:lnTo>
                    <a:pt x="1402" y="147"/>
                  </a:lnTo>
                  <a:lnTo>
                    <a:pt x="1402" y="147"/>
                  </a:lnTo>
                  <a:lnTo>
                    <a:pt x="1405" y="147"/>
                  </a:lnTo>
                  <a:lnTo>
                    <a:pt x="1407" y="144"/>
                  </a:lnTo>
                  <a:lnTo>
                    <a:pt x="1407" y="144"/>
                  </a:lnTo>
                  <a:lnTo>
                    <a:pt x="1407" y="142"/>
                  </a:lnTo>
                  <a:lnTo>
                    <a:pt x="1407" y="144"/>
                  </a:lnTo>
                  <a:lnTo>
                    <a:pt x="1407" y="142"/>
                  </a:lnTo>
                  <a:lnTo>
                    <a:pt x="1410" y="142"/>
                  </a:lnTo>
                  <a:lnTo>
                    <a:pt x="1410" y="142"/>
                  </a:lnTo>
                  <a:lnTo>
                    <a:pt x="1410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3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5" y="142"/>
                  </a:lnTo>
                  <a:lnTo>
                    <a:pt x="1418" y="142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4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0"/>
                  </a:lnTo>
                  <a:lnTo>
                    <a:pt x="1421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3" y="153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6" y="155"/>
                  </a:lnTo>
                  <a:lnTo>
                    <a:pt x="1426" y="155"/>
                  </a:lnTo>
                  <a:lnTo>
                    <a:pt x="1426" y="155"/>
                  </a:lnTo>
                  <a:lnTo>
                    <a:pt x="1426" y="153"/>
                  </a:lnTo>
                  <a:lnTo>
                    <a:pt x="1426" y="153"/>
                  </a:lnTo>
                  <a:lnTo>
                    <a:pt x="1429" y="150"/>
                  </a:lnTo>
                  <a:lnTo>
                    <a:pt x="1429" y="150"/>
                  </a:lnTo>
                  <a:lnTo>
                    <a:pt x="1429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1" y="147"/>
                  </a:lnTo>
                  <a:lnTo>
                    <a:pt x="1434" y="144"/>
                  </a:lnTo>
                  <a:lnTo>
                    <a:pt x="1434" y="144"/>
                  </a:lnTo>
                  <a:lnTo>
                    <a:pt x="1434" y="144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7" y="142"/>
                  </a:lnTo>
                  <a:lnTo>
                    <a:pt x="1437" y="142"/>
                  </a:lnTo>
                  <a:lnTo>
                    <a:pt x="1437" y="144"/>
                  </a:lnTo>
                  <a:lnTo>
                    <a:pt x="1437" y="144"/>
                  </a:lnTo>
                  <a:lnTo>
                    <a:pt x="1439" y="144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39" y="142"/>
                  </a:lnTo>
                  <a:lnTo>
                    <a:pt x="1442" y="142"/>
                  </a:lnTo>
                  <a:lnTo>
                    <a:pt x="1442" y="139"/>
                  </a:lnTo>
                  <a:lnTo>
                    <a:pt x="1445" y="139"/>
                  </a:lnTo>
                  <a:lnTo>
                    <a:pt x="1445" y="139"/>
                  </a:lnTo>
                  <a:lnTo>
                    <a:pt x="1445" y="142"/>
                  </a:lnTo>
                  <a:lnTo>
                    <a:pt x="1448" y="142"/>
                  </a:lnTo>
                  <a:lnTo>
                    <a:pt x="1448" y="142"/>
                  </a:lnTo>
                  <a:lnTo>
                    <a:pt x="1448" y="144"/>
                  </a:lnTo>
                  <a:lnTo>
                    <a:pt x="1448" y="144"/>
                  </a:lnTo>
                  <a:lnTo>
                    <a:pt x="1448" y="144"/>
                  </a:lnTo>
                  <a:lnTo>
                    <a:pt x="1448" y="147"/>
                  </a:lnTo>
                  <a:lnTo>
                    <a:pt x="1448" y="147"/>
                  </a:lnTo>
                  <a:lnTo>
                    <a:pt x="1448" y="147"/>
                  </a:lnTo>
                  <a:lnTo>
                    <a:pt x="1448" y="150"/>
                  </a:lnTo>
                  <a:lnTo>
                    <a:pt x="1448" y="150"/>
                  </a:lnTo>
                  <a:lnTo>
                    <a:pt x="1448" y="150"/>
                  </a:lnTo>
                  <a:lnTo>
                    <a:pt x="1448" y="153"/>
                  </a:lnTo>
                  <a:lnTo>
                    <a:pt x="1448" y="153"/>
                  </a:lnTo>
                  <a:lnTo>
                    <a:pt x="1448" y="153"/>
                  </a:lnTo>
                  <a:lnTo>
                    <a:pt x="1448" y="155"/>
                  </a:lnTo>
                  <a:lnTo>
                    <a:pt x="1450" y="155"/>
                  </a:lnTo>
                  <a:lnTo>
                    <a:pt x="1450" y="155"/>
                  </a:lnTo>
                  <a:lnTo>
                    <a:pt x="1450" y="158"/>
                  </a:lnTo>
                  <a:lnTo>
                    <a:pt x="1450" y="158"/>
                  </a:lnTo>
                  <a:lnTo>
                    <a:pt x="1450" y="158"/>
                  </a:lnTo>
                  <a:lnTo>
                    <a:pt x="1450" y="161"/>
                  </a:lnTo>
                  <a:lnTo>
                    <a:pt x="1450" y="161"/>
                  </a:lnTo>
                  <a:lnTo>
                    <a:pt x="1448" y="161"/>
                  </a:lnTo>
                  <a:lnTo>
                    <a:pt x="1448" y="161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3"/>
                  </a:lnTo>
                  <a:lnTo>
                    <a:pt x="1448" y="166"/>
                  </a:lnTo>
                  <a:lnTo>
                    <a:pt x="1448" y="166"/>
                  </a:lnTo>
                  <a:lnTo>
                    <a:pt x="1448" y="166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48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0" y="166"/>
                  </a:lnTo>
                  <a:lnTo>
                    <a:pt x="1453" y="166"/>
                  </a:lnTo>
                  <a:lnTo>
                    <a:pt x="1453" y="163"/>
                  </a:lnTo>
                  <a:lnTo>
                    <a:pt x="1453" y="163"/>
                  </a:lnTo>
                  <a:lnTo>
                    <a:pt x="1453" y="161"/>
                  </a:lnTo>
                  <a:lnTo>
                    <a:pt x="1453" y="161"/>
                  </a:lnTo>
                  <a:lnTo>
                    <a:pt x="1453" y="161"/>
                  </a:lnTo>
                  <a:lnTo>
                    <a:pt x="1453" y="158"/>
                  </a:lnTo>
                  <a:lnTo>
                    <a:pt x="1453" y="158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0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3" y="155"/>
                  </a:lnTo>
                  <a:lnTo>
                    <a:pt x="1456" y="155"/>
                  </a:lnTo>
                  <a:lnTo>
                    <a:pt x="1456" y="158"/>
                  </a:lnTo>
                  <a:lnTo>
                    <a:pt x="1456" y="158"/>
                  </a:lnTo>
                  <a:lnTo>
                    <a:pt x="1456" y="161"/>
                  </a:lnTo>
                  <a:lnTo>
                    <a:pt x="1456" y="161"/>
                  </a:lnTo>
                  <a:lnTo>
                    <a:pt x="1458" y="161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6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3"/>
                  </a:lnTo>
                  <a:lnTo>
                    <a:pt x="1458" y="161"/>
                  </a:lnTo>
                  <a:lnTo>
                    <a:pt x="1458" y="161"/>
                  </a:lnTo>
                  <a:lnTo>
                    <a:pt x="1458" y="158"/>
                  </a:lnTo>
                  <a:lnTo>
                    <a:pt x="1458" y="158"/>
                  </a:lnTo>
                  <a:lnTo>
                    <a:pt x="1458" y="158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5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3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50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7"/>
                  </a:lnTo>
                  <a:lnTo>
                    <a:pt x="1458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4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1" y="142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4" y="139"/>
                  </a:lnTo>
                  <a:lnTo>
                    <a:pt x="1466" y="139"/>
                  </a:lnTo>
                  <a:lnTo>
                    <a:pt x="1466" y="139"/>
                  </a:lnTo>
                  <a:lnTo>
                    <a:pt x="1466" y="139"/>
                  </a:lnTo>
                  <a:lnTo>
                    <a:pt x="1469" y="139"/>
                  </a:lnTo>
                  <a:lnTo>
                    <a:pt x="1469" y="139"/>
                  </a:lnTo>
                  <a:lnTo>
                    <a:pt x="1469" y="139"/>
                  </a:lnTo>
                  <a:lnTo>
                    <a:pt x="1472" y="139"/>
                  </a:lnTo>
                  <a:lnTo>
                    <a:pt x="1472" y="139"/>
                  </a:lnTo>
                  <a:lnTo>
                    <a:pt x="1474" y="139"/>
                  </a:lnTo>
                  <a:lnTo>
                    <a:pt x="1474" y="139"/>
                  </a:lnTo>
                  <a:lnTo>
                    <a:pt x="1477" y="136"/>
                  </a:lnTo>
                  <a:lnTo>
                    <a:pt x="1477" y="136"/>
                  </a:lnTo>
                  <a:lnTo>
                    <a:pt x="1480" y="136"/>
                  </a:lnTo>
                  <a:lnTo>
                    <a:pt x="1482" y="136"/>
                  </a:lnTo>
                  <a:lnTo>
                    <a:pt x="1485" y="136"/>
                  </a:lnTo>
                  <a:lnTo>
                    <a:pt x="1485" y="136"/>
                  </a:lnTo>
                  <a:lnTo>
                    <a:pt x="1488" y="136"/>
                  </a:lnTo>
                  <a:lnTo>
                    <a:pt x="1488" y="139"/>
                  </a:lnTo>
                  <a:lnTo>
                    <a:pt x="1490" y="139"/>
                  </a:lnTo>
                  <a:lnTo>
                    <a:pt x="1493" y="139"/>
                  </a:lnTo>
                  <a:lnTo>
                    <a:pt x="1493" y="139"/>
                  </a:lnTo>
                  <a:lnTo>
                    <a:pt x="1493" y="142"/>
                  </a:lnTo>
                  <a:lnTo>
                    <a:pt x="1493" y="142"/>
                  </a:lnTo>
                  <a:lnTo>
                    <a:pt x="1496" y="142"/>
                  </a:lnTo>
                  <a:lnTo>
                    <a:pt x="1496" y="142"/>
                  </a:lnTo>
                  <a:lnTo>
                    <a:pt x="1498" y="144"/>
                  </a:lnTo>
                  <a:lnTo>
                    <a:pt x="1504" y="144"/>
                  </a:lnTo>
                  <a:lnTo>
                    <a:pt x="1506" y="147"/>
                  </a:lnTo>
                  <a:lnTo>
                    <a:pt x="1509" y="147"/>
                  </a:lnTo>
                  <a:lnTo>
                    <a:pt x="1512" y="147"/>
                  </a:lnTo>
                  <a:lnTo>
                    <a:pt x="1514" y="150"/>
                  </a:lnTo>
                  <a:lnTo>
                    <a:pt x="1517" y="150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3"/>
                  </a:lnTo>
                  <a:lnTo>
                    <a:pt x="1520" y="155"/>
                  </a:lnTo>
                  <a:lnTo>
                    <a:pt x="1520" y="155"/>
                  </a:lnTo>
                  <a:lnTo>
                    <a:pt x="1520" y="155"/>
                  </a:lnTo>
                  <a:lnTo>
                    <a:pt x="1520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7" y="158"/>
                  </a:lnTo>
                  <a:lnTo>
                    <a:pt x="1514" y="158"/>
                  </a:lnTo>
                  <a:lnTo>
                    <a:pt x="1514" y="161"/>
                  </a:lnTo>
                  <a:lnTo>
                    <a:pt x="1514" y="161"/>
                  </a:lnTo>
                  <a:lnTo>
                    <a:pt x="1512" y="161"/>
                  </a:lnTo>
                  <a:lnTo>
                    <a:pt x="1512" y="161"/>
                  </a:lnTo>
                  <a:lnTo>
                    <a:pt x="1509" y="161"/>
                  </a:lnTo>
                  <a:lnTo>
                    <a:pt x="1509" y="161"/>
                  </a:lnTo>
                  <a:lnTo>
                    <a:pt x="1506" y="163"/>
                  </a:lnTo>
                  <a:lnTo>
                    <a:pt x="1506" y="163"/>
                  </a:lnTo>
                  <a:lnTo>
                    <a:pt x="1504" y="163"/>
                  </a:lnTo>
                  <a:lnTo>
                    <a:pt x="1504" y="163"/>
                  </a:lnTo>
                  <a:lnTo>
                    <a:pt x="1506" y="163"/>
                  </a:lnTo>
                  <a:lnTo>
                    <a:pt x="1506" y="166"/>
                  </a:lnTo>
                  <a:lnTo>
                    <a:pt x="1506" y="166"/>
                  </a:lnTo>
                  <a:lnTo>
                    <a:pt x="1509" y="166"/>
                  </a:lnTo>
                  <a:lnTo>
                    <a:pt x="1512" y="166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4" y="163"/>
                  </a:lnTo>
                  <a:lnTo>
                    <a:pt x="1517" y="161"/>
                  </a:lnTo>
                  <a:lnTo>
                    <a:pt x="1517" y="161"/>
                  </a:lnTo>
                  <a:lnTo>
                    <a:pt x="1517" y="161"/>
                  </a:lnTo>
                  <a:lnTo>
                    <a:pt x="1520" y="161"/>
                  </a:lnTo>
                  <a:lnTo>
                    <a:pt x="1522" y="161"/>
                  </a:lnTo>
                  <a:lnTo>
                    <a:pt x="1522" y="161"/>
                  </a:lnTo>
                  <a:lnTo>
                    <a:pt x="1525" y="161"/>
                  </a:lnTo>
                  <a:lnTo>
                    <a:pt x="1528" y="161"/>
                  </a:lnTo>
                  <a:lnTo>
                    <a:pt x="1528" y="161"/>
                  </a:lnTo>
                  <a:lnTo>
                    <a:pt x="1530" y="161"/>
                  </a:lnTo>
                  <a:lnTo>
                    <a:pt x="1533" y="161"/>
                  </a:lnTo>
                  <a:lnTo>
                    <a:pt x="1533" y="161"/>
                  </a:lnTo>
                  <a:lnTo>
                    <a:pt x="1536" y="161"/>
                  </a:lnTo>
                  <a:lnTo>
                    <a:pt x="1536" y="161"/>
                  </a:lnTo>
                  <a:lnTo>
                    <a:pt x="1538" y="161"/>
                  </a:lnTo>
                  <a:lnTo>
                    <a:pt x="1538" y="158"/>
                  </a:lnTo>
                  <a:lnTo>
                    <a:pt x="1541" y="158"/>
                  </a:lnTo>
                  <a:lnTo>
                    <a:pt x="1541" y="158"/>
                  </a:lnTo>
                  <a:lnTo>
                    <a:pt x="1541" y="158"/>
                  </a:lnTo>
                  <a:lnTo>
                    <a:pt x="1544" y="158"/>
                  </a:lnTo>
                  <a:lnTo>
                    <a:pt x="1544" y="158"/>
                  </a:lnTo>
                  <a:lnTo>
                    <a:pt x="1544" y="155"/>
                  </a:lnTo>
                  <a:lnTo>
                    <a:pt x="1546" y="155"/>
                  </a:lnTo>
                  <a:lnTo>
                    <a:pt x="1546" y="153"/>
                  </a:lnTo>
                  <a:lnTo>
                    <a:pt x="1546" y="153"/>
                  </a:lnTo>
                  <a:lnTo>
                    <a:pt x="1549" y="153"/>
                  </a:lnTo>
                  <a:lnTo>
                    <a:pt x="1549" y="153"/>
                  </a:lnTo>
                  <a:lnTo>
                    <a:pt x="1552" y="150"/>
                  </a:lnTo>
                  <a:lnTo>
                    <a:pt x="1552" y="150"/>
                  </a:lnTo>
                  <a:lnTo>
                    <a:pt x="1552" y="150"/>
                  </a:lnTo>
                  <a:lnTo>
                    <a:pt x="1554" y="150"/>
                  </a:lnTo>
                  <a:lnTo>
                    <a:pt x="1554" y="147"/>
                  </a:lnTo>
                  <a:lnTo>
                    <a:pt x="1554" y="147"/>
                  </a:lnTo>
                  <a:lnTo>
                    <a:pt x="1554" y="147"/>
                  </a:lnTo>
                  <a:lnTo>
                    <a:pt x="1557" y="147"/>
                  </a:lnTo>
                  <a:lnTo>
                    <a:pt x="1557" y="144"/>
                  </a:lnTo>
                  <a:lnTo>
                    <a:pt x="1557" y="144"/>
                  </a:lnTo>
                  <a:lnTo>
                    <a:pt x="1557" y="144"/>
                  </a:lnTo>
                  <a:lnTo>
                    <a:pt x="1560" y="142"/>
                  </a:lnTo>
                  <a:lnTo>
                    <a:pt x="1560" y="142"/>
                  </a:lnTo>
                  <a:lnTo>
                    <a:pt x="1560" y="142"/>
                  </a:lnTo>
                  <a:lnTo>
                    <a:pt x="1560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9"/>
                  </a:lnTo>
                  <a:lnTo>
                    <a:pt x="1562" y="136"/>
                  </a:lnTo>
                  <a:lnTo>
                    <a:pt x="1565" y="136"/>
                  </a:lnTo>
                  <a:lnTo>
                    <a:pt x="1565" y="136"/>
                  </a:lnTo>
                  <a:lnTo>
                    <a:pt x="1565" y="136"/>
                  </a:lnTo>
                  <a:lnTo>
                    <a:pt x="1568" y="134"/>
                  </a:lnTo>
                  <a:lnTo>
                    <a:pt x="1568" y="134"/>
                  </a:lnTo>
                  <a:lnTo>
                    <a:pt x="1568" y="134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31"/>
                  </a:lnTo>
                  <a:lnTo>
                    <a:pt x="1570" y="128"/>
                  </a:lnTo>
                  <a:lnTo>
                    <a:pt x="1573" y="128"/>
                  </a:lnTo>
                  <a:lnTo>
                    <a:pt x="1573" y="131"/>
                  </a:lnTo>
                  <a:lnTo>
                    <a:pt x="1573" y="131"/>
                  </a:lnTo>
                  <a:lnTo>
                    <a:pt x="1573" y="128"/>
                  </a:lnTo>
                  <a:lnTo>
                    <a:pt x="1573" y="128"/>
                  </a:lnTo>
                  <a:lnTo>
                    <a:pt x="1576" y="128"/>
                  </a:lnTo>
                  <a:lnTo>
                    <a:pt x="1576" y="126"/>
                  </a:lnTo>
                  <a:lnTo>
                    <a:pt x="1576" y="126"/>
                  </a:lnTo>
                  <a:lnTo>
                    <a:pt x="1576" y="126"/>
                  </a:lnTo>
                  <a:lnTo>
                    <a:pt x="1576" y="123"/>
                  </a:lnTo>
                  <a:lnTo>
                    <a:pt x="1576" y="123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20"/>
                  </a:lnTo>
                  <a:lnTo>
                    <a:pt x="1578" y="118"/>
                  </a:lnTo>
                  <a:lnTo>
                    <a:pt x="1578" y="118"/>
                  </a:lnTo>
                  <a:lnTo>
                    <a:pt x="1581" y="118"/>
                  </a:lnTo>
                  <a:lnTo>
                    <a:pt x="1581" y="115"/>
                  </a:lnTo>
                  <a:lnTo>
                    <a:pt x="1581" y="115"/>
                  </a:lnTo>
                  <a:lnTo>
                    <a:pt x="1581" y="115"/>
                  </a:lnTo>
                  <a:lnTo>
                    <a:pt x="1584" y="112"/>
                  </a:lnTo>
                  <a:lnTo>
                    <a:pt x="1584" y="112"/>
                  </a:lnTo>
                  <a:lnTo>
                    <a:pt x="1584" y="110"/>
                  </a:lnTo>
                  <a:lnTo>
                    <a:pt x="1584" y="110"/>
                  </a:lnTo>
                  <a:lnTo>
                    <a:pt x="1584" y="107"/>
                  </a:lnTo>
                  <a:lnTo>
                    <a:pt x="1584" y="107"/>
                  </a:lnTo>
                  <a:lnTo>
                    <a:pt x="1586" y="107"/>
                  </a:lnTo>
                  <a:lnTo>
                    <a:pt x="1586" y="104"/>
                  </a:lnTo>
                  <a:lnTo>
                    <a:pt x="1589" y="102"/>
                  </a:lnTo>
                  <a:lnTo>
                    <a:pt x="1589" y="102"/>
                  </a:lnTo>
                  <a:lnTo>
                    <a:pt x="1589" y="102"/>
                  </a:lnTo>
                  <a:lnTo>
                    <a:pt x="1589" y="99"/>
                  </a:lnTo>
                  <a:lnTo>
                    <a:pt x="1592" y="99"/>
                  </a:lnTo>
                  <a:lnTo>
                    <a:pt x="1592" y="96"/>
                  </a:lnTo>
                  <a:lnTo>
                    <a:pt x="1594" y="96"/>
                  </a:lnTo>
                  <a:lnTo>
                    <a:pt x="1594" y="96"/>
                  </a:lnTo>
                  <a:lnTo>
                    <a:pt x="1594" y="94"/>
                  </a:lnTo>
                  <a:lnTo>
                    <a:pt x="1594" y="94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597" y="91"/>
                  </a:lnTo>
                  <a:lnTo>
                    <a:pt x="1600" y="88"/>
                  </a:lnTo>
                  <a:lnTo>
                    <a:pt x="1600" y="88"/>
                  </a:lnTo>
                  <a:lnTo>
                    <a:pt x="1600" y="86"/>
                  </a:lnTo>
                  <a:lnTo>
                    <a:pt x="1602" y="86"/>
                  </a:lnTo>
                  <a:lnTo>
                    <a:pt x="1602" y="83"/>
                  </a:lnTo>
                  <a:lnTo>
                    <a:pt x="1602" y="80"/>
                  </a:lnTo>
                  <a:lnTo>
                    <a:pt x="1605" y="80"/>
                  </a:lnTo>
                  <a:lnTo>
                    <a:pt x="1605" y="78"/>
                  </a:lnTo>
                  <a:lnTo>
                    <a:pt x="1608" y="78"/>
                  </a:lnTo>
                  <a:lnTo>
                    <a:pt x="1610" y="72"/>
                  </a:lnTo>
                  <a:lnTo>
                    <a:pt x="1613" y="72"/>
                  </a:lnTo>
                  <a:lnTo>
                    <a:pt x="1613" y="70"/>
                  </a:lnTo>
                  <a:lnTo>
                    <a:pt x="1613" y="70"/>
                  </a:lnTo>
                  <a:lnTo>
                    <a:pt x="1613" y="70"/>
                  </a:lnTo>
                  <a:lnTo>
                    <a:pt x="1616" y="70"/>
                  </a:lnTo>
                  <a:lnTo>
                    <a:pt x="1616" y="70"/>
                  </a:lnTo>
                  <a:lnTo>
                    <a:pt x="1616" y="67"/>
                  </a:lnTo>
                  <a:lnTo>
                    <a:pt x="1616" y="67"/>
                  </a:lnTo>
                  <a:lnTo>
                    <a:pt x="1616" y="64"/>
                  </a:lnTo>
                  <a:lnTo>
                    <a:pt x="1618" y="64"/>
                  </a:lnTo>
                  <a:lnTo>
                    <a:pt x="1618" y="62"/>
                  </a:lnTo>
                  <a:lnTo>
                    <a:pt x="1618" y="62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9"/>
                  </a:lnTo>
                  <a:lnTo>
                    <a:pt x="1621" y="56"/>
                  </a:lnTo>
                  <a:lnTo>
                    <a:pt x="1624" y="56"/>
                  </a:lnTo>
                  <a:lnTo>
                    <a:pt x="1624" y="56"/>
                  </a:lnTo>
                  <a:lnTo>
                    <a:pt x="1624" y="56"/>
                  </a:lnTo>
                  <a:lnTo>
                    <a:pt x="1626" y="54"/>
                  </a:lnTo>
                  <a:lnTo>
                    <a:pt x="1629" y="51"/>
                  </a:lnTo>
                  <a:lnTo>
                    <a:pt x="1629" y="51"/>
                  </a:lnTo>
                  <a:lnTo>
                    <a:pt x="1632" y="51"/>
                  </a:lnTo>
                  <a:lnTo>
                    <a:pt x="1634" y="48"/>
                  </a:lnTo>
                  <a:lnTo>
                    <a:pt x="1634" y="48"/>
                  </a:lnTo>
                  <a:lnTo>
                    <a:pt x="1634" y="48"/>
                  </a:lnTo>
                  <a:lnTo>
                    <a:pt x="1637" y="46"/>
                  </a:lnTo>
                  <a:lnTo>
                    <a:pt x="1637" y="46"/>
                  </a:lnTo>
                  <a:lnTo>
                    <a:pt x="1640" y="46"/>
                  </a:lnTo>
                  <a:lnTo>
                    <a:pt x="1640" y="46"/>
                  </a:lnTo>
                  <a:lnTo>
                    <a:pt x="1640" y="43"/>
                  </a:lnTo>
                  <a:lnTo>
                    <a:pt x="1640" y="43"/>
                  </a:lnTo>
                  <a:lnTo>
                    <a:pt x="1642" y="43"/>
                  </a:lnTo>
                  <a:lnTo>
                    <a:pt x="1642" y="40"/>
                  </a:lnTo>
                  <a:lnTo>
                    <a:pt x="1642" y="40"/>
                  </a:lnTo>
                  <a:lnTo>
                    <a:pt x="1645" y="38"/>
                  </a:lnTo>
                  <a:lnTo>
                    <a:pt x="1648" y="38"/>
                  </a:lnTo>
                  <a:lnTo>
                    <a:pt x="1648" y="35"/>
                  </a:lnTo>
                  <a:lnTo>
                    <a:pt x="1650" y="35"/>
                  </a:lnTo>
                  <a:lnTo>
                    <a:pt x="1653" y="32"/>
                  </a:lnTo>
                  <a:lnTo>
                    <a:pt x="1653" y="32"/>
                  </a:lnTo>
                  <a:lnTo>
                    <a:pt x="1656" y="32"/>
                  </a:lnTo>
                  <a:lnTo>
                    <a:pt x="1656" y="30"/>
                  </a:lnTo>
                  <a:lnTo>
                    <a:pt x="1658" y="30"/>
                  </a:lnTo>
                  <a:lnTo>
                    <a:pt x="1661" y="30"/>
                  </a:lnTo>
                  <a:lnTo>
                    <a:pt x="1661" y="27"/>
                  </a:lnTo>
                  <a:lnTo>
                    <a:pt x="1664" y="27"/>
                  </a:lnTo>
                  <a:lnTo>
                    <a:pt x="1666" y="24"/>
                  </a:lnTo>
                  <a:lnTo>
                    <a:pt x="1666" y="24"/>
                  </a:lnTo>
                  <a:lnTo>
                    <a:pt x="1669" y="22"/>
                  </a:lnTo>
                  <a:lnTo>
                    <a:pt x="1669" y="22"/>
                  </a:lnTo>
                  <a:lnTo>
                    <a:pt x="1672" y="22"/>
                  </a:lnTo>
                  <a:lnTo>
                    <a:pt x="1672" y="19"/>
                  </a:lnTo>
                  <a:lnTo>
                    <a:pt x="1674" y="19"/>
                  </a:lnTo>
                  <a:lnTo>
                    <a:pt x="1677" y="19"/>
                  </a:lnTo>
                  <a:lnTo>
                    <a:pt x="1677" y="19"/>
                  </a:lnTo>
                  <a:lnTo>
                    <a:pt x="1677" y="16"/>
                  </a:lnTo>
                  <a:lnTo>
                    <a:pt x="1680" y="16"/>
                  </a:lnTo>
                  <a:lnTo>
                    <a:pt x="1683" y="16"/>
                  </a:lnTo>
                  <a:lnTo>
                    <a:pt x="1685" y="14"/>
                  </a:lnTo>
                  <a:lnTo>
                    <a:pt x="1688" y="14"/>
                  </a:lnTo>
                  <a:lnTo>
                    <a:pt x="1688" y="14"/>
                  </a:lnTo>
                  <a:lnTo>
                    <a:pt x="1691" y="11"/>
                  </a:lnTo>
                  <a:lnTo>
                    <a:pt x="1691" y="11"/>
                  </a:lnTo>
                  <a:lnTo>
                    <a:pt x="1693" y="11"/>
                  </a:lnTo>
                  <a:lnTo>
                    <a:pt x="1696" y="11"/>
                  </a:lnTo>
                  <a:lnTo>
                    <a:pt x="1699" y="8"/>
                  </a:lnTo>
                  <a:lnTo>
                    <a:pt x="1701" y="8"/>
                  </a:lnTo>
                  <a:lnTo>
                    <a:pt x="1704" y="8"/>
                  </a:lnTo>
                  <a:lnTo>
                    <a:pt x="1704" y="8"/>
                  </a:lnTo>
                  <a:lnTo>
                    <a:pt x="1707" y="6"/>
                  </a:lnTo>
                  <a:lnTo>
                    <a:pt x="1709" y="6"/>
                  </a:lnTo>
                  <a:lnTo>
                    <a:pt x="1712" y="6"/>
                  </a:lnTo>
                  <a:lnTo>
                    <a:pt x="1717" y="3"/>
                  </a:lnTo>
                  <a:lnTo>
                    <a:pt x="1720" y="3"/>
                  </a:lnTo>
                  <a:lnTo>
                    <a:pt x="1720" y="3"/>
                  </a:lnTo>
                  <a:lnTo>
                    <a:pt x="1725" y="3"/>
                  </a:lnTo>
                  <a:lnTo>
                    <a:pt x="1725" y="3"/>
                  </a:lnTo>
                  <a:lnTo>
                    <a:pt x="1728" y="3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9" y="0"/>
                  </a:lnTo>
                  <a:lnTo>
                    <a:pt x="1741" y="3"/>
                  </a:lnTo>
                  <a:lnTo>
                    <a:pt x="1747" y="3"/>
                  </a:lnTo>
                  <a:lnTo>
                    <a:pt x="1749" y="3"/>
                  </a:lnTo>
                  <a:lnTo>
                    <a:pt x="1752" y="3"/>
                  </a:lnTo>
                  <a:lnTo>
                    <a:pt x="1752" y="3"/>
                  </a:lnTo>
                  <a:lnTo>
                    <a:pt x="1757" y="3"/>
                  </a:lnTo>
                  <a:lnTo>
                    <a:pt x="1757" y="3"/>
                  </a:lnTo>
                  <a:lnTo>
                    <a:pt x="1760" y="6"/>
                  </a:lnTo>
                  <a:lnTo>
                    <a:pt x="1763" y="6"/>
                  </a:lnTo>
                  <a:lnTo>
                    <a:pt x="1765" y="6"/>
                  </a:lnTo>
                  <a:lnTo>
                    <a:pt x="1765" y="6"/>
                  </a:lnTo>
                  <a:lnTo>
                    <a:pt x="1768" y="8"/>
                  </a:lnTo>
                  <a:lnTo>
                    <a:pt x="1771" y="8"/>
                  </a:lnTo>
                  <a:lnTo>
                    <a:pt x="1771" y="8"/>
                  </a:lnTo>
                  <a:lnTo>
                    <a:pt x="1773" y="11"/>
                  </a:lnTo>
                  <a:lnTo>
                    <a:pt x="1776" y="11"/>
                  </a:lnTo>
                  <a:lnTo>
                    <a:pt x="1776" y="14"/>
                  </a:lnTo>
                  <a:lnTo>
                    <a:pt x="1779" y="14"/>
                  </a:lnTo>
                  <a:lnTo>
                    <a:pt x="1781" y="16"/>
                  </a:lnTo>
                  <a:lnTo>
                    <a:pt x="1781" y="16"/>
                  </a:lnTo>
                  <a:lnTo>
                    <a:pt x="1784" y="16"/>
                  </a:lnTo>
                  <a:lnTo>
                    <a:pt x="1787" y="19"/>
                  </a:lnTo>
                  <a:lnTo>
                    <a:pt x="1787" y="22"/>
                  </a:lnTo>
                  <a:lnTo>
                    <a:pt x="1795" y="24"/>
                  </a:lnTo>
                  <a:lnTo>
                    <a:pt x="1797" y="27"/>
                  </a:lnTo>
                  <a:lnTo>
                    <a:pt x="1797" y="27"/>
                  </a:lnTo>
                  <a:lnTo>
                    <a:pt x="1797" y="27"/>
                  </a:lnTo>
                  <a:lnTo>
                    <a:pt x="1797" y="30"/>
                  </a:lnTo>
                  <a:lnTo>
                    <a:pt x="1797" y="30"/>
                  </a:lnTo>
                  <a:lnTo>
                    <a:pt x="1800" y="32"/>
                  </a:lnTo>
                  <a:lnTo>
                    <a:pt x="1800" y="35"/>
                  </a:lnTo>
                  <a:lnTo>
                    <a:pt x="1800" y="35"/>
                  </a:lnTo>
                  <a:lnTo>
                    <a:pt x="1800" y="35"/>
                  </a:lnTo>
                  <a:lnTo>
                    <a:pt x="1800" y="38"/>
                  </a:lnTo>
                  <a:lnTo>
                    <a:pt x="1800" y="38"/>
                  </a:lnTo>
                  <a:lnTo>
                    <a:pt x="1803" y="40"/>
                  </a:lnTo>
                  <a:lnTo>
                    <a:pt x="1803" y="40"/>
                  </a:lnTo>
                  <a:lnTo>
                    <a:pt x="1803" y="43"/>
                  </a:lnTo>
                  <a:lnTo>
                    <a:pt x="1803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800" y="43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797" y="48"/>
                  </a:lnTo>
                  <a:lnTo>
                    <a:pt x="1797" y="48"/>
                  </a:lnTo>
                  <a:lnTo>
                    <a:pt x="1797" y="46"/>
                  </a:lnTo>
                  <a:lnTo>
                    <a:pt x="1797" y="46"/>
                  </a:lnTo>
                  <a:lnTo>
                    <a:pt x="1800" y="46"/>
                  </a:lnTo>
                  <a:lnTo>
                    <a:pt x="1800" y="46"/>
                  </a:lnTo>
                  <a:lnTo>
                    <a:pt x="1800" y="46"/>
                  </a:lnTo>
                  <a:lnTo>
                    <a:pt x="1803" y="46"/>
                  </a:lnTo>
                  <a:lnTo>
                    <a:pt x="1803" y="46"/>
                  </a:lnTo>
                  <a:lnTo>
                    <a:pt x="1805" y="46"/>
                  </a:lnTo>
                  <a:lnTo>
                    <a:pt x="1805" y="46"/>
                  </a:lnTo>
                  <a:lnTo>
                    <a:pt x="1805" y="48"/>
                  </a:lnTo>
                  <a:lnTo>
                    <a:pt x="1805" y="48"/>
                  </a:lnTo>
                  <a:lnTo>
                    <a:pt x="1808" y="51"/>
                  </a:lnTo>
                  <a:lnTo>
                    <a:pt x="1808" y="51"/>
                  </a:lnTo>
                  <a:lnTo>
                    <a:pt x="1808" y="54"/>
                  </a:lnTo>
                  <a:lnTo>
                    <a:pt x="1811" y="54"/>
                  </a:lnTo>
                  <a:lnTo>
                    <a:pt x="1811" y="56"/>
                  </a:lnTo>
                  <a:lnTo>
                    <a:pt x="1811" y="59"/>
                  </a:lnTo>
                  <a:lnTo>
                    <a:pt x="1811" y="59"/>
                  </a:lnTo>
                  <a:lnTo>
                    <a:pt x="1811" y="62"/>
                  </a:lnTo>
                  <a:lnTo>
                    <a:pt x="1811" y="64"/>
                  </a:lnTo>
                  <a:lnTo>
                    <a:pt x="1811" y="64"/>
                  </a:lnTo>
                  <a:lnTo>
                    <a:pt x="1813" y="67"/>
                  </a:lnTo>
                  <a:lnTo>
                    <a:pt x="1813" y="67"/>
                  </a:lnTo>
                  <a:lnTo>
                    <a:pt x="1816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21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19" y="70"/>
                  </a:lnTo>
                  <a:lnTo>
                    <a:pt x="1819" y="72"/>
                  </a:lnTo>
                  <a:lnTo>
                    <a:pt x="1819" y="72"/>
                  </a:lnTo>
                  <a:lnTo>
                    <a:pt x="1821" y="72"/>
                  </a:lnTo>
                  <a:lnTo>
                    <a:pt x="1821" y="70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5"/>
                  </a:lnTo>
                  <a:lnTo>
                    <a:pt x="1824" y="78"/>
                  </a:lnTo>
                  <a:lnTo>
                    <a:pt x="1824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8"/>
                  </a:lnTo>
                  <a:lnTo>
                    <a:pt x="1827" y="75"/>
                  </a:lnTo>
                  <a:lnTo>
                    <a:pt x="1827" y="75"/>
                  </a:lnTo>
                  <a:lnTo>
                    <a:pt x="1824" y="75"/>
                  </a:lnTo>
                  <a:lnTo>
                    <a:pt x="1824" y="75"/>
                  </a:lnTo>
                  <a:lnTo>
                    <a:pt x="1824" y="72"/>
                  </a:lnTo>
                  <a:lnTo>
                    <a:pt x="1824" y="72"/>
                  </a:lnTo>
                  <a:lnTo>
                    <a:pt x="1824" y="70"/>
                  </a:lnTo>
                  <a:lnTo>
                    <a:pt x="1827" y="70"/>
                  </a:lnTo>
                  <a:lnTo>
                    <a:pt x="1829" y="70"/>
                  </a:lnTo>
                  <a:lnTo>
                    <a:pt x="1829" y="70"/>
                  </a:lnTo>
                  <a:lnTo>
                    <a:pt x="1832" y="70"/>
                  </a:lnTo>
                  <a:lnTo>
                    <a:pt x="1835" y="70"/>
                  </a:lnTo>
                  <a:lnTo>
                    <a:pt x="1835" y="70"/>
                  </a:lnTo>
                  <a:lnTo>
                    <a:pt x="1837" y="70"/>
                  </a:lnTo>
                  <a:lnTo>
                    <a:pt x="1837" y="70"/>
                  </a:lnTo>
                  <a:lnTo>
                    <a:pt x="1840" y="70"/>
                  </a:lnTo>
                  <a:lnTo>
                    <a:pt x="1840" y="70"/>
                  </a:lnTo>
                  <a:lnTo>
                    <a:pt x="1840" y="70"/>
                  </a:lnTo>
                  <a:lnTo>
                    <a:pt x="1843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5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3" y="70"/>
                  </a:lnTo>
                  <a:lnTo>
                    <a:pt x="1840" y="67"/>
                  </a:lnTo>
                  <a:lnTo>
                    <a:pt x="1840" y="67"/>
                  </a:lnTo>
                  <a:lnTo>
                    <a:pt x="1840" y="67"/>
                  </a:lnTo>
                  <a:lnTo>
                    <a:pt x="1843" y="67"/>
                  </a:lnTo>
                  <a:lnTo>
                    <a:pt x="1843" y="67"/>
                  </a:lnTo>
                  <a:lnTo>
                    <a:pt x="1843" y="67"/>
                  </a:lnTo>
                  <a:lnTo>
                    <a:pt x="1845" y="67"/>
                  </a:lnTo>
                  <a:lnTo>
                    <a:pt x="1845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7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48" y="64"/>
                  </a:lnTo>
                  <a:lnTo>
                    <a:pt x="1851" y="64"/>
                  </a:lnTo>
                  <a:lnTo>
                    <a:pt x="1851" y="62"/>
                  </a:lnTo>
                  <a:lnTo>
                    <a:pt x="1851" y="62"/>
                  </a:lnTo>
                  <a:lnTo>
                    <a:pt x="1853" y="62"/>
                  </a:lnTo>
                  <a:lnTo>
                    <a:pt x="1853" y="62"/>
                  </a:lnTo>
                  <a:lnTo>
                    <a:pt x="1853" y="62"/>
                  </a:lnTo>
                  <a:lnTo>
                    <a:pt x="1856" y="59"/>
                  </a:lnTo>
                  <a:lnTo>
                    <a:pt x="1856" y="59"/>
                  </a:lnTo>
                  <a:lnTo>
                    <a:pt x="1856" y="59"/>
                  </a:lnTo>
                  <a:lnTo>
                    <a:pt x="1859" y="59"/>
                  </a:lnTo>
                  <a:lnTo>
                    <a:pt x="1859" y="59"/>
                  </a:lnTo>
                  <a:lnTo>
                    <a:pt x="1861" y="59"/>
                  </a:lnTo>
                  <a:lnTo>
                    <a:pt x="1861" y="59"/>
                  </a:lnTo>
                  <a:lnTo>
                    <a:pt x="1861" y="59"/>
                  </a:lnTo>
                  <a:lnTo>
                    <a:pt x="1864" y="59"/>
                  </a:lnTo>
                  <a:lnTo>
                    <a:pt x="1864" y="59"/>
                  </a:lnTo>
                  <a:lnTo>
                    <a:pt x="1864" y="59"/>
                  </a:lnTo>
                  <a:lnTo>
                    <a:pt x="1867" y="59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4" y="62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4" y="64"/>
                  </a:lnTo>
                  <a:lnTo>
                    <a:pt x="1867" y="67"/>
                  </a:lnTo>
                  <a:lnTo>
                    <a:pt x="1867" y="64"/>
                  </a:lnTo>
                  <a:lnTo>
                    <a:pt x="1867" y="64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7" y="62"/>
                  </a:lnTo>
                  <a:lnTo>
                    <a:pt x="1867" y="59"/>
                  </a:lnTo>
                  <a:lnTo>
                    <a:pt x="1867" y="59"/>
                  </a:lnTo>
                  <a:lnTo>
                    <a:pt x="1867" y="59"/>
                  </a:lnTo>
                  <a:lnTo>
                    <a:pt x="1867" y="56"/>
                  </a:lnTo>
                  <a:lnTo>
                    <a:pt x="1867" y="56"/>
                  </a:lnTo>
                  <a:lnTo>
                    <a:pt x="1869" y="56"/>
                  </a:lnTo>
                  <a:lnTo>
                    <a:pt x="1869" y="56"/>
                  </a:lnTo>
                  <a:lnTo>
                    <a:pt x="1869" y="56"/>
                  </a:lnTo>
                  <a:lnTo>
                    <a:pt x="1872" y="56"/>
                  </a:lnTo>
                  <a:lnTo>
                    <a:pt x="1872" y="56"/>
                  </a:lnTo>
                  <a:lnTo>
                    <a:pt x="1875" y="59"/>
                  </a:lnTo>
                  <a:lnTo>
                    <a:pt x="1875" y="59"/>
                  </a:lnTo>
                  <a:lnTo>
                    <a:pt x="1875" y="62"/>
                  </a:lnTo>
                  <a:lnTo>
                    <a:pt x="1875" y="62"/>
                  </a:lnTo>
                  <a:lnTo>
                    <a:pt x="1877" y="64"/>
                  </a:lnTo>
                  <a:lnTo>
                    <a:pt x="1877" y="64"/>
                  </a:lnTo>
                  <a:lnTo>
                    <a:pt x="1877" y="64"/>
                  </a:lnTo>
                  <a:lnTo>
                    <a:pt x="1877" y="67"/>
                  </a:lnTo>
                  <a:lnTo>
                    <a:pt x="1877" y="67"/>
                  </a:lnTo>
                  <a:lnTo>
                    <a:pt x="1880" y="70"/>
                  </a:lnTo>
                  <a:lnTo>
                    <a:pt x="1880" y="70"/>
                  </a:lnTo>
                  <a:lnTo>
                    <a:pt x="1880" y="70"/>
                  </a:lnTo>
                  <a:lnTo>
                    <a:pt x="1883" y="70"/>
                  </a:lnTo>
                  <a:lnTo>
                    <a:pt x="1883" y="70"/>
                  </a:lnTo>
                  <a:lnTo>
                    <a:pt x="1883" y="70"/>
                  </a:lnTo>
                  <a:lnTo>
                    <a:pt x="1885" y="72"/>
                  </a:lnTo>
                  <a:lnTo>
                    <a:pt x="1888" y="72"/>
                  </a:lnTo>
                  <a:lnTo>
                    <a:pt x="1888" y="75"/>
                  </a:lnTo>
                  <a:lnTo>
                    <a:pt x="1891" y="75"/>
                  </a:lnTo>
                  <a:lnTo>
                    <a:pt x="1891" y="78"/>
                  </a:lnTo>
                  <a:lnTo>
                    <a:pt x="1893" y="78"/>
                  </a:lnTo>
                  <a:lnTo>
                    <a:pt x="1893" y="78"/>
                  </a:lnTo>
                  <a:lnTo>
                    <a:pt x="1896" y="80"/>
                  </a:lnTo>
                  <a:lnTo>
                    <a:pt x="1896" y="78"/>
                  </a:lnTo>
                  <a:lnTo>
                    <a:pt x="1896" y="78"/>
                  </a:lnTo>
                  <a:lnTo>
                    <a:pt x="1899" y="78"/>
                  </a:lnTo>
                  <a:lnTo>
                    <a:pt x="1899" y="78"/>
                  </a:lnTo>
                  <a:lnTo>
                    <a:pt x="1896" y="75"/>
                  </a:lnTo>
                  <a:lnTo>
                    <a:pt x="1896" y="75"/>
                  </a:lnTo>
                  <a:lnTo>
                    <a:pt x="1893" y="72"/>
                  </a:lnTo>
                  <a:lnTo>
                    <a:pt x="1893" y="72"/>
                  </a:lnTo>
                  <a:lnTo>
                    <a:pt x="1891" y="72"/>
                  </a:lnTo>
                  <a:lnTo>
                    <a:pt x="1891" y="70"/>
                  </a:lnTo>
                  <a:lnTo>
                    <a:pt x="1888" y="70"/>
                  </a:lnTo>
                  <a:lnTo>
                    <a:pt x="1885" y="70"/>
                  </a:lnTo>
                  <a:lnTo>
                    <a:pt x="1885" y="67"/>
                  </a:lnTo>
                  <a:lnTo>
                    <a:pt x="1885" y="67"/>
                  </a:lnTo>
                  <a:lnTo>
                    <a:pt x="1883" y="67"/>
                  </a:lnTo>
                  <a:lnTo>
                    <a:pt x="1883" y="64"/>
                  </a:lnTo>
                  <a:lnTo>
                    <a:pt x="1883" y="64"/>
                  </a:lnTo>
                  <a:lnTo>
                    <a:pt x="1883" y="64"/>
                  </a:lnTo>
                  <a:lnTo>
                    <a:pt x="1883" y="62"/>
                  </a:lnTo>
                  <a:lnTo>
                    <a:pt x="1883" y="62"/>
                  </a:lnTo>
                  <a:lnTo>
                    <a:pt x="1883" y="62"/>
                  </a:lnTo>
                  <a:lnTo>
                    <a:pt x="1883" y="59"/>
                  </a:lnTo>
                  <a:lnTo>
                    <a:pt x="1883" y="56"/>
                  </a:lnTo>
                  <a:lnTo>
                    <a:pt x="1885" y="56"/>
                  </a:lnTo>
                  <a:lnTo>
                    <a:pt x="1885" y="54"/>
                  </a:lnTo>
                  <a:lnTo>
                    <a:pt x="1885" y="54"/>
                  </a:lnTo>
                  <a:lnTo>
                    <a:pt x="1885" y="51"/>
                  </a:lnTo>
                  <a:lnTo>
                    <a:pt x="1885" y="51"/>
                  </a:lnTo>
                  <a:lnTo>
                    <a:pt x="1888" y="51"/>
                  </a:lnTo>
                  <a:lnTo>
                    <a:pt x="1888" y="51"/>
                  </a:lnTo>
                  <a:lnTo>
                    <a:pt x="1888" y="54"/>
                  </a:lnTo>
                  <a:lnTo>
                    <a:pt x="1888" y="54"/>
                  </a:lnTo>
                  <a:lnTo>
                    <a:pt x="1891" y="54"/>
                  </a:lnTo>
                  <a:lnTo>
                    <a:pt x="1891" y="56"/>
                  </a:lnTo>
                  <a:lnTo>
                    <a:pt x="1891" y="56"/>
                  </a:lnTo>
                  <a:lnTo>
                    <a:pt x="1893" y="59"/>
                  </a:lnTo>
                  <a:lnTo>
                    <a:pt x="1893" y="59"/>
                  </a:lnTo>
                  <a:lnTo>
                    <a:pt x="1893" y="59"/>
                  </a:lnTo>
                  <a:lnTo>
                    <a:pt x="1893" y="62"/>
                  </a:lnTo>
                  <a:lnTo>
                    <a:pt x="1893" y="62"/>
                  </a:lnTo>
                  <a:lnTo>
                    <a:pt x="1893" y="62"/>
                  </a:lnTo>
                  <a:lnTo>
                    <a:pt x="1893" y="64"/>
                  </a:lnTo>
                  <a:lnTo>
                    <a:pt x="1896" y="64"/>
                  </a:lnTo>
                  <a:lnTo>
                    <a:pt x="1896" y="64"/>
                  </a:lnTo>
                  <a:lnTo>
                    <a:pt x="1896" y="64"/>
                  </a:lnTo>
                  <a:lnTo>
                    <a:pt x="1899" y="64"/>
                  </a:lnTo>
                  <a:lnTo>
                    <a:pt x="1899" y="64"/>
                  </a:lnTo>
                  <a:lnTo>
                    <a:pt x="1899" y="67"/>
                  </a:lnTo>
                  <a:lnTo>
                    <a:pt x="1901" y="67"/>
                  </a:lnTo>
                  <a:lnTo>
                    <a:pt x="1901" y="67"/>
                  </a:lnTo>
                  <a:lnTo>
                    <a:pt x="1901" y="70"/>
                  </a:lnTo>
                  <a:lnTo>
                    <a:pt x="1901" y="70"/>
                  </a:lnTo>
                  <a:lnTo>
                    <a:pt x="1901" y="70"/>
                  </a:lnTo>
                  <a:lnTo>
                    <a:pt x="1904" y="70"/>
                  </a:lnTo>
                  <a:lnTo>
                    <a:pt x="1904" y="72"/>
                  </a:lnTo>
                  <a:lnTo>
                    <a:pt x="1907" y="72"/>
                  </a:lnTo>
                  <a:lnTo>
                    <a:pt x="1907" y="75"/>
                  </a:lnTo>
                  <a:lnTo>
                    <a:pt x="1907" y="75"/>
                  </a:lnTo>
                  <a:lnTo>
                    <a:pt x="1909" y="78"/>
                  </a:lnTo>
                  <a:lnTo>
                    <a:pt x="1909" y="78"/>
                  </a:lnTo>
                  <a:lnTo>
                    <a:pt x="1912" y="75"/>
                  </a:lnTo>
                  <a:lnTo>
                    <a:pt x="1912" y="75"/>
                  </a:lnTo>
                  <a:lnTo>
                    <a:pt x="1909" y="72"/>
                  </a:lnTo>
                  <a:lnTo>
                    <a:pt x="1909" y="72"/>
                  </a:lnTo>
                  <a:lnTo>
                    <a:pt x="1909" y="70"/>
                  </a:lnTo>
                  <a:lnTo>
                    <a:pt x="1909" y="70"/>
                  </a:lnTo>
                  <a:lnTo>
                    <a:pt x="1909" y="70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7" y="67"/>
                  </a:lnTo>
                  <a:lnTo>
                    <a:pt x="1904" y="67"/>
                  </a:lnTo>
                  <a:lnTo>
                    <a:pt x="1904" y="67"/>
                  </a:lnTo>
                  <a:lnTo>
                    <a:pt x="1901" y="67"/>
                  </a:lnTo>
                  <a:lnTo>
                    <a:pt x="1901" y="67"/>
                  </a:lnTo>
                  <a:lnTo>
                    <a:pt x="1904" y="64"/>
                  </a:lnTo>
                  <a:lnTo>
                    <a:pt x="1904" y="64"/>
                  </a:lnTo>
                  <a:lnTo>
                    <a:pt x="1904" y="64"/>
                  </a:lnTo>
                  <a:lnTo>
                    <a:pt x="1901" y="64"/>
                  </a:lnTo>
                  <a:lnTo>
                    <a:pt x="1901" y="62"/>
                  </a:lnTo>
                  <a:lnTo>
                    <a:pt x="1899" y="62"/>
                  </a:lnTo>
                  <a:lnTo>
                    <a:pt x="1899" y="59"/>
                  </a:lnTo>
                  <a:lnTo>
                    <a:pt x="1899" y="59"/>
                  </a:lnTo>
                  <a:lnTo>
                    <a:pt x="1901" y="59"/>
                  </a:lnTo>
                  <a:lnTo>
                    <a:pt x="1901" y="59"/>
                  </a:lnTo>
                  <a:lnTo>
                    <a:pt x="1901" y="56"/>
                  </a:lnTo>
                  <a:lnTo>
                    <a:pt x="1901" y="56"/>
                  </a:lnTo>
                  <a:lnTo>
                    <a:pt x="1901" y="56"/>
                  </a:lnTo>
                  <a:lnTo>
                    <a:pt x="1901" y="54"/>
                  </a:lnTo>
                  <a:lnTo>
                    <a:pt x="1901" y="54"/>
                  </a:lnTo>
                  <a:lnTo>
                    <a:pt x="1901" y="54"/>
                  </a:lnTo>
                  <a:lnTo>
                    <a:pt x="1901" y="51"/>
                  </a:lnTo>
                  <a:lnTo>
                    <a:pt x="1901" y="51"/>
                  </a:lnTo>
                  <a:lnTo>
                    <a:pt x="1901" y="51"/>
                  </a:lnTo>
                  <a:lnTo>
                    <a:pt x="1901" y="48"/>
                  </a:lnTo>
                  <a:lnTo>
                    <a:pt x="1899" y="48"/>
                  </a:lnTo>
                  <a:lnTo>
                    <a:pt x="1899" y="48"/>
                  </a:lnTo>
                  <a:lnTo>
                    <a:pt x="1899" y="46"/>
                  </a:lnTo>
                  <a:lnTo>
                    <a:pt x="1901" y="46"/>
                  </a:lnTo>
                  <a:lnTo>
                    <a:pt x="1901" y="43"/>
                  </a:lnTo>
                  <a:lnTo>
                    <a:pt x="1901" y="43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1" y="40"/>
                  </a:lnTo>
                  <a:lnTo>
                    <a:pt x="1904" y="38"/>
                  </a:lnTo>
                  <a:lnTo>
                    <a:pt x="1904" y="38"/>
                  </a:lnTo>
                  <a:lnTo>
                    <a:pt x="1904" y="35"/>
                  </a:lnTo>
                  <a:lnTo>
                    <a:pt x="1904" y="35"/>
                  </a:lnTo>
                  <a:lnTo>
                    <a:pt x="1904" y="32"/>
                  </a:lnTo>
                  <a:lnTo>
                    <a:pt x="1904" y="32"/>
                  </a:lnTo>
                  <a:lnTo>
                    <a:pt x="1901" y="30"/>
                  </a:lnTo>
                  <a:lnTo>
                    <a:pt x="1901" y="30"/>
                  </a:lnTo>
                  <a:lnTo>
                    <a:pt x="1901" y="27"/>
                  </a:lnTo>
                  <a:lnTo>
                    <a:pt x="1901" y="27"/>
                  </a:lnTo>
                  <a:lnTo>
                    <a:pt x="1904" y="27"/>
                  </a:lnTo>
                  <a:lnTo>
                    <a:pt x="1904" y="24"/>
                  </a:lnTo>
                  <a:lnTo>
                    <a:pt x="1904" y="24"/>
                  </a:lnTo>
                  <a:lnTo>
                    <a:pt x="1904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1" y="22"/>
                  </a:lnTo>
                  <a:lnTo>
                    <a:pt x="1904" y="22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9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4" y="16"/>
                  </a:lnTo>
                  <a:lnTo>
                    <a:pt x="1901" y="14"/>
                  </a:lnTo>
                  <a:lnTo>
                    <a:pt x="1901" y="14"/>
                  </a:lnTo>
                  <a:lnTo>
                    <a:pt x="1901" y="14"/>
                  </a:lnTo>
                  <a:lnTo>
                    <a:pt x="1904" y="14"/>
                  </a:lnTo>
                  <a:lnTo>
                    <a:pt x="1904" y="14"/>
                  </a:lnTo>
                  <a:lnTo>
                    <a:pt x="1904" y="14"/>
                  </a:lnTo>
                  <a:lnTo>
                    <a:pt x="1907" y="14"/>
                  </a:lnTo>
                  <a:lnTo>
                    <a:pt x="1907" y="14"/>
                  </a:lnTo>
                  <a:lnTo>
                    <a:pt x="1907" y="14"/>
                  </a:lnTo>
                  <a:lnTo>
                    <a:pt x="1909" y="16"/>
                  </a:lnTo>
                  <a:lnTo>
                    <a:pt x="1909" y="16"/>
                  </a:lnTo>
                  <a:lnTo>
                    <a:pt x="1909" y="16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19"/>
                  </a:lnTo>
                  <a:lnTo>
                    <a:pt x="1909" y="22"/>
                  </a:lnTo>
                  <a:lnTo>
                    <a:pt x="1909" y="22"/>
                  </a:lnTo>
                  <a:lnTo>
                    <a:pt x="1912" y="22"/>
                  </a:lnTo>
                  <a:lnTo>
                    <a:pt x="1912" y="22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4"/>
                  </a:lnTo>
                  <a:lnTo>
                    <a:pt x="1912" y="27"/>
                  </a:lnTo>
                  <a:lnTo>
                    <a:pt x="1912" y="27"/>
                  </a:lnTo>
                  <a:lnTo>
                    <a:pt x="1915" y="27"/>
                  </a:lnTo>
                  <a:lnTo>
                    <a:pt x="1915" y="30"/>
                  </a:lnTo>
                  <a:lnTo>
                    <a:pt x="1917" y="30"/>
                  </a:lnTo>
                  <a:lnTo>
                    <a:pt x="1917" y="30"/>
                  </a:lnTo>
                  <a:lnTo>
                    <a:pt x="1920" y="30"/>
                  </a:lnTo>
                  <a:lnTo>
                    <a:pt x="1920" y="30"/>
                  </a:lnTo>
                  <a:lnTo>
                    <a:pt x="1920" y="32"/>
                  </a:lnTo>
                  <a:lnTo>
                    <a:pt x="1923" y="32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3" y="35"/>
                  </a:lnTo>
                  <a:lnTo>
                    <a:pt x="1926" y="35"/>
                  </a:lnTo>
                  <a:lnTo>
                    <a:pt x="1926" y="35"/>
                  </a:lnTo>
                  <a:lnTo>
                    <a:pt x="1928" y="35"/>
                  </a:lnTo>
                  <a:lnTo>
                    <a:pt x="1928" y="35"/>
                  </a:lnTo>
                  <a:lnTo>
                    <a:pt x="1931" y="35"/>
                  </a:lnTo>
                  <a:lnTo>
                    <a:pt x="1931" y="35"/>
                  </a:lnTo>
                  <a:lnTo>
                    <a:pt x="1931" y="35"/>
                  </a:lnTo>
                  <a:lnTo>
                    <a:pt x="1934" y="38"/>
                  </a:lnTo>
                  <a:lnTo>
                    <a:pt x="1934" y="38"/>
                  </a:lnTo>
                  <a:lnTo>
                    <a:pt x="1936" y="38"/>
                  </a:lnTo>
                  <a:lnTo>
                    <a:pt x="1936" y="38"/>
                  </a:lnTo>
                  <a:lnTo>
                    <a:pt x="1939" y="40"/>
                  </a:lnTo>
                  <a:lnTo>
                    <a:pt x="1939" y="40"/>
                  </a:lnTo>
                  <a:lnTo>
                    <a:pt x="1939" y="40"/>
                  </a:lnTo>
                  <a:lnTo>
                    <a:pt x="1942" y="38"/>
                  </a:lnTo>
                  <a:lnTo>
                    <a:pt x="1942" y="38"/>
                  </a:lnTo>
                  <a:lnTo>
                    <a:pt x="1944" y="38"/>
                  </a:lnTo>
                  <a:lnTo>
                    <a:pt x="1944" y="38"/>
                  </a:lnTo>
                  <a:lnTo>
                    <a:pt x="1944" y="40"/>
                  </a:lnTo>
                  <a:lnTo>
                    <a:pt x="1947" y="40"/>
                  </a:lnTo>
                  <a:lnTo>
                    <a:pt x="1947" y="40"/>
                  </a:lnTo>
                  <a:lnTo>
                    <a:pt x="1950" y="40"/>
                  </a:lnTo>
                  <a:lnTo>
                    <a:pt x="1950" y="40"/>
                  </a:lnTo>
                  <a:lnTo>
                    <a:pt x="1952" y="43"/>
                  </a:lnTo>
                  <a:lnTo>
                    <a:pt x="1952" y="43"/>
                  </a:lnTo>
                  <a:lnTo>
                    <a:pt x="1952" y="46"/>
                  </a:lnTo>
                  <a:lnTo>
                    <a:pt x="1952" y="46"/>
                  </a:lnTo>
                  <a:lnTo>
                    <a:pt x="1952" y="46"/>
                  </a:lnTo>
                  <a:lnTo>
                    <a:pt x="1952" y="48"/>
                  </a:lnTo>
                  <a:lnTo>
                    <a:pt x="1952" y="48"/>
                  </a:lnTo>
                  <a:lnTo>
                    <a:pt x="1952" y="48"/>
                  </a:lnTo>
                  <a:lnTo>
                    <a:pt x="1950" y="48"/>
                  </a:lnTo>
                  <a:lnTo>
                    <a:pt x="1950" y="51"/>
                  </a:lnTo>
                  <a:lnTo>
                    <a:pt x="1950" y="51"/>
                  </a:lnTo>
                  <a:lnTo>
                    <a:pt x="1950" y="51"/>
                  </a:lnTo>
                  <a:lnTo>
                    <a:pt x="1950" y="54"/>
                  </a:lnTo>
                  <a:lnTo>
                    <a:pt x="1950" y="54"/>
                  </a:lnTo>
                  <a:lnTo>
                    <a:pt x="1950" y="54"/>
                  </a:lnTo>
                  <a:lnTo>
                    <a:pt x="1950" y="56"/>
                  </a:lnTo>
                  <a:lnTo>
                    <a:pt x="1950" y="56"/>
                  </a:lnTo>
                  <a:lnTo>
                    <a:pt x="1950" y="56"/>
                  </a:lnTo>
                  <a:lnTo>
                    <a:pt x="1952" y="56"/>
                  </a:lnTo>
                  <a:lnTo>
                    <a:pt x="1952" y="56"/>
                  </a:lnTo>
                  <a:lnTo>
                    <a:pt x="1952" y="59"/>
                  </a:lnTo>
                  <a:lnTo>
                    <a:pt x="1952" y="59"/>
                  </a:lnTo>
                  <a:lnTo>
                    <a:pt x="1955" y="59"/>
                  </a:lnTo>
                  <a:lnTo>
                    <a:pt x="1955" y="59"/>
                  </a:lnTo>
                  <a:lnTo>
                    <a:pt x="1958" y="59"/>
                  </a:lnTo>
                  <a:lnTo>
                    <a:pt x="1958" y="62"/>
                  </a:lnTo>
                  <a:lnTo>
                    <a:pt x="1958" y="62"/>
                  </a:lnTo>
                  <a:lnTo>
                    <a:pt x="1958" y="62"/>
                  </a:lnTo>
                  <a:lnTo>
                    <a:pt x="1960" y="64"/>
                  </a:lnTo>
                  <a:lnTo>
                    <a:pt x="1960" y="64"/>
                  </a:lnTo>
                  <a:lnTo>
                    <a:pt x="1963" y="64"/>
                  </a:lnTo>
                  <a:lnTo>
                    <a:pt x="1966" y="64"/>
                  </a:lnTo>
                  <a:lnTo>
                    <a:pt x="1966" y="64"/>
                  </a:lnTo>
                  <a:lnTo>
                    <a:pt x="1968" y="62"/>
                  </a:lnTo>
                  <a:lnTo>
                    <a:pt x="1971" y="64"/>
                  </a:lnTo>
                  <a:lnTo>
                    <a:pt x="1974" y="64"/>
                  </a:lnTo>
                  <a:lnTo>
                    <a:pt x="1974" y="64"/>
                  </a:lnTo>
                  <a:lnTo>
                    <a:pt x="1976" y="67"/>
                  </a:lnTo>
                  <a:lnTo>
                    <a:pt x="1976" y="67"/>
                  </a:lnTo>
                  <a:lnTo>
                    <a:pt x="1979" y="67"/>
                  </a:lnTo>
                  <a:lnTo>
                    <a:pt x="1979" y="67"/>
                  </a:lnTo>
                  <a:lnTo>
                    <a:pt x="1979" y="70"/>
                  </a:lnTo>
                  <a:lnTo>
                    <a:pt x="1979" y="72"/>
                  </a:lnTo>
                  <a:lnTo>
                    <a:pt x="1979" y="72"/>
                  </a:lnTo>
                  <a:lnTo>
                    <a:pt x="1979" y="75"/>
                  </a:lnTo>
                  <a:lnTo>
                    <a:pt x="1979" y="75"/>
                  </a:lnTo>
                  <a:lnTo>
                    <a:pt x="1979" y="75"/>
                  </a:lnTo>
                  <a:lnTo>
                    <a:pt x="1979" y="78"/>
                  </a:lnTo>
                  <a:lnTo>
                    <a:pt x="1979" y="78"/>
                  </a:lnTo>
                  <a:lnTo>
                    <a:pt x="1979" y="78"/>
                  </a:lnTo>
                  <a:lnTo>
                    <a:pt x="1976" y="78"/>
                  </a:lnTo>
                  <a:lnTo>
                    <a:pt x="1976" y="78"/>
                  </a:lnTo>
                  <a:lnTo>
                    <a:pt x="1976" y="80"/>
                  </a:lnTo>
                  <a:lnTo>
                    <a:pt x="1976" y="80"/>
                  </a:lnTo>
                  <a:lnTo>
                    <a:pt x="1979" y="80"/>
                  </a:lnTo>
                  <a:lnTo>
                    <a:pt x="1979" y="80"/>
                  </a:lnTo>
                  <a:lnTo>
                    <a:pt x="1979" y="80"/>
                  </a:lnTo>
                  <a:lnTo>
                    <a:pt x="1982" y="83"/>
                  </a:lnTo>
                  <a:lnTo>
                    <a:pt x="1982" y="83"/>
                  </a:lnTo>
                  <a:lnTo>
                    <a:pt x="1984" y="83"/>
                  </a:lnTo>
                  <a:lnTo>
                    <a:pt x="1984" y="83"/>
                  </a:lnTo>
                  <a:lnTo>
                    <a:pt x="1984" y="83"/>
                  </a:lnTo>
                  <a:lnTo>
                    <a:pt x="1987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3"/>
                  </a:lnTo>
                  <a:lnTo>
                    <a:pt x="1990" y="86"/>
                  </a:lnTo>
                  <a:lnTo>
                    <a:pt x="1992" y="86"/>
                  </a:lnTo>
                  <a:lnTo>
                    <a:pt x="1992" y="88"/>
                  </a:lnTo>
                  <a:lnTo>
                    <a:pt x="1995" y="88"/>
                  </a:lnTo>
                  <a:lnTo>
                    <a:pt x="1995" y="91"/>
                  </a:lnTo>
                  <a:lnTo>
                    <a:pt x="1995" y="91"/>
                  </a:lnTo>
                  <a:lnTo>
                    <a:pt x="1995" y="91"/>
                  </a:lnTo>
                  <a:lnTo>
                    <a:pt x="1995" y="94"/>
                  </a:lnTo>
                  <a:lnTo>
                    <a:pt x="1995" y="94"/>
                  </a:lnTo>
                  <a:lnTo>
                    <a:pt x="1995" y="94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6"/>
                  </a:lnTo>
                  <a:lnTo>
                    <a:pt x="1995" y="99"/>
                  </a:lnTo>
                  <a:lnTo>
                    <a:pt x="1998" y="99"/>
                  </a:lnTo>
                  <a:lnTo>
                    <a:pt x="1998" y="99"/>
                  </a:lnTo>
                  <a:lnTo>
                    <a:pt x="1998" y="102"/>
                  </a:lnTo>
                  <a:lnTo>
                    <a:pt x="2000" y="102"/>
                  </a:lnTo>
                  <a:lnTo>
                    <a:pt x="2000" y="104"/>
                  </a:lnTo>
                  <a:lnTo>
                    <a:pt x="2000" y="104"/>
                  </a:lnTo>
                  <a:lnTo>
                    <a:pt x="2003" y="104"/>
                  </a:lnTo>
                  <a:lnTo>
                    <a:pt x="2003" y="107"/>
                  </a:lnTo>
                  <a:lnTo>
                    <a:pt x="2003" y="107"/>
                  </a:lnTo>
                  <a:lnTo>
                    <a:pt x="2003" y="107"/>
                  </a:lnTo>
                  <a:lnTo>
                    <a:pt x="2003" y="110"/>
                  </a:lnTo>
                  <a:lnTo>
                    <a:pt x="2003" y="110"/>
                  </a:lnTo>
                  <a:lnTo>
                    <a:pt x="2006" y="112"/>
                  </a:lnTo>
                  <a:lnTo>
                    <a:pt x="2006" y="112"/>
                  </a:lnTo>
                  <a:lnTo>
                    <a:pt x="2006" y="112"/>
                  </a:lnTo>
                  <a:lnTo>
                    <a:pt x="2008" y="112"/>
                  </a:lnTo>
                  <a:lnTo>
                    <a:pt x="2008" y="115"/>
                  </a:lnTo>
                  <a:lnTo>
                    <a:pt x="2008" y="115"/>
                  </a:lnTo>
                  <a:lnTo>
                    <a:pt x="2008" y="115"/>
                  </a:lnTo>
                  <a:lnTo>
                    <a:pt x="2008" y="118"/>
                  </a:lnTo>
                  <a:lnTo>
                    <a:pt x="2008" y="118"/>
                  </a:lnTo>
                  <a:lnTo>
                    <a:pt x="2008" y="118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0"/>
                  </a:lnTo>
                  <a:lnTo>
                    <a:pt x="2008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6" y="123"/>
                  </a:lnTo>
                  <a:lnTo>
                    <a:pt x="2003" y="123"/>
                  </a:lnTo>
                  <a:lnTo>
                    <a:pt x="2003" y="123"/>
                  </a:lnTo>
                  <a:lnTo>
                    <a:pt x="2000" y="123"/>
                  </a:lnTo>
                  <a:lnTo>
                    <a:pt x="2000" y="123"/>
                  </a:lnTo>
                  <a:lnTo>
                    <a:pt x="1998" y="126"/>
                  </a:lnTo>
                  <a:lnTo>
                    <a:pt x="1998" y="126"/>
                  </a:lnTo>
                  <a:lnTo>
                    <a:pt x="1995" y="126"/>
                  </a:lnTo>
                  <a:lnTo>
                    <a:pt x="1995" y="126"/>
                  </a:lnTo>
                  <a:lnTo>
                    <a:pt x="1992" y="126"/>
                  </a:lnTo>
                  <a:lnTo>
                    <a:pt x="1992" y="126"/>
                  </a:lnTo>
                  <a:lnTo>
                    <a:pt x="1990" y="128"/>
                  </a:lnTo>
                  <a:lnTo>
                    <a:pt x="1990" y="128"/>
                  </a:lnTo>
                  <a:lnTo>
                    <a:pt x="1987" y="128"/>
                  </a:lnTo>
                  <a:lnTo>
                    <a:pt x="1987" y="131"/>
                  </a:lnTo>
                  <a:lnTo>
                    <a:pt x="1984" y="131"/>
                  </a:lnTo>
                  <a:lnTo>
                    <a:pt x="1984" y="134"/>
                  </a:lnTo>
                  <a:lnTo>
                    <a:pt x="1982" y="134"/>
                  </a:lnTo>
                  <a:lnTo>
                    <a:pt x="1982" y="136"/>
                  </a:lnTo>
                  <a:lnTo>
                    <a:pt x="1979" y="136"/>
                  </a:lnTo>
                  <a:lnTo>
                    <a:pt x="1979" y="136"/>
                  </a:lnTo>
                  <a:lnTo>
                    <a:pt x="1976" y="136"/>
                  </a:lnTo>
                  <a:lnTo>
                    <a:pt x="1974" y="139"/>
                  </a:lnTo>
                  <a:lnTo>
                    <a:pt x="1974" y="139"/>
                  </a:lnTo>
                  <a:lnTo>
                    <a:pt x="1971" y="142"/>
                  </a:lnTo>
                  <a:lnTo>
                    <a:pt x="1971" y="142"/>
                  </a:lnTo>
                  <a:lnTo>
                    <a:pt x="1968" y="144"/>
                  </a:lnTo>
                  <a:lnTo>
                    <a:pt x="1968" y="144"/>
                  </a:lnTo>
                  <a:lnTo>
                    <a:pt x="1966" y="150"/>
                  </a:lnTo>
                  <a:lnTo>
                    <a:pt x="1966" y="150"/>
                  </a:lnTo>
                  <a:lnTo>
                    <a:pt x="1966" y="153"/>
                  </a:lnTo>
                  <a:lnTo>
                    <a:pt x="1966" y="155"/>
                  </a:lnTo>
                  <a:lnTo>
                    <a:pt x="1966" y="155"/>
                  </a:lnTo>
                  <a:lnTo>
                    <a:pt x="1966" y="158"/>
                  </a:lnTo>
                  <a:lnTo>
                    <a:pt x="1966" y="161"/>
                  </a:lnTo>
                  <a:lnTo>
                    <a:pt x="1966" y="163"/>
                  </a:lnTo>
                  <a:lnTo>
                    <a:pt x="1963" y="166"/>
                  </a:lnTo>
                  <a:lnTo>
                    <a:pt x="1960" y="169"/>
                  </a:lnTo>
                  <a:lnTo>
                    <a:pt x="1960" y="169"/>
                  </a:lnTo>
                  <a:lnTo>
                    <a:pt x="1960" y="171"/>
                  </a:lnTo>
                  <a:lnTo>
                    <a:pt x="1958" y="174"/>
                  </a:lnTo>
                  <a:lnTo>
                    <a:pt x="1958" y="174"/>
                  </a:lnTo>
                  <a:lnTo>
                    <a:pt x="1955" y="177"/>
                  </a:lnTo>
                  <a:lnTo>
                    <a:pt x="1952" y="177"/>
                  </a:lnTo>
                  <a:lnTo>
                    <a:pt x="1952" y="179"/>
                  </a:lnTo>
                  <a:lnTo>
                    <a:pt x="1950" y="182"/>
                  </a:lnTo>
                  <a:lnTo>
                    <a:pt x="1947" y="182"/>
                  </a:lnTo>
                  <a:lnTo>
                    <a:pt x="1947" y="182"/>
                  </a:lnTo>
                  <a:lnTo>
                    <a:pt x="1944" y="185"/>
                  </a:lnTo>
                  <a:lnTo>
                    <a:pt x="1944" y="185"/>
                  </a:lnTo>
                  <a:lnTo>
                    <a:pt x="1942" y="185"/>
                  </a:lnTo>
                  <a:lnTo>
                    <a:pt x="1942" y="187"/>
                  </a:lnTo>
                  <a:lnTo>
                    <a:pt x="1939" y="187"/>
                  </a:lnTo>
                  <a:lnTo>
                    <a:pt x="1936" y="190"/>
                  </a:lnTo>
                  <a:lnTo>
                    <a:pt x="1934" y="190"/>
                  </a:lnTo>
                  <a:lnTo>
                    <a:pt x="1934" y="193"/>
                  </a:lnTo>
                  <a:lnTo>
                    <a:pt x="1934" y="195"/>
                  </a:lnTo>
                  <a:lnTo>
                    <a:pt x="1934" y="195"/>
                  </a:lnTo>
                  <a:lnTo>
                    <a:pt x="1936" y="198"/>
                  </a:lnTo>
                  <a:lnTo>
                    <a:pt x="1936" y="198"/>
                  </a:lnTo>
                  <a:lnTo>
                    <a:pt x="1936" y="198"/>
                  </a:lnTo>
                  <a:lnTo>
                    <a:pt x="1936" y="201"/>
                  </a:lnTo>
                  <a:lnTo>
                    <a:pt x="1939" y="201"/>
                  </a:lnTo>
                  <a:lnTo>
                    <a:pt x="1936" y="203"/>
                  </a:lnTo>
                  <a:lnTo>
                    <a:pt x="1934" y="203"/>
                  </a:lnTo>
                  <a:lnTo>
                    <a:pt x="1934" y="203"/>
                  </a:lnTo>
                  <a:lnTo>
                    <a:pt x="1931" y="203"/>
                  </a:lnTo>
                  <a:lnTo>
                    <a:pt x="1931" y="203"/>
                  </a:lnTo>
                  <a:lnTo>
                    <a:pt x="1928" y="206"/>
                  </a:lnTo>
                  <a:lnTo>
                    <a:pt x="1928" y="206"/>
                  </a:lnTo>
                  <a:lnTo>
                    <a:pt x="1928" y="209"/>
                  </a:lnTo>
                  <a:lnTo>
                    <a:pt x="1928" y="209"/>
                  </a:lnTo>
                  <a:lnTo>
                    <a:pt x="1926" y="209"/>
                  </a:lnTo>
                  <a:lnTo>
                    <a:pt x="1926" y="209"/>
                  </a:lnTo>
                  <a:lnTo>
                    <a:pt x="1923" y="211"/>
                  </a:lnTo>
                  <a:lnTo>
                    <a:pt x="1923" y="211"/>
                  </a:lnTo>
                  <a:lnTo>
                    <a:pt x="1923" y="211"/>
                  </a:lnTo>
                  <a:lnTo>
                    <a:pt x="1920" y="214"/>
                  </a:lnTo>
                  <a:lnTo>
                    <a:pt x="1923" y="214"/>
                  </a:lnTo>
                  <a:lnTo>
                    <a:pt x="1923" y="214"/>
                  </a:lnTo>
                  <a:lnTo>
                    <a:pt x="1923" y="217"/>
                  </a:lnTo>
                  <a:lnTo>
                    <a:pt x="1920" y="217"/>
                  </a:lnTo>
                  <a:lnTo>
                    <a:pt x="1920" y="219"/>
                  </a:lnTo>
                  <a:lnTo>
                    <a:pt x="1917" y="219"/>
                  </a:lnTo>
                  <a:lnTo>
                    <a:pt x="1917" y="222"/>
                  </a:lnTo>
                  <a:lnTo>
                    <a:pt x="1917" y="222"/>
                  </a:lnTo>
                  <a:lnTo>
                    <a:pt x="1917" y="222"/>
                  </a:lnTo>
                  <a:lnTo>
                    <a:pt x="1917" y="225"/>
                  </a:lnTo>
                  <a:lnTo>
                    <a:pt x="1917" y="227"/>
                  </a:lnTo>
                  <a:lnTo>
                    <a:pt x="1917" y="227"/>
                  </a:lnTo>
                  <a:lnTo>
                    <a:pt x="1917" y="230"/>
                  </a:lnTo>
                  <a:lnTo>
                    <a:pt x="1915" y="230"/>
                  </a:lnTo>
                  <a:lnTo>
                    <a:pt x="1915" y="230"/>
                  </a:lnTo>
                  <a:lnTo>
                    <a:pt x="1915" y="233"/>
                  </a:lnTo>
                  <a:lnTo>
                    <a:pt x="1912" y="233"/>
                  </a:lnTo>
                  <a:lnTo>
                    <a:pt x="1912" y="235"/>
                  </a:lnTo>
                  <a:lnTo>
                    <a:pt x="1909" y="235"/>
                  </a:lnTo>
                  <a:lnTo>
                    <a:pt x="1909" y="238"/>
                  </a:lnTo>
                  <a:lnTo>
                    <a:pt x="1907" y="241"/>
                  </a:lnTo>
                  <a:lnTo>
                    <a:pt x="1907" y="241"/>
                  </a:lnTo>
                  <a:lnTo>
                    <a:pt x="1904" y="243"/>
                  </a:lnTo>
                  <a:lnTo>
                    <a:pt x="1904" y="246"/>
                  </a:lnTo>
                  <a:lnTo>
                    <a:pt x="1904" y="246"/>
                  </a:lnTo>
                  <a:lnTo>
                    <a:pt x="1904" y="249"/>
                  </a:lnTo>
                  <a:lnTo>
                    <a:pt x="1904" y="251"/>
                  </a:lnTo>
                  <a:lnTo>
                    <a:pt x="1904" y="254"/>
                  </a:lnTo>
                  <a:lnTo>
                    <a:pt x="1907" y="254"/>
                  </a:lnTo>
                  <a:lnTo>
                    <a:pt x="1909" y="257"/>
                  </a:lnTo>
                  <a:lnTo>
                    <a:pt x="1909" y="259"/>
                  </a:lnTo>
                  <a:lnTo>
                    <a:pt x="1909" y="259"/>
                  </a:lnTo>
                  <a:lnTo>
                    <a:pt x="1909" y="259"/>
                  </a:lnTo>
                  <a:lnTo>
                    <a:pt x="1909" y="262"/>
                  </a:lnTo>
                  <a:lnTo>
                    <a:pt x="1909" y="265"/>
                  </a:lnTo>
                  <a:lnTo>
                    <a:pt x="1907" y="267"/>
                  </a:lnTo>
                  <a:lnTo>
                    <a:pt x="1909" y="270"/>
                  </a:lnTo>
                  <a:lnTo>
                    <a:pt x="1909" y="270"/>
                  </a:lnTo>
                  <a:lnTo>
                    <a:pt x="1912" y="273"/>
                  </a:lnTo>
                  <a:lnTo>
                    <a:pt x="1915" y="273"/>
                  </a:lnTo>
                  <a:lnTo>
                    <a:pt x="1915" y="275"/>
                  </a:lnTo>
                  <a:lnTo>
                    <a:pt x="1915" y="273"/>
                  </a:lnTo>
                  <a:lnTo>
                    <a:pt x="1917" y="273"/>
                  </a:lnTo>
                  <a:lnTo>
                    <a:pt x="1920" y="270"/>
                  </a:lnTo>
                  <a:lnTo>
                    <a:pt x="1920" y="270"/>
                  </a:lnTo>
                  <a:lnTo>
                    <a:pt x="1923" y="273"/>
                  </a:lnTo>
                  <a:lnTo>
                    <a:pt x="1926" y="275"/>
                  </a:lnTo>
                  <a:lnTo>
                    <a:pt x="1928" y="275"/>
                  </a:lnTo>
                  <a:lnTo>
                    <a:pt x="1928" y="278"/>
                  </a:lnTo>
                  <a:lnTo>
                    <a:pt x="1926" y="278"/>
                  </a:lnTo>
                  <a:lnTo>
                    <a:pt x="1926" y="278"/>
                  </a:lnTo>
                  <a:lnTo>
                    <a:pt x="1926" y="281"/>
                  </a:lnTo>
                  <a:lnTo>
                    <a:pt x="1926" y="281"/>
                  </a:lnTo>
                  <a:lnTo>
                    <a:pt x="1923" y="283"/>
                  </a:lnTo>
                  <a:lnTo>
                    <a:pt x="1923" y="283"/>
                  </a:lnTo>
                  <a:lnTo>
                    <a:pt x="1920" y="283"/>
                  </a:lnTo>
                  <a:lnTo>
                    <a:pt x="1920" y="283"/>
                  </a:lnTo>
                  <a:lnTo>
                    <a:pt x="1920" y="283"/>
                  </a:lnTo>
                  <a:lnTo>
                    <a:pt x="1917" y="286"/>
                  </a:lnTo>
                  <a:lnTo>
                    <a:pt x="1917" y="286"/>
                  </a:lnTo>
                  <a:lnTo>
                    <a:pt x="1917" y="286"/>
                  </a:lnTo>
                  <a:lnTo>
                    <a:pt x="1915" y="291"/>
                  </a:lnTo>
                  <a:lnTo>
                    <a:pt x="1915" y="291"/>
                  </a:lnTo>
                  <a:lnTo>
                    <a:pt x="1917" y="297"/>
                  </a:lnTo>
                  <a:lnTo>
                    <a:pt x="1917" y="297"/>
                  </a:lnTo>
                  <a:lnTo>
                    <a:pt x="1917" y="299"/>
                  </a:lnTo>
                  <a:lnTo>
                    <a:pt x="1917" y="299"/>
                  </a:lnTo>
                  <a:lnTo>
                    <a:pt x="1920" y="302"/>
                  </a:lnTo>
                  <a:lnTo>
                    <a:pt x="1920" y="302"/>
                  </a:lnTo>
                  <a:lnTo>
                    <a:pt x="1920" y="302"/>
                  </a:lnTo>
                  <a:lnTo>
                    <a:pt x="1920" y="305"/>
                  </a:lnTo>
                  <a:lnTo>
                    <a:pt x="1923" y="305"/>
                  </a:lnTo>
                  <a:lnTo>
                    <a:pt x="1923" y="308"/>
                  </a:lnTo>
                  <a:lnTo>
                    <a:pt x="1923" y="308"/>
                  </a:lnTo>
                  <a:lnTo>
                    <a:pt x="1926" y="310"/>
                  </a:lnTo>
                  <a:lnTo>
                    <a:pt x="1926" y="310"/>
                  </a:lnTo>
                  <a:lnTo>
                    <a:pt x="1928" y="310"/>
                  </a:lnTo>
                  <a:lnTo>
                    <a:pt x="1928" y="313"/>
                  </a:lnTo>
                  <a:lnTo>
                    <a:pt x="1931" y="313"/>
                  </a:lnTo>
                  <a:lnTo>
                    <a:pt x="1931" y="313"/>
                  </a:lnTo>
                  <a:lnTo>
                    <a:pt x="1934" y="313"/>
                  </a:lnTo>
                  <a:lnTo>
                    <a:pt x="1936" y="313"/>
                  </a:lnTo>
                  <a:lnTo>
                    <a:pt x="1936" y="313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6" y="316"/>
                  </a:lnTo>
                  <a:lnTo>
                    <a:pt x="1939" y="318"/>
                  </a:lnTo>
                  <a:lnTo>
                    <a:pt x="1939" y="321"/>
                  </a:lnTo>
                  <a:lnTo>
                    <a:pt x="1939" y="321"/>
                  </a:lnTo>
                  <a:lnTo>
                    <a:pt x="1942" y="324"/>
                  </a:lnTo>
                  <a:lnTo>
                    <a:pt x="1942" y="324"/>
                  </a:lnTo>
                  <a:lnTo>
                    <a:pt x="1944" y="326"/>
                  </a:lnTo>
                  <a:lnTo>
                    <a:pt x="1944" y="326"/>
                  </a:lnTo>
                  <a:lnTo>
                    <a:pt x="1947" y="326"/>
                  </a:lnTo>
                  <a:lnTo>
                    <a:pt x="1947" y="326"/>
                  </a:lnTo>
                  <a:lnTo>
                    <a:pt x="1950" y="326"/>
                  </a:lnTo>
                  <a:lnTo>
                    <a:pt x="1950" y="326"/>
                  </a:lnTo>
                  <a:lnTo>
                    <a:pt x="1950" y="324"/>
                  </a:lnTo>
                  <a:lnTo>
                    <a:pt x="1952" y="324"/>
                  </a:lnTo>
                  <a:lnTo>
                    <a:pt x="1952" y="324"/>
                  </a:lnTo>
                  <a:lnTo>
                    <a:pt x="1955" y="324"/>
                  </a:lnTo>
                  <a:lnTo>
                    <a:pt x="1958" y="324"/>
                  </a:lnTo>
                  <a:lnTo>
                    <a:pt x="1960" y="324"/>
                  </a:lnTo>
                  <a:lnTo>
                    <a:pt x="1963" y="324"/>
                  </a:lnTo>
                  <a:lnTo>
                    <a:pt x="1966" y="324"/>
                  </a:lnTo>
                  <a:lnTo>
                    <a:pt x="1968" y="324"/>
                  </a:lnTo>
                  <a:lnTo>
                    <a:pt x="1971" y="324"/>
                  </a:lnTo>
                  <a:lnTo>
                    <a:pt x="1971" y="324"/>
                  </a:lnTo>
                  <a:lnTo>
                    <a:pt x="1974" y="324"/>
                  </a:lnTo>
                  <a:lnTo>
                    <a:pt x="1976" y="324"/>
                  </a:lnTo>
                  <a:lnTo>
                    <a:pt x="1976" y="324"/>
                  </a:lnTo>
                  <a:lnTo>
                    <a:pt x="1979" y="321"/>
                  </a:lnTo>
                  <a:lnTo>
                    <a:pt x="1979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2" y="321"/>
                  </a:lnTo>
                  <a:lnTo>
                    <a:pt x="1984" y="321"/>
                  </a:lnTo>
                  <a:lnTo>
                    <a:pt x="1984" y="321"/>
                  </a:lnTo>
                  <a:lnTo>
                    <a:pt x="1984" y="321"/>
                  </a:lnTo>
                  <a:lnTo>
                    <a:pt x="1987" y="321"/>
                  </a:lnTo>
                  <a:lnTo>
                    <a:pt x="1987" y="321"/>
                  </a:lnTo>
                  <a:lnTo>
                    <a:pt x="1990" y="321"/>
                  </a:lnTo>
                  <a:lnTo>
                    <a:pt x="1990" y="321"/>
                  </a:lnTo>
                  <a:lnTo>
                    <a:pt x="1992" y="324"/>
                  </a:lnTo>
                  <a:lnTo>
                    <a:pt x="1992" y="324"/>
                  </a:lnTo>
                  <a:lnTo>
                    <a:pt x="1995" y="324"/>
                  </a:lnTo>
                  <a:lnTo>
                    <a:pt x="1995" y="324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6"/>
                  </a:lnTo>
                  <a:lnTo>
                    <a:pt x="1998" y="329"/>
                  </a:lnTo>
                  <a:lnTo>
                    <a:pt x="2000" y="329"/>
                  </a:lnTo>
                  <a:lnTo>
                    <a:pt x="2003" y="332"/>
                  </a:lnTo>
                  <a:lnTo>
                    <a:pt x="2006" y="334"/>
                  </a:lnTo>
                  <a:lnTo>
                    <a:pt x="2008" y="334"/>
                  </a:lnTo>
                  <a:lnTo>
                    <a:pt x="2011" y="334"/>
                  </a:lnTo>
                  <a:lnTo>
                    <a:pt x="2011" y="334"/>
                  </a:lnTo>
                  <a:lnTo>
                    <a:pt x="2014" y="337"/>
                  </a:lnTo>
                  <a:lnTo>
                    <a:pt x="2014" y="337"/>
                  </a:lnTo>
                  <a:lnTo>
                    <a:pt x="2014" y="337"/>
                  </a:lnTo>
                  <a:lnTo>
                    <a:pt x="2011" y="340"/>
                  </a:lnTo>
                  <a:lnTo>
                    <a:pt x="2011" y="342"/>
                  </a:lnTo>
                  <a:lnTo>
                    <a:pt x="2011" y="345"/>
                  </a:lnTo>
                  <a:lnTo>
                    <a:pt x="2011" y="348"/>
                  </a:lnTo>
                  <a:lnTo>
                    <a:pt x="2011" y="348"/>
                  </a:lnTo>
                  <a:lnTo>
                    <a:pt x="2014" y="350"/>
                  </a:lnTo>
                  <a:lnTo>
                    <a:pt x="2014" y="353"/>
                  </a:lnTo>
                  <a:lnTo>
                    <a:pt x="2016" y="356"/>
                  </a:lnTo>
                  <a:lnTo>
                    <a:pt x="2016" y="358"/>
                  </a:lnTo>
                  <a:lnTo>
                    <a:pt x="2016" y="361"/>
                  </a:lnTo>
                  <a:lnTo>
                    <a:pt x="2016" y="364"/>
                  </a:lnTo>
                  <a:lnTo>
                    <a:pt x="2016" y="366"/>
                  </a:lnTo>
                  <a:lnTo>
                    <a:pt x="2016" y="369"/>
                  </a:lnTo>
                  <a:lnTo>
                    <a:pt x="2019" y="369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2"/>
                  </a:lnTo>
                  <a:lnTo>
                    <a:pt x="2019" y="374"/>
                  </a:lnTo>
                  <a:lnTo>
                    <a:pt x="2019" y="377"/>
                  </a:lnTo>
                  <a:lnTo>
                    <a:pt x="2019" y="377"/>
                  </a:lnTo>
                  <a:lnTo>
                    <a:pt x="2022" y="380"/>
                  </a:lnTo>
                  <a:lnTo>
                    <a:pt x="2022" y="380"/>
                  </a:lnTo>
                  <a:lnTo>
                    <a:pt x="2024" y="380"/>
                  </a:lnTo>
                  <a:lnTo>
                    <a:pt x="2027" y="380"/>
                  </a:lnTo>
                  <a:lnTo>
                    <a:pt x="2030" y="380"/>
                  </a:lnTo>
                  <a:lnTo>
                    <a:pt x="2030" y="382"/>
                  </a:lnTo>
                  <a:lnTo>
                    <a:pt x="2030" y="382"/>
                  </a:lnTo>
                  <a:lnTo>
                    <a:pt x="2030" y="385"/>
                  </a:lnTo>
                  <a:lnTo>
                    <a:pt x="2032" y="385"/>
                  </a:lnTo>
                  <a:lnTo>
                    <a:pt x="2032" y="388"/>
                  </a:lnTo>
                  <a:lnTo>
                    <a:pt x="2032" y="388"/>
                  </a:lnTo>
                  <a:lnTo>
                    <a:pt x="2032" y="390"/>
                  </a:lnTo>
                  <a:lnTo>
                    <a:pt x="2035" y="393"/>
                  </a:lnTo>
                  <a:lnTo>
                    <a:pt x="2032" y="393"/>
                  </a:lnTo>
                  <a:lnTo>
                    <a:pt x="2032" y="396"/>
                  </a:lnTo>
                  <a:lnTo>
                    <a:pt x="2035" y="396"/>
                  </a:lnTo>
                  <a:lnTo>
                    <a:pt x="2035" y="396"/>
                  </a:lnTo>
                  <a:lnTo>
                    <a:pt x="2038" y="396"/>
                  </a:lnTo>
                  <a:lnTo>
                    <a:pt x="2038" y="396"/>
                  </a:lnTo>
                  <a:lnTo>
                    <a:pt x="2038" y="396"/>
                  </a:lnTo>
                  <a:lnTo>
                    <a:pt x="2040" y="398"/>
                  </a:lnTo>
                  <a:lnTo>
                    <a:pt x="2040" y="398"/>
                  </a:lnTo>
                  <a:lnTo>
                    <a:pt x="2043" y="398"/>
                  </a:lnTo>
                  <a:lnTo>
                    <a:pt x="2043" y="401"/>
                  </a:lnTo>
                  <a:lnTo>
                    <a:pt x="2046" y="401"/>
                  </a:lnTo>
                  <a:lnTo>
                    <a:pt x="2046" y="401"/>
                  </a:lnTo>
                  <a:lnTo>
                    <a:pt x="2046" y="404"/>
                  </a:lnTo>
                  <a:lnTo>
                    <a:pt x="2043" y="404"/>
                  </a:lnTo>
                  <a:lnTo>
                    <a:pt x="2043" y="404"/>
                  </a:lnTo>
                  <a:lnTo>
                    <a:pt x="2043" y="404"/>
                  </a:lnTo>
                  <a:lnTo>
                    <a:pt x="2040" y="404"/>
                  </a:lnTo>
                  <a:lnTo>
                    <a:pt x="2040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8" y="406"/>
                  </a:lnTo>
                  <a:lnTo>
                    <a:pt x="2035" y="406"/>
                  </a:lnTo>
                  <a:lnTo>
                    <a:pt x="2032" y="406"/>
                  </a:lnTo>
                  <a:lnTo>
                    <a:pt x="2032" y="406"/>
                  </a:lnTo>
                  <a:lnTo>
                    <a:pt x="2032" y="409"/>
                  </a:lnTo>
                  <a:lnTo>
                    <a:pt x="2030" y="412"/>
                  </a:lnTo>
                  <a:lnTo>
                    <a:pt x="2030" y="412"/>
                  </a:lnTo>
                  <a:lnTo>
                    <a:pt x="2030" y="412"/>
                  </a:lnTo>
                  <a:lnTo>
                    <a:pt x="2027" y="414"/>
                  </a:lnTo>
                  <a:lnTo>
                    <a:pt x="2027" y="414"/>
                  </a:lnTo>
                  <a:lnTo>
                    <a:pt x="2027" y="417"/>
                  </a:lnTo>
                  <a:lnTo>
                    <a:pt x="2027" y="417"/>
                  </a:lnTo>
                  <a:lnTo>
                    <a:pt x="2024" y="420"/>
                  </a:lnTo>
                  <a:lnTo>
                    <a:pt x="2024" y="420"/>
                  </a:lnTo>
                  <a:lnTo>
                    <a:pt x="2022" y="420"/>
                  </a:lnTo>
                  <a:lnTo>
                    <a:pt x="2022" y="422"/>
                  </a:lnTo>
                  <a:lnTo>
                    <a:pt x="2022" y="425"/>
                  </a:lnTo>
                  <a:lnTo>
                    <a:pt x="2022" y="425"/>
                  </a:lnTo>
                  <a:lnTo>
                    <a:pt x="2022" y="428"/>
                  </a:lnTo>
                  <a:lnTo>
                    <a:pt x="2022" y="430"/>
                  </a:lnTo>
                  <a:lnTo>
                    <a:pt x="2022" y="430"/>
                  </a:lnTo>
                  <a:lnTo>
                    <a:pt x="2022" y="436"/>
                  </a:lnTo>
                  <a:lnTo>
                    <a:pt x="2019" y="436"/>
                  </a:lnTo>
                  <a:lnTo>
                    <a:pt x="2019" y="438"/>
                  </a:lnTo>
                  <a:lnTo>
                    <a:pt x="2019" y="438"/>
                  </a:lnTo>
                  <a:lnTo>
                    <a:pt x="2019" y="441"/>
                  </a:lnTo>
                  <a:lnTo>
                    <a:pt x="2019" y="441"/>
                  </a:lnTo>
                  <a:lnTo>
                    <a:pt x="2019" y="444"/>
                  </a:lnTo>
                  <a:lnTo>
                    <a:pt x="2022" y="444"/>
                  </a:lnTo>
                  <a:lnTo>
                    <a:pt x="2022" y="444"/>
                  </a:lnTo>
                  <a:lnTo>
                    <a:pt x="2024" y="446"/>
                  </a:lnTo>
                  <a:lnTo>
                    <a:pt x="2022" y="446"/>
                  </a:lnTo>
                  <a:lnTo>
                    <a:pt x="2022" y="449"/>
                  </a:lnTo>
                  <a:lnTo>
                    <a:pt x="2022" y="449"/>
                  </a:lnTo>
                  <a:lnTo>
                    <a:pt x="2022" y="452"/>
                  </a:lnTo>
                  <a:lnTo>
                    <a:pt x="2022" y="452"/>
                  </a:lnTo>
                  <a:lnTo>
                    <a:pt x="2022" y="452"/>
                  </a:lnTo>
                  <a:lnTo>
                    <a:pt x="2019" y="452"/>
                  </a:lnTo>
                  <a:lnTo>
                    <a:pt x="2019" y="454"/>
                  </a:lnTo>
                  <a:lnTo>
                    <a:pt x="2016" y="454"/>
                  </a:lnTo>
                  <a:lnTo>
                    <a:pt x="2014" y="454"/>
                  </a:lnTo>
                  <a:lnTo>
                    <a:pt x="2014" y="454"/>
                  </a:lnTo>
                  <a:lnTo>
                    <a:pt x="2011" y="454"/>
                  </a:lnTo>
                  <a:lnTo>
                    <a:pt x="2011" y="454"/>
                  </a:lnTo>
                  <a:lnTo>
                    <a:pt x="2008" y="454"/>
                  </a:lnTo>
                  <a:lnTo>
                    <a:pt x="2008" y="457"/>
                  </a:lnTo>
                  <a:lnTo>
                    <a:pt x="2006" y="457"/>
                  </a:lnTo>
                  <a:lnTo>
                    <a:pt x="2006" y="457"/>
                  </a:lnTo>
                  <a:lnTo>
                    <a:pt x="2003" y="457"/>
                  </a:lnTo>
                  <a:lnTo>
                    <a:pt x="2003" y="454"/>
                  </a:lnTo>
                  <a:lnTo>
                    <a:pt x="2003" y="452"/>
                  </a:lnTo>
                  <a:lnTo>
                    <a:pt x="2003" y="452"/>
                  </a:lnTo>
                  <a:lnTo>
                    <a:pt x="2003" y="449"/>
                  </a:lnTo>
                  <a:lnTo>
                    <a:pt x="2000" y="449"/>
                  </a:lnTo>
                  <a:lnTo>
                    <a:pt x="2000" y="449"/>
                  </a:lnTo>
                  <a:lnTo>
                    <a:pt x="1998" y="449"/>
                  </a:lnTo>
                  <a:lnTo>
                    <a:pt x="1995" y="449"/>
                  </a:lnTo>
                  <a:lnTo>
                    <a:pt x="1992" y="449"/>
                  </a:lnTo>
                  <a:lnTo>
                    <a:pt x="1990" y="446"/>
                  </a:lnTo>
                  <a:lnTo>
                    <a:pt x="1987" y="446"/>
                  </a:lnTo>
                  <a:lnTo>
                    <a:pt x="1984" y="446"/>
                  </a:lnTo>
                  <a:lnTo>
                    <a:pt x="1984" y="444"/>
                  </a:lnTo>
                  <a:lnTo>
                    <a:pt x="1982" y="444"/>
                  </a:lnTo>
                  <a:lnTo>
                    <a:pt x="1979" y="446"/>
                  </a:lnTo>
                  <a:lnTo>
                    <a:pt x="1979" y="446"/>
                  </a:lnTo>
                  <a:lnTo>
                    <a:pt x="1979" y="449"/>
                  </a:lnTo>
                  <a:lnTo>
                    <a:pt x="1982" y="449"/>
                  </a:lnTo>
                  <a:lnTo>
                    <a:pt x="1979" y="452"/>
                  </a:lnTo>
                  <a:lnTo>
                    <a:pt x="1979" y="454"/>
                  </a:lnTo>
                  <a:lnTo>
                    <a:pt x="1982" y="454"/>
                  </a:lnTo>
                  <a:lnTo>
                    <a:pt x="1982" y="457"/>
                  </a:lnTo>
                  <a:lnTo>
                    <a:pt x="1982" y="460"/>
                  </a:lnTo>
                  <a:lnTo>
                    <a:pt x="1982" y="462"/>
                  </a:lnTo>
                  <a:lnTo>
                    <a:pt x="1979" y="465"/>
                  </a:lnTo>
                  <a:lnTo>
                    <a:pt x="1979" y="465"/>
                  </a:lnTo>
                  <a:lnTo>
                    <a:pt x="1976" y="465"/>
                  </a:lnTo>
                  <a:lnTo>
                    <a:pt x="1974" y="468"/>
                  </a:lnTo>
                  <a:lnTo>
                    <a:pt x="1971" y="468"/>
                  </a:lnTo>
                  <a:lnTo>
                    <a:pt x="1968" y="471"/>
                  </a:lnTo>
                  <a:lnTo>
                    <a:pt x="1968" y="471"/>
                  </a:lnTo>
                  <a:lnTo>
                    <a:pt x="1966" y="471"/>
                  </a:lnTo>
                  <a:lnTo>
                    <a:pt x="1966" y="471"/>
                  </a:lnTo>
                  <a:lnTo>
                    <a:pt x="1966" y="471"/>
                  </a:lnTo>
                  <a:lnTo>
                    <a:pt x="1963" y="471"/>
                  </a:lnTo>
                  <a:lnTo>
                    <a:pt x="1963" y="471"/>
                  </a:lnTo>
                  <a:lnTo>
                    <a:pt x="1960" y="471"/>
                  </a:lnTo>
                  <a:lnTo>
                    <a:pt x="1960" y="471"/>
                  </a:lnTo>
                  <a:lnTo>
                    <a:pt x="1958" y="471"/>
                  </a:lnTo>
                  <a:lnTo>
                    <a:pt x="1955" y="471"/>
                  </a:lnTo>
                  <a:lnTo>
                    <a:pt x="1955" y="471"/>
                  </a:lnTo>
                  <a:lnTo>
                    <a:pt x="1952" y="471"/>
                  </a:lnTo>
                  <a:lnTo>
                    <a:pt x="1952" y="473"/>
                  </a:lnTo>
                  <a:lnTo>
                    <a:pt x="1952" y="473"/>
                  </a:lnTo>
                  <a:lnTo>
                    <a:pt x="1950" y="476"/>
                  </a:lnTo>
                  <a:lnTo>
                    <a:pt x="1950" y="476"/>
                  </a:lnTo>
                  <a:lnTo>
                    <a:pt x="1947" y="476"/>
                  </a:lnTo>
                  <a:lnTo>
                    <a:pt x="1944" y="479"/>
                  </a:lnTo>
                  <a:lnTo>
                    <a:pt x="1944" y="479"/>
                  </a:lnTo>
                  <a:lnTo>
                    <a:pt x="1944" y="481"/>
                  </a:lnTo>
                  <a:lnTo>
                    <a:pt x="1944" y="481"/>
                  </a:lnTo>
                  <a:lnTo>
                    <a:pt x="1942" y="484"/>
                  </a:lnTo>
                  <a:lnTo>
                    <a:pt x="1939" y="484"/>
                  </a:lnTo>
                  <a:lnTo>
                    <a:pt x="1936" y="484"/>
                  </a:lnTo>
                  <a:lnTo>
                    <a:pt x="1936" y="484"/>
                  </a:lnTo>
                  <a:lnTo>
                    <a:pt x="1934" y="484"/>
                  </a:lnTo>
                  <a:lnTo>
                    <a:pt x="1931" y="487"/>
                  </a:lnTo>
                  <a:lnTo>
                    <a:pt x="1931" y="487"/>
                  </a:lnTo>
                  <a:lnTo>
                    <a:pt x="1931" y="487"/>
                  </a:lnTo>
                  <a:lnTo>
                    <a:pt x="1931" y="489"/>
                  </a:lnTo>
                  <a:lnTo>
                    <a:pt x="1931" y="489"/>
                  </a:lnTo>
                  <a:lnTo>
                    <a:pt x="1928" y="492"/>
                  </a:lnTo>
                  <a:lnTo>
                    <a:pt x="1931" y="492"/>
                  </a:lnTo>
                  <a:lnTo>
                    <a:pt x="1931" y="495"/>
                  </a:lnTo>
                  <a:lnTo>
                    <a:pt x="1928" y="497"/>
                  </a:lnTo>
                  <a:lnTo>
                    <a:pt x="1926" y="497"/>
                  </a:lnTo>
                  <a:lnTo>
                    <a:pt x="1926" y="497"/>
                  </a:lnTo>
                  <a:lnTo>
                    <a:pt x="1926" y="497"/>
                  </a:lnTo>
                  <a:lnTo>
                    <a:pt x="1923" y="497"/>
                  </a:lnTo>
                  <a:lnTo>
                    <a:pt x="1923" y="497"/>
                  </a:lnTo>
                  <a:lnTo>
                    <a:pt x="1923" y="495"/>
                  </a:lnTo>
                  <a:lnTo>
                    <a:pt x="1920" y="495"/>
                  </a:lnTo>
                  <a:lnTo>
                    <a:pt x="1920" y="497"/>
                  </a:lnTo>
                  <a:lnTo>
                    <a:pt x="1917" y="497"/>
                  </a:lnTo>
                  <a:lnTo>
                    <a:pt x="1915" y="497"/>
                  </a:lnTo>
                  <a:lnTo>
                    <a:pt x="1915" y="500"/>
                  </a:lnTo>
                  <a:lnTo>
                    <a:pt x="1912" y="500"/>
                  </a:lnTo>
                  <a:lnTo>
                    <a:pt x="1912" y="500"/>
                  </a:lnTo>
                  <a:lnTo>
                    <a:pt x="1912" y="497"/>
                  </a:lnTo>
                  <a:lnTo>
                    <a:pt x="1909" y="497"/>
                  </a:lnTo>
                  <a:lnTo>
                    <a:pt x="1909" y="500"/>
                  </a:lnTo>
                  <a:lnTo>
                    <a:pt x="1907" y="500"/>
                  </a:lnTo>
                  <a:lnTo>
                    <a:pt x="1907" y="500"/>
                  </a:lnTo>
                  <a:lnTo>
                    <a:pt x="1907" y="503"/>
                  </a:lnTo>
                  <a:lnTo>
                    <a:pt x="1907" y="505"/>
                  </a:lnTo>
                  <a:lnTo>
                    <a:pt x="1907" y="505"/>
                  </a:lnTo>
                  <a:lnTo>
                    <a:pt x="1907" y="508"/>
                  </a:lnTo>
                  <a:lnTo>
                    <a:pt x="1909" y="511"/>
                  </a:lnTo>
                  <a:lnTo>
                    <a:pt x="1909" y="511"/>
                  </a:lnTo>
                  <a:lnTo>
                    <a:pt x="1909" y="513"/>
                  </a:lnTo>
                  <a:lnTo>
                    <a:pt x="1909" y="516"/>
                  </a:lnTo>
                  <a:lnTo>
                    <a:pt x="1909" y="519"/>
                  </a:lnTo>
                  <a:lnTo>
                    <a:pt x="1909" y="521"/>
                  </a:lnTo>
                  <a:lnTo>
                    <a:pt x="1909" y="521"/>
                  </a:lnTo>
                  <a:lnTo>
                    <a:pt x="1912" y="521"/>
                  </a:lnTo>
                  <a:lnTo>
                    <a:pt x="1912" y="521"/>
                  </a:lnTo>
                  <a:lnTo>
                    <a:pt x="1915" y="519"/>
                  </a:lnTo>
                  <a:lnTo>
                    <a:pt x="1917" y="519"/>
                  </a:lnTo>
                  <a:lnTo>
                    <a:pt x="1917" y="521"/>
                  </a:lnTo>
                  <a:lnTo>
                    <a:pt x="1920" y="521"/>
                  </a:lnTo>
                  <a:lnTo>
                    <a:pt x="1920" y="524"/>
                  </a:lnTo>
                  <a:lnTo>
                    <a:pt x="1920" y="524"/>
                  </a:lnTo>
                  <a:lnTo>
                    <a:pt x="1923" y="527"/>
                  </a:lnTo>
                  <a:lnTo>
                    <a:pt x="1926" y="529"/>
                  </a:lnTo>
                  <a:lnTo>
                    <a:pt x="1926" y="532"/>
                  </a:lnTo>
                  <a:lnTo>
                    <a:pt x="1926" y="532"/>
                  </a:lnTo>
                  <a:lnTo>
                    <a:pt x="1926" y="535"/>
                  </a:lnTo>
                  <a:lnTo>
                    <a:pt x="1926" y="537"/>
                  </a:lnTo>
                  <a:lnTo>
                    <a:pt x="1926" y="540"/>
                  </a:lnTo>
                  <a:lnTo>
                    <a:pt x="1926" y="543"/>
                  </a:lnTo>
                  <a:lnTo>
                    <a:pt x="1926" y="545"/>
                  </a:lnTo>
                  <a:lnTo>
                    <a:pt x="1926" y="545"/>
                  </a:lnTo>
                  <a:lnTo>
                    <a:pt x="1923" y="548"/>
                  </a:lnTo>
                  <a:lnTo>
                    <a:pt x="1923" y="548"/>
                  </a:lnTo>
                  <a:lnTo>
                    <a:pt x="1923" y="548"/>
                  </a:lnTo>
                  <a:lnTo>
                    <a:pt x="1920" y="548"/>
                  </a:lnTo>
                  <a:lnTo>
                    <a:pt x="1920" y="545"/>
                  </a:lnTo>
                  <a:lnTo>
                    <a:pt x="1917" y="543"/>
                  </a:lnTo>
                  <a:lnTo>
                    <a:pt x="1915" y="543"/>
                  </a:lnTo>
                  <a:lnTo>
                    <a:pt x="1912" y="543"/>
                  </a:lnTo>
                  <a:lnTo>
                    <a:pt x="1909" y="545"/>
                  </a:lnTo>
                  <a:lnTo>
                    <a:pt x="1909" y="545"/>
                  </a:lnTo>
                  <a:lnTo>
                    <a:pt x="1907" y="548"/>
                  </a:lnTo>
                  <a:lnTo>
                    <a:pt x="1907" y="548"/>
                  </a:lnTo>
                  <a:lnTo>
                    <a:pt x="1904" y="551"/>
                  </a:lnTo>
                  <a:lnTo>
                    <a:pt x="1904" y="551"/>
                  </a:lnTo>
                  <a:lnTo>
                    <a:pt x="1904" y="553"/>
                  </a:lnTo>
                  <a:lnTo>
                    <a:pt x="1901" y="556"/>
                  </a:lnTo>
                  <a:lnTo>
                    <a:pt x="1901" y="559"/>
                  </a:lnTo>
                  <a:lnTo>
                    <a:pt x="1901" y="561"/>
                  </a:lnTo>
                  <a:lnTo>
                    <a:pt x="1901" y="564"/>
                  </a:lnTo>
                  <a:lnTo>
                    <a:pt x="1904" y="567"/>
                  </a:lnTo>
                  <a:lnTo>
                    <a:pt x="1904" y="567"/>
                  </a:lnTo>
                  <a:lnTo>
                    <a:pt x="1904" y="567"/>
                  </a:lnTo>
                  <a:lnTo>
                    <a:pt x="1907" y="567"/>
                  </a:lnTo>
                  <a:lnTo>
                    <a:pt x="1907" y="567"/>
                  </a:lnTo>
                  <a:lnTo>
                    <a:pt x="1909" y="567"/>
                  </a:lnTo>
                  <a:lnTo>
                    <a:pt x="1909" y="569"/>
                  </a:lnTo>
                  <a:lnTo>
                    <a:pt x="1909" y="572"/>
                  </a:lnTo>
                  <a:lnTo>
                    <a:pt x="1912" y="575"/>
                  </a:lnTo>
                  <a:lnTo>
                    <a:pt x="1912" y="575"/>
                  </a:lnTo>
                  <a:lnTo>
                    <a:pt x="1915" y="580"/>
                  </a:lnTo>
                  <a:lnTo>
                    <a:pt x="1915" y="583"/>
                  </a:lnTo>
                  <a:lnTo>
                    <a:pt x="1917" y="585"/>
                  </a:lnTo>
                  <a:lnTo>
                    <a:pt x="1917" y="588"/>
                  </a:lnTo>
                  <a:lnTo>
                    <a:pt x="1917" y="588"/>
                  </a:lnTo>
                  <a:lnTo>
                    <a:pt x="1917" y="591"/>
                  </a:lnTo>
                  <a:lnTo>
                    <a:pt x="1920" y="591"/>
                  </a:lnTo>
                  <a:lnTo>
                    <a:pt x="1923" y="591"/>
                  </a:lnTo>
                  <a:lnTo>
                    <a:pt x="1923" y="591"/>
                  </a:lnTo>
                  <a:lnTo>
                    <a:pt x="1926" y="591"/>
                  </a:lnTo>
                  <a:lnTo>
                    <a:pt x="1928" y="591"/>
                  </a:lnTo>
                  <a:lnTo>
                    <a:pt x="1928" y="591"/>
                  </a:lnTo>
                  <a:lnTo>
                    <a:pt x="1928" y="593"/>
                  </a:lnTo>
                  <a:lnTo>
                    <a:pt x="1931" y="596"/>
                  </a:lnTo>
                  <a:lnTo>
                    <a:pt x="1931" y="596"/>
                  </a:lnTo>
                  <a:lnTo>
                    <a:pt x="1931" y="599"/>
                  </a:lnTo>
                  <a:lnTo>
                    <a:pt x="1928" y="599"/>
                  </a:lnTo>
                  <a:lnTo>
                    <a:pt x="1928" y="599"/>
                  </a:lnTo>
                  <a:lnTo>
                    <a:pt x="1928" y="601"/>
                  </a:lnTo>
                  <a:lnTo>
                    <a:pt x="1926" y="601"/>
                  </a:lnTo>
                  <a:lnTo>
                    <a:pt x="1926" y="604"/>
                  </a:lnTo>
                  <a:lnTo>
                    <a:pt x="1926" y="607"/>
                  </a:lnTo>
                  <a:lnTo>
                    <a:pt x="1926" y="607"/>
                  </a:lnTo>
                  <a:lnTo>
                    <a:pt x="1923" y="609"/>
                  </a:lnTo>
                  <a:lnTo>
                    <a:pt x="1923" y="609"/>
                  </a:lnTo>
                  <a:lnTo>
                    <a:pt x="1923" y="612"/>
                  </a:lnTo>
                  <a:lnTo>
                    <a:pt x="1926" y="615"/>
                  </a:lnTo>
                  <a:lnTo>
                    <a:pt x="1923" y="615"/>
                  </a:lnTo>
                  <a:lnTo>
                    <a:pt x="1923" y="615"/>
                  </a:lnTo>
                  <a:lnTo>
                    <a:pt x="1923" y="615"/>
                  </a:lnTo>
                  <a:lnTo>
                    <a:pt x="1923" y="617"/>
                  </a:lnTo>
                  <a:lnTo>
                    <a:pt x="1920" y="617"/>
                  </a:lnTo>
                  <a:lnTo>
                    <a:pt x="1920" y="620"/>
                  </a:lnTo>
                  <a:lnTo>
                    <a:pt x="1917" y="620"/>
                  </a:lnTo>
                  <a:lnTo>
                    <a:pt x="1917" y="620"/>
                  </a:lnTo>
                  <a:lnTo>
                    <a:pt x="1917" y="623"/>
                  </a:lnTo>
                  <a:lnTo>
                    <a:pt x="1915" y="625"/>
                  </a:lnTo>
                  <a:lnTo>
                    <a:pt x="1915" y="625"/>
                  </a:lnTo>
                  <a:lnTo>
                    <a:pt x="1915" y="625"/>
                  </a:lnTo>
                  <a:lnTo>
                    <a:pt x="1915" y="628"/>
                  </a:lnTo>
                  <a:lnTo>
                    <a:pt x="1915" y="628"/>
                  </a:lnTo>
                  <a:lnTo>
                    <a:pt x="1912" y="628"/>
                  </a:lnTo>
                  <a:lnTo>
                    <a:pt x="1912" y="628"/>
                  </a:lnTo>
                  <a:lnTo>
                    <a:pt x="1912" y="628"/>
                  </a:lnTo>
                  <a:lnTo>
                    <a:pt x="1912" y="631"/>
                  </a:lnTo>
                  <a:lnTo>
                    <a:pt x="1912" y="631"/>
                  </a:lnTo>
                  <a:lnTo>
                    <a:pt x="1912" y="634"/>
                  </a:lnTo>
                  <a:lnTo>
                    <a:pt x="1912" y="634"/>
                  </a:lnTo>
                  <a:lnTo>
                    <a:pt x="1912" y="634"/>
                  </a:lnTo>
                  <a:lnTo>
                    <a:pt x="1912" y="636"/>
                  </a:lnTo>
                  <a:lnTo>
                    <a:pt x="1915" y="639"/>
                  </a:lnTo>
                  <a:lnTo>
                    <a:pt x="1917" y="642"/>
                  </a:lnTo>
                  <a:lnTo>
                    <a:pt x="1917" y="644"/>
                  </a:lnTo>
                  <a:lnTo>
                    <a:pt x="1917" y="644"/>
                  </a:lnTo>
                  <a:lnTo>
                    <a:pt x="1917" y="647"/>
                  </a:lnTo>
                  <a:lnTo>
                    <a:pt x="1920" y="650"/>
                  </a:lnTo>
                  <a:lnTo>
                    <a:pt x="1920" y="652"/>
                  </a:lnTo>
                  <a:lnTo>
                    <a:pt x="1920" y="655"/>
                  </a:lnTo>
                  <a:lnTo>
                    <a:pt x="1923" y="658"/>
                  </a:lnTo>
                  <a:lnTo>
                    <a:pt x="1926" y="658"/>
                  </a:lnTo>
                  <a:lnTo>
                    <a:pt x="1926" y="660"/>
                  </a:lnTo>
                  <a:lnTo>
                    <a:pt x="1928" y="663"/>
                  </a:lnTo>
                  <a:lnTo>
                    <a:pt x="1931" y="663"/>
                  </a:lnTo>
                  <a:lnTo>
                    <a:pt x="1931" y="666"/>
                  </a:lnTo>
                  <a:lnTo>
                    <a:pt x="1934" y="668"/>
                  </a:lnTo>
                  <a:lnTo>
                    <a:pt x="1936" y="666"/>
                  </a:lnTo>
                  <a:lnTo>
                    <a:pt x="1939" y="666"/>
                  </a:lnTo>
                  <a:lnTo>
                    <a:pt x="1942" y="666"/>
                  </a:lnTo>
                  <a:lnTo>
                    <a:pt x="1944" y="666"/>
                  </a:lnTo>
                  <a:lnTo>
                    <a:pt x="1947" y="668"/>
                  </a:lnTo>
                  <a:lnTo>
                    <a:pt x="1947" y="668"/>
                  </a:lnTo>
                  <a:lnTo>
                    <a:pt x="1947" y="671"/>
                  </a:lnTo>
                  <a:lnTo>
                    <a:pt x="1947" y="671"/>
                  </a:lnTo>
                  <a:lnTo>
                    <a:pt x="1950" y="674"/>
                  </a:lnTo>
                  <a:lnTo>
                    <a:pt x="1950" y="674"/>
                  </a:lnTo>
                  <a:lnTo>
                    <a:pt x="1950" y="676"/>
                  </a:lnTo>
                  <a:lnTo>
                    <a:pt x="1950" y="679"/>
                  </a:lnTo>
                  <a:lnTo>
                    <a:pt x="1947" y="679"/>
                  </a:lnTo>
                  <a:lnTo>
                    <a:pt x="1947" y="682"/>
                  </a:lnTo>
                  <a:lnTo>
                    <a:pt x="1947" y="684"/>
                  </a:lnTo>
                  <a:lnTo>
                    <a:pt x="1947" y="687"/>
                  </a:lnTo>
                  <a:lnTo>
                    <a:pt x="1947" y="690"/>
                  </a:lnTo>
                  <a:lnTo>
                    <a:pt x="1947" y="692"/>
                  </a:lnTo>
                  <a:lnTo>
                    <a:pt x="1944" y="695"/>
                  </a:lnTo>
                  <a:lnTo>
                    <a:pt x="1944" y="695"/>
                  </a:lnTo>
                  <a:lnTo>
                    <a:pt x="1944" y="698"/>
                  </a:lnTo>
                  <a:lnTo>
                    <a:pt x="1944" y="698"/>
                  </a:lnTo>
                  <a:lnTo>
                    <a:pt x="1947" y="698"/>
                  </a:lnTo>
                  <a:lnTo>
                    <a:pt x="1950" y="700"/>
                  </a:lnTo>
                  <a:lnTo>
                    <a:pt x="1950" y="700"/>
                  </a:lnTo>
                  <a:lnTo>
                    <a:pt x="1952" y="703"/>
                  </a:lnTo>
                  <a:lnTo>
                    <a:pt x="1955" y="706"/>
                  </a:lnTo>
                  <a:lnTo>
                    <a:pt x="1955" y="706"/>
                  </a:lnTo>
                  <a:lnTo>
                    <a:pt x="1955" y="706"/>
                  </a:lnTo>
                  <a:lnTo>
                    <a:pt x="1952" y="708"/>
                  </a:lnTo>
                  <a:lnTo>
                    <a:pt x="1952" y="708"/>
                  </a:lnTo>
                  <a:lnTo>
                    <a:pt x="1952" y="711"/>
                  </a:lnTo>
                  <a:lnTo>
                    <a:pt x="1952" y="714"/>
                  </a:lnTo>
                  <a:lnTo>
                    <a:pt x="1950" y="714"/>
                  </a:lnTo>
                  <a:lnTo>
                    <a:pt x="1950" y="716"/>
                  </a:lnTo>
                  <a:lnTo>
                    <a:pt x="1947" y="716"/>
                  </a:lnTo>
                  <a:lnTo>
                    <a:pt x="1947" y="719"/>
                  </a:lnTo>
                  <a:lnTo>
                    <a:pt x="1947" y="719"/>
                  </a:lnTo>
                  <a:lnTo>
                    <a:pt x="1947" y="716"/>
                  </a:lnTo>
                  <a:lnTo>
                    <a:pt x="1944" y="716"/>
                  </a:lnTo>
                  <a:lnTo>
                    <a:pt x="1944" y="716"/>
                  </a:lnTo>
                  <a:lnTo>
                    <a:pt x="1942" y="716"/>
                  </a:lnTo>
                  <a:lnTo>
                    <a:pt x="1942" y="714"/>
                  </a:lnTo>
                  <a:lnTo>
                    <a:pt x="1942" y="714"/>
                  </a:lnTo>
                  <a:lnTo>
                    <a:pt x="1939" y="714"/>
                  </a:lnTo>
                  <a:lnTo>
                    <a:pt x="1939" y="708"/>
                  </a:lnTo>
                  <a:lnTo>
                    <a:pt x="1936" y="708"/>
                  </a:lnTo>
                  <a:lnTo>
                    <a:pt x="1936" y="711"/>
                  </a:lnTo>
                  <a:lnTo>
                    <a:pt x="1936" y="711"/>
                  </a:lnTo>
                  <a:lnTo>
                    <a:pt x="1934" y="711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31" y="714"/>
                  </a:lnTo>
                  <a:lnTo>
                    <a:pt x="1928" y="714"/>
                  </a:lnTo>
                  <a:lnTo>
                    <a:pt x="1928" y="716"/>
                  </a:lnTo>
                  <a:lnTo>
                    <a:pt x="1928" y="716"/>
                  </a:lnTo>
                  <a:lnTo>
                    <a:pt x="1926" y="719"/>
                  </a:lnTo>
                  <a:lnTo>
                    <a:pt x="1926" y="722"/>
                  </a:lnTo>
                  <a:lnTo>
                    <a:pt x="1926" y="722"/>
                  </a:lnTo>
                  <a:lnTo>
                    <a:pt x="1926" y="722"/>
                  </a:lnTo>
                  <a:lnTo>
                    <a:pt x="1923" y="724"/>
                  </a:lnTo>
                  <a:lnTo>
                    <a:pt x="1923" y="724"/>
                  </a:lnTo>
                  <a:lnTo>
                    <a:pt x="1923" y="724"/>
                  </a:lnTo>
                  <a:lnTo>
                    <a:pt x="1920" y="727"/>
                  </a:lnTo>
                  <a:lnTo>
                    <a:pt x="1920" y="730"/>
                  </a:lnTo>
                  <a:lnTo>
                    <a:pt x="1920" y="730"/>
                  </a:lnTo>
                  <a:lnTo>
                    <a:pt x="1923" y="732"/>
                  </a:lnTo>
                  <a:lnTo>
                    <a:pt x="1923" y="732"/>
                  </a:lnTo>
                  <a:lnTo>
                    <a:pt x="1923" y="735"/>
                  </a:lnTo>
                  <a:lnTo>
                    <a:pt x="1923" y="738"/>
                  </a:lnTo>
                  <a:lnTo>
                    <a:pt x="1923" y="738"/>
                  </a:lnTo>
                  <a:lnTo>
                    <a:pt x="1923" y="740"/>
                  </a:lnTo>
                  <a:lnTo>
                    <a:pt x="1923" y="740"/>
                  </a:lnTo>
                  <a:lnTo>
                    <a:pt x="1923" y="740"/>
                  </a:lnTo>
                  <a:lnTo>
                    <a:pt x="1920" y="740"/>
                  </a:lnTo>
                  <a:lnTo>
                    <a:pt x="1920" y="738"/>
                  </a:lnTo>
                  <a:lnTo>
                    <a:pt x="1917" y="738"/>
                  </a:lnTo>
                  <a:lnTo>
                    <a:pt x="1917" y="738"/>
                  </a:lnTo>
                  <a:lnTo>
                    <a:pt x="1917" y="738"/>
                  </a:lnTo>
                  <a:lnTo>
                    <a:pt x="1915" y="738"/>
                  </a:lnTo>
                  <a:lnTo>
                    <a:pt x="1915" y="740"/>
                  </a:lnTo>
                  <a:lnTo>
                    <a:pt x="1912" y="740"/>
                  </a:lnTo>
                  <a:lnTo>
                    <a:pt x="1912" y="740"/>
                  </a:lnTo>
                  <a:lnTo>
                    <a:pt x="1912" y="740"/>
                  </a:lnTo>
                  <a:lnTo>
                    <a:pt x="1909" y="743"/>
                  </a:lnTo>
                  <a:lnTo>
                    <a:pt x="1909" y="746"/>
                  </a:lnTo>
                  <a:lnTo>
                    <a:pt x="1909" y="746"/>
                  </a:lnTo>
                  <a:lnTo>
                    <a:pt x="1907" y="748"/>
                  </a:lnTo>
                  <a:lnTo>
                    <a:pt x="1907" y="748"/>
                  </a:lnTo>
                  <a:lnTo>
                    <a:pt x="1907" y="748"/>
                  </a:lnTo>
                  <a:lnTo>
                    <a:pt x="1904" y="751"/>
                  </a:lnTo>
                  <a:lnTo>
                    <a:pt x="1901" y="751"/>
                  </a:lnTo>
                  <a:lnTo>
                    <a:pt x="1899" y="754"/>
                  </a:lnTo>
                  <a:lnTo>
                    <a:pt x="1899" y="754"/>
                  </a:lnTo>
                  <a:lnTo>
                    <a:pt x="1896" y="756"/>
                  </a:lnTo>
                  <a:lnTo>
                    <a:pt x="1896" y="756"/>
                  </a:lnTo>
                  <a:lnTo>
                    <a:pt x="1896" y="759"/>
                  </a:lnTo>
                  <a:lnTo>
                    <a:pt x="1896" y="762"/>
                  </a:lnTo>
                  <a:lnTo>
                    <a:pt x="1896" y="762"/>
                  </a:lnTo>
                  <a:lnTo>
                    <a:pt x="1899" y="764"/>
                  </a:lnTo>
                  <a:lnTo>
                    <a:pt x="1899" y="764"/>
                  </a:lnTo>
                  <a:lnTo>
                    <a:pt x="1901" y="767"/>
                  </a:lnTo>
                  <a:lnTo>
                    <a:pt x="1904" y="770"/>
                  </a:lnTo>
                  <a:lnTo>
                    <a:pt x="1904" y="770"/>
                  </a:lnTo>
                  <a:lnTo>
                    <a:pt x="1904" y="772"/>
                  </a:lnTo>
                  <a:lnTo>
                    <a:pt x="1904" y="772"/>
                  </a:lnTo>
                  <a:lnTo>
                    <a:pt x="1901" y="772"/>
                  </a:lnTo>
                  <a:lnTo>
                    <a:pt x="1899" y="772"/>
                  </a:lnTo>
                  <a:lnTo>
                    <a:pt x="1899" y="772"/>
                  </a:lnTo>
                  <a:lnTo>
                    <a:pt x="1896" y="775"/>
                  </a:lnTo>
                  <a:lnTo>
                    <a:pt x="1896" y="775"/>
                  </a:lnTo>
                  <a:lnTo>
                    <a:pt x="1893" y="775"/>
                  </a:lnTo>
                  <a:lnTo>
                    <a:pt x="1893" y="775"/>
                  </a:lnTo>
                  <a:lnTo>
                    <a:pt x="1891" y="775"/>
                  </a:lnTo>
                  <a:lnTo>
                    <a:pt x="1891" y="775"/>
                  </a:lnTo>
                  <a:lnTo>
                    <a:pt x="1891" y="775"/>
                  </a:lnTo>
                  <a:lnTo>
                    <a:pt x="1888" y="778"/>
                  </a:lnTo>
                  <a:lnTo>
                    <a:pt x="1888" y="778"/>
                  </a:lnTo>
                  <a:lnTo>
                    <a:pt x="1885" y="780"/>
                  </a:lnTo>
                  <a:lnTo>
                    <a:pt x="1885" y="780"/>
                  </a:lnTo>
                  <a:lnTo>
                    <a:pt x="1885" y="780"/>
                  </a:lnTo>
                  <a:lnTo>
                    <a:pt x="1883" y="780"/>
                  </a:lnTo>
                  <a:lnTo>
                    <a:pt x="1883" y="780"/>
                  </a:lnTo>
                  <a:lnTo>
                    <a:pt x="1883" y="778"/>
                  </a:lnTo>
                  <a:lnTo>
                    <a:pt x="1883" y="778"/>
                  </a:lnTo>
                  <a:lnTo>
                    <a:pt x="1880" y="775"/>
                  </a:lnTo>
                  <a:lnTo>
                    <a:pt x="1880" y="775"/>
                  </a:lnTo>
                  <a:lnTo>
                    <a:pt x="1877" y="775"/>
                  </a:lnTo>
                  <a:lnTo>
                    <a:pt x="1875" y="775"/>
                  </a:lnTo>
                  <a:lnTo>
                    <a:pt x="1875" y="775"/>
                  </a:lnTo>
                  <a:lnTo>
                    <a:pt x="1872" y="775"/>
                  </a:lnTo>
                  <a:lnTo>
                    <a:pt x="1872" y="775"/>
                  </a:lnTo>
                  <a:lnTo>
                    <a:pt x="1869" y="775"/>
                  </a:lnTo>
                  <a:lnTo>
                    <a:pt x="1869" y="772"/>
                  </a:lnTo>
                  <a:lnTo>
                    <a:pt x="1869" y="772"/>
                  </a:lnTo>
                  <a:lnTo>
                    <a:pt x="1869" y="770"/>
                  </a:lnTo>
                  <a:lnTo>
                    <a:pt x="1867" y="770"/>
                  </a:lnTo>
                  <a:lnTo>
                    <a:pt x="1867" y="770"/>
                  </a:lnTo>
                  <a:lnTo>
                    <a:pt x="1869" y="767"/>
                  </a:lnTo>
                  <a:lnTo>
                    <a:pt x="1869" y="764"/>
                  </a:lnTo>
                  <a:lnTo>
                    <a:pt x="1869" y="762"/>
                  </a:lnTo>
                  <a:lnTo>
                    <a:pt x="1869" y="762"/>
                  </a:lnTo>
                  <a:lnTo>
                    <a:pt x="1864" y="762"/>
                  </a:lnTo>
                  <a:lnTo>
                    <a:pt x="1864" y="759"/>
                  </a:lnTo>
                  <a:lnTo>
                    <a:pt x="1861" y="759"/>
                  </a:lnTo>
                  <a:lnTo>
                    <a:pt x="1859" y="762"/>
                  </a:lnTo>
                  <a:lnTo>
                    <a:pt x="1859" y="762"/>
                  </a:lnTo>
                  <a:lnTo>
                    <a:pt x="1859" y="759"/>
                  </a:lnTo>
                  <a:lnTo>
                    <a:pt x="1856" y="759"/>
                  </a:lnTo>
                  <a:lnTo>
                    <a:pt x="1856" y="759"/>
                  </a:lnTo>
                  <a:lnTo>
                    <a:pt x="1853" y="759"/>
                  </a:lnTo>
                  <a:lnTo>
                    <a:pt x="1851" y="762"/>
                  </a:lnTo>
                  <a:lnTo>
                    <a:pt x="1851" y="764"/>
                  </a:lnTo>
                  <a:lnTo>
                    <a:pt x="1848" y="767"/>
                  </a:lnTo>
                  <a:lnTo>
                    <a:pt x="1848" y="767"/>
                  </a:lnTo>
                  <a:lnTo>
                    <a:pt x="1848" y="770"/>
                  </a:lnTo>
                  <a:lnTo>
                    <a:pt x="1848" y="770"/>
                  </a:lnTo>
                  <a:lnTo>
                    <a:pt x="1848" y="772"/>
                  </a:lnTo>
                  <a:lnTo>
                    <a:pt x="1848" y="772"/>
                  </a:lnTo>
                  <a:lnTo>
                    <a:pt x="1848" y="775"/>
                  </a:lnTo>
                  <a:lnTo>
                    <a:pt x="1848" y="775"/>
                  </a:lnTo>
                  <a:lnTo>
                    <a:pt x="1848" y="778"/>
                  </a:lnTo>
                  <a:lnTo>
                    <a:pt x="1848" y="778"/>
                  </a:lnTo>
                  <a:lnTo>
                    <a:pt x="1848" y="780"/>
                  </a:lnTo>
                  <a:lnTo>
                    <a:pt x="1848" y="783"/>
                  </a:lnTo>
                  <a:lnTo>
                    <a:pt x="1845" y="783"/>
                  </a:lnTo>
                  <a:lnTo>
                    <a:pt x="1843" y="783"/>
                  </a:lnTo>
                  <a:lnTo>
                    <a:pt x="1843" y="783"/>
                  </a:lnTo>
                  <a:lnTo>
                    <a:pt x="1840" y="786"/>
                  </a:lnTo>
                  <a:lnTo>
                    <a:pt x="1840" y="786"/>
                  </a:lnTo>
                  <a:lnTo>
                    <a:pt x="1840" y="789"/>
                  </a:lnTo>
                  <a:lnTo>
                    <a:pt x="1843" y="789"/>
                  </a:lnTo>
                  <a:lnTo>
                    <a:pt x="1845" y="789"/>
                  </a:lnTo>
                  <a:lnTo>
                    <a:pt x="1845" y="789"/>
                  </a:lnTo>
                  <a:lnTo>
                    <a:pt x="1843" y="791"/>
                  </a:lnTo>
                  <a:lnTo>
                    <a:pt x="1843" y="791"/>
                  </a:lnTo>
                  <a:lnTo>
                    <a:pt x="1840" y="791"/>
                  </a:lnTo>
                  <a:lnTo>
                    <a:pt x="1837" y="794"/>
                  </a:lnTo>
                  <a:lnTo>
                    <a:pt x="1835" y="789"/>
                  </a:lnTo>
                  <a:lnTo>
                    <a:pt x="1835" y="789"/>
                  </a:lnTo>
                  <a:lnTo>
                    <a:pt x="1832" y="791"/>
                  </a:lnTo>
                  <a:lnTo>
                    <a:pt x="1829" y="791"/>
                  </a:lnTo>
                  <a:lnTo>
                    <a:pt x="1829" y="791"/>
                  </a:lnTo>
                  <a:lnTo>
                    <a:pt x="1827" y="794"/>
                  </a:lnTo>
                  <a:lnTo>
                    <a:pt x="1824" y="794"/>
                  </a:lnTo>
                  <a:lnTo>
                    <a:pt x="1824" y="794"/>
                  </a:lnTo>
                  <a:lnTo>
                    <a:pt x="1827" y="794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7" y="797"/>
                  </a:lnTo>
                  <a:lnTo>
                    <a:pt x="1824" y="799"/>
                  </a:lnTo>
                  <a:lnTo>
                    <a:pt x="1821" y="799"/>
                  </a:lnTo>
                  <a:lnTo>
                    <a:pt x="1821" y="799"/>
                  </a:lnTo>
                  <a:lnTo>
                    <a:pt x="1819" y="802"/>
                  </a:lnTo>
                  <a:lnTo>
                    <a:pt x="1816" y="802"/>
                  </a:lnTo>
                  <a:lnTo>
                    <a:pt x="1813" y="802"/>
                  </a:lnTo>
                  <a:lnTo>
                    <a:pt x="1813" y="802"/>
                  </a:lnTo>
                  <a:lnTo>
                    <a:pt x="1811" y="802"/>
                  </a:lnTo>
                  <a:lnTo>
                    <a:pt x="1808" y="802"/>
                  </a:lnTo>
                  <a:lnTo>
                    <a:pt x="1808" y="802"/>
                  </a:lnTo>
                  <a:lnTo>
                    <a:pt x="1808" y="802"/>
                  </a:lnTo>
                  <a:lnTo>
                    <a:pt x="1805" y="799"/>
                  </a:lnTo>
                  <a:lnTo>
                    <a:pt x="1805" y="799"/>
                  </a:lnTo>
                  <a:lnTo>
                    <a:pt x="1803" y="799"/>
                  </a:lnTo>
                  <a:lnTo>
                    <a:pt x="1800" y="799"/>
                  </a:lnTo>
                  <a:lnTo>
                    <a:pt x="1797" y="799"/>
                  </a:lnTo>
                  <a:lnTo>
                    <a:pt x="1797" y="802"/>
                  </a:lnTo>
                  <a:lnTo>
                    <a:pt x="1797" y="805"/>
                  </a:lnTo>
                  <a:lnTo>
                    <a:pt x="1800" y="805"/>
                  </a:lnTo>
                  <a:lnTo>
                    <a:pt x="1800" y="805"/>
                  </a:lnTo>
                  <a:lnTo>
                    <a:pt x="1797" y="807"/>
                  </a:lnTo>
                  <a:lnTo>
                    <a:pt x="1797" y="807"/>
                  </a:lnTo>
                  <a:lnTo>
                    <a:pt x="1797" y="807"/>
                  </a:lnTo>
                  <a:lnTo>
                    <a:pt x="1797" y="810"/>
                  </a:lnTo>
                  <a:lnTo>
                    <a:pt x="1797" y="810"/>
                  </a:lnTo>
                  <a:lnTo>
                    <a:pt x="1797" y="813"/>
                  </a:lnTo>
                  <a:lnTo>
                    <a:pt x="1797" y="813"/>
                  </a:lnTo>
                  <a:lnTo>
                    <a:pt x="1797" y="815"/>
                  </a:lnTo>
                  <a:lnTo>
                    <a:pt x="1797" y="815"/>
                  </a:lnTo>
                  <a:lnTo>
                    <a:pt x="1795" y="818"/>
                  </a:lnTo>
                  <a:lnTo>
                    <a:pt x="1795" y="818"/>
                  </a:lnTo>
                  <a:lnTo>
                    <a:pt x="1795" y="821"/>
                  </a:lnTo>
                  <a:lnTo>
                    <a:pt x="1797" y="821"/>
                  </a:lnTo>
                  <a:lnTo>
                    <a:pt x="1797" y="821"/>
                  </a:lnTo>
                  <a:lnTo>
                    <a:pt x="1797" y="823"/>
                  </a:lnTo>
                  <a:lnTo>
                    <a:pt x="1797" y="823"/>
                  </a:lnTo>
                  <a:lnTo>
                    <a:pt x="1797" y="823"/>
                  </a:lnTo>
                  <a:lnTo>
                    <a:pt x="1800" y="826"/>
                  </a:lnTo>
                  <a:lnTo>
                    <a:pt x="1800" y="826"/>
                  </a:lnTo>
                  <a:lnTo>
                    <a:pt x="1803" y="826"/>
                  </a:lnTo>
                  <a:lnTo>
                    <a:pt x="1805" y="826"/>
                  </a:lnTo>
                  <a:lnTo>
                    <a:pt x="1805" y="826"/>
                  </a:lnTo>
                  <a:lnTo>
                    <a:pt x="1811" y="826"/>
                  </a:lnTo>
                  <a:lnTo>
                    <a:pt x="1811" y="826"/>
                  </a:lnTo>
                  <a:lnTo>
                    <a:pt x="1813" y="826"/>
                  </a:lnTo>
                  <a:lnTo>
                    <a:pt x="1816" y="826"/>
                  </a:lnTo>
                  <a:lnTo>
                    <a:pt x="1816" y="829"/>
                  </a:lnTo>
                  <a:lnTo>
                    <a:pt x="1816" y="831"/>
                  </a:lnTo>
                  <a:lnTo>
                    <a:pt x="1816" y="834"/>
                  </a:lnTo>
                  <a:lnTo>
                    <a:pt x="1816" y="837"/>
                  </a:lnTo>
                  <a:lnTo>
                    <a:pt x="1816" y="837"/>
                  </a:lnTo>
                  <a:lnTo>
                    <a:pt x="1816" y="839"/>
                  </a:lnTo>
                  <a:lnTo>
                    <a:pt x="1816" y="842"/>
                  </a:lnTo>
                  <a:lnTo>
                    <a:pt x="1816" y="845"/>
                  </a:lnTo>
                  <a:lnTo>
                    <a:pt x="1819" y="845"/>
                  </a:lnTo>
                  <a:lnTo>
                    <a:pt x="1819" y="845"/>
                  </a:lnTo>
                  <a:lnTo>
                    <a:pt x="1819" y="847"/>
                  </a:lnTo>
                  <a:lnTo>
                    <a:pt x="1819" y="847"/>
                  </a:lnTo>
                  <a:lnTo>
                    <a:pt x="1819" y="850"/>
                  </a:lnTo>
                  <a:lnTo>
                    <a:pt x="1819" y="853"/>
                  </a:lnTo>
                  <a:lnTo>
                    <a:pt x="1819" y="853"/>
                  </a:lnTo>
                  <a:lnTo>
                    <a:pt x="1821" y="855"/>
                  </a:lnTo>
                  <a:lnTo>
                    <a:pt x="1821" y="855"/>
                  </a:lnTo>
                  <a:lnTo>
                    <a:pt x="1821" y="855"/>
                  </a:lnTo>
                  <a:lnTo>
                    <a:pt x="1821" y="858"/>
                  </a:lnTo>
                  <a:lnTo>
                    <a:pt x="1821" y="858"/>
                  </a:lnTo>
                  <a:lnTo>
                    <a:pt x="1821" y="858"/>
                  </a:lnTo>
                  <a:lnTo>
                    <a:pt x="1821" y="861"/>
                  </a:lnTo>
                  <a:lnTo>
                    <a:pt x="1819" y="861"/>
                  </a:lnTo>
                  <a:lnTo>
                    <a:pt x="1819" y="861"/>
                  </a:lnTo>
                  <a:lnTo>
                    <a:pt x="1816" y="863"/>
                  </a:lnTo>
                  <a:lnTo>
                    <a:pt x="1816" y="863"/>
                  </a:lnTo>
                  <a:lnTo>
                    <a:pt x="1816" y="863"/>
                  </a:lnTo>
                  <a:lnTo>
                    <a:pt x="1813" y="866"/>
                  </a:lnTo>
                  <a:lnTo>
                    <a:pt x="1813" y="863"/>
                  </a:lnTo>
                  <a:lnTo>
                    <a:pt x="1811" y="863"/>
                  </a:lnTo>
                  <a:lnTo>
                    <a:pt x="1811" y="863"/>
                  </a:lnTo>
                  <a:lnTo>
                    <a:pt x="1808" y="861"/>
                  </a:lnTo>
                  <a:lnTo>
                    <a:pt x="1808" y="861"/>
                  </a:lnTo>
                  <a:lnTo>
                    <a:pt x="1808" y="861"/>
                  </a:lnTo>
                  <a:lnTo>
                    <a:pt x="1805" y="861"/>
                  </a:lnTo>
                  <a:lnTo>
                    <a:pt x="1805" y="861"/>
                  </a:lnTo>
                  <a:lnTo>
                    <a:pt x="1803" y="861"/>
                  </a:lnTo>
                  <a:lnTo>
                    <a:pt x="1803" y="861"/>
                  </a:lnTo>
                  <a:lnTo>
                    <a:pt x="1803" y="861"/>
                  </a:lnTo>
                  <a:lnTo>
                    <a:pt x="1800" y="858"/>
                  </a:lnTo>
                  <a:lnTo>
                    <a:pt x="1800" y="858"/>
                  </a:lnTo>
                  <a:lnTo>
                    <a:pt x="1800" y="855"/>
                  </a:lnTo>
                  <a:lnTo>
                    <a:pt x="1800" y="855"/>
                  </a:lnTo>
                  <a:lnTo>
                    <a:pt x="1800" y="853"/>
                  </a:lnTo>
                  <a:lnTo>
                    <a:pt x="1797" y="853"/>
                  </a:lnTo>
                  <a:lnTo>
                    <a:pt x="1797" y="853"/>
                  </a:lnTo>
                  <a:lnTo>
                    <a:pt x="1797" y="850"/>
                  </a:lnTo>
                  <a:lnTo>
                    <a:pt x="1797" y="850"/>
                  </a:lnTo>
                  <a:lnTo>
                    <a:pt x="1795" y="850"/>
                  </a:lnTo>
                  <a:lnTo>
                    <a:pt x="1795" y="850"/>
                  </a:lnTo>
                  <a:lnTo>
                    <a:pt x="1792" y="853"/>
                  </a:lnTo>
                  <a:lnTo>
                    <a:pt x="1792" y="855"/>
                  </a:lnTo>
                  <a:lnTo>
                    <a:pt x="1789" y="855"/>
                  </a:lnTo>
                  <a:lnTo>
                    <a:pt x="1789" y="858"/>
                  </a:lnTo>
                  <a:lnTo>
                    <a:pt x="1787" y="858"/>
                  </a:lnTo>
                  <a:lnTo>
                    <a:pt x="1787" y="861"/>
                  </a:lnTo>
                  <a:lnTo>
                    <a:pt x="1787" y="861"/>
                  </a:lnTo>
                  <a:lnTo>
                    <a:pt x="1787" y="863"/>
                  </a:lnTo>
                  <a:lnTo>
                    <a:pt x="1787" y="863"/>
                  </a:lnTo>
                  <a:lnTo>
                    <a:pt x="1789" y="866"/>
                  </a:lnTo>
                  <a:lnTo>
                    <a:pt x="1789" y="866"/>
                  </a:lnTo>
                  <a:lnTo>
                    <a:pt x="1787" y="869"/>
                  </a:lnTo>
                  <a:lnTo>
                    <a:pt x="1787" y="869"/>
                  </a:lnTo>
                  <a:lnTo>
                    <a:pt x="1787" y="871"/>
                  </a:lnTo>
                  <a:lnTo>
                    <a:pt x="1787" y="871"/>
                  </a:lnTo>
                  <a:lnTo>
                    <a:pt x="1787" y="871"/>
                  </a:lnTo>
                  <a:lnTo>
                    <a:pt x="1787" y="874"/>
                  </a:lnTo>
                  <a:lnTo>
                    <a:pt x="1784" y="871"/>
                  </a:lnTo>
                  <a:lnTo>
                    <a:pt x="1784" y="871"/>
                  </a:lnTo>
                  <a:lnTo>
                    <a:pt x="1779" y="869"/>
                  </a:lnTo>
                  <a:lnTo>
                    <a:pt x="1776" y="869"/>
                  </a:lnTo>
                  <a:lnTo>
                    <a:pt x="1773" y="869"/>
                  </a:lnTo>
                  <a:lnTo>
                    <a:pt x="1773" y="869"/>
                  </a:lnTo>
                  <a:lnTo>
                    <a:pt x="1771" y="871"/>
                  </a:lnTo>
                  <a:lnTo>
                    <a:pt x="1768" y="871"/>
                  </a:lnTo>
                  <a:lnTo>
                    <a:pt x="1768" y="871"/>
                  </a:lnTo>
                  <a:lnTo>
                    <a:pt x="1765" y="871"/>
                  </a:lnTo>
                  <a:lnTo>
                    <a:pt x="1765" y="874"/>
                  </a:lnTo>
                  <a:lnTo>
                    <a:pt x="1765" y="874"/>
                  </a:lnTo>
                  <a:lnTo>
                    <a:pt x="1763" y="874"/>
                  </a:lnTo>
                  <a:lnTo>
                    <a:pt x="1760" y="874"/>
                  </a:lnTo>
                  <a:lnTo>
                    <a:pt x="1760" y="874"/>
                  </a:lnTo>
                  <a:lnTo>
                    <a:pt x="1757" y="874"/>
                  </a:lnTo>
                  <a:lnTo>
                    <a:pt x="1755" y="877"/>
                  </a:lnTo>
                  <a:lnTo>
                    <a:pt x="1752" y="877"/>
                  </a:lnTo>
                  <a:lnTo>
                    <a:pt x="1749" y="877"/>
                  </a:lnTo>
                  <a:lnTo>
                    <a:pt x="1749" y="879"/>
                  </a:lnTo>
                  <a:lnTo>
                    <a:pt x="1749" y="879"/>
                  </a:lnTo>
                  <a:lnTo>
                    <a:pt x="1749" y="885"/>
                  </a:lnTo>
                  <a:lnTo>
                    <a:pt x="1749" y="887"/>
                  </a:lnTo>
                  <a:lnTo>
                    <a:pt x="1749" y="887"/>
                  </a:lnTo>
                  <a:lnTo>
                    <a:pt x="1752" y="890"/>
                  </a:lnTo>
                  <a:lnTo>
                    <a:pt x="1752" y="893"/>
                  </a:lnTo>
                  <a:lnTo>
                    <a:pt x="1752" y="895"/>
                  </a:lnTo>
                  <a:lnTo>
                    <a:pt x="1752" y="895"/>
                  </a:lnTo>
                  <a:lnTo>
                    <a:pt x="1749" y="898"/>
                  </a:lnTo>
                  <a:lnTo>
                    <a:pt x="1752" y="901"/>
                  </a:lnTo>
                  <a:lnTo>
                    <a:pt x="1752" y="901"/>
                  </a:lnTo>
                  <a:lnTo>
                    <a:pt x="1752" y="903"/>
                  </a:lnTo>
                  <a:lnTo>
                    <a:pt x="1752" y="903"/>
                  </a:lnTo>
                  <a:lnTo>
                    <a:pt x="1752" y="906"/>
                  </a:lnTo>
                  <a:lnTo>
                    <a:pt x="1752" y="906"/>
                  </a:lnTo>
                  <a:lnTo>
                    <a:pt x="1752" y="909"/>
                  </a:lnTo>
                  <a:lnTo>
                    <a:pt x="1752" y="911"/>
                  </a:lnTo>
                  <a:lnTo>
                    <a:pt x="1749" y="911"/>
                  </a:lnTo>
                  <a:lnTo>
                    <a:pt x="1747" y="914"/>
                  </a:lnTo>
                  <a:lnTo>
                    <a:pt x="1747" y="917"/>
                  </a:lnTo>
                  <a:lnTo>
                    <a:pt x="1747" y="917"/>
                  </a:lnTo>
                  <a:lnTo>
                    <a:pt x="1744" y="919"/>
                  </a:lnTo>
                  <a:lnTo>
                    <a:pt x="1744" y="919"/>
                  </a:lnTo>
                  <a:lnTo>
                    <a:pt x="1741" y="922"/>
                  </a:lnTo>
                  <a:lnTo>
                    <a:pt x="1741" y="925"/>
                  </a:lnTo>
                  <a:lnTo>
                    <a:pt x="1741" y="925"/>
                  </a:lnTo>
                  <a:lnTo>
                    <a:pt x="1741" y="927"/>
                  </a:lnTo>
                  <a:lnTo>
                    <a:pt x="1739" y="930"/>
                  </a:lnTo>
                  <a:lnTo>
                    <a:pt x="1739" y="930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6" y="933"/>
                  </a:lnTo>
                  <a:lnTo>
                    <a:pt x="1739" y="935"/>
                  </a:lnTo>
                  <a:lnTo>
                    <a:pt x="1739" y="935"/>
                  </a:lnTo>
                  <a:lnTo>
                    <a:pt x="1741" y="935"/>
                  </a:lnTo>
                  <a:lnTo>
                    <a:pt x="1741" y="935"/>
                  </a:lnTo>
                  <a:lnTo>
                    <a:pt x="1744" y="935"/>
                  </a:lnTo>
                  <a:lnTo>
                    <a:pt x="1744" y="938"/>
                  </a:lnTo>
                  <a:lnTo>
                    <a:pt x="1747" y="941"/>
                  </a:lnTo>
                  <a:lnTo>
                    <a:pt x="1749" y="943"/>
                  </a:lnTo>
                  <a:lnTo>
                    <a:pt x="1749" y="946"/>
                  </a:lnTo>
                  <a:lnTo>
                    <a:pt x="1749" y="946"/>
                  </a:lnTo>
                  <a:lnTo>
                    <a:pt x="1749" y="949"/>
                  </a:lnTo>
                  <a:lnTo>
                    <a:pt x="1749" y="952"/>
                  </a:lnTo>
                  <a:lnTo>
                    <a:pt x="1749" y="952"/>
                  </a:lnTo>
                  <a:lnTo>
                    <a:pt x="1749" y="954"/>
                  </a:lnTo>
                  <a:lnTo>
                    <a:pt x="1749" y="957"/>
                  </a:lnTo>
                  <a:lnTo>
                    <a:pt x="1749" y="960"/>
                  </a:lnTo>
                  <a:lnTo>
                    <a:pt x="1752" y="960"/>
                  </a:lnTo>
                  <a:lnTo>
                    <a:pt x="1752" y="962"/>
                  </a:lnTo>
                  <a:lnTo>
                    <a:pt x="1752" y="962"/>
                  </a:lnTo>
                  <a:lnTo>
                    <a:pt x="1752" y="965"/>
                  </a:lnTo>
                  <a:lnTo>
                    <a:pt x="1755" y="968"/>
                  </a:lnTo>
                  <a:lnTo>
                    <a:pt x="1755" y="970"/>
                  </a:lnTo>
                  <a:lnTo>
                    <a:pt x="1755" y="970"/>
                  </a:lnTo>
                  <a:lnTo>
                    <a:pt x="1755" y="973"/>
                  </a:lnTo>
                  <a:lnTo>
                    <a:pt x="1757" y="976"/>
                  </a:lnTo>
                  <a:lnTo>
                    <a:pt x="1757" y="976"/>
                  </a:lnTo>
                  <a:lnTo>
                    <a:pt x="1757" y="978"/>
                  </a:lnTo>
                  <a:lnTo>
                    <a:pt x="1757" y="981"/>
                  </a:lnTo>
                  <a:lnTo>
                    <a:pt x="1757" y="984"/>
                  </a:lnTo>
                  <a:lnTo>
                    <a:pt x="1757" y="986"/>
                  </a:lnTo>
                  <a:lnTo>
                    <a:pt x="1757" y="986"/>
                  </a:lnTo>
                  <a:lnTo>
                    <a:pt x="1757" y="989"/>
                  </a:lnTo>
                  <a:lnTo>
                    <a:pt x="1757" y="992"/>
                  </a:lnTo>
                  <a:lnTo>
                    <a:pt x="1760" y="992"/>
                  </a:lnTo>
                  <a:lnTo>
                    <a:pt x="1760" y="994"/>
                  </a:lnTo>
                  <a:lnTo>
                    <a:pt x="1760" y="994"/>
                  </a:lnTo>
                  <a:lnTo>
                    <a:pt x="1763" y="997"/>
                  </a:lnTo>
                  <a:lnTo>
                    <a:pt x="1765" y="1000"/>
                  </a:lnTo>
                  <a:lnTo>
                    <a:pt x="1765" y="1002"/>
                  </a:lnTo>
                  <a:lnTo>
                    <a:pt x="1768" y="1002"/>
                  </a:lnTo>
                  <a:lnTo>
                    <a:pt x="1768" y="1002"/>
                  </a:lnTo>
                  <a:lnTo>
                    <a:pt x="1768" y="1005"/>
                  </a:lnTo>
                  <a:lnTo>
                    <a:pt x="1768" y="1005"/>
                  </a:lnTo>
                  <a:lnTo>
                    <a:pt x="1768" y="1005"/>
                  </a:lnTo>
                  <a:lnTo>
                    <a:pt x="1768" y="1008"/>
                  </a:lnTo>
                  <a:lnTo>
                    <a:pt x="1771" y="1008"/>
                  </a:lnTo>
                  <a:lnTo>
                    <a:pt x="1771" y="1008"/>
                  </a:lnTo>
                  <a:lnTo>
                    <a:pt x="1773" y="1010"/>
                  </a:lnTo>
                  <a:lnTo>
                    <a:pt x="1776" y="1013"/>
                  </a:lnTo>
                  <a:lnTo>
                    <a:pt x="1776" y="1016"/>
                  </a:lnTo>
                  <a:lnTo>
                    <a:pt x="1779" y="1016"/>
                  </a:lnTo>
                  <a:lnTo>
                    <a:pt x="1781" y="1018"/>
                  </a:lnTo>
                  <a:lnTo>
                    <a:pt x="1784" y="1021"/>
                  </a:lnTo>
                  <a:lnTo>
                    <a:pt x="1784" y="1024"/>
                  </a:lnTo>
                  <a:lnTo>
                    <a:pt x="1784" y="1026"/>
                  </a:lnTo>
                  <a:lnTo>
                    <a:pt x="1784" y="1029"/>
                  </a:lnTo>
                  <a:lnTo>
                    <a:pt x="1784" y="1029"/>
                  </a:lnTo>
                  <a:lnTo>
                    <a:pt x="1784" y="1032"/>
                  </a:lnTo>
                  <a:lnTo>
                    <a:pt x="1787" y="1029"/>
                  </a:lnTo>
                  <a:lnTo>
                    <a:pt x="1789" y="1029"/>
                  </a:lnTo>
                  <a:lnTo>
                    <a:pt x="1792" y="1032"/>
                  </a:lnTo>
                  <a:lnTo>
                    <a:pt x="1792" y="1034"/>
                  </a:lnTo>
                  <a:lnTo>
                    <a:pt x="1792" y="1037"/>
                  </a:lnTo>
                  <a:lnTo>
                    <a:pt x="1795" y="1037"/>
                  </a:lnTo>
                  <a:lnTo>
                    <a:pt x="1795" y="1037"/>
                  </a:lnTo>
                  <a:lnTo>
                    <a:pt x="1795" y="1037"/>
                  </a:lnTo>
                  <a:lnTo>
                    <a:pt x="1795" y="1040"/>
                  </a:lnTo>
                  <a:lnTo>
                    <a:pt x="1797" y="1040"/>
                  </a:lnTo>
                  <a:lnTo>
                    <a:pt x="1797" y="1042"/>
                  </a:lnTo>
                  <a:lnTo>
                    <a:pt x="1800" y="1042"/>
                  </a:lnTo>
                  <a:lnTo>
                    <a:pt x="1803" y="1042"/>
                  </a:lnTo>
                  <a:lnTo>
                    <a:pt x="1803" y="1042"/>
                  </a:lnTo>
                  <a:lnTo>
                    <a:pt x="1803" y="1048"/>
                  </a:lnTo>
                  <a:lnTo>
                    <a:pt x="1803" y="104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7" name="Freeform 8872">
              <a:extLst>
                <a:ext uri="{FF2B5EF4-FFF2-40B4-BE49-F238E27FC236}">
                  <a16:creationId xmlns:a16="http://schemas.microsoft.com/office/drawing/2014/main" id="{44ACD5BD-3AA6-B346-9FE1-50AE38739248}"/>
                </a:ext>
              </a:extLst>
            </p:cNvPr>
            <p:cNvSpPr/>
            <p:nvPr/>
          </p:nvSpPr>
          <p:spPr bwMode="auto">
            <a:xfrm>
              <a:off x="10038552" y="5295899"/>
              <a:ext cx="585788" cy="1149350"/>
            </a:xfrm>
            <a:custGeom>
              <a:avLst/>
              <a:gdLst>
                <a:gd name="T0" fmla="*/ 323 w 369"/>
                <a:gd name="T1" fmla="*/ 374 h 724"/>
                <a:gd name="T2" fmla="*/ 313 w 369"/>
                <a:gd name="T3" fmla="*/ 409 h 724"/>
                <a:gd name="T4" fmla="*/ 313 w 369"/>
                <a:gd name="T5" fmla="*/ 449 h 724"/>
                <a:gd name="T6" fmla="*/ 313 w 369"/>
                <a:gd name="T7" fmla="*/ 471 h 724"/>
                <a:gd name="T8" fmla="*/ 307 w 369"/>
                <a:gd name="T9" fmla="*/ 487 h 724"/>
                <a:gd name="T10" fmla="*/ 297 w 369"/>
                <a:gd name="T11" fmla="*/ 508 h 724"/>
                <a:gd name="T12" fmla="*/ 289 w 369"/>
                <a:gd name="T13" fmla="*/ 532 h 724"/>
                <a:gd name="T14" fmla="*/ 275 w 369"/>
                <a:gd name="T15" fmla="*/ 553 h 724"/>
                <a:gd name="T16" fmla="*/ 259 w 369"/>
                <a:gd name="T17" fmla="*/ 583 h 724"/>
                <a:gd name="T18" fmla="*/ 243 w 369"/>
                <a:gd name="T19" fmla="*/ 596 h 724"/>
                <a:gd name="T20" fmla="*/ 224 w 369"/>
                <a:gd name="T21" fmla="*/ 612 h 724"/>
                <a:gd name="T22" fmla="*/ 206 w 369"/>
                <a:gd name="T23" fmla="*/ 626 h 724"/>
                <a:gd name="T24" fmla="*/ 198 w 369"/>
                <a:gd name="T25" fmla="*/ 626 h 724"/>
                <a:gd name="T26" fmla="*/ 174 w 369"/>
                <a:gd name="T27" fmla="*/ 628 h 724"/>
                <a:gd name="T28" fmla="*/ 158 w 369"/>
                <a:gd name="T29" fmla="*/ 634 h 724"/>
                <a:gd name="T30" fmla="*/ 150 w 369"/>
                <a:gd name="T31" fmla="*/ 604 h 724"/>
                <a:gd name="T32" fmla="*/ 134 w 369"/>
                <a:gd name="T33" fmla="*/ 615 h 724"/>
                <a:gd name="T34" fmla="*/ 123 w 369"/>
                <a:gd name="T35" fmla="*/ 618 h 724"/>
                <a:gd name="T36" fmla="*/ 115 w 369"/>
                <a:gd name="T37" fmla="*/ 610 h 724"/>
                <a:gd name="T38" fmla="*/ 107 w 369"/>
                <a:gd name="T39" fmla="*/ 628 h 724"/>
                <a:gd name="T40" fmla="*/ 96 w 369"/>
                <a:gd name="T41" fmla="*/ 652 h 724"/>
                <a:gd name="T42" fmla="*/ 96 w 369"/>
                <a:gd name="T43" fmla="*/ 682 h 724"/>
                <a:gd name="T44" fmla="*/ 88 w 369"/>
                <a:gd name="T45" fmla="*/ 687 h 724"/>
                <a:gd name="T46" fmla="*/ 78 w 369"/>
                <a:gd name="T47" fmla="*/ 692 h 724"/>
                <a:gd name="T48" fmla="*/ 67 w 369"/>
                <a:gd name="T49" fmla="*/ 698 h 724"/>
                <a:gd name="T50" fmla="*/ 78 w 369"/>
                <a:gd name="T51" fmla="*/ 714 h 724"/>
                <a:gd name="T52" fmla="*/ 59 w 369"/>
                <a:gd name="T53" fmla="*/ 700 h 724"/>
                <a:gd name="T54" fmla="*/ 62 w 369"/>
                <a:gd name="T55" fmla="*/ 676 h 724"/>
                <a:gd name="T56" fmla="*/ 78 w 369"/>
                <a:gd name="T57" fmla="*/ 658 h 724"/>
                <a:gd name="T58" fmla="*/ 75 w 369"/>
                <a:gd name="T59" fmla="*/ 620 h 724"/>
                <a:gd name="T60" fmla="*/ 51 w 369"/>
                <a:gd name="T61" fmla="*/ 567 h 724"/>
                <a:gd name="T62" fmla="*/ 8 w 369"/>
                <a:gd name="T63" fmla="*/ 508 h 724"/>
                <a:gd name="T64" fmla="*/ 24 w 369"/>
                <a:gd name="T65" fmla="*/ 481 h 724"/>
                <a:gd name="T66" fmla="*/ 35 w 369"/>
                <a:gd name="T67" fmla="*/ 449 h 724"/>
                <a:gd name="T68" fmla="*/ 96 w 369"/>
                <a:gd name="T69" fmla="*/ 438 h 724"/>
                <a:gd name="T70" fmla="*/ 120 w 369"/>
                <a:gd name="T71" fmla="*/ 422 h 724"/>
                <a:gd name="T72" fmla="*/ 115 w 369"/>
                <a:gd name="T73" fmla="*/ 382 h 724"/>
                <a:gd name="T74" fmla="*/ 115 w 369"/>
                <a:gd name="T75" fmla="*/ 356 h 724"/>
                <a:gd name="T76" fmla="*/ 118 w 369"/>
                <a:gd name="T77" fmla="*/ 326 h 724"/>
                <a:gd name="T78" fmla="*/ 123 w 369"/>
                <a:gd name="T79" fmla="*/ 302 h 724"/>
                <a:gd name="T80" fmla="*/ 112 w 369"/>
                <a:gd name="T81" fmla="*/ 281 h 724"/>
                <a:gd name="T82" fmla="*/ 136 w 369"/>
                <a:gd name="T83" fmla="*/ 251 h 724"/>
                <a:gd name="T84" fmla="*/ 150 w 369"/>
                <a:gd name="T85" fmla="*/ 206 h 724"/>
                <a:gd name="T86" fmla="*/ 179 w 369"/>
                <a:gd name="T87" fmla="*/ 206 h 724"/>
                <a:gd name="T88" fmla="*/ 206 w 369"/>
                <a:gd name="T89" fmla="*/ 203 h 724"/>
                <a:gd name="T90" fmla="*/ 251 w 369"/>
                <a:gd name="T91" fmla="*/ 190 h 724"/>
                <a:gd name="T92" fmla="*/ 264 w 369"/>
                <a:gd name="T93" fmla="*/ 155 h 724"/>
                <a:gd name="T94" fmla="*/ 291 w 369"/>
                <a:gd name="T95" fmla="*/ 120 h 724"/>
                <a:gd name="T96" fmla="*/ 310 w 369"/>
                <a:gd name="T97" fmla="*/ 83 h 724"/>
                <a:gd name="T98" fmla="*/ 272 w 369"/>
                <a:gd name="T99" fmla="*/ 78 h 724"/>
                <a:gd name="T100" fmla="*/ 243 w 369"/>
                <a:gd name="T101" fmla="*/ 48 h 724"/>
                <a:gd name="T102" fmla="*/ 278 w 369"/>
                <a:gd name="T103" fmla="*/ 11 h 724"/>
                <a:gd name="T104" fmla="*/ 318 w 369"/>
                <a:gd name="T105" fmla="*/ 14 h 724"/>
                <a:gd name="T106" fmla="*/ 337 w 369"/>
                <a:gd name="T107" fmla="*/ 46 h 724"/>
                <a:gd name="T108" fmla="*/ 350 w 369"/>
                <a:gd name="T109" fmla="*/ 70 h 724"/>
                <a:gd name="T110" fmla="*/ 361 w 369"/>
                <a:gd name="T111" fmla="*/ 94 h 724"/>
                <a:gd name="T112" fmla="*/ 361 w 369"/>
                <a:gd name="T113" fmla="*/ 145 h 724"/>
                <a:gd name="T114" fmla="*/ 363 w 369"/>
                <a:gd name="T115" fmla="*/ 182 h 724"/>
                <a:gd name="T116" fmla="*/ 361 w 369"/>
                <a:gd name="T117" fmla="*/ 225 h 724"/>
                <a:gd name="T118" fmla="*/ 350 w 369"/>
                <a:gd name="T119" fmla="*/ 265 h 724"/>
                <a:gd name="T120" fmla="*/ 342 w 369"/>
                <a:gd name="T121" fmla="*/ 300 h 724"/>
                <a:gd name="T122" fmla="*/ 331 w 369"/>
                <a:gd name="T123" fmla="*/ 33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9" h="724" extrusionOk="0">
                  <a:moveTo>
                    <a:pt x="331" y="356"/>
                  </a:moveTo>
                  <a:lnTo>
                    <a:pt x="331" y="356"/>
                  </a:lnTo>
                  <a:lnTo>
                    <a:pt x="331" y="356"/>
                  </a:lnTo>
                  <a:lnTo>
                    <a:pt x="331" y="356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29" y="358"/>
                  </a:lnTo>
                  <a:lnTo>
                    <a:pt x="329" y="356"/>
                  </a:lnTo>
                  <a:lnTo>
                    <a:pt x="326" y="358"/>
                  </a:lnTo>
                  <a:lnTo>
                    <a:pt x="326" y="358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6" y="364"/>
                  </a:lnTo>
                  <a:lnTo>
                    <a:pt x="326" y="364"/>
                  </a:lnTo>
                  <a:lnTo>
                    <a:pt x="326" y="364"/>
                  </a:lnTo>
                  <a:lnTo>
                    <a:pt x="329" y="364"/>
                  </a:lnTo>
                  <a:lnTo>
                    <a:pt x="329" y="366"/>
                  </a:lnTo>
                  <a:lnTo>
                    <a:pt x="326" y="366"/>
                  </a:lnTo>
                  <a:lnTo>
                    <a:pt x="326" y="369"/>
                  </a:lnTo>
                  <a:lnTo>
                    <a:pt x="326" y="369"/>
                  </a:lnTo>
                  <a:lnTo>
                    <a:pt x="326" y="372"/>
                  </a:lnTo>
                  <a:lnTo>
                    <a:pt x="326" y="372"/>
                  </a:lnTo>
                  <a:lnTo>
                    <a:pt x="323" y="374"/>
                  </a:lnTo>
                  <a:lnTo>
                    <a:pt x="323" y="374"/>
                  </a:lnTo>
                  <a:lnTo>
                    <a:pt x="323" y="377"/>
                  </a:lnTo>
                  <a:lnTo>
                    <a:pt x="326" y="377"/>
                  </a:lnTo>
                  <a:lnTo>
                    <a:pt x="326" y="380"/>
                  </a:lnTo>
                  <a:lnTo>
                    <a:pt x="326" y="382"/>
                  </a:lnTo>
                  <a:lnTo>
                    <a:pt x="326" y="382"/>
                  </a:lnTo>
                  <a:lnTo>
                    <a:pt x="326" y="385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26" y="388"/>
                  </a:lnTo>
                  <a:lnTo>
                    <a:pt x="326" y="388"/>
                  </a:lnTo>
                  <a:lnTo>
                    <a:pt x="326" y="390"/>
                  </a:lnTo>
                  <a:lnTo>
                    <a:pt x="326" y="390"/>
                  </a:lnTo>
                  <a:lnTo>
                    <a:pt x="323" y="393"/>
                  </a:lnTo>
                  <a:lnTo>
                    <a:pt x="323" y="396"/>
                  </a:lnTo>
                  <a:lnTo>
                    <a:pt x="323" y="396"/>
                  </a:lnTo>
                  <a:lnTo>
                    <a:pt x="321" y="396"/>
                  </a:lnTo>
                  <a:lnTo>
                    <a:pt x="321" y="398"/>
                  </a:lnTo>
                  <a:lnTo>
                    <a:pt x="318" y="398"/>
                  </a:lnTo>
                  <a:lnTo>
                    <a:pt x="318" y="401"/>
                  </a:lnTo>
                  <a:lnTo>
                    <a:pt x="315" y="401"/>
                  </a:lnTo>
                  <a:lnTo>
                    <a:pt x="315" y="404"/>
                  </a:lnTo>
                  <a:lnTo>
                    <a:pt x="315" y="404"/>
                  </a:lnTo>
                  <a:lnTo>
                    <a:pt x="313" y="406"/>
                  </a:lnTo>
                  <a:lnTo>
                    <a:pt x="313" y="409"/>
                  </a:lnTo>
                  <a:lnTo>
                    <a:pt x="313" y="409"/>
                  </a:lnTo>
                  <a:lnTo>
                    <a:pt x="313" y="409"/>
                  </a:lnTo>
                  <a:lnTo>
                    <a:pt x="315" y="412"/>
                  </a:lnTo>
                  <a:lnTo>
                    <a:pt x="315" y="414"/>
                  </a:lnTo>
                  <a:lnTo>
                    <a:pt x="315" y="414"/>
                  </a:lnTo>
                  <a:lnTo>
                    <a:pt x="315" y="417"/>
                  </a:lnTo>
                  <a:lnTo>
                    <a:pt x="315" y="417"/>
                  </a:lnTo>
                  <a:lnTo>
                    <a:pt x="315" y="420"/>
                  </a:lnTo>
                  <a:lnTo>
                    <a:pt x="313" y="420"/>
                  </a:lnTo>
                  <a:lnTo>
                    <a:pt x="313" y="422"/>
                  </a:lnTo>
                  <a:lnTo>
                    <a:pt x="313" y="425"/>
                  </a:lnTo>
                  <a:lnTo>
                    <a:pt x="313" y="425"/>
                  </a:lnTo>
                  <a:lnTo>
                    <a:pt x="310" y="428"/>
                  </a:lnTo>
                  <a:lnTo>
                    <a:pt x="310" y="428"/>
                  </a:lnTo>
                  <a:lnTo>
                    <a:pt x="310" y="430"/>
                  </a:lnTo>
                  <a:lnTo>
                    <a:pt x="310" y="433"/>
                  </a:lnTo>
                  <a:lnTo>
                    <a:pt x="313" y="433"/>
                  </a:lnTo>
                  <a:lnTo>
                    <a:pt x="313" y="436"/>
                  </a:lnTo>
                  <a:lnTo>
                    <a:pt x="313" y="436"/>
                  </a:lnTo>
                  <a:lnTo>
                    <a:pt x="313" y="438"/>
                  </a:lnTo>
                  <a:lnTo>
                    <a:pt x="315" y="441"/>
                  </a:lnTo>
                  <a:lnTo>
                    <a:pt x="315" y="441"/>
                  </a:lnTo>
                  <a:lnTo>
                    <a:pt x="315" y="441"/>
                  </a:lnTo>
                  <a:lnTo>
                    <a:pt x="313" y="441"/>
                  </a:lnTo>
                  <a:lnTo>
                    <a:pt x="313" y="444"/>
                  </a:lnTo>
                  <a:lnTo>
                    <a:pt x="313" y="444"/>
                  </a:lnTo>
                  <a:lnTo>
                    <a:pt x="313" y="447"/>
                  </a:lnTo>
                  <a:lnTo>
                    <a:pt x="313" y="449"/>
                  </a:lnTo>
                  <a:lnTo>
                    <a:pt x="313" y="452"/>
                  </a:lnTo>
                  <a:lnTo>
                    <a:pt x="313" y="452"/>
                  </a:lnTo>
                  <a:lnTo>
                    <a:pt x="313" y="452"/>
                  </a:lnTo>
                  <a:lnTo>
                    <a:pt x="310" y="455"/>
                  </a:lnTo>
                  <a:lnTo>
                    <a:pt x="310" y="452"/>
                  </a:lnTo>
                  <a:lnTo>
                    <a:pt x="310" y="455"/>
                  </a:lnTo>
                  <a:lnTo>
                    <a:pt x="310" y="455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0" y="457"/>
                  </a:lnTo>
                  <a:lnTo>
                    <a:pt x="313" y="460"/>
                  </a:lnTo>
                  <a:lnTo>
                    <a:pt x="313" y="460"/>
                  </a:lnTo>
                  <a:lnTo>
                    <a:pt x="313" y="457"/>
                  </a:lnTo>
                  <a:lnTo>
                    <a:pt x="313" y="457"/>
                  </a:lnTo>
                  <a:lnTo>
                    <a:pt x="315" y="457"/>
                  </a:lnTo>
                  <a:lnTo>
                    <a:pt x="315" y="460"/>
                  </a:lnTo>
                  <a:lnTo>
                    <a:pt x="315" y="460"/>
                  </a:lnTo>
                  <a:lnTo>
                    <a:pt x="315" y="460"/>
                  </a:lnTo>
                  <a:lnTo>
                    <a:pt x="315" y="463"/>
                  </a:lnTo>
                  <a:lnTo>
                    <a:pt x="315" y="465"/>
                  </a:lnTo>
                  <a:lnTo>
                    <a:pt x="313" y="465"/>
                  </a:lnTo>
                  <a:lnTo>
                    <a:pt x="313" y="468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1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6"/>
                  </a:lnTo>
                  <a:lnTo>
                    <a:pt x="310" y="479"/>
                  </a:lnTo>
                  <a:lnTo>
                    <a:pt x="310" y="479"/>
                  </a:lnTo>
                  <a:lnTo>
                    <a:pt x="307" y="479"/>
                  </a:lnTo>
                  <a:lnTo>
                    <a:pt x="307" y="479"/>
                  </a:lnTo>
                  <a:lnTo>
                    <a:pt x="307" y="476"/>
                  </a:lnTo>
                  <a:lnTo>
                    <a:pt x="305" y="476"/>
                  </a:lnTo>
                  <a:lnTo>
                    <a:pt x="305" y="479"/>
                  </a:lnTo>
                  <a:lnTo>
                    <a:pt x="305" y="479"/>
                  </a:lnTo>
                  <a:lnTo>
                    <a:pt x="302" y="479"/>
                  </a:lnTo>
                  <a:lnTo>
                    <a:pt x="302" y="479"/>
                  </a:lnTo>
                  <a:lnTo>
                    <a:pt x="305" y="481"/>
                  </a:lnTo>
                  <a:lnTo>
                    <a:pt x="305" y="481"/>
                  </a:lnTo>
                  <a:lnTo>
                    <a:pt x="305" y="481"/>
                  </a:lnTo>
                  <a:lnTo>
                    <a:pt x="305" y="484"/>
                  </a:lnTo>
                  <a:lnTo>
                    <a:pt x="305" y="484"/>
                  </a:lnTo>
                  <a:lnTo>
                    <a:pt x="305" y="484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5" y="487"/>
                  </a:lnTo>
                  <a:lnTo>
                    <a:pt x="305" y="487"/>
                  </a:lnTo>
                  <a:lnTo>
                    <a:pt x="305" y="489"/>
                  </a:lnTo>
                  <a:lnTo>
                    <a:pt x="307" y="489"/>
                  </a:lnTo>
                  <a:lnTo>
                    <a:pt x="307" y="489"/>
                  </a:lnTo>
                  <a:lnTo>
                    <a:pt x="307" y="492"/>
                  </a:lnTo>
                  <a:lnTo>
                    <a:pt x="307" y="492"/>
                  </a:lnTo>
                  <a:lnTo>
                    <a:pt x="307" y="495"/>
                  </a:lnTo>
                  <a:lnTo>
                    <a:pt x="305" y="497"/>
                  </a:lnTo>
                  <a:lnTo>
                    <a:pt x="307" y="497"/>
                  </a:lnTo>
                  <a:lnTo>
                    <a:pt x="307" y="497"/>
                  </a:lnTo>
                  <a:lnTo>
                    <a:pt x="307" y="500"/>
                  </a:lnTo>
                  <a:lnTo>
                    <a:pt x="307" y="500"/>
                  </a:lnTo>
                  <a:lnTo>
                    <a:pt x="305" y="500"/>
                  </a:lnTo>
                  <a:lnTo>
                    <a:pt x="305" y="500"/>
                  </a:lnTo>
                  <a:lnTo>
                    <a:pt x="302" y="503"/>
                  </a:lnTo>
                  <a:lnTo>
                    <a:pt x="302" y="503"/>
                  </a:lnTo>
                  <a:lnTo>
                    <a:pt x="302" y="505"/>
                  </a:lnTo>
                  <a:lnTo>
                    <a:pt x="302" y="505"/>
                  </a:lnTo>
                  <a:lnTo>
                    <a:pt x="299" y="508"/>
                  </a:lnTo>
                  <a:lnTo>
                    <a:pt x="299" y="508"/>
                  </a:lnTo>
                  <a:lnTo>
                    <a:pt x="299" y="508"/>
                  </a:lnTo>
                  <a:lnTo>
                    <a:pt x="297" y="508"/>
                  </a:lnTo>
                  <a:lnTo>
                    <a:pt x="297" y="508"/>
                  </a:lnTo>
                  <a:lnTo>
                    <a:pt x="299" y="511"/>
                  </a:lnTo>
                  <a:lnTo>
                    <a:pt x="297" y="511"/>
                  </a:lnTo>
                  <a:lnTo>
                    <a:pt x="297" y="513"/>
                  </a:lnTo>
                  <a:lnTo>
                    <a:pt x="297" y="513"/>
                  </a:lnTo>
                  <a:lnTo>
                    <a:pt x="294" y="516"/>
                  </a:lnTo>
                  <a:lnTo>
                    <a:pt x="294" y="516"/>
                  </a:lnTo>
                  <a:lnTo>
                    <a:pt x="294" y="519"/>
                  </a:lnTo>
                  <a:lnTo>
                    <a:pt x="294" y="519"/>
                  </a:lnTo>
                  <a:lnTo>
                    <a:pt x="294" y="521"/>
                  </a:lnTo>
                  <a:lnTo>
                    <a:pt x="294" y="521"/>
                  </a:lnTo>
                  <a:lnTo>
                    <a:pt x="294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1"/>
                  </a:lnTo>
                  <a:lnTo>
                    <a:pt x="291" y="524"/>
                  </a:lnTo>
                  <a:lnTo>
                    <a:pt x="291" y="524"/>
                  </a:lnTo>
                  <a:lnTo>
                    <a:pt x="291" y="524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89" y="529"/>
                  </a:lnTo>
                  <a:lnTo>
                    <a:pt x="289" y="529"/>
                  </a:lnTo>
                  <a:lnTo>
                    <a:pt x="289" y="529"/>
                  </a:lnTo>
                  <a:lnTo>
                    <a:pt x="289" y="532"/>
                  </a:lnTo>
                  <a:lnTo>
                    <a:pt x="289" y="532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5"/>
                  </a:lnTo>
                  <a:lnTo>
                    <a:pt x="286" y="537"/>
                  </a:lnTo>
                  <a:lnTo>
                    <a:pt x="286" y="537"/>
                  </a:lnTo>
                  <a:lnTo>
                    <a:pt x="286" y="537"/>
                  </a:lnTo>
                  <a:lnTo>
                    <a:pt x="283" y="537"/>
                  </a:lnTo>
                  <a:lnTo>
                    <a:pt x="283" y="540"/>
                  </a:lnTo>
                  <a:lnTo>
                    <a:pt x="283" y="540"/>
                  </a:lnTo>
                  <a:lnTo>
                    <a:pt x="281" y="543"/>
                  </a:lnTo>
                  <a:lnTo>
                    <a:pt x="281" y="543"/>
                  </a:lnTo>
                  <a:lnTo>
                    <a:pt x="281" y="543"/>
                  </a:lnTo>
                  <a:lnTo>
                    <a:pt x="281" y="545"/>
                  </a:lnTo>
                  <a:lnTo>
                    <a:pt x="281" y="545"/>
                  </a:lnTo>
                  <a:lnTo>
                    <a:pt x="278" y="545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48"/>
                  </a:lnTo>
                  <a:lnTo>
                    <a:pt x="278" y="551"/>
                  </a:lnTo>
                  <a:lnTo>
                    <a:pt x="278" y="551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5" y="553"/>
                  </a:lnTo>
                  <a:lnTo>
                    <a:pt x="272" y="556"/>
                  </a:lnTo>
                  <a:lnTo>
                    <a:pt x="272" y="553"/>
                  </a:lnTo>
                  <a:lnTo>
                    <a:pt x="272" y="556"/>
                  </a:lnTo>
                  <a:lnTo>
                    <a:pt x="272" y="556"/>
                  </a:lnTo>
                  <a:lnTo>
                    <a:pt x="272" y="556"/>
                  </a:lnTo>
                  <a:lnTo>
                    <a:pt x="272" y="559"/>
                  </a:lnTo>
                  <a:lnTo>
                    <a:pt x="270" y="559"/>
                  </a:lnTo>
                  <a:lnTo>
                    <a:pt x="270" y="559"/>
                  </a:lnTo>
                  <a:lnTo>
                    <a:pt x="267" y="559"/>
                  </a:lnTo>
                  <a:lnTo>
                    <a:pt x="267" y="561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7" y="567"/>
                  </a:lnTo>
                  <a:lnTo>
                    <a:pt x="267" y="567"/>
                  </a:lnTo>
                  <a:lnTo>
                    <a:pt x="264" y="569"/>
                  </a:lnTo>
                  <a:lnTo>
                    <a:pt x="264" y="569"/>
                  </a:lnTo>
                  <a:lnTo>
                    <a:pt x="264" y="572"/>
                  </a:lnTo>
                  <a:lnTo>
                    <a:pt x="264" y="572"/>
                  </a:lnTo>
                  <a:lnTo>
                    <a:pt x="264" y="575"/>
                  </a:lnTo>
                  <a:lnTo>
                    <a:pt x="262" y="575"/>
                  </a:lnTo>
                  <a:lnTo>
                    <a:pt x="262" y="577"/>
                  </a:lnTo>
                  <a:lnTo>
                    <a:pt x="262" y="577"/>
                  </a:lnTo>
                  <a:lnTo>
                    <a:pt x="259" y="577"/>
                  </a:lnTo>
                  <a:lnTo>
                    <a:pt x="259" y="580"/>
                  </a:lnTo>
                  <a:lnTo>
                    <a:pt x="259" y="580"/>
                  </a:lnTo>
                  <a:lnTo>
                    <a:pt x="259" y="583"/>
                  </a:lnTo>
                  <a:lnTo>
                    <a:pt x="259" y="583"/>
                  </a:lnTo>
                  <a:lnTo>
                    <a:pt x="259" y="585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8"/>
                  </a:lnTo>
                  <a:lnTo>
                    <a:pt x="256" y="585"/>
                  </a:lnTo>
                  <a:lnTo>
                    <a:pt x="256" y="585"/>
                  </a:lnTo>
                  <a:lnTo>
                    <a:pt x="254" y="585"/>
                  </a:lnTo>
                  <a:lnTo>
                    <a:pt x="254" y="585"/>
                  </a:lnTo>
                  <a:lnTo>
                    <a:pt x="254" y="585"/>
                  </a:lnTo>
                  <a:lnTo>
                    <a:pt x="251" y="588"/>
                  </a:lnTo>
                  <a:lnTo>
                    <a:pt x="251" y="588"/>
                  </a:lnTo>
                  <a:lnTo>
                    <a:pt x="251" y="588"/>
                  </a:lnTo>
                  <a:lnTo>
                    <a:pt x="248" y="591"/>
                  </a:lnTo>
                  <a:lnTo>
                    <a:pt x="248" y="591"/>
                  </a:lnTo>
                  <a:lnTo>
                    <a:pt x="248" y="593"/>
                  </a:lnTo>
                  <a:lnTo>
                    <a:pt x="248" y="596"/>
                  </a:lnTo>
                  <a:lnTo>
                    <a:pt x="248" y="596"/>
                  </a:lnTo>
                  <a:lnTo>
                    <a:pt x="248" y="599"/>
                  </a:lnTo>
                  <a:lnTo>
                    <a:pt x="248" y="599"/>
                  </a:lnTo>
                  <a:lnTo>
                    <a:pt x="246" y="599"/>
                  </a:lnTo>
                  <a:lnTo>
                    <a:pt x="246" y="596"/>
                  </a:lnTo>
                  <a:lnTo>
                    <a:pt x="243" y="596"/>
                  </a:lnTo>
                  <a:lnTo>
                    <a:pt x="243" y="596"/>
                  </a:lnTo>
                  <a:lnTo>
                    <a:pt x="240" y="596"/>
                  </a:lnTo>
                  <a:lnTo>
                    <a:pt x="240" y="596"/>
                  </a:lnTo>
                  <a:lnTo>
                    <a:pt x="240" y="596"/>
                  </a:lnTo>
                  <a:lnTo>
                    <a:pt x="238" y="596"/>
                  </a:lnTo>
                  <a:lnTo>
                    <a:pt x="238" y="599"/>
                  </a:lnTo>
                  <a:lnTo>
                    <a:pt x="238" y="601"/>
                  </a:lnTo>
                  <a:lnTo>
                    <a:pt x="238" y="601"/>
                  </a:lnTo>
                  <a:lnTo>
                    <a:pt x="235" y="601"/>
                  </a:lnTo>
                  <a:lnTo>
                    <a:pt x="235" y="601"/>
                  </a:lnTo>
                  <a:lnTo>
                    <a:pt x="235" y="601"/>
                  </a:lnTo>
                  <a:lnTo>
                    <a:pt x="232" y="604"/>
                  </a:lnTo>
                  <a:lnTo>
                    <a:pt x="232" y="604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2" y="607"/>
                  </a:lnTo>
                  <a:lnTo>
                    <a:pt x="230" y="607"/>
                  </a:lnTo>
                  <a:lnTo>
                    <a:pt x="230" y="610"/>
                  </a:lnTo>
                  <a:lnTo>
                    <a:pt x="230" y="610"/>
                  </a:lnTo>
                  <a:lnTo>
                    <a:pt x="230" y="612"/>
                  </a:lnTo>
                  <a:lnTo>
                    <a:pt x="230" y="612"/>
                  </a:lnTo>
                  <a:lnTo>
                    <a:pt x="227" y="612"/>
                  </a:lnTo>
                  <a:lnTo>
                    <a:pt x="227" y="612"/>
                  </a:lnTo>
                  <a:lnTo>
                    <a:pt x="227" y="612"/>
                  </a:lnTo>
                  <a:lnTo>
                    <a:pt x="224" y="612"/>
                  </a:lnTo>
                  <a:lnTo>
                    <a:pt x="224" y="612"/>
                  </a:lnTo>
                  <a:lnTo>
                    <a:pt x="222" y="615"/>
                  </a:lnTo>
                  <a:lnTo>
                    <a:pt x="222" y="615"/>
                  </a:lnTo>
                  <a:lnTo>
                    <a:pt x="222" y="615"/>
                  </a:lnTo>
                  <a:lnTo>
                    <a:pt x="222" y="618"/>
                  </a:lnTo>
                  <a:lnTo>
                    <a:pt x="222" y="618"/>
                  </a:lnTo>
                  <a:lnTo>
                    <a:pt x="222" y="618"/>
                  </a:lnTo>
                  <a:lnTo>
                    <a:pt x="219" y="618"/>
                  </a:lnTo>
                  <a:lnTo>
                    <a:pt x="219" y="618"/>
                  </a:lnTo>
                  <a:lnTo>
                    <a:pt x="219" y="618"/>
                  </a:lnTo>
                  <a:lnTo>
                    <a:pt x="219" y="620"/>
                  </a:lnTo>
                  <a:lnTo>
                    <a:pt x="219" y="620"/>
                  </a:lnTo>
                  <a:lnTo>
                    <a:pt x="219" y="623"/>
                  </a:lnTo>
                  <a:lnTo>
                    <a:pt x="219" y="623"/>
                  </a:lnTo>
                  <a:lnTo>
                    <a:pt x="216" y="626"/>
                  </a:lnTo>
                  <a:lnTo>
                    <a:pt x="216" y="626"/>
                  </a:lnTo>
                  <a:lnTo>
                    <a:pt x="216" y="626"/>
                  </a:lnTo>
                  <a:lnTo>
                    <a:pt x="214" y="626"/>
                  </a:lnTo>
                  <a:lnTo>
                    <a:pt x="214" y="628"/>
                  </a:lnTo>
                  <a:lnTo>
                    <a:pt x="211" y="628"/>
                  </a:lnTo>
                  <a:lnTo>
                    <a:pt x="211" y="628"/>
                  </a:lnTo>
                  <a:lnTo>
                    <a:pt x="208" y="631"/>
                  </a:lnTo>
                  <a:lnTo>
                    <a:pt x="208" y="628"/>
                  </a:lnTo>
                  <a:lnTo>
                    <a:pt x="208" y="628"/>
                  </a:lnTo>
                  <a:lnTo>
                    <a:pt x="208" y="628"/>
                  </a:lnTo>
                  <a:lnTo>
                    <a:pt x="206" y="628"/>
                  </a:lnTo>
                  <a:lnTo>
                    <a:pt x="206" y="626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11" y="623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08" y="623"/>
                  </a:lnTo>
                  <a:lnTo>
                    <a:pt x="206" y="623"/>
                  </a:lnTo>
                  <a:lnTo>
                    <a:pt x="206" y="620"/>
                  </a:lnTo>
                  <a:lnTo>
                    <a:pt x="206" y="620"/>
                  </a:lnTo>
                  <a:lnTo>
                    <a:pt x="203" y="620"/>
                  </a:lnTo>
                  <a:lnTo>
                    <a:pt x="203" y="620"/>
                  </a:lnTo>
                  <a:lnTo>
                    <a:pt x="203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198" y="618"/>
                  </a:lnTo>
                  <a:lnTo>
                    <a:pt x="198" y="620"/>
                  </a:lnTo>
                  <a:lnTo>
                    <a:pt x="198" y="620"/>
                  </a:lnTo>
                  <a:lnTo>
                    <a:pt x="195" y="620"/>
                  </a:lnTo>
                  <a:lnTo>
                    <a:pt x="195" y="623"/>
                  </a:lnTo>
                  <a:lnTo>
                    <a:pt x="195" y="626"/>
                  </a:lnTo>
                  <a:lnTo>
                    <a:pt x="198" y="623"/>
                  </a:lnTo>
                  <a:lnTo>
                    <a:pt x="198" y="623"/>
                  </a:lnTo>
                  <a:lnTo>
                    <a:pt x="198" y="626"/>
                  </a:lnTo>
                  <a:lnTo>
                    <a:pt x="198" y="626"/>
                  </a:lnTo>
                  <a:lnTo>
                    <a:pt x="198" y="628"/>
                  </a:lnTo>
                  <a:lnTo>
                    <a:pt x="198" y="628"/>
                  </a:lnTo>
                  <a:lnTo>
                    <a:pt x="195" y="631"/>
                  </a:lnTo>
                  <a:lnTo>
                    <a:pt x="195" y="628"/>
                  </a:lnTo>
                  <a:lnTo>
                    <a:pt x="192" y="628"/>
                  </a:lnTo>
                  <a:lnTo>
                    <a:pt x="192" y="628"/>
                  </a:lnTo>
                  <a:lnTo>
                    <a:pt x="190" y="626"/>
                  </a:lnTo>
                  <a:lnTo>
                    <a:pt x="190" y="626"/>
                  </a:lnTo>
                  <a:lnTo>
                    <a:pt x="187" y="623"/>
                  </a:lnTo>
                  <a:lnTo>
                    <a:pt x="187" y="623"/>
                  </a:lnTo>
                  <a:lnTo>
                    <a:pt x="187" y="620"/>
                  </a:lnTo>
                  <a:lnTo>
                    <a:pt x="187" y="620"/>
                  </a:lnTo>
                  <a:lnTo>
                    <a:pt x="184" y="620"/>
                  </a:lnTo>
                  <a:lnTo>
                    <a:pt x="182" y="620"/>
                  </a:lnTo>
                  <a:lnTo>
                    <a:pt x="182" y="620"/>
                  </a:lnTo>
                  <a:lnTo>
                    <a:pt x="182" y="623"/>
                  </a:lnTo>
                  <a:lnTo>
                    <a:pt x="182" y="623"/>
                  </a:lnTo>
                  <a:lnTo>
                    <a:pt x="182" y="626"/>
                  </a:lnTo>
                  <a:lnTo>
                    <a:pt x="179" y="626"/>
                  </a:lnTo>
                  <a:lnTo>
                    <a:pt x="179" y="626"/>
                  </a:lnTo>
                  <a:lnTo>
                    <a:pt x="179" y="626"/>
                  </a:lnTo>
                  <a:lnTo>
                    <a:pt x="176" y="626"/>
                  </a:lnTo>
                  <a:lnTo>
                    <a:pt x="176" y="626"/>
                  </a:lnTo>
                  <a:lnTo>
                    <a:pt x="176" y="628"/>
                  </a:lnTo>
                  <a:lnTo>
                    <a:pt x="176" y="628"/>
                  </a:lnTo>
                  <a:lnTo>
                    <a:pt x="174" y="628"/>
                  </a:lnTo>
                  <a:lnTo>
                    <a:pt x="174" y="628"/>
                  </a:lnTo>
                  <a:lnTo>
                    <a:pt x="174" y="628"/>
                  </a:lnTo>
                  <a:lnTo>
                    <a:pt x="171" y="628"/>
                  </a:lnTo>
                  <a:lnTo>
                    <a:pt x="171" y="628"/>
                  </a:lnTo>
                  <a:lnTo>
                    <a:pt x="171" y="628"/>
                  </a:lnTo>
                  <a:lnTo>
                    <a:pt x="168" y="626"/>
                  </a:lnTo>
                  <a:lnTo>
                    <a:pt x="168" y="626"/>
                  </a:lnTo>
                  <a:lnTo>
                    <a:pt x="168" y="626"/>
                  </a:lnTo>
                  <a:lnTo>
                    <a:pt x="166" y="626"/>
                  </a:lnTo>
                  <a:lnTo>
                    <a:pt x="163" y="626"/>
                  </a:lnTo>
                  <a:lnTo>
                    <a:pt x="163" y="626"/>
                  </a:lnTo>
                  <a:lnTo>
                    <a:pt x="160" y="626"/>
                  </a:lnTo>
                  <a:lnTo>
                    <a:pt x="160" y="628"/>
                  </a:lnTo>
                  <a:lnTo>
                    <a:pt x="160" y="628"/>
                  </a:lnTo>
                  <a:lnTo>
                    <a:pt x="160" y="628"/>
                  </a:lnTo>
                  <a:lnTo>
                    <a:pt x="158" y="628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0" y="634"/>
                  </a:lnTo>
                  <a:lnTo>
                    <a:pt x="163" y="634"/>
                  </a:lnTo>
                  <a:lnTo>
                    <a:pt x="160" y="634"/>
                  </a:lnTo>
                  <a:lnTo>
                    <a:pt x="160" y="634"/>
                  </a:lnTo>
                  <a:lnTo>
                    <a:pt x="160" y="636"/>
                  </a:lnTo>
                  <a:lnTo>
                    <a:pt x="160" y="634"/>
                  </a:lnTo>
                  <a:lnTo>
                    <a:pt x="158" y="634"/>
                  </a:lnTo>
                  <a:lnTo>
                    <a:pt x="158" y="634"/>
                  </a:lnTo>
                  <a:lnTo>
                    <a:pt x="158" y="631"/>
                  </a:lnTo>
                  <a:lnTo>
                    <a:pt x="155" y="631"/>
                  </a:lnTo>
                  <a:lnTo>
                    <a:pt x="155" y="628"/>
                  </a:lnTo>
                  <a:lnTo>
                    <a:pt x="155" y="626"/>
                  </a:lnTo>
                  <a:lnTo>
                    <a:pt x="155" y="626"/>
                  </a:lnTo>
                  <a:lnTo>
                    <a:pt x="155" y="626"/>
                  </a:lnTo>
                  <a:lnTo>
                    <a:pt x="152" y="626"/>
                  </a:lnTo>
                  <a:lnTo>
                    <a:pt x="152" y="623"/>
                  </a:lnTo>
                  <a:lnTo>
                    <a:pt x="152" y="623"/>
                  </a:lnTo>
                  <a:lnTo>
                    <a:pt x="152" y="620"/>
                  </a:lnTo>
                  <a:lnTo>
                    <a:pt x="152" y="620"/>
                  </a:lnTo>
                  <a:lnTo>
                    <a:pt x="150" y="618"/>
                  </a:lnTo>
                  <a:lnTo>
                    <a:pt x="150" y="618"/>
                  </a:lnTo>
                  <a:lnTo>
                    <a:pt x="150" y="612"/>
                  </a:lnTo>
                  <a:lnTo>
                    <a:pt x="150" y="612"/>
                  </a:lnTo>
                  <a:lnTo>
                    <a:pt x="150" y="612"/>
                  </a:lnTo>
                  <a:lnTo>
                    <a:pt x="150" y="610"/>
                  </a:lnTo>
                  <a:lnTo>
                    <a:pt x="150" y="610"/>
                  </a:lnTo>
                  <a:lnTo>
                    <a:pt x="150" y="607"/>
                  </a:lnTo>
                  <a:lnTo>
                    <a:pt x="150" y="607"/>
                  </a:lnTo>
                  <a:lnTo>
                    <a:pt x="150" y="607"/>
                  </a:lnTo>
                  <a:lnTo>
                    <a:pt x="152" y="604"/>
                  </a:lnTo>
                  <a:lnTo>
                    <a:pt x="152" y="604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4"/>
                  </a:lnTo>
                  <a:lnTo>
                    <a:pt x="144" y="601"/>
                  </a:lnTo>
                  <a:lnTo>
                    <a:pt x="144" y="599"/>
                  </a:lnTo>
                  <a:lnTo>
                    <a:pt x="144" y="596"/>
                  </a:lnTo>
                  <a:lnTo>
                    <a:pt x="144" y="596"/>
                  </a:lnTo>
                  <a:lnTo>
                    <a:pt x="142" y="596"/>
                  </a:lnTo>
                  <a:lnTo>
                    <a:pt x="142" y="596"/>
                  </a:lnTo>
                  <a:lnTo>
                    <a:pt x="142" y="596"/>
                  </a:lnTo>
                  <a:lnTo>
                    <a:pt x="142" y="599"/>
                  </a:lnTo>
                  <a:lnTo>
                    <a:pt x="142" y="599"/>
                  </a:lnTo>
                  <a:lnTo>
                    <a:pt x="142" y="601"/>
                  </a:lnTo>
                  <a:lnTo>
                    <a:pt x="139" y="604"/>
                  </a:lnTo>
                  <a:lnTo>
                    <a:pt x="139" y="604"/>
                  </a:lnTo>
                  <a:lnTo>
                    <a:pt x="139" y="607"/>
                  </a:lnTo>
                  <a:lnTo>
                    <a:pt x="139" y="607"/>
                  </a:lnTo>
                  <a:lnTo>
                    <a:pt x="136" y="610"/>
                  </a:lnTo>
                  <a:lnTo>
                    <a:pt x="136" y="610"/>
                  </a:lnTo>
                  <a:lnTo>
                    <a:pt x="136" y="610"/>
                  </a:lnTo>
                  <a:lnTo>
                    <a:pt x="136" y="612"/>
                  </a:lnTo>
                  <a:lnTo>
                    <a:pt x="134" y="612"/>
                  </a:lnTo>
                  <a:lnTo>
                    <a:pt x="134" y="612"/>
                  </a:lnTo>
                  <a:lnTo>
                    <a:pt x="134" y="615"/>
                  </a:lnTo>
                  <a:lnTo>
                    <a:pt x="134" y="615"/>
                  </a:lnTo>
                  <a:lnTo>
                    <a:pt x="134" y="615"/>
                  </a:lnTo>
                  <a:lnTo>
                    <a:pt x="134" y="618"/>
                  </a:lnTo>
                  <a:lnTo>
                    <a:pt x="131" y="618"/>
                  </a:lnTo>
                  <a:lnTo>
                    <a:pt x="131" y="620"/>
                  </a:lnTo>
                  <a:lnTo>
                    <a:pt x="131" y="620"/>
                  </a:lnTo>
                  <a:lnTo>
                    <a:pt x="131" y="623"/>
                  </a:lnTo>
                  <a:lnTo>
                    <a:pt x="131" y="623"/>
                  </a:lnTo>
                  <a:lnTo>
                    <a:pt x="131" y="623"/>
                  </a:lnTo>
                  <a:lnTo>
                    <a:pt x="131" y="626"/>
                  </a:lnTo>
                  <a:lnTo>
                    <a:pt x="131" y="628"/>
                  </a:lnTo>
                  <a:lnTo>
                    <a:pt x="131" y="628"/>
                  </a:lnTo>
                  <a:lnTo>
                    <a:pt x="131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8" y="628"/>
                  </a:lnTo>
                  <a:lnTo>
                    <a:pt x="126" y="628"/>
                  </a:lnTo>
                  <a:lnTo>
                    <a:pt x="126" y="626"/>
                  </a:lnTo>
                  <a:lnTo>
                    <a:pt x="123" y="626"/>
                  </a:lnTo>
                  <a:lnTo>
                    <a:pt x="123" y="628"/>
                  </a:lnTo>
                  <a:lnTo>
                    <a:pt x="123" y="626"/>
                  </a:lnTo>
                  <a:lnTo>
                    <a:pt x="123" y="626"/>
                  </a:lnTo>
                  <a:lnTo>
                    <a:pt x="123" y="626"/>
                  </a:lnTo>
                  <a:lnTo>
                    <a:pt x="123" y="623"/>
                  </a:lnTo>
                  <a:lnTo>
                    <a:pt x="123" y="620"/>
                  </a:lnTo>
                  <a:lnTo>
                    <a:pt x="123" y="618"/>
                  </a:lnTo>
                  <a:lnTo>
                    <a:pt x="123" y="615"/>
                  </a:lnTo>
                  <a:lnTo>
                    <a:pt x="123" y="612"/>
                  </a:lnTo>
                  <a:lnTo>
                    <a:pt x="123" y="612"/>
                  </a:lnTo>
                  <a:lnTo>
                    <a:pt x="126" y="610"/>
                  </a:lnTo>
                  <a:lnTo>
                    <a:pt x="126" y="610"/>
                  </a:lnTo>
                  <a:lnTo>
                    <a:pt x="126" y="607"/>
                  </a:lnTo>
                  <a:lnTo>
                    <a:pt x="126" y="607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6" y="604"/>
                  </a:lnTo>
                  <a:lnTo>
                    <a:pt x="123" y="604"/>
                  </a:lnTo>
                  <a:lnTo>
                    <a:pt x="123" y="604"/>
                  </a:lnTo>
                  <a:lnTo>
                    <a:pt x="123" y="607"/>
                  </a:lnTo>
                  <a:lnTo>
                    <a:pt x="123" y="607"/>
                  </a:lnTo>
                  <a:lnTo>
                    <a:pt x="123" y="610"/>
                  </a:lnTo>
                  <a:lnTo>
                    <a:pt x="123" y="610"/>
                  </a:lnTo>
                  <a:lnTo>
                    <a:pt x="123" y="610"/>
                  </a:lnTo>
                  <a:lnTo>
                    <a:pt x="123" y="607"/>
                  </a:lnTo>
                  <a:lnTo>
                    <a:pt x="120" y="607"/>
                  </a:lnTo>
                  <a:lnTo>
                    <a:pt x="120" y="607"/>
                  </a:lnTo>
                  <a:lnTo>
                    <a:pt x="120" y="607"/>
                  </a:lnTo>
                  <a:lnTo>
                    <a:pt x="118" y="607"/>
                  </a:lnTo>
                  <a:lnTo>
                    <a:pt x="118" y="607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5" y="610"/>
                  </a:lnTo>
                  <a:lnTo>
                    <a:pt x="112" y="610"/>
                  </a:lnTo>
                  <a:lnTo>
                    <a:pt x="112" y="610"/>
                  </a:lnTo>
                  <a:lnTo>
                    <a:pt x="110" y="610"/>
                  </a:lnTo>
                  <a:lnTo>
                    <a:pt x="110" y="612"/>
                  </a:lnTo>
                  <a:lnTo>
                    <a:pt x="110" y="615"/>
                  </a:lnTo>
                  <a:lnTo>
                    <a:pt x="110" y="618"/>
                  </a:lnTo>
                  <a:lnTo>
                    <a:pt x="110" y="618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0" y="620"/>
                  </a:lnTo>
                  <a:lnTo>
                    <a:pt x="112" y="620"/>
                  </a:lnTo>
                  <a:lnTo>
                    <a:pt x="112" y="620"/>
                  </a:lnTo>
                  <a:lnTo>
                    <a:pt x="112" y="623"/>
                  </a:lnTo>
                  <a:lnTo>
                    <a:pt x="112" y="623"/>
                  </a:lnTo>
                  <a:lnTo>
                    <a:pt x="112" y="626"/>
                  </a:lnTo>
                  <a:lnTo>
                    <a:pt x="110" y="626"/>
                  </a:lnTo>
                  <a:lnTo>
                    <a:pt x="110" y="623"/>
                  </a:lnTo>
                  <a:lnTo>
                    <a:pt x="107" y="623"/>
                  </a:lnTo>
                  <a:lnTo>
                    <a:pt x="107" y="623"/>
                  </a:lnTo>
                  <a:lnTo>
                    <a:pt x="104" y="626"/>
                  </a:lnTo>
                  <a:lnTo>
                    <a:pt x="104" y="628"/>
                  </a:lnTo>
                  <a:lnTo>
                    <a:pt x="107" y="626"/>
                  </a:lnTo>
                  <a:lnTo>
                    <a:pt x="107" y="628"/>
                  </a:lnTo>
                  <a:lnTo>
                    <a:pt x="107" y="631"/>
                  </a:lnTo>
                  <a:lnTo>
                    <a:pt x="104" y="634"/>
                  </a:lnTo>
                  <a:lnTo>
                    <a:pt x="104" y="636"/>
                  </a:lnTo>
                  <a:lnTo>
                    <a:pt x="104" y="639"/>
                  </a:lnTo>
                  <a:lnTo>
                    <a:pt x="104" y="639"/>
                  </a:lnTo>
                  <a:lnTo>
                    <a:pt x="104" y="639"/>
                  </a:lnTo>
                  <a:lnTo>
                    <a:pt x="107" y="642"/>
                  </a:lnTo>
                  <a:lnTo>
                    <a:pt x="104" y="644"/>
                  </a:lnTo>
                  <a:lnTo>
                    <a:pt x="104" y="644"/>
                  </a:lnTo>
                  <a:lnTo>
                    <a:pt x="104" y="644"/>
                  </a:lnTo>
                  <a:lnTo>
                    <a:pt x="102" y="644"/>
                  </a:lnTo>
                  <a:lnTo>
                    <a:pt x="102" y="647"/>
                  </a:lnTo>
                  <a:lnTo>
                    <a:pt x="102" y="647"/>
                  </a:lnTo>
                  <a:lnTo>
                    <a:pt x="99" y="647"/>
                  </a:lnTo>
                  <a:lnTo>
                    <a:pt x="99" y="650"/>
                  </a:lnTo>
                  <a:lnTo>
                    <a:pt x="99" y="650"/>
                  </a:lnTo>
                  <a:lnTo>
                    <a:pt x="99" y="647"/>
                  </a:lnTo>
                  <a:lnTo>
                    <a:pt x="102" y="647"/>
                  </a:lnTo>
                  <a:lnTo>
                    <a:pt x="104" y="647"/>
                  </a:lnTo>
                  <a:lnTo>
                    <a:pt x="102" y="650"/>
                  </a:lnTo>
                  <a:lnTo>
                    <a:pt x="102" y="650"/>
                  </a:lnTo>
                  <a:lnTo>
                    <a:pt x="102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6" y="652"/>
                  </a:lnTo>
                  <a:lnTo>
                    <a:pt x="96" y="652"/>
                  </a:lnTo>
                  <a:lnTo>
                    <a:pt x="96" y="655"/>
                  </a:lnTo>
                  <a:lnTo>
                    <a:pt x="99" y="655"/>
                  </a:lnTo>
                  <a:lnTo>
                    <a:pt x="99" y="658"/>
                  </a:lnTo>
                  <a:lnTo>
                    <a:pt x="102" y="658"/>
                  </a:lnTo>
                  <a:lnTo>
                    <a:pt x="102" y="655"/>
                  </a:lnTo>
                  <a:lnTo>
                    <a:pt x="104" y="658"/>
                  </a:lnTo>
                  <a:lnTo>
                    <a:pt x="104" y="658"/>
                  </a:lnTo>
                  <a:lnTo>
                    <a:pt x="102" y="660"/>
                  </a:lnTo>
                  <a:lnTo>
                    <a:pt x="102" y="663"/>
                  </a:lnTo>
                  <a:lnTo>
                    <a:pt x="99" y="663"/>
                  </a:lnTo>
                  <a:lnTo>
                    <a:pt x="99" y="666"/>
                  </a:lnTo>
                  <a:lnTo>
                    <a:pt x="102" y="666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6" y="666"/>
                  </a:lnTo>
                  <a:lnTo>
                    <a:pt x="96" y="668"/>
                  </a:lnTo>
                  <a:lnTo>
                    <a:pt x="96" y="668"/>
                  </a:lnTo>
                  <a:lnTo>
                    <a:pt x="96" y="671"/>
                  </a:lnTo>
                  <a:lnTo>
                    <a:pt x="96" y="671"/>
                  </a:lnTo>
                  <a:lnTo>
                    <a:pt x="96" y="674"/>
                  </a:lnTo>
                  <a:lnTo>
                    <a:pt x="96" y="674"/>
                  </a:lnTo>
                  <a:lnTo>
                    <a:pt x="96" y="676"/>
                  </a:lnTo>
                  <a:lnTo>
                    <a:pt x="96" y="676"/>
                  </a:lnTo>
                  <a:lnTo>
                    <a:pt x="96" y="679"/>
                  </a:lnTo>
                  <a:lnTo>
                    <a:pt x="96" y="679"/>
                  </a:lnTo>
                  <a:lnTo>
                    <a:pt x="96" y="682"/>
                  </a:lnTo>
                  <a:lnTo>
                    <a:pt x="96" y="682"/>
                  </a:lnTo>
                  <a:lnTo>
                    <a:pt x="96" y="682"/>
                  </a:lnTo>
                  <a:lnTo>
                    <a:pt x="96" y="684"/>
                  </a:lnTo>
                  <a:lnTo>
                    <a:pt x="96" y="684"/>
                  </a:lnTo>
                  <a:lnTo>
                    <a:pt x="99" y="687"/>
                  </a:lnTo>
                  <a:lnTo>
                    <a:pt x="99" y="687"/>
                  </a:lnTo>
                  <a:lnTo>
                    <a:pt x="99" y="687"/>
                  </a:lnTo>
                  <a:lnTo>
                    <a:pt x="99" y="690"/>
                  </a:lnTo>
                  <a:lnTo>
                    <a:pt x="99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90"/>
                  </a:lnTo>
                  <a:lnTo>
                    <a:pt x="96" y="687"/>
                  </a:lnTo>
                  <a:lnTo>
                    <a:pt x="96" y="687"/>
                  </a:lnTo>
                  <a:lnTo>
                    <a:pt x="94" y="687"/>
                  </a:lnTo>
                  <a:lnTo>
                    <a:pt x="94" y="687"/>
                  </a:lnTo>
                  <a:lnTo>
                    <a:pt x="91" y="687"/>
                  </a:lnTo>
                  <a:lnTo>
                    <a:pt x="91" y="684"/>
                  </a:lnTo>
                  <a:lnTo>
                    <a:pt x="91" y="684"/>
                  </a:lnTo>
                  <a:lnTo>
                    <a:pt x="88" y="684"/>
                  </a:lnTo>
                  <a:lnTo>
                    <a:pt x="88" y="684"/>
                  </a:lnTo>
                  <a:lnTo>
                    <a:pt x="88" y="684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8" y="687"/>
                  </a:lnTo>
                  <a:lnTo>
                    <a:pt x="86" y="687"/>
                  </a:lnTo>
                  <a:lnTo>
                    <a:pt x="86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87"/>
                  </a:lnTo>
                  <a:lnTo>
                    <a:pt x="83" y="690"/>
                  </a:lnTo>
                  <a:lnTo>
                    <a:pt x="80" y="690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2"/>
                  </a:lnTo>
                  <a:lnTo>
                    <a:pt x="80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5" y="695"/>
                  </a:lnTo>
                  <a:lnTo>
                    <a:pt x="75" y="695"/>
                  </a:lnTo>
                  <a:lnTo>
                    <a:pt x="72" y="695"/>
                  </a:lnTo>
                  <a:lnTo>
                    <a:pt x="72" y="692"/>
                  </a:lnTo>
                  <a:lnTo>
                    <a:pt x="72" y="692"/>
                  </a:lnTo>
                  <a:lnTo>
                    <a:pt x="75" y="692"/>
                  </a:lnTo>
                  <a:lnTo>
                    <a:pt x="75" y="692"/>
                  </a:lnTo>
                  <a:lnTo>
                    <a:pt x="78" y="692"/>
                  </a:lnTo>
                  <a:lnTo>
                    <a:pt x="78" y="692"/>
                  </a:lnTo>
                  <a:lnTo>
                    <a:pt x="78" y="692"/>
                  </a:lnTo>
                  <a:lnTo>
                    <a:pt x="80" y="690"/>
                  </a:lnTo>
                  <a:lnTo>
                    <a:pt x="80" y="690"/>
                  </a:lnTo>
                  <a:lnTo>
                    <a:pt x="78" y="690"/>
                  </a:lnTo>
                  <a:lnTo>
                    <a:pt x="78" y="690"/>
                  </a:lnTo>
                  <a:lnTo>
                    <a:pt x="75" y="690"/>
                  </a:lnTo>
                  <a:lnTo>
                    <a:pt x="75" y="690"/>
                  </a:lnTo>
                  <a:lnTo>
                    <a:pt x="75" y="690"/>
                  </a:lnTo>
                  <a:lnTo>
                    <a:pt x="72" y="690"/>
                  </a:lnTo>
                  <a:lnTo>
                    <a:pt x="72" y="690"/>
                  </a:lnTo>
                  <a:lnTo>
                    <a:pt x="72" y="692"/>
                  </a:lnTo>
                  <a:lnTo>
                    <a:pt x="72" y="692"/>
                  </a:lnTo>
                  <a:lnTo>
                    <a:pt x="70" y="692"/>
                  </a:lnTo>
                  <a:lnTo>
                    <a:pt x="70" y="690"/>
                  </a:lnTo>
                  <a:lnTo>
                    <a:pt x="70" y="690"/>
                  </a:lnTo>
                  <a:lnTo>
                    <a:pt x="70" y="690"/>
                  </a:lnTo>
                  <a:lnTo>
                    <a:pt x="67" y="690"/>
                  </a:lnTo>
                  <a:lnTo>
                    <a:pt x="67" y="690"/>
                  </a:lnTo>
                  <a:lnTo>
                    <a:pt x="64" y="692"/>
                  </a:lnTo>
                  <a:lnTo>
                    <a:pt x="64" y="692"/>
                  </a:lnTo>
                  <a:lnTo>
                    <a:pt x="62" y="695"/>
                  </a:lnTo>
                  <a:lnTo>
                    <a:pt x="62" y="698"/>
                  </a:lnTo>
                  <a:lnTo>
                    <a:pt x="64" y="698"/>
                  </a:lnTo>
                  <a:lnTo>
                    <a:pt x="64" y="698"/>
                  </a:lnTo>
                  <a:lnTo>
                    <a:pt x="67" y="698"/>
                  </a:lnTo>
                  <a:lnTo>
                    <a:pt x="67" y="698"/>
                  </a:lnTo>
                  <a:lnTo>
                    <a:pt x="67" y="700"/>
                  </a:lnTo>
                  <a:lnTo>
                    <a:pt x="67" y="700"/>
                  </a:lnTo>
                  <a:lnTo>
                    <a:pt x="67" y="703"/>
                  </a:lnTo>
                  <a:lnTo>
                    <a:pt x="67" y="703"/>
                  </a:lnTo>
                  <a:lnTo>
                    <a:pt x="67" y="700"/>
                  </a:lnTo>
                  <a:lnTo>
                    <a:pt x="70" y="698"/>
                  </a:lnTo>
                  <a:lnTo>
                    <a:pt x="70" y="695"/>
                  </a:lnTo>
                  <a:lnTo>
                    <a:pt x="70" y="698"/>
                  </a:lnTo>
                  <a:lnTo>
                    <a:pt x="70" y="698"/>
                  </a:lnTo>
                  <a:lnTo>
                    <a:pt x="72" y="700"/>
                  </a:lnTo>
                  <a:lnTo>
                    <a:pt x="72" y="700"/>
                  </a:lnTo>
                  <a:lnTo>
                    <a:pt x="75" y="700"/>
                  </a:lnTo>
                  <a:lnTo>
                    <a:pt x="75" y="700"/>
                  </a:lnTo>
                  <a:lnTo>
                    <a:pt x="78" y="700"/>
                  </a:lnTo>
                  <a:lnTo>
                    <a:pt x="80" y="700"/>
                  </a:lnTo>
                  <a:lnTo>
                    <a:pt x="80" y="703"/>
                  </a:lnTo>
                  <a:lnTo>
                    <a:pt x="78" y="703"/>
                  </a:lnTo>
                  <a:lnTo>
                    <a:pt x="78" y="703"/>
                  </a:lnTo>
                  <a:lnTo>
                    <a:pt x="80" y="706"/>
                  </a:lnTo>
                  <a:lnTo>
                    <a:pt x="78" y="708"/>
                  </a:lnTo>
                  <a:lnTo>
                    <a:pt x="78" y="708"/>
                  </a:lnTo>
                  <a:lnTo>
                    <a:pt x="75" y="708"/>
                  </a:lnTo>
                  <a:lnTo>
                    <a:pt x="75" y="708"/>
                  </a:lnTo>
                  <a:lnTo>
                    <a:pt x="78" y="711"/>
                  </a:lnTo>
                  <a:lnTo>
                    <a:pt x="78" y="711"/>
                  </a:lnTo>
                  <a:lnTo>
                    <a:pt x="78" y="714"/>
                  </a:lnTo>
                  <a:lnTo>
                    <a:pt x="78" y="716"/>
                  </a:lnTo>
                  <a:lnTo>
                    <a:pt x="78" y="719"/>
                  </a:lnTo>
                  <a:lnTo>
                    <a:pt x="78" y="719"/>
                  </a:lnTo>
                  <a:lnTo>
                    <a:pt x="75" y="722"/>
                  </a:lnTo>
                  <a:lnTo>
                    <a:pt x="75" y="722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2"/>
                  </a:lnTo>
                  <a:lnTo>
                    <a:pt x="72" y="719"/>
                  </a:lnTo>
                  <a:lnTo>
                    <a:pt x="72" y="719"/>
                  </a:lnTo>
                  <a:lnTo>
                    <a:pt x="70" y="719"/>
                  </a:lnTo>
                  <a:lnTo>
                    <a:pt x="70" y="719"/>
                  </a:lnTo>
                  <a:lnTo>
                    <a:pt x="67" y="716"/>
                  </a:lnTo>
                  <a:lnTo>
                    <a:pt x="67" y="716"/>
                  </a:lnTo>
                  <a:lnTo>
                    <a:pt x="64" y="714"/>
                  </a:lnTo>
                  <a:lnTo>
                    <a:pt x="62" y="711"/>
                  </a:lnTo>
                  <a:lnTo>
                    <a:pt x="62" y="711"/>
                  </a:lnTo>
                  <a:lnTo>
                    <a:pt x="59" y="708"/>
                  </a:lnTo>
                  <a:lnTo>
                    <a:pt x="59" y="708"/>
                  </a:lnTo>
                  <a:lnTo>
                    <a:pt x="59" y="706"/>
                  </a:lnTo>
                  <a:lnTo>
                    <a:pt x="62" y="706"/>
                  </a:lnTo>
                  <a:lnTo>
                    <a:pt x="62" y="703"/>
                  </a:lnTo>
                  <a:lnTo>
                    <a:pt x="62" y="703"/>
                  </a:lnTo>
                  <a:lnTo>
                    <a:pt x="62" y="703"/>
                  </a:lnTo>
                  <a:lnTo>
                    <a:pt x="59" y="700"/>
                  </a:lnTo>
                  <a:lnTo>
                    <a:pt x="56" y="698"/>
                  </a:lnTo>
                  <a:lnTo>
                    <a:pt x="54" y="698"/>
                  </a:lnTo>
                  <a:lnTo>
                    <a:pt x="51" y="698"/>
                  </a:lnTo>
                  <a:lnTo>
                    <a:pt x="48" y="698"/>
                  </a:lnTo>
                  <a:lnTo>
                    <a:pt x="46" y="698"/>
                  </a:lnTo>
                  <a:lnTo>
                    <a:pt x="46" y="698"/>
                  </a:lnTo>
                  <a:lnTo>
                    <a:pt x="43" y="698"/>
                  </a:lnTo>
                  <a:lnTo>
                    <a:pt x="43" y="698"/>
                  </a:lnTo>
                  <a:lnTo>
                    <a:pt x="43" y="695"/>
                  </a:lnTo>
                  <a:lnTo>
                    <a:pt x="46" y="695"/>
                  </a:lnTo>
                  <a:lnTo>
                    <a:pt x="46" y="695"/>
                  </a:lnTo>
                  <a:lnTo>
                    <a:pt x="46" y="692"/>
                  </a:lnTo>
                  <a:lnTo>
                    <a:pt x="46" y="690"/>
                  </a:lnTo>
                  <a:lnTo>
                    <a:pt x="48" y="687"/>
                  </a:lnTo>
                  <a:lnTo>
                    <a:pt x="51" y="687"/>
                  </a:lnTo>
                  <a:lnTo>
                    <a:pt x="51" y="684"/>
                  </a:lnTo>
                  <a:lnTo>
                    <a:pt x="51" y="684"/>
                  </a:lnTo>
                  <a:lnTo>
                    <a:pt x="54" y="682"/>
                  </a:lnTo>
                  <a:lnTo>
                    <a:pt x="56" y="682"/>
                  </a:lnTo>
                  <a:lnTo>
                    <a:pt x="56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62" y="679"/>
                  </a:lnTo>
                  <a:lnTo>
                    <a:pt x="62" y="679"/>
                  </a:lnTo>
                  <a:lnTo>
                    <a:pt x="62" y="676"/>
                  </a:lnTo>
                  <a:lnTo>
                    <a:pt x="62" y="676"/>
                  </a:lnTo>
                  <a:lnTo>
                    <a:pt x="62" y="674"/>
                  </a:lnTo>
                  <a:lnTo>
                    <a:pt x="62" y="674"/>
                  </a:lnTo>
                  <a:lnTo>
                    <a:pt x="62" y="674"/>
                  </a:lnTo>
                  <a:lnTo>
                    <a:pt x="64" y="674"/>
                  </a:lnTo>
                  <a:lnTo>
                    <a:pt x="64" y="674"/>
                  </a:lnTo>
                  <a:lnTo>
                    <a:pt x="67" y="674"/>
                  </a:lnTo>
                  <a:lnTo>
                    <a:pt x="67" y="674"/>
                  </a:lnTo>
                  <a:lnTo>
                    <a:pt x="70" y="674"/>
                  </a:lnTo>
                  <a:lnTo>
                    <a:pt x="70" y="674"/>
                  </a:lnTo>
                  <a:lnTo>
                    <a:pt x="70" y="671"/>
                  </a:lnTo>
                  <a:lnTo>
                    <a:pt x="70" y="671"/>
                  </a:lnTo>
                  <a:lnTo>
                    <a:pt x="72" y="671"/>
                  </a:lnTo>
                  <a:lnTo>
                    <a:pt x="72" y="671"/>
                  </a:lnTo>
                  <a:lnTo>
                    <a:pt x="72" y="671"/>
                  </a:lnTo>
                  <a:lnTo>
                    <a:pt x="75" y="671"/>
                  </a:lnTo>
                  <a:lnTo>
                    <a:pt x="75" y="668"/>
                  </a:lnTo>
                  <a:lnTo>
                    <a:pt x="75" y="668"/>
                  </a:lnTo>
                  <a:lnTo>
                    <a:pt x="75" y="668"/>
                  </a:lnTo>
                  <a:lnTo>
                    <a:pt x="72" y="666"/>
                  </a:lnTo>
                  <a:lnTo>
                    <a:pt x="75" y="666"/>
                  </a:lnTo>
                  <a:lnTo>
                    <a:pt x="75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80" y="663"/>
                  </a:lnTo>
                  <a:lnTo>
                    <a:pt x="80" y="660"/>
                  </a:lnTo>
                  <a:lnTo>
                    <a:pt x="78" y="658"/>
                  </a:lnTo>
                  <a:lnTo>
                    <a:pt x="75" y="658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2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47"/>
                  </a:lnTo>
                  <a:lnTo>
                    <a:pt x="78" y="647"/>
                  </a:lnTo>
                  <a:lnTo>
                    <a:pt x="78" y="644"/>
                  </a:lnTo>
                  <a:lnTo>
                    <a:pt x="78" y="644"/>
                  </a:lnTo>
                  <a:lnTo>
                    <a:pt x="78" y="644"/>
                  </a:lnTo>
                  <a:lnTo>
                    <a:pt x="78" y="642"/>
                  </a:lnTo>
                  <a:lnTo>
                    <a:pt x="75" y="639"/>
                  </a:lnTo>
                  <a:lnTo>
                    <a:pt x="75" y="636"/>
                  </a:lnTo>
                  <a:lnTo>
                    <a:pt x="75" y="636"/>
                  </a:lnTo>
                  <a:lnTo>
                    <a:pt x="75" y="634"/>
                  </a:lnTo>
                  <a:lnTo>
                    <a:pt x="75" y="634"/>
                  </a:lnTo>
                  <a:lnTo>
                    <a:pt x="75" y="634"/>
                  </a:lnTo>
                  <a:lnTo>
                    <a:pt x="75" y="631"/>
                  </a:lnTo>
                  <a:lnTo>
                    <a:pt x="75" y="631"/>
                  </a:lnTo>
                  <a:lnTo>
                    <a:pt x="75" y="628"/>
                  </a:lnTo>
                  <a:lnTo>
                    <a:pt x="75" y="626"/>
                  </a:lnTo>
                  <a:lnTo>
                    <a:pt x="75" y="623"/>
                  </a:lnTo>
                  <a:lnTo>
                    <a:pt x="75" y="623"/>
                  </a:lnTo>
                  <a:lnTo>
                    <a:pt x="75" y="620"/>
                  </a:lnTo>
                  <a:lnTo>
                    <a:pt x="75" y="618"/>
                  </a:lnTo>
                  <a:lnTo>
                    <a:pt x="75" y="618"/>
                  </a:lnTo>
                  <a:lnTo>
                    <a:pt x="75" y="615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0" y="610"/>
                  </a:lnTo>
                  <a:lnTo>
                    <a:pt x="67" y="610"/>
                  </a:lnTo>
                  <a:lnTo>
                    <a:pt x="67" y="607"/>
                  </a:lnTo>
                  <a:lnTo>
                    <a:pt x="67" y="604"/>
                  </a:lnTo>
                  <a:lnTo>
                    <a:pt x="67" y="604"/>
                  </a:lnTo>
                  <a:lnTo>
                    <a:pt x="64" y="601"/>
                  </a:lnTo>
                  <a:lnTo>
                    <a:pt x="64" y="599"/>
                  </a:lnTo>
                  <a:lnTo>
                    <a:pt x="62" y="596"/>
                  </a:lnTo>
                  <a:lnTo>
                    <a:pt x="59" y="593"/>
                  </a:lnTo>
                  <a:lnTo>
                    <a:pt x="59" y="593"/>
                  </a:lnTo>
                  <a:lnTo>
                    <a:pt x="59" y="591"/>
                  </a:lnTo>
                  <a:lnTo>
                    <a:pt x="59" y="588"/>
                  </a:lnTo>
                  <a:lnTo>
                    <a:pt x="59" y="585"/>
                  </a:lnTo>
                  <a:lnTo>
                    <a:pt x="56" y="583"/>
                  </a:lnTo>
                  <a:lnTo>
                    <a:pt x="56" y="580"/>
                  </a:lnTo>
                  <a:lnTo>
                    <a:pt x="56" y="577"/>
                  </a:lnTo>
                  <a:lnTo>
                    <a:pt x="56" y="577"/>
                  </a:lnTo>
                  <a:lnTo>
                    <a:pt x="54" y="575"/>
                  </a:lnTo>
                  <a:lnTo>
                    <a:pt x="54" y="572"/>
                  </a:lnTo>
                  <a:lnTo>
                    <a:pt x="51" y="569"/>
                  </a:lnTo>
                  <a:lnTo>
                    <a:pt x="51" y="567"/>
                  </a:lnTo>
                  <a:lnTo>
                    <a:pt x="51" y="564"/>
                  </a:lnTo>
                  <a:lnTo>
                    <a:pt x="51" y="564"/>
                  </a:lnTo>
                  <a:lnTo>
                    <a:pt x="51" y="561"/>
                  </a:lnTo>
                  <a:lnTo>
                    <a:pt x="51" y="559"/>
                  </a:lnTo>
                  <a:lnTo>
                    <a:pt x="51" y="559"/>
                  </a:lnTo>
                  <a:lnTo>
                    <a:pt x="48" y="556"/>
                  </a:lnTo>
                  <a:lnTo>
                    <a:pt x="46" y="553"/>
                  </a:lnTo>
                  <a:lnTo>
                    <a:pt x="46" y="551"/>
                  </a:lnTo>
                  <a:lnTo>
                    <a:pt x="40" y="548"/>
                  </a:lnTo>
                  <a:lnTo>
                    <a:pt x="40" y="545"/>
                  </a:lnTo>
                  <a:lnTo>
                    <a:pt x="37" y="543"/>
                  </a:lnTo>
                  <a:lnTo>
                    <a:pt x="35" y="537"/>
                  </a:lnTo>
                  <a:lnTo>
                    <a:pt x="32" y="537"/>
                  </a:lnTo>
                  <a:lnTo>
                    <a:pt x="32" y="535"/>
                  </a:lnTo>
                  <a:lnTo>
                    <a:pt x="29" y="532"/>
                  </a:lnTo>
                  <a:lnTo>
                    <a:pt x="24" y="527"/>
                  </a:lnTo>
                  <a:lnTo>
                    <a:pt x="21" y="524"/>
                  </a:lnTo>
                  <a:lnTo>
                    <a:pt x="19" y="519"/>
                  </a:lnTo>
                  <a:lnTo>
                    <a:pt x="16" y="516"/>
                  </a:lnTo>
                  <a:lnTo>
                    <a:pt x="16" y="516"/>
                  </a:lnTo>
                  <a:lnTo>
                    <a:pt x="13" y="513"/>
                  </a:lnTo>
                  <a:lnTo>
                    <a:pt x="13" y="511"/>
                  </a:lnTo>
                  <a:lnTo>
                    <a:pt x="13" y="511"/>
                  </a:lnTo>
                  <a:lnTo>
                    <a:pt x="11" y="511"/>
                  </a:lnTo>
                  <a:lnTo>
                    <a:pt x="11" y="511"/>
                  </a:lnTo>
                  <a:lnTo>
                    <a:pt x="8" y="508"/>
                  </a:lnTo>
                  <a:lnTo>
                    <a:pt x="5" y="508"/>
                  </a:lnTo>
                  <a:lnTo>
                    <a:pt x="5" y="505"/>
                  </a:lnTo>
                  <a:lnTo>
                    <a:pt x="3" y="505"/>
                  </a:lnTo>
                  <a:lnTo>
                    <a:pt x="3" y="508"/>
                  </a:lnTo>
                  <a:lnTo>
                    <a:pt x="0" y="505"/>
                  </a:lnTo>
                  <a:lnTo>
                    <a:pt x="0" y="505"/>
                  </a:lnTo>
                  <a:lnTo>
                    <a:pt x="0" y="503"/>
                  </a:lnTo>
                  <a:lnTo>
                    <a:pt x="3" y="503"/>
                  </a:lnTo>
                  <a:lnTo>
                    <a:pt x="3" y="503"/>
                  </a:lnTo>
                  <a:lnTo>
                    <a:pt x="5" y="503"/>
                  </a:lnTo>
                  <a:lnTo>
                    <a:pt x="8" y="500"/>
                  </a:lnTo>
                  <a:lnTo>
                    <a:pt x="8" y="497"/>
                  </a:lnTo>
                  <a:lnTo>
                    <a:pt x="8" y="497"/>
                  </a:lnTo>
                  <a:lnTo>
                    <a:pt x="8" y="495"/>
                  </a:lnTo>
                  <a:lnTo>
                    <a:pt x="8" y="495"/>
                  </a:lnTo>
                  <a:lnTo>
                    <a:pt x="8" y="492"/>
                  </a:lnTo>
                  <a:lnTo>
                    <a:pt x="13" y="492"/>
                  </a:lnTo>
                  <a:lnTo>
                    <a:pt x="16" y="492"/>
                  </a:lnTo>
                  <a:lnTo>
                    <a:pt x="16" y="489"/>
                  </a:lnTo>
                  <a:lnTo>
                    <a:pt x="19" y="489"/>
                  </a:lnTo>
                  <a:lnTo>
                    <a:pt x="19" y="487"/>
                  </a:lnTo>
                  <a:lnTo>
                    <a:pt x="19" y="487"/>
                  </a:lnTo>
                  <a:lnTo>
                    <a:pt x="19" y="484"/>
                  </a:lnTo>
                  <a:lnTo>
                    <a:pt x="21" y="481"/>
                  </a:lnTo>
                  <a:lnTo>
                    <a:pt x="24" y="481"/>
                  </a:lnTo>
                  <a:lnTo>
                    <a:pt x="24" y="481"/>
                  </a:lnTo>
                  <a:lnTo>
                    <a:pt x="27" y="481"/>
                  </a:lnTo>
                  <a:lnTo>
                    <a:pt x="29" y="481"/>
                  </a:lnTo>
                  <a:lnTo>
                    <a:pt x="29" y="481"/>
                  </a:lnTo>
                  <a:lnTo>
                    <a:pt x="29" y="479"/>
                  </a:lnTo>
                  <a:lnTo>
                    <a:pt x="29" y="479"/>
                  </a:lnTo>
                  <a:lnTo>
                    <a:pt x="29" y="476"/>
                  </a:lnTo>
                  <a:lnTo>
                    <a:pt x="32" y="473"/>
                  </a:lnTo>
                  <a:lnTo>
                    <a:pt x="32" y="471"/>
                  </a:lnTo>
                  <a:lnTo>
                    <a:pt x="32" y="471"/>
                  </a:lnTo>
                  <a:lnTo>
                    <a:pt x="35" y="468"/>
                  </a:lnTo>
                  <a:lnTo>
                    <a:pt x="35" y="465"/>
                  </a:lnTo>
                  <a:lnTo>
                    <a:pt x="35" y="463"/>
                  </a:lnTo>
                  <a:lnTo>
                    <a:pt x="35" y="460"/>
                  </a:lnTo>
                  <a:lnTo>
                    <a:pt x="35" y="460"/>
                  </a:lnTo>
                  <a:lnTo>
                    <a:pt x="32" y="460"/>
                  </a:lnTo>
                  <a:lnTo>
                    <a:pt x="32" y="463"/>
                  </a:lnTo>
                  <a:lnTo>
                    <a:pt x="32" y="460"/>
                  </a:lnTo>
                  <a:lnTo>
                    <a:pt x="32" y="457"/>
                  </a:lnTo>
                  <a:lnTo>
                    <a:pt x="32" y="455"/>
                  </a:lnTo>
                  <a:lnTo>
                    <a:pt x="32" y="455"/>
                  </a:lnTo>
                  <a:lnTo>
                    <a:pt x="32" y="452"/>
                  </a:lnTo>
                  <a:lnTo>
                    <a:pt x="35" y="452"/>
                  </a:lnTo>
                  <a:lnTo>
                    <a:pt x="35" y="452"/>
                  </a:lnTo>
                  <a:lnTo>
                    <a:pt x="37" y="449"/>
                  </a:lnTo>
                  <a:lnTo>
                    <a:pt x="35" y="449"/>
                  </a:lnTo>
                  <a:lnTo>
                    <a:pt x="35" y="449"/>
                  </a:lnTo>
                  <a:lnTo>
                    <a:pt x="35" y="449"/>
                  </a:lnTo>
                  <a:lnTo>
                    <a:pt x="35" y="447"/>
                  </a:lnTo>
                  <a:lnTo>
                    <a:pt x="35" y="444"/>
                  </a:lnTo>
                  <a:lnTo>
                    <a:pt x="35" y="444"/>
                  </a:lnTo>
                  <a:lnTo>
                    <a:pt x="35" y="441"/>
                  </a:lnTo>
                  <a:lnTo>
                    <a:pt x="37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0" y="438"/>
                  </a:lnTo>
                  <a:lnTo>
                    <a:pt x="43" y="441"/>
                  </a:lnTo>
                  <a:lnTo>
                    <a:pt x="43" y="441"/>
                  </a:lnTo>
                  <a:lnTo>
                    <a:pt x="46" y="444"/>
                  </a:lnTo>
                  <a:lnTo>
                    <a:pt x="48" y="444"/>
                  </a:lnTo>
                  <a:lnTo>
                    <a:pt x="51" y="444"/>
                  </a:lnTo>
                  <a:lnTo>
                    <a:pt x="54" y="441"/>
                  </a:lnTo>
                  <a:lnTo>
                    <a:pt x="56" y="441"/>
                  </a:lnTo>
                  <a:lnTo>
                    <a:pt x="62" y="441"/>
                  </a:lnTo>
                  <a:lnTo>
                    <a:pt x="64" y="441"/>
                  </a:lnTo>
                  <a:lnTo>
                    <a:pt x="70" y="441"/>
                  </a:lnTo>
                  <a:lnTo>
                    <a:pt x="72" y="441"/>
                  </a:lnTo>
                  <a:lnTo>
                    <a:pt x="75" y="441"/>
                  </a:lnTo>
                  <a:lnTo>
                    <a:pt x="80" y="438"/>
                  </a:lnTo>
                  <a:lnTo>
                    <a:pt x="86" y="438"/>
                  </a:lnTo>
                  <a:lnTo>
                    <a:pt x="91" y="438"/>
                  </a:lnTo>
                  <a:lnTo>
                    <a:pt x="96" y="438"/>
                  </a:lnTo>
                  <a:lnTo>
                    <a:pt x="102" y="438"/>
                  </a:lnTo>
                  <a:lnTo>
                    <a:pt x="107" y="438"/>
                  </a:lnTo>
                  <a:lnTo>
                    <a:pt x="110" y="436"/>
                  </a:lnTo>
                  <a:lnTo>
                    <a:pt x="112" y="436"/>
                  </a:lnTo>
                  <a:lnTo>
                    <a:pt x="112" y="436"/>
                  </a:lnTo>
                  <a:lnTo>
                    <a:pt x="115" y="436"/>
                  </a:lnTo>
                  <a:lnTo>
                    <a:pt x="115" y="436"/>
                  </a:lnTo>
                  <a:lnTo>
                    <a:pt x="115" y="436"/>
                  </a:lnTo>
                  <a:lnTo>
                    <a:pt x="118" y="436"/>
                  </a:lnTo>
                  <a:lnTo>
                    <a:pt x="118" y="436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20" y="433"/>
                  </a:lnTo>
                  <a:lnTo>
                    <a:pt x="120" y="430"/>
                  </a:lnTo>
                  <a:lnTo>
                    <a:pt x="120" y="430"/>
                  </a:lnTo>
                  <a:lnTo>
                    <a:pt x="120" y="430"/>
                  </a:lnTo>
                  <a:lnTo>
                    <a:pt x="120" y="428"/>
                  </a:lnTo>
                  <a:lnTo>
                    <a:pt x="120" y="428"/>
                  </a:lnTo>
                  <a:lnTo>
                    <a:pt x="120" y="425"/>
                  </a:lnTo>
                  <a:lnTo>
                    <a:pt x="120" y="425"/>
                  </a:lnTo>
                  <a:lnTo>
                    <a:pt x="123" y="425"/>
                  </a:lnTo>
                  <a:lnTo>
                    <a:pt x="123" y="425"/>
                  </a:lnTo>
                  <a:lnTo>
                    <a:pt x="123" y="422"/>
                  </a:lnTo>
                  <a:lnTo>
                    <a:pt x="120" y="422"/>
                  </a:lnTo>
                  <a:lnTo>
                    <a:pt x="120" y="420"/>
                  </a:lnTo>
                  <a:lnTo>
                    <a:pt x="120" y="420"/>
                  </a:lnTo>
                  <a:lnTo>
                    <a:pt x="118" y="417"/>
                  </a:lnTo>
                  <a:lnTo>
                    <a:pt x="118" y="417"/>
                  </a:lnTo>
                  <a:lnTo>
                    <a:pt x="115" y="414"/>
                  </a:lnTo>
                  <a:lnTo>
                    <a:pt x="115" y="414"/>
                  </a:lnTo>
                  <a:lnTo>
                    <a:pt x="115" y="412"/>
                  </a:lnTo>
                  <a:lnTo>
                    <a:pt x="115" y="412"/>
                  </a:lnTo>
                  <a:lnTo>
                    <a:pt x="112" y="409"/>
                  </a:lnTo>
                  <a:lnTo>
                    <a:pt x="112" y="406"/>
                  </a:lnTo>
                  <a:lnTo>
                    <a:pt x="112" y="406"/>
                  </a:lnTo>
                  <a:lnTo>
                    <a:pt x="112" y="404"/>
                  </a:lnTo>
                  <a:lnTo>
                    <a:pt x="112" y="404"/>
                  </a:lnTo>
                  <a:lnTo>
                    <a:pt x="112" y="401"/>
                  </a:lnTo>
                  <a:lnTo>
                    <a:pt x="112" y="398"/>
                  </a:lnTo>
                  <a:lnTo>
                    <a:pt x="112" y="398"/>
                  </a:lnTo>
                  <a:lnTo>
                    <a:pt x="112" y="396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0" y="390"/>
                  </a:lnTo>
                  <a:lnTo>
                    <a:pt x="112" y="390"/>
                  </a:lnTo>
                  <a:lnTo>
                    <a:pt x="112" y="388"/>
                  </a:lnTo>
                  <a:lnTo>
                    <a:pt x="112" y="388"/>
                  </a:lnTo>
                  <a:lnTo>
                    <a:pt x="112" y="385"/>
                  </a:lnTo>
                  <a:lnTo>
                    <a:pt x="115" y="385"/>
                  </a:lnTo>
                  <a:lnTo>
                    <a:pt x="115" y="382"/>
                  </a:lnTo>
                  <a:lnTo>
                    <a:pt x="118" y="382"/>
                  </a:lnTo>
                  <a:lnTo>
                    <a:pt x="118" y="380"/>
                  </a:lnTo>
                  <a:lnTo>
                    <a:pt x="118" y="380"/>
                  </a:lnTo>
                  <a:lnTo>
                    <a:pt x="120" y="380"/>
                  </a:lnTo>
                  <a:lnTo>
                    <a:pt x="120" y="377"/>
                  </a:lnTo>
                  <a:lnTo>
                    <a:pt x="120" y="377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3" y="374"/>
                  </a:lnTo>
                  <a:lnTo>
                    <a:pt x="123" y="372"/>
                  </a:lnTo>
                  <a:lnTo>
                    <a:pt x="120" y="372"/>
                  </a:lnTo>
                  <a:lnTo>
                    <a:pt x="120" y="369"/>
                  </a:lnTo>
                  <a:lnTo>
                    <a:pt x="120" y="369"/>
                  </a:lnTo>
                  <a:lnTo>
                    <a:pt x="120" y="369"/>
                  </a:lnTo>
                  <a:lnTo>
                    <a:pt x="118" y="369"/>
                  </a:lnTo>
                  <a:lnTo>
                    <a:pt x="118" y="366"/>
                  </a:lnTo>
                  <a:lnTo>
                    <a:pt x="118" y="366"/>
                  </a:lnTo>
                  <a:lnTo>
                    <a:pt x="118" y="364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8" y="361"/>
                  </a:lnTo>
                  <a:lnTo>
                    <a:pt x="115" y="358"/>
                  </a:lnTo>
                  <a:lnTo>
                    <a:pt x="115" y="358"/>
                  </a:lnTo>
                  <a:lnTo>
                    <a:pt x="115" y="356"/>
                  </a:lnTo>
                  <a:lnTo>
                    <a:pt x="115" y="356"/>
                  </a:lnTo>
                  <a:lnTo>
                    <a:pt x="115" y="353"/>
                  </a:lnTo>
                  <a:lnTo>
                    <a:pt x="115" y="353"/>
                  </a:lnTo>
                  <a:lnTo>
                    <a:pt x="115" y="350"/>
                  </a:lnTo>
                  <a:lnTo>
                    <a:pt x="115" y="350"/>
                  </a:lnTo>
                  <a:lnTo>
                    <a:pt x="118" y="348"/>
                  </a:lnTo>
                  <a:lnTo>
                    <a:pt x="118" y="350"/>
                  </a:lnTo>
                  <a:lnTo>
                    <a:pt x="120" y="348"/>
                  </a:lnTo>
                  <a:lnTo>
                    <a:pt x="120" y="348"/>
                  </a:lnTo>
                  <a:lnTo>
                    <a:pt x="120" y="348"/>
                  </a:lnTo>
                  <a:lnTo>
                    <a:pt x="120" y="345"/>
                  </a:lnTo>
                  <a:lnTo>
                    <a:pt x="120" y="345"/>
                  </a:lnTo>
                  <a:lnTo>
                    <a:pt x="123" y="340"/>
                  </a:lnTo>
                  <a:lnTo>
                    <a:pt x="120" y="340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3" y="337"/>
                  </a:lnTo>
                  <a:lnTo>
                    <a:pt x="123" y="334"/>
                  </a:lnTo>
                  <a:lnTo>
                    <a:pt x="123" y="332"/>
                  </a:lnTo>
                  <a:lnTo>
                    <a:pt x="123" y="332"/>
                  </a:lnTo>
                  <a:lnTo>
                    <a:pt x="123" y="329"/>
                  </a:lnTo>
                  <a:lnTo>
                    <a:pt x="120" y="329"/>
                  </a:lnTo>
                  <a:lnTo>
                    <a:pt x="120" y="329"/>
                  </a:lnTo>
                  <a:lnTo>
                    <a:pt x="120" y="329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4"/>
                  </a:lnTo>
                  <a:lnTo>
                    <a:pt x="118" y="324"/>
                  </a:lnTo>
                  <a:lnTo>
                    <a:pt x="118" y="321"/>
                  </a:lnTo>
                  <a:lnTo>
                    <a:pt x="118" y="321"/>
                  </a:lnTo>
                  <a:lnTo>
                    <a:pt x="120" y="321"/>
                  </a:lnTo>
                  <a:lnTo>
                    <a:pt x="120" y="318"/>
                  </a:lnTo>
                  <a:lnTo>
                    <a:pt x="120" y="316"/>
                  </a:lnTo>
                  <a:lnTo>
                    <a:pt x="120" y="316"/>
                  </a:lnTo>
                  <a:lnTo>
                    <a:pt x="120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6"/>
                  </a:lnTo>
                  <a:lnTo>
                    <a:pt x="123" y="313"/>
                  </a:lnTo>
                  <a:lnTo>
                    <a:pt x="123" y="313"/>
                  </a:lnTo>
                  <a:lnTo>
                    <a:pt x="123" y="310"/>
                  </a:lnTo>
                  <a:lnTo>
                    <a:pt x="123" y="310"/>
                  </a:lnTo>
                  <a:lnTo>
                    <a:pt x="126" y="310"/>
                  </a:lnTo>
                  <a:lnTo>
                    <a:pt x="126" y="308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3" y="305"/>
                  </a:lnTo>
                  <a:lnTo>
                    <a:pt x="123" y="305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0" y="305"/>
                  </a:lnTo>
                  <a:lnTo>
                    <a:pt x="120" y="305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18" y="294"/>
                  </a:lnTo>
                  <a:lnTo>
                    <a:pt x="118" y="294"/>
                  </a:lnTo>
                  <a:lnTo>
                    <a:pt x="115" y="294"/>
                  </a:lnTo>
                  <a:lnTo>
                    <a:pt x="115" y="294"/>
                  </a:lnTo>
                  <a:lnTo>
                    <a:pt x="112" y="294"/>
                  </a:lnTo>
                  <a:lnTo>
                    <a:pt x="112" y="292"/>
                  </a:lnTo>
                  <a:lnTo>
                    <a:pt x="112" y="292"/>
                  </a:lnTo>
                  <a:lnTo>
                    <a:pt x="112" y="289"/>
                  </a:lnTo>
                  <a:lnTo>
                    <a:pt x="112" y="289"/>
                  </a:lnTo>
                  <a:lnTo>
                    <a:pt x="112" y="289"/>
                  </a:lnTo>
                  <a:lnTo>
                    <a:pt x="112" y="286"/>
                  </a:lnTo>
                  <a:lnTo>
                    <a:pt x="112" y="283"/>
                  </a:lnTo>
                  <a:lnTo>
                    <a:pt x="112" y="283"/>
                  </a:lnTo>
                  <a:lnTo>
                    <a:pt x="112" y="281"/>
                  </a:lnTo>
                  <a:lnTo>
                    <a:pt x="112" y="281"/>
                  </a:lnTo>
                  <a:lnTo>
                    <a:pt x="112" y="278"/>
                  </a:lnTo>
                  <a:lnTo>
                    <a:pt x="112" y="275"/>
                  </a:lnTo>
                  <a:lnTo>
                    <a:pt x="115" y="275"/>
                  </a:lnTo>
                  <a:lnTo>
                    <a:pt x="115" y="273"/>
                  </a:lnTo>
                  <a:lnTo>
                    <a:pt x="118" y="275"/>
                  </a:lnTo>
                  <a:lnTo>
                    <a:pt x="118" y="273"/>
                  </a:lnTo>
                  <a:lnTo>
                    <a:pt x="118" y="270"/>
                  </a:lnTo>
                  <a:lnTo>
                    <a:pt x="120" y="270"/>
                  </a:lnTo>
                  <a:lnTo>
                    <a:pt x="123" y="270"/>
                  </a:lnTo>
                  <a:lnTo>
                    <a:pt x="123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31" y="262"/>
                  </a:lnTo>
                  <a:lnTo>
                    <a:pt x="131" y="262"/>
                  </a:lnTo>
                  <a:lnTo>
                    <a:pt x="134" y="262"/>
                  </a:lnTo>
                  <a:lnTo>
                    <a:pt x="134" y="262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6" y="257"/>
                  </a:lnTo>
                  <a:lnTo>
                    <a:pt x="136" y="257"/>
                  </a:lnTo>
                  <a:lnTo>
                    <a:pt x="136" y="254"/>
                  </a:lnTo>
                  <a:lnTo>
                    <a:pt x="136" y="254"/>
                  </a:lnTo>
                  <a:lnTo>
                    <a:pt x="136" y="251"/>
                  </a:lnTo>
                  <a:lnTo>
                    <a:pt x="136" y="249"/>
                  </a:lnTo>
                  <a:lnTo>
                    <a:pt x="134" y="249"/>
                  </a:lnTo>
                  <a:lnTo>
                    <a:pt x="131" y="246"/>
                  </a:lnTo>
                  <a:lnTo>
                    <a:pt x="131" y="243"/>
                  </a:lnTo>
                  <a:lnTo>
                    <a:pt x="131" y="241"/>
                  </a:lnTo>
                  <a:lnTo>
                    <a:pt x="128" y="238"/>
                  </a:lnTo>
                  <a:lnTo>
                    <a:pt x="128" y="235"/>
                  </a:lnTo>
                  <a:lnTo>
                    <a:pt x="128" y="233"/>
                  </a:lnTo>
                  <a:lnTo>
                    <a:pt x="131" y="233"/>
                  </a:lnTo>
                  <a:lnTo>
                    <a:pt x="134" y="233"/>
                  </a:lnTo>
                  <a:lnTo>
                    <a:pt x="134" y="230"/>
                  </a:lnTo>
                  <a:lnTo>
                    <a:pt x="131" y="227"/>
                  </a:lnTo>
                  <a:lnTo>
                    <a:pt x="131" y="225"/>
                  </a:lnTo>
                  <a:lnTo>
                    <a:pt x="134" y="222"/>
                  </a:lnTo>
                  <a:lnTo>
                    <a:pt x="134" y="219"/>
                  </a:lnTo>
                  <a:lnTo>
                    <a:pt x="131" y="219"/>
                  </a:lnTo>
                  <a:lnTo>
                    <a:pt x="131" y="217"/>
                  </a:lnTo>
                  <a:lnTo>
                    <a:pt x="136" y="211"/>
                  </a:lnTo>
                  <a:lnTo>
                    <a:pt x="136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42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7" y="206"/>
                  </a:lnTo>
                  <a:lnTo>
                    <a:pt x="150" y="206"/>
                  </a:lnTo>
                  <a:lnTo>
                    <a:pt x="152" y="206"/>
                  </a:lnTo>
                  <a:lnTo>
                    <a:pt x="152" y="206"/>
                  </a:lnTo>
                  <a:lnTo>
                    <a:pt x="152" y="203"/>
                  </a:lnTo>
                  <a:lnTo>
                    <a:pt x="152" y="201"/>
                  </a:lnTo>
                  <a:lnTo>
                    <a:pt x="152" y="201"/>
                  </a:lnTo>
                  <a:lnTo>
                    <a:pt x="152" y="198"/>
                  </a:lnTo>
                  <a:lnTo>
                    <a:pt x="155" y="198"/>
                  </a:lnTo>
                  <a:lnTo>
                    <a:pt x="155" y="195"/>
                  </a:lnTo>
                  <a:lnTo>
                    <a:pt x="158" y="195"/>
                  </a:lnTo>
                  <a:lnTo>
                    <a:pt x="160" y="195"/>
                  </a:lnTo>
                  <a:lnTo>
                    <a:pt x="163" y="198"/>
                  </a:lnTo>
                  <a:lnTo>
                    <a:pt x="163" y="198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6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1" y="198"/>
                  </a:lnTo>
                  <a:lnTo>
                    <a:pt x="171" y="201"/>
                  </a:lnTo>
                  <a:lnTo>
                    <a:pt x="174" y="201"/>
                  </a:lnTo>
                  <a:lnTo>
                    <a:pt x="176" y="201"/>
                  </a:lnTo>
                  <a:lnTo>
                    <a:pt x="179" y="201"/>
                  </a:lnTo>
                  <a:lnTo>
                    <a:pt x="179" y="201"/>
                  </a:lnTo>
                  <a:lnTo>
                    <a:pt x="179" y="203"/>
                  </a:lnTo>
                  <a:lnTo>
                    <a:pt x="179" y="203"/>
                  </a:lnTo>
                  <a:lnTo>
                    <a:pt x="179" y="206"/>
                  </a:lnTo>
                  <a:lnTo>
                    <a:pt x="182" y="209"/>
                  </a:lnTo>
                  <a:lnTo>
                    <a:pt x="182" y="209"/>
                  </a:lnTo>
                  <a:lnTo>
                    <a:pt x="179" y="209"/>
                  </a:lnTo>
                  <a:lnTo>
                    <a:pt x="179" y="209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2" y="214"/>
                  </a:lnTo>
                  <a:lnTo>
                    <a:pt x="182" y="211"/>
                  </a:lnTo>
                  <a:lnTo>
                    <a:pt x="184" y="211"/>
                  </a:lnTo>
                  <a:lnTo>
                    <a:pt x="187" y="209"/>
                  </a:lnTo>
                  <a:lnTo>
                    <a:pt x="187" y="206"/>
                  </a:lnTo>
                  <a:lnTo>
                    <a:pt x="190" y="203"/>
                  </a:lnTo>
                  <a:lnTo>
                    <a:pt x="192" y="203"/>
                  </a:lnTo>
                  <a:lnTo>
                    <a:pt x="192" y="203"/>
                  </a:lnTo>
                  <a:lnTo>
                    <a:pt x="195" y="203"/>
                  </a:lnTo>
                  <a:lnTo>
                    <a:pt x="195" y="203"/>
                  </a:lnTo>
                  <a:lnTo>
                    <a:pt x="195" y="201"/>
                  </a:lnTo>
                  <a:lnTo>
                    <a:pt x="198" y="201"/>
                  </a:lnTo>
                  <a:lnTo>
                    <a:pt x="200" y="198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8" y="203"/>
                  </a:lnTo>
                  <a:lnTo>
                    <a:pt x="208" y="206"/>
                  </a:lnTo>
                  <a:lnTo>
                    <a:pt x="214" y="206"/>
                  </a:lnTo>
                  <a:lnTo>
                    <a:pt x="216" y="206"/>
                  </a:lnTo>
                  <a:lnTo>
                    <a:pt x="219" y="206"/>
                  </a:lnTo>
                  <a:lnTo>
                    <a:pt x="222" y="206"/>
                  </a:lnTo>
                  <a:lnTo>
                    <a:pt x="222" y="203"/>
                  </a:lnTo>
                  <a:lnTo>
                    <a:pt x="224" y="203"/>
                  </a:lnTo>
                  <a:lnTo>
                    <a:pt x="224" y="201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30" y="201"/>
                  </a:lnTo>
                  <a:lnTo>
                    <a:pt x="232" y="201"/>
                  </a:lnTo>
                  <a:lnTo>
                    <a:pt x="232" y="201"/>
                  </a:lnTo>
                  <a:lnTo>
                    <a:pt x="235" y="201"/>
                  </a:lnTo>
                  <a:lnTo>
                    <a:pt x="238" y="201"/>
                  </a:lnTo>
                  <a:lnTo>
                    <a:pt x="238" y="201"/>
                  </a:lnTo>
                  <a:lnTo>
                    <a:pt x="240" y="198"/>
                  </a:lnTo>
                  <a:lnTo>
                    <a:pt x="243" y="198"/>
                  </a:lnTo>
                  <a:lnTo>
                    <a:pt x="246" y="198"/>
                  </a:lnTo>
                  <a:lnTo>
                    <a:pt x="246" y="195"/>
                  </a:lnTo>
                  <a:lnTo>
                    <a:pt x="246" y="195"/>
                  </a:lnTo>
                  <a:lnTo>
                    <a:pt x="246" y="193"/>
                  </a:lnTo>
                  <a:lnTo>
                    <a:pt x="246" y="190"/>
                  </a:lnTo>
                  <a:lnTo>
                    <a:pt x="248" y="190"/>
                  </a:lnTo>
                  <a:lnTo>
                    <a:pt x="251" y="190"/>
                  </a:lnTo>
                  <a:lnTo>
                    <a:pt x="251" y="190"/>
                  </a:lnTo>
                  <a:lnTo>
                    <a:pt x="254" y="190"/>
                  </a:lnTo>
                  <a:lnTo>
                    <a:pt x="256" y="190"/>
                  </a:lnTo>
                  <a:lnTo>
                    <a:pt x="256" y="187"/>
                  </a:lnTo>
                  <a:lnTo>
                    <a:pt x="259" y="187"/>
                  </a:lnTo>
                  <a:lnTo>
                    <a:pt x="259" y="185"/>
                  </a:lnTo>
                  <a:lnTo>
                    <a:pt x="259" y="185"/>
                  </a:lnTo>
                  <a:lnTo>
                    <a:pt x="259" y="182"/>
                  </a:lnTo>
                  <a:lnTo>
                    <a:pt x="262" y="179"/>
                  </a:lnTo>
                  <a:lnTo>
                    <a:pt x="262" y="179"/>
                  </a:lnTo>
                  <a:lnTo>
                    <a:pt x="264" y="174"/>
                  </a:lnTo>
                  <a:lnTo>
                    <a:pt x="264" y="171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9"/>
                  </a:lnTo>
                  <a:lnTo>
                    <a:pt x="264" y="166"/>
                  </a:lnTo>
                  <a:lnTo>
                    <a:pt x="267" y="166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1"/>
                  </a:lnTo>
                  <a:lnTo>
                    <a:pt x="267" y="158"/>
                  </a:lnTo>
                  <a:lnTo>
                    <a:pt x="267" y="155"/>
                  </a:lnTo>
                  <a:lnTo>
                    <a:pt x="267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2" y="153"/>
                  </a:lnTo>
                  <a:lnTo>
                    <a:pt x="262" y="150"/>
                  </a:lnTo>
                  <a:lnTo>
                    <a:pt x="262" y="147"/>
                  </a:lnTo>
                  <a:lnTo>
                    <a:pt x="262" y="147"/>
                  </a:lnTo>
                  <a:lnTo>
                    <a:pt x="262" y="145"/>
                  </a:lnTo>
                  <a:lnTo>
                    <a:pt x="262" y="142"/>
                  </a:lnTo>
                  <a:lnTo>
                    <a:pt x="262" y="139"/>
                  </a:lnTo>
                  <a:lnTo>
                    <a:pt x="262" y="137"/>
                  </a:lnTo>
                  <a:lnTo>
                    <a:pt x="262" y="134"/>
                  </a:lnTo>
                  <a:lnTo>
                    <a:pt x="262" y="131"/>
                  </a:lnTo>
                  <a:lnTo>
                    <a:pt x="264" y="131"/>
                  </a:lnTo>
                  <a:lnTo>
                    <a:pt x="267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29"/>
                  </a:lnTo>
                  <a:lnTo>
                    <a:pt x="275" y="129"/>
                  </a:lnTo>
                  <a:lnTo>
                    <a:pt x="275" y="131"/>
                  </a:lnTo>
                  <a:lnTo>
                    <a:pt x="278" y="131"/>
                  </a:lnTo>
                  <a:lnTo>
                    <a:pt x="278" y="131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9" y="129"/>
                  </a:lnTo>
                  <a:lnTo>
                    <a:pt x="289" y="126"/>
                  </a:lnTo>
                  <a:lnTo>
                    <a:pt x="291" y="123"/>
                  </a:lnTo>
                  <a:lnTo>
                    <a:pt x="291" y="120"/>
                  </a:lnTo>
                  <a:lnTo>
                    <a:pt x="291" y="118"/>
                  </a:lnTo>
                  <a:lnTo>
                    <a:pt x="294" y="115"/>
                  </a:lnTo>
                  <a:lnTo>
                    <a:pt x="294" y="112"/>
                  </a:lnTo>
                  <a:lnTo>
                    <a:pt x="297" y="110"/>
                  </a:lnTo>
                  <a:lnTo>
                    <a:pt x="297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302" y="107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05" y="102"/>
                  </a:lnTo>
                  <a:lnTo>
                    <a:pt x="305" y="102"/>
                  </a:lnTo>
                  <a:lnTo>
                    <a:pt x="305" y="99"/>
                  </a:lnTo>
                  <a:lnTo>
                    <a:pt x="305" y="99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4"/>
                  </a:lnTo>
                  <a:lnTo>
                    <a:pt x="307" y="94"/>
                  </a:lnTo>
                  <a:lnTo>
                    <a:pt x="310" y="86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07" y="83"/>
                  </a:lnTo>
                  <a:lnTo>
                    <a:pt x="307" y="80"/>
                  </a:lnTo>
                  <a:lnTo>
                    <a:pt x="307" y="78"/>
                  </a:lnTo>
                  <a:lnTo>
                    <a:pt x="305" y="78"/>
                  </a:lnTo>
                  <a:lnTo>
                    <a:pt x="302" y="78"/>
                  </a:lnTo>
                  <a:lnTo>
                    <a:pt x="299" y="78"/>
                  </a:lnTo>
                  <a:lnTo>
                    <a:pt x="299" y="78"/>
                  </a:lnTo>
                  <a:lnTo>
                    <a:pt x="302" y="75"/>
                  </a:lnTo>
                  <a:lnTo>
                    <a:pt x="302" y="72"/>
                  </a:lnTo>
                  <a:lnTo>
                    <a:pt x="302" y="72"/>
                  </a:lnTo>
                  <a:lnTo>
                    <a:pt x="299" y="72"/>
                  </a:lnTo>
                  <a:lnTo>
                    <a:pt x="297" y="75"/>
                  </a:lnTo>
                  <a:lnTo>
                    <a:pt x="294" y="72"/>
                  </a:lnTo>
                  <a:lnTo>
                    <a:pt x="291" y="72"/>
                  </a:lnTo>
                  <a:lnTo>
                    <a:pt x="291" y="75"/>
                  </a:lnTo>
                  <a:lnTo>
                    <a:pt x="289" y="75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3" y="78"/>
                  </a:lnTo>
                  <a:lnTo>
                    <a:pt x="283" y="78"/>
                  </a:lnTo>
                  <a:lnTo>
                    <a:pt x="281" y="78"/>
                  </a:lnTo>
                  <a:lnTo>
                    <a:pt x="278" y="78"/>
                  </a:lnTo>
                  <a:lnTo>
                    <a:pt x="275" y="78"/>
                  </a:lnTo>
                  <a:lnTo>
                    <a:pt x="275" y="78"/>
                  </a:lnTo>
                  <a:lnTo>
                    <a:pt x="272" y="78"/>
                  </a:lnTo>
                  <a:lnTo>
                    <a:pt x="270" y="78"/>
                  </a:lnTo>
                  <a:lnTo>
                    <a:pt x="267" y="80"/>
                  </a:lnTo>
                  <a:lnTo>
                    <a:pt x="264" y="80"/>
                  </a:lnTo>
                  <a:lnTo>
                    <a:pt x="264" y="83"/>
                  </a:lnTo>
                  <a:lnTo>
                    <a:pt x="262" y="80"/>
                  </a:lnTo>
                  <a:lnTo>
                    <a:pt x="262" y="78"/>
                  </a:lnTo>
                  <a:lnTo>
                    <a:pt x="262" y="75"/>
                  </a:lnTo>
                  <a:lnTo>
                    <a:pt x="264" y="72"/>
                  </a:lnTo>
                  <a:lnTo>
                    <a:pt x="264" y="72"/>
                  </a:lnTo>
                  <a:lnTo>
                    <a:pt x="267" y="70"/>
                  </a:lnTo>
                  <a:lnTo>
                    <a:pt x="267" y="67"/>
                  </a:lnTo>
                  <a:lnTo>
                    <a:pt x="264" y="64"/>
                  </a:lnTo>
                  <a:lnTo>
                    <a:pt x="262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48" y="62"/>
                  </a:lnTo>
                  <a:lnTo>
                    <a:pt x="246" y="62"/>
                  </a:lnTo>
                  <a:lnTo>
                    <a:pt x="243" y="59"/>
                  </a:lnTo>
                  <a:lnTo>
                    <a:pt x="243" y="56"/>
                  </a:lnTo>
                  <a:lnTo>
                    <a:pt x="243" y="56"/>
                  </a:lnTo>
                  <a:lnTo>
                    <a:pt x="243" y="54"/>
                  </a:lnTo>
                  <a:lnTo>
                    <a:pt x="243" y="51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6" y="46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51" y="40"/>
                  </a:lnTo>
                  <a:lnTo>
                    <a:pt x="254" y="40"/>
                  </a:lnTo>
                  <a:lnTo>
                    <a:pt x="256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62" y="38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70" y="32"/>
                  </a:lnTo>
                  <a:lnTo>
                    <a:pt x="270" y="30"/>
                  </a:lnTo>
                  <a:lnTo>
                    <a:pt x="270" y="30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2" y="22"/>
                  </a:lnTo>
                  <a:lnTo>
                    <a:pt x="275" y="22"/>
                  </a:lnTo>
                  <a:lnTo>
                    <a:pt x="275" y="19"/>
                  </a:lnTo>
                  <a:lnTo>
                    <a:pt x="278" y="19"/>
                  </a:lnTo>
                  <a:lnTo>
                    <a:pt x="278" y="16"/>
                  </a:lnTo>
                  <a:lnTo>
                    <a:pt x="281" y="16"/>
                  </a:lnTo>
                  <a:lnTo>
                    <a:pt x="281" y="14"/>
                  </a:lnTo>
                  <a:lnTo>
                    <a:pt x="278" y="11"/>
                  </a:lnTo>
                  <a:lnTo>
                    <a:pt x="278" y="11"/>
                  </a:lnTo>
                  <a:lnTo>
                    <a:pt x="275" y="8"/>
                  </a:lnTo>
                  <a:lnTo>
                    <a:pt x="278" y="8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83" y="0"/>
                  </a:lnTo>
                  <a:lnTo>
                    <a:pt x="286" y="0"/>
                  </a:lnTo>
                  <a:lnTo>
                    <a:pt x="289" y="0"/>
                  </a:lnTo>
                  <a:lnTo>
                    <a:pt x="289" y="0"/>
                  </a:lnTo>
                  <a:lnTo>
                    <a:pt x="291" y="0"/>
                  </a:lnTo>
                  <a:lnTo>
                    <a:pt x="294" y="3"/>
                  </a:lnTo>
                  <a:lnTo>
                    <a:pt x="294" y="3"/>
                  </a:lnTo>
                  <a:lnTo>
                    <a:pt x="297" y="6"/>
                  </a:lnTo>
                  <a:lnTo>
                    <a:pt x="297" y="8"/>
                  </a:lnTo>
                  <a:lnTo>
                    <a:pt x="299" y="8"/>
                  </a:lnTo>
                  <a:lnTo>
                    <a:pt x="302" y="11"/>
                  </a:lnTo>
                  <a:lnTo>
                    <a:pt x="302" y="11"/>
                  </a:lnTo>
                  <a:lnTo>
                    <a:pt x="305" y="11"/>
                  </a:lnTo>
                  <a:lnTo>
                    <a:pt x="305" y="14"/>
                  </a:lnTo>
                  <a:lnTo>
                    <a:pt x="305" y="14"/>
                  </a:lnTo>
                  <a:lnTo>
                    <a:pt x="310" y="14"/>
                  </a:lnTo>
                  <a:lnTo>
                    <a:pt x="313" y="14"/>
                  </a:lnTo>
                  <a:lnTo>
                    <a:pt x="313" y="11"/>
                  </a:lnTo>
                  <a:lnTo>
                    <a:pt x="315" y="11"/>
                  </a:lnTo>
                  <a:lnTo>
                    <a:pt x="315" y="11"/>
                  </a:lnTo>
                  <a:lnTo>
                    <a:pt x="315" y="14"/>
                  </a:lnTo>
                  <a:lnTo>
                    <a:pt x="318" y="14"/>
                  </a:lnTo>
                  <a:lnTo>
                    <a:pt x="318" y="14"/>
                  </a:lnTo>
                  <a:lnTo>
                    <a:pt x="318" y="16"/>
                  </a:lnTo>
                  <a:lnTo>
                    <a:pt x="318" y="16"/>
                  </a:lnTo>
                  <a:lnTo>
                    <a:pt x="315" y="19"/>
                  </a:lnTo>
                  <a:lnTo>
                    <a:pt x="313" y="19"/>
                  </a:lnTo>
                  <a:lnTo>
                    <a:pt x="315" y="22"/>
                  </a:lnTo>
                  <a:lnTo>
                    <a:pt x="315" y="24"/>
                  </a:lnTo>
                  <a:lnTo>
                    <a:pt x="315" y="27"/>
                  </a:lnTo>
                  <a:lnTo>
                    <a:pt x="318" y="30"/>
                  </a:lnTo>
                  <a:lnTo>
                    <a:pt x="318" y="27"/>
                  </a:lnTo>
                  <a:lnTo>
                    <a:pt x="321" y="27"/>
                  </a:lnTo>
                  <a:lnTo>
                    <a:pt x="323" y="30"/>
                  </a:lnTo>
                  <a:lnTo>
                    <a:pt x="326" y="30"/>
                  </a:lnTo>
                  <a:lnTo>
                    <a:pt x="329" y="32"/>
                  </a:lnTo>
                  <a:lnTo>
                    <a:pt x="329" y="32"/>
                  </a:lnTo>
                  <a:lnTo>
                    <a:pt x="331" y="32"/>
                  </a:lnTo>
                  <a:lnTo>
                    <a:pt x="331" y="35"/>
                  </a:lnTo>
                  <a:lnTo>
                    <a:pt x="331" y="35"/>
                  </a:lnTo>
                  <a:lnTo>
                    <a:pt x="334" y="35"/>
                  </a:lnTo>
                  <a:lnTo>
                    <a:pt x="337" y="35"/>
                  </a:lnTo>
                  <a:lnTo>
                    <a:pt x="337" y="35"/>
                  </a:lnTo>
                  <a:lnTo>
                    <a:pt x="337" y="38"/>
                  </a:lnTo>
                  <a:lnTo>
                    <a:pt x="337" y="40"/>
                  </a:lnTo>
                  <a:lnTo>
                    <a:pt x="339" y="43"/>
                  </a:lnTo>
                  <a:lnTo>
                    <a:pt x="337" y="43"/>
                  </a:lnTo>
                  <a:lnTo>
                    <a:pt x="337" y="46"/>
                  </a:lnTo>
                  <a:lnTo>
                    <a:pt x="334" y="48"/>
                  </a:lnTo>
                  <a:lnTo>
                    <a:pt x="334" y="48"/>
                  </a:lnTo>
                  <a:lnTo>
                    <a:pt x="331" y="48"/>
                  </a:lnTo>
                  <a:lnTo>
                    <a:pt x="331" y="51"/>
                  </a:lnTo>
                  <a:lnTo>
                    <a:pt x="329" y="54"/>
                  </a:lnTo>
                  <a:lnTo>
                    <a:pt x="329" y="54"/>
                  </a:lnTo>
                  <a:lnTo>
                    <a:pt x="329" y="59"/>
                  </a:lnTo>
                  <a:lnTo>
                    <a:pt x="329" y="62"/>
                  </a:lnTo>
                  <a:lnTo>
                    <a:pt x="329" y="62"/>
                  </a:lnTo>
                  <a:lnTo>
                    <a:pt x="331" y="62"/>
                  </a:lnTo>
                  <a:lnTo>
                    <a:pt x="334" y="62"/>
                  </a:lnTo>
                  <a:lnTo>
                    <a:pt x="337" y="64"/>
                  </a:lnTo>
                  <a:lnTo>
                    <a:pt x="337" y="67"/>
                  </a:lnTo>
                  <a:lnTo>
                    <a:pt x="337" y="67"/>
                  </a:lnTo>
                  <a:lnTo>
                    <a:pt x="339" y="70"/>
                  </a:lnTo>
                  <a:lnTo>
                    <a:pt x="337" y="70"/>
                  </a:lnTo>
                  <a:lnTo>
                    <a:pt x="337" y="72"/>
                  </a:lnTo>
                  <a:lnTo>
                    <a:pt x="334" y="75"/>
                  </a:lnTo>
                  <a:lnTo>
                    <a:pt x="337" y="75"/>
                  </a:lnTo>
                  <a:lnTo>
                    <a:pt x="337" y="75"/>
                  </a:lnTo>
                  <a:lnTo>
                    <a:pt x="339" y="75"/>
                  </a:lnTo>
                  <a:lnTo>
                    <a:pt x="342" y="72"/>
                  </a:lnTo>
                  <a:lnTo>
                    <a:pt x="345" y="72"/>
                  </a:lnTo>
                  <a:lnTo>
                    <a:pt x="347" y="72"/>
                  </a:lnTo>
                  <a:lnTo>
                    <a:pt x="347" y="72"/>
                  </a:lnTo>
                  <a:lnTo>
                    <a:pt x="350" y="70"/>
                  </a:lnTo>
                  <a:lnTo>
                    <a:pt x="353" y="67"/>
                  </a:lnTo>
                  <a:lnTo>
                    <a:pt x="353" y="67"/>
                  </a:lnTo>
                  <a:lnTo>
                    <a:pt x="355" y="64"/>
                  </a:lnTo>
                  <a:lnTo>
                    <a:pt x="358" y="64"/>
                  </a:lnTo>
                  <a:lnTo>
                    <a:pt x="363" y="67"/>
                  </a:lnTo>
                  <a:lnTo>
                    <a:pt x="363" y="67"/>
                  </a:lnTo>
                  <a:lnTo>
                    <a:pt x="366" y="67"/>
                  </a:lnTo>
                  <a:lnTo>
                    <a:pt x="369" y="67"/>
                  </a:lnTo>
                  <a:lnTo>
                    <a:pt x="369" y="70"/>
                  </a:lnTo>
                  <a:lnTo>
                    <a:pt x="369" y="70"/>
                  </a:lnTo>
                  <a:lnTo>
                    <a:pt x="369" y="72"/>
                  </a:lnTo>
                  <a:lnTo>
                    <a:pt x="369" y="72"/>
                  </a:lnTo>
                  <a:lnTo>
                    <a:pt x="369" y="72"/>
                  </a:lnTo>
                  <a:lnTo>
                    <a:pt x="369" y="75"/>
                  </a:lnTo>
                  <a:lnTo>
                    <a:pt x="369" y="75"/>
                  </a:lnTo>
                  <a:lnTo>
                    <a:pt x="369" y="75"/>
                  </a:lnTo>
                  <a:lnTo>
                    <a:pt x="366" y="75"/>
                  </a:lnTo>
                  <a:lnTo>
                    <a:pt x="366" y="78"/>
                  </a:lnTo>
                  <a:lnTo>
                    <a:pt x="363" y="78"/>
                  </a:lnTo>
                  <a:lnTo>
                    <a:pt x="363" y="80"/>
                  </a:lnTo>
                  <a:lnTo>
                    <a:pt x="363" y="83"/>
                  </a:lnTo>
                  <a:lnTo>
                    <a:pt x="363" y="88"/>
                  </a:lnTo>
                  <a:lnTo>
                    <a:pt x="363" y="88"/>
                  </a:lnTo>
                  <a:lnTo>
                    <a:pt x="363" y="91"/>
                  </a:lnTo>
                  <a:lnTo>
                    <a:pt x="361" y="91"/>
                  </a:lnTo>
                  <a:lnTo>
                    <a:pt x="361" y="94"/>
                  </a:lnTo>
                  <a:lnTo>
                    <a:pt x="361" y="96"/>
                  </a:lnTo>
                  <a:lnTo>
                    <a:pt x="361" y="96"/>
                  </a:lnTo>
                  <a:lnTo>
                    <a:pt x="358" y="102"/>
                  </a:lnTo>
                  <a:lnTo>
                    <a:pt x="358" y="104"/>
                  </a:lnTo>
                  <a:lnTo>
                    <a:pt x="358" y="107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2"/>
                  </a:lnTo>
                  <a:lnTo>
                    <a:pt x="358" y="118"/>
                  </a:lnTo>
                  <a:lnTo>
                    <a:pt x="358" y="120"/>
                  </a:lnTo>
                  <a:lnTo>
                    <a:pt x="361" y="123"/>
                  </a:lnTo>
                  <a:lnTo>
                    <a:pt x="361" y="123"/>
                  </a:lnTo>
                  <a:lnTo>
                    <a:pt x="361" y="126"/>
                  </a:lnTo>
                  <a:lnTo>
                    <a:pt x="361" y="129"/>
                  </a:lnTo>
                  <a:lnTo>
                    <a:pt x="361" y="129"/>
                  </a:lnTo>
                  <a:lnTo>
                    <a:pt x="361" y="131"/>
                  </a:lnTo>
                  <a:lnTo>
                    <a:pt x="361" y="131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7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61" y="142"/>
                  </a:lnTo>
                  <a:lnTo>
                    <a:pt x="361" y="142"/>
                  </a:lnTo>
                  <a:lnTo>
                    <a:pt x="361" y="145"/>
                  </a:lnTo>
                  <a:lnTo>
                    <a:pt x="361" y="145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6" y="150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5"/>
                  </a:lnTo>
                  <a:lnTo>
                    <a:pt x="369" y="158"/>
                  </a:lnTo>
                  <a:lnTo>
                    <a:pt x="369" y="158"/>
                  </a:lnTo>
                  <a:lnTo>
                    <a:pt x="366" y="161"/>
                  </a:lnTo>
                  <a:lnTo>
                    <a:pt x="366" y="161"/>
                  </a:lnTo>
                  <a:lnTo>
                    <a:pt x="363" y="163"/>
                  </a:lnTo>
                  <a:lnTo>
                    <a:pt x="363" y="163"/>
                  </a:lnTo>
                  <a:lnTo>
                    <a:pt x="363" y="166"/>
                  </a:lnTo>
                  <a:lnTo>
                    <a:pt x="363" y="169"/>
                  </a:lnTo>
                  <a:lnTo>
                    <a:pt x="361" y="171"/>
                  </a:lnTo>
                  <a:lnTo>
                    <a:pt x="361" y="171"/>
                  </a:lnTo>
                  <a:lnTo>
                    <a:pt x="363" y="174"/>
                  </a:lnTo>
                  <a:lnTo>
                    <a:pt x="363" y="174"/>
                  </a:lnTo>
                  <a:lnTo>
                    <a:pt x="363" y="177"/>
                  </a:lnTo>
                  <a:lnTo>
                    <a:pt x="363" y="179"/>
                  </a:lnTo>
                  <a:lnTo>
                    <a:pt x="363" y="182"/>
                  </a:lnTo>
                  <a:lnTo>
                    <a:pt x="363" y="182"/>
                  </a:lnTo>
                  <a:lnTo>
                    <a:pt x="363" y="185"/>
                  </a:lnTo>
                  <a:lnTo>
                    <a:pt x="366" y="187"/>
                  </a:lnTo>
                  <a:lnTo>
                    <a:pt x="366" y="187"/>
                  </a:lnTo>
                  <a:lnTo>
                    <a:pt x="366" y="190"/>
                  </a:lnTo>
                  <a:lnTo>
                    <a:pt x="369" y="190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6" y="198"/>
                  </a:lnTo>
                  <a:lnTo>
                    <a:pt x="363" y="201"/>
                  </a:lnTo>
                  <a:lnTo>
                    <a:pt x="363" y="203"/>
                  </a:lnTo>
                  <a:lnTo>
                    <a:pt x="363" y="203"/>
                  </a:lnTo>
                  <a:lnTo>
                    <a:pt x="363" y="206"/>
                  </a:lnTo>
                  <a:lnTo>
                    <a:pt x="363" y="206"/>
                  </a:lnTo>
                  <a:lnTo>
                    <a:pt x="363" y="209"/>
                  </a:lnTo>
                  <a:lnTo>
                    <a:pt x="363" y="211"/>
                  </a:lnTo>
                  <a:lnTo>
                    <a:pt x="363" y="211"/>
                  </a:lnTo>
                  <a:lnTo>
                    <a:pt x="363" y="214"/>
                  </a:lnTo>
                  <a:lnTo>
                    <a:pt x="363" y="214"/>
                  </a:lnTo>
                  <a:lnTo>
                    <a:pt x="363" y="217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1" y="222"/>
                  </a:lnTo>
                  <a:lnTo>
                    <a:pt x="361" y="222"/>
                  </a:lnTo>
                  <a:lnTo>
                    <a:pt x="361" y="225"/>
                  </a:lnTo>
                  <a:lnTo>
                    <a:pt x="361" y="225"/>
                  </a:lnTo>
                  <a:lnTo>
                    <a:pt x="361" y="227"/>
                  </a:lnTo>
                  <a:lnTo>
                    <a:pt x="361" y="227"/>
                  </a:lnTo>
                  <a:lnTo>
                    <a:pt x="361" y="230"/>
                  </a:lnTo>
                  <a:lnTo>
                    <a:pt x="361" y="230"/>
                  </a:lnTo>
                  <a:lnTo>
                    <a:pt x="361" y="233"/>
                  </a:lnTo>
                  <a:lnTo>
                    <a:pt x="361" y="233"/>
                  </a:lnTo>
                  <a:lnTo>
                    <a:pt x="361" y="235"/>
                  </a:lnTo>
                  <a:lnTo>
                    <a:pt x="361" y="235"/>
                  </a:lnTo>
                  <a:lnTo>
                    <a:pt x="361" y="238"/>
                  </a:lnTo>
                  <a:lnTo>
                    <a:pt x="361" y="238"/>
                  </a:lnTo>
                  <a:lnTo>
                    <a:pt x="361" y="241"/>
                  </a:lnTo>
                  <a:lnTo>
                    <a:pt x="361" y="243"/>
                  </a:lnTo>
                  <a:lnTo>
                    <a:pt x="361" y="243"/>
                  </a:lnTo>
                  <a:lnTo>
                    <a:pt x="358" y="246"/>
                  </a:lnTo>
                  <a:lnTo>
                    <a:pt x="358" y="249"/>
                  </a:lnTo>
                  <a:lnTo>
                    <a:pt x="358" y="251"/>
                  </a:lnTo>
                  <a:lnTo>
                    <a:pt x="355" y="251"/>
                  </a:lnTo>
                  <a:lnTo>
                    <a:pt x="355" y="254"/>
                  </a:lnTo>
                  <a:lnTo>
                    <a:pt x="355" y="254"/>
                  </a:lnTo>
                  <a:lnTo>
                    <a:pt x="353" y="257"/>
                  </a:lnTo>
                  <a:lnTo>
                    <a:pt x="353" y="257"/>
                  </a:lnTo>
                  <a:lnTo>
                    <a:pt x="353" y="257"/>
                  </a:lnTo>
                  <a:lnTo>
                    <a:pt x="353" y="259"/>
                  </a:lnTo>
                  <a:lnTo>
                    <a:pt x="350" y="262"/>
                  </a:lnTo>
                  <a:lnTo>
                    <a:pt x="350" y="262"/>
                  </a:lnTo>
                  <a:lnTo>
                    <a:pt x="350" y="265"/>
                  </a:lnTo>
                  <a:lnTo>
                    <a:pt x="350" y="265"/>
                  </a:lnTo>
                  <a:lnTo>
                    <a:pt x="350" y="270"/>
                  </a:lnTo>
                  <a:lnTo>
                    <a:pt x="353" y="273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5"/>
                  </a:lnTo>
                  <a:lnTo>
                    <a:pt x="350" y="278"/>
                  </a:lnTo>
                  <a:lnTo>
                    <a:pt x="347" y="278"/>
                  </a:lnTo>
                  <a:lnTo>
                    <a:pt x="347" y="281"/>
                  </a:lnTo>
                  <a:lnTo>
                    <a:pt x="347" y="281"/>
                  </a:lnTo>
                  <a:lnTo>
                    <a:pt x="347" y="283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6"/>
                  </a:lnTo>
                  <a:lnTo>
                    <a:pt x="347" y="289"/>
                  </a:lnTo>
                  <a:lnTo>
                    <a:pt x="347" y="289"/>
                  </a:lnTo>
                  <a:lnTo>
                    <a:pt x="345" y="292"/>
                  </a:lnTo>
                  <a:lnTo>
                    <a:pt x="345" y="292"/>
                  </a:lnTo>
                  <a:lnTo>
                    <a:pt x="345" y="294"/>
                  </a:lnTo>
                  <a:lnTo>
                    <a:pt x="345" y="294"/>
                  </a:lnTo>
                  <a:lnTo>
                    <a:pt x="342" y="297"/>
                  </a:lnTo>
                  <a:lnTo>
                    <a:pt x="342" y="297"/>
                  </a:lnTo>
                  <a:lnTo>
                    <a:pt x="342" y="297"/>
                  </a:lnTo>
                  <a:lnTo>
                    <a:pt x="342" y="300"/>
                  </a:lnTo>
                  <a:lnTo>
                    <a:pt x="342" y="300"/>
                  </a:lnTo>
                  <a:lnTo>
                    <a:pt x="342" y="302"/>
                  </a:lnTo>
                  <a:lnTo>
                    <a:pt x="342" y="302"/>
                  </a:lnTo>
                  <a:lnTo>
                    <a:pt x="342" y="305"/>
                  </a:lnTo>
                  <a:lnTo>
                    <a:pt x="342" y="305"/>
                  </a:lnTo>
                  <a:lnTo>
                    <a:pt x="339" y="305"/>
                  </a:lnTo>
                  <a:lnTo>
                    <a:pt x="339" y="308"/>
                  </a:lnTo>
                  <a:lnTo>
                    <a:pt x="339" y="308"/>
                  </a:lnTo>
                  <a:lnTo>
                    <a:pt x="337" y="310"/>
                  </a:lnTo>
                  <a:lnTo>
                    <a:pt x="337" y="310"/>
                  </a:lnTo>
                  <a:lnTo>
                    <a:pt x="337" y="313"/>
                  </a:lnTo>
                  <a:lnTo>
                    <a:pt x="337" y="313"/>
                  </a:lnTo>
                  <a:lnTo>
                    <a:pt x="337" y="316"/>
                  </a:lnTo>
                  <a:lnTo>
                    <a:pt x="337" y="316"/>
                  </a:lnTo>
                  <a:lnTo>
                    <a:pt x="337" y="316"/>
                  </a:lnTo>
                  <a:lnTo>
                    <a:pt x="337" y="318"/>
                  </a:lnTo>
                  <a:lnTo>
                    <a:pt x="337" y="318"/>
                  </a:lnTo>
                  <a:lnTo>
                    <a:pt x="339" y="324"/>
                  </a:lnTo>
                  <a:lnTo>
                    <a:pt x="337" y="326"/>
                  </a:lnTo>
                  <a:lnTo>
                    <a:pt x="337" y="326"/>
                  </a:lnTo>
                  <a:lnTo>
                    <a:pt x="337" y="326"/>
                  </a:lnTo>
                  <a:lnTo>
                    <a:pt x="337" y="329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1" y="332"/>
                  </a:lnTo>
                  <a:lnTo>
                    <a:pt x="331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2"/>
                  </a:lnTo>
                  <a:lnTo>
                    <a:pt x="334" y="334"/>
                  </a:lnTo>
                  <a:lnTo>
                    <a:pt x="334" y="334"/>
                  </a:lnTo>
                  <a:lnTo>
                    <a:pt x="334" y="337"/>
                  </a:lnTo>
                  <a:lnTo>
                    <a:pt x="334" y="340"/>
                  </a:lnTo>
                  <a:lnTo>
                    <a:pt x="334" y="340"/>
                  </a:lnTo>
                  <a:lnTo>
                    <a:pt x="334" y="342"/>
                  </a:lnTo>
                  <a:lnTo>
                    <a:pt x="334" y="342"/>
                  </a:lnTo>
                  <a:lnTo>
                    <a:pt x="334" y="342"/>
                  </a:lnTo>
                  <a:lnTo>
                    <a:pt x="334" y="345"/>
                  </a:lnTo>
                  <a:lnTo>
                    <a:pt x="334" y="345"/>
                  </a:lnTo>
                  <a:lnTo>
                    <a:pt x="334" y="345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1" y="348"/>
                  </a:lnTo>
                  <a:lnTo>
                    <a:pt x="334" y="350"/>
                  </a:lnTo>
                  <a:lnTo>
                    <a:pt x="334" y="350"/>
                  </a:lnTo>
                  <a:lnTo>
                    <a:pt x="331" y="350"/>
                  </a:lnTo>
                  <a:lnTo>
                    <a:pt x="331" y="353"/>
                  </a:lnTo>
                  <a:lnTo>
                    <a:pt x="331" y="353"/>
                  </a:lnTo>
                  <a:lnTo>
                    <a:pt x="331" y="35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8" name="Freeform 8873">
              <a:extLst>
                <a:ext uri="{FF2B5EF4-FFF2-40B4-BE49-F238E27FC236}">
                  <a16:creationId xmlns:a16="http://schemas.microsoft.com/office/drawing/2014/main" id="{2D1EBBC8-A942-E448-B28F-91F9B55B8968}"/>
                </a:ext>
              </a:extLst>
            </p:cNvPr>
            <p:cNvSpPr/>
            <p:nvPr/>
          </p:nvSpPr>
          <p:spPr bwMode="auto">
            <a:xfrm>
              <a:off x="9776615" y="5422901"/>
              <a:ext cx="411163" cy="293687"/>
            </a:xfrm>
            <a:custGeom>
              <a:avLst/>
              <a:gdLst>
                <a:gd name="T0" fmla="*/ 5 w 259"/>
                <a:gd name="T1" fmla="*/ 83 h 185"/>
                <a:gd name="T2" fmla="*/ 16 w 259"/>
                <a:gd name="T3" fmla="*/ 78 h 185"/>
                <a:gd name="T4" fmla="*/ 16 w 259"/>
                <a:gd name="T5" fmla="*/ 65 h 185"/>
                <a:gd name="T6" fmla="*/ 18 w 259"/>
                <a:gd name="T7" fmla="*/ 49 h 185"/>
                <a:gd name="T8" fmla="*/ 29 w 259"/>
                <a:gd name="T9" fmla="*/ 40 h 185"/>
                <a:gd name="T10" fmla="*/ 40 w 259"/>
                <a:gd name="T11" fmla="*/ 32 h 185"/>
                <a:gd name="T12" fmla="*/ 53 w 259"/>
                <a:gd name="T13" fmla="*/ 24 h 185"/>
                <a:gd name="T14" fmla="*/ 61 w 259"/>
                <a:gd name="T15" fmla="*/ 22 h 185"/>
                <a:gd name="T16" fmla="*/ 58 w 259"/>
                <a:gd name="T17" fmla="*/ 8 h 185"/>
                <a:gd name="T18" fmla="*/ 72 w 259"/>
                <a:gd name="T19" fmla="*/ 3 h 185"/>
                <a:gd name="T20" fmla="*/ 82 w 259"/>
                <a:gd name="T21" fmla="*/ 11 h 185"/>
                <a:gd name="T22" fmla="*/ 98 w 259"/>
                <a:gd name="T23" fmla="*/ 6 h 185"/>
                <a:gd name="T24" fmla="*/ 109 w 259"/>
                <a:gd name="T25" fmla="*/ 6 h 185"/>
                <a:gd name="T26" fmla="*/ 128 w 259"/>
                <a:gd name="T27" fmla="*/ 3 h 185"/>
                <a:gd name="T28" fmla="*/ 141 w 259"/>
                <a:gd name="T29" fmla="*/ 14 h 185"/>
                <a:gd name="T30" fmla="*/ 168 w 259"/>
                <a:gd name="T31" fmla="*/ 30 h 185"/>
                <a:gd name="T32" fmla="*/ 194 w 259"/>
                <a:gd name="T33" fmla="*/ 30 h 185"/>
                <a:gd name="T34" fmla="*/ 205 w 259"/>
                <a:gd name="T35" fmla="*/ 24 h 185"/>
                <a:gd name="T36" fmla="*/ 211 w 259"/>
                <a:gd name="T37" fmla="*/ 19 h 185"/>
                <a:gd name="T38" fmla="*/ 213 w 259"/>
                <a:gd name="T39" fmla="*/ 14 h 185"/>
                <a:gd name="T40" fmla="*/ 219 w 259"/>
                <a:gd name="T41" fmla="*/ 8 h 185"/>
                <a:gd name="T42" fmla="*/ 227 w 259"/>
                <a:gd name="T43" fmla="*/ 11 h 185"/>
                <a:gd name="T44" fmla="*/ 235 w 259"/>
                <a:gd name="T45" fmla="*/ 14 h 185"/>
                <a:gd name="T46" fmla="*/ 243 w 259"/>
                <a:gd name="T47" fmla="*/ 11 h 185"/>
                <a:gd name="T48" fmla="*/ 253 w 259"/>
                <a:gd name="T49" fmla="*/ 3 h 185"/>
                <a:gd name="T50" fmla="*/ 259 w 259"/>
                <a:gd name="T51" fmla="*/ 8 h 185"/>
                <a:gd name="T52" fmla="*/ 253 w 259"/>
                <a:gd name="T53" fmla="*/ 24 h 185"/>
                <a:gd name="T54" fmla="*/ 240 w 259"/>
                <a:gd name="T55" fmla="*/ 30 h 185"/>
                <a:gd name="T56" fmla="*/ 227 w 259"/>
                <a:gd name="T57" fmla="*/ 40 h 185"/>
                <a:gd name="T58" fmla="*/ 219 w 259"/>
                <a:gd name="T59" fmla="*/ 46 h 185"/>
                <a:gd name="T60" fmla="*/ 213 w 259"/>
                <a:gd name="T61" fmla="*/ 57 h 185"/>
                <a:gd name="T62" fmla="*/ 205 w 259"/>
                <a:gd name="T63" fmla="*/ 62 h 185"/>
                <a:gd name="T64" fmla="*/ 200 w 259"/>
                <a:gd name="T65" fmla="*/ 73 h 185"/>
                <a:gd name="T66" fmla="*/ 194 w 259"/>
                <a:gd name="T67" fmla="*/ 81 h 185"/>
                <a:gd name="T68" fmla="*/ 181 w 259"/>
                <a:gd name="T69" fmla="*/ 89 h 185"/>
                <a:gd name="T70" fmla="*/ 170 w 259"/>
                <a:gd name="T71" fmla="*/ 97 h 185"/>
                <a:gd name="T72" fmla="*/ 165 w 259"/>
                <a:gd name="T73" fmla="*/ 107 h 185"/>
                <a:gd name="T74" fmla="*/ 160 w 259"/>
                <a:gd name="T75" fmla="*/ 118 h 185"/>
                <a:gd name="T76" fmla="*/ 152 w 259"/>
                <a:gd name="T77" fmla="*/ 126 h 185"/>
                <a:gd name="T78" fmla="*/ 154 w 259"/>
                <a:gd name="T79" fmla="*/ 139 h 185"/>
                <a:gd name="T80" fmla="*/ 146 w 259"/>
                <a:gd name="T81" fmla="*/ 145 h 185"/>
                <a:gd name="T82" fmla="*/ 133 w 259"/>
                <a:gd name="T83" fmla="*/ 153 h 185"/>
                <a:gd name="T84" fmla="*/ 120 w 259"/>
                <a:gd name="T85" fmla="*/ 163 h 185"/>
                <a:gd name="T86" fmla="*/ 109 w 259"/>
                <a:gd name="T87" fmla="*/ 166 h 185"/>
                <a:gd name="T88" fmla="*/ 98 w 259"/>
                <a:gd name="T89" fmla="*/ 171 h 185"/>
                <a:gd name="T90" fmla="*/ 88 w 259"/>
                <a:gd name="T91" fmla="*/ 171 h 185"/>
                <a:gd name="T92" fmla="*/ 77 w 259"/>
                <a:gd name="T93" fmla="*/ 179 h 185"/>
                <a:gd name="T94" fmla="*/ 64 w 259"/>
                <a:gd name="T95" fmla="*/ 185 h 185"/>
                <a:gd name="T96" fmla="*/ 53 w 259"/>
                <a:gd name="T97" fmla="*/ 171 h 185"/>
                <a:gd name="T98" fmla="*/ 42 w 259"/>
                <a:gd name="T99" fmla="*/ 166 h 185"/>
                <a:gd name="T100" fmla="*/ 32 w 259"/>
                <a:gd name="T101" fmla="*/ 161 h 185"/>
                <a:gd name="T102" fmla="*/ 32 w 259"/>
                <a:gd name="T103" fmla="*/ 150 h 185"/>
                <a:gd name="T104" fmla="*/ 29 w 259"/>
                <a:gd name="T105" fmla="*/ 134 h 185"/>
                <a:gd name="T106" fmla="*/ 21 w 259"/>
                <a:gd name="T107" fmla="*/ 123 h 185"/>
                <a:gd name="T108" fmla="*/ 13 w 259"/>
                <a:gd name="T109" fmla="*/ 126 h 185"/>
                <a:gd name="T110" fmla="*/ 8 w 259"/>
                <a:gd name="T111" fmla="*/ 118 h 185"/>
                <a:gd name="T112" fmla="*/ 2 w 259"/>
                <a:gd name="T113" fmla="*/ 107 h 185"/>
                <a:gd name="T114" fmla="*/ 5 w 259"/>
                <a:gd name="T115" fmla="*/ 94 h 185"/>
                <a:gd name="T116" fmla="*/ 0 w 259"/>
                <a:gd name="T117" fmla="*/ 9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85" extrusionOk="0">
                  <a:moveTo>
                    <a:pt x="0" y="94"/>
                  </a:moveTo>
                  <a:lnTo>
                    <a:pt x="0" y="91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2" y="86"/>
                  </a:lnTo>
                  <a:lnTo>
                    <a:pt x="2" y="83"/>
                  </a:lnTo>
                  <a:lnTo>
                    <a:pt x="5" y="83"/>
                  </a:lnTo>
                  <a:lnTo>
                    <a:pt x="5" y="81"/>
                  </a:lnTo>
                  <a:lnTo>
                    <a:pt x="8" y="81"/>
                  </a:lnTo>
                  <a:lnTo>
                    <a:pt x="8" y="81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3" y="78"/>
                  </a:lnTo>
                  <a:lnTo>
                    <a:pt x="16" y="78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3" y="70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57"/>
                  </a:lnTo>
                  <a:lnTo>
                    <a:pt x="16" y="54"/>
                  </a:lnTo>
                  <a:lnTo>
                    <a:pt x="16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6" y="43"/>
                  </a:lnTo>
                  <a:lnTo>
                    <a:pt x="29" y="40"/>
                  </a:lnTo>
                  <a:lnTo>
                    <a:pt x="29" y="43"/>
                  </a:lnTo>
                  <a:lnTo>
                    <a:pt x="34" y="43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40" y="35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5" y="30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1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1" y="24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58" y="19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61" y="14"/>
                  </a:lnTo>
                  <a:lnTo>
                    <a:pt x="61" y="11"/>
                  </a:lnTo>
                  <a:lnTo>
                    <a:pt x="58" y="8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9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80" y="3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2" y="11"/>
                  </a:lnTo>
                  <a:lnTo>
                    <a:pt x="85" y="11"/>
                  </a:lnTo>
                  <a:lnTo>
                    <a:pt x="90" y="11"/>
                  </a:lnTo>
                  <a:lnTo>
                    <a:pt x="93" y="11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1" y="3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6" y="3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12" y="6"/>
                  </a:lnTo>
                  <a:lnTo>
                    <a:pt x="112" y="3"/>
                  </a:lnTo>
                  <a:lnTo>
                    <a:pt x="114" y="3"/>
                  </a:lnTo>
                  <a:lnTo>
                    <a:pt x="117" y="3"/>
                  </a:lnTo>
                  <a:lnTo>
                    <a:pt x="122" y="3"/>
                  </a:lnTo>
                  <a:lnTo>
                    <a:pt x="125" y="3"/>
                  </a:lnTo>
                  <a:lnTo>
                    <a:pt x="128" y="3"/>
                  </a:lnTo>
                  <a:lnTo>
                    <a:pt x="130" y="3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6" y="3"/>
                  </a:lnTo>
                  <a:lnTo>
                    <a:pt x="136" y="6"/>
                  </a:lnTo>
                  <a:lnTo>
                    <a:pt x="136" y="8"/>
                  </a:lnTo>
                  <a:lnTo>
                    <a:pt x="141" y="14"/>
                  </a:lnTo>
                  <a:lnTo>
                    <a:pt x="144" y="16"/>
                  </a:lnTo>
                  <a:lnTo>
                    <a:pt x="149" y="24"/>
                  </a:lnTo>
                  <a:lnTo>
                    <a:pt x="152" y="24"/>
                  </a:lnTo>
                  <a:lnTo>
                    <a:pt x="154" y="27"/>
                  </a:lnTo>
                  <a:lnTo>
                    <a:pt x="160" y="30"/>
                  </a:lnTo>
                  <a:lnTo>
                    <a:pt x="165" y="30"/>
                  </a:lnTo>
                  <a:lnTo>
                    <a:pt x="168" y="30"/>
                  </a:lnTo>
                  <a:lnTo>
                    <a:pt x="170" y="30"/>
                  </a:lnTo>
                  <a:lnTo>
                    <a:pt x="181" y="30"/>
                  </a:lnTo>
                  <a:lnTo>
                    <a:pt x="186" y="30"/>
                  </a:lnTo>
                  <a:lnTo>
                    <a:pt x="189" y="27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4" y="30"/>
                  </a:lnTo>
                  <a:lnTo>
                    <a:pt x="197" y="27"/>
                  </a:lnTo>
                  <a:lnTo>
                    <a:pt x="197" y="27"/>
                  </a:lnTo>
                  <a:lnTo>
                    <a:pt x="197" y="27"/>
                  </a:lnTo>
                  <a:lnTo>
                    <a:pt x="200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5" y="24"/>
                  </a:lnTo>
                  <a:lnTo>
                    <a:pt x="205" y="24"/>
                  </a:lnTo>
                  <a:lnTo>
                    <a:pt x="205" y="24"/>
                  </a:lnTo>
                  <a:lnTo>
                    <a:pt x="208" y="22"/>
                  </a:lnTo>
                  <a:lnTo>
                    <a:pt x="208" y="22"/>
                  </a:lnTo>
                  <a:lnTo>
                    <a:pt x="208" y="19"/>
                  </a:lnTo>
                  <a:lnTo>
                    <a:pt x="211" y="19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1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3" y="14"/>
                  </a:lnTo>
                  <a:lnTo>
                    <a:pt x="213" y="14"/>
                  </a:lnTo>
                  <a:lnTo>
                    <a:pt x="211" y="14"/>
                  </a:lnTo>
                  <a:lnTo>
                    <a:pt x="213" y="11"/>
                  </a:lnTo>
                  <a:lnTo>
                    <a:pt x="213" y="11"/>
                  </a:lnTo>
                  <a:lnTo>
                    <a:pt x="216" y="11"/>
                  </a:lnTo>
                  <a:lnTo>
                    <a:pt x="216" y="8"/>
                  </a:lnTo>
                  <a:lnTo>
                    <a:pt x="216" y="8"/>
                  </a:lnTo>
                  <a:lnTo>
                    <a:pt x="219" y="8"/>
                  </a:lnTo>
                  <a:lnTo>
                    <a:pt x="221" y="8"/>
                  </a:lnTo>
                  <a:lnTo>
                    <a:pt x="221" y="8"/>
                  </a:lnTo>
                  <a:lnTo>
                    <a:pt x="224" y="8"/>
                  </a:lnTo>
                  <a:lnTo>
                    <a:pt x="224" y="8"/>
                  </a:lnTo>
                  <a:lnTo>
                    <a:pt x="224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9" y="11"/>
                  </a:lnTo>
                  <a:lnTo>
                    <a:pt x="229" y="11"/>
                  </a:lnTo>
                  <a:lnTo>
                    <a:pt x="232" y="11"/>
                  </a:lnTo>
                  <a:lnTo>
                    <a:pt x="232" y="14"/>
                  </a:lnTo>
                  <a:lnTo>
                    <a:pt x="235" y="14"/>
                  </a:lnTo>
                  <a:lnTo>
                    <a:pt x="235" y="14"/>
                  </a:lnTo>
                  <a:lnTo>
                    <a:pt x="235" y="11"/>
                  </a:lnTo>
                  <a:lnTo>
                    <a:pt x="237" y="11"/>
                  </a:lnTo>
                  <a:lnTo>
                    <a:pt x="237" y="8"/>
                  </a:lnTo>
                  <a:lnTo>
                    <a:pt x="237" y="11"/>
                  </a:lnTo>
                  <a:lnTo>
                    <a:pt x="240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5" y="11"/>
                  </a:lnTo>
                  <a:lnTo>
                    <a:pt x="245" y="8"/>
                  </a:lnTo>
                  <a:lnTo>
                    <a:pt x="245" y="8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1" y="3"/>
                  </a:lnTo>
                  <a:lnTo>
                    <a:pt x="253" y="3"/>
                  </a:lnTo>
                  <a:lnTo>
                    <a:pt x="253" y="3"/>
                  </a:lnTo>
                  <a:lnTo>
                    <a:pt x="256" y="3"/>
                  </a:lnTo>
                  <a:lnTo>
                    <a:pt x="256" y="3"/>
                  </a:lnTo>
                  <a:lnTo>
                    <a:pt x="256" y="3"/>
                  </a:lnTo>
                  <a:lnTo>
                    <a:pt x="259" y="6"/>
                  </a:lnTo>
                  <a:lnTo>
                    <a:pt x="259" y="8"/>
                  </a:lnTo>
                  <a:lnTo>
                    <a:pt x="259" y="8"/>
                  </a:lnTo>
                  <a:lnTo>
                    <a:pt x="259" y="11"/>
                  </a:lnTo>
                  <a:lnTo>
                    <a:pt x="259" y="14"/>
                  </a:lnTo>
                  <a:lnTo>
                    <a:pt x="259" y="16"/>
                  </a:lnTo>
                  <a:lnTo>
                    <a:pt x="256" y="19"/>
                  </a:lnTo>
                  <a:lnTo>
                    <a:pt x="256" y="19"/>
                  </a:lnTo>
                  <a:lnTo>
                    <a:pt x="253" y="22"/>
                  </a:lnTo>
                  <a:lnTo>
                    <a:pt x="253" y="24"/>
                  </a:lnTo>
                  <a:lnTo>
                    <a:pt x="251" y="24"/>
                  </a:lnTo>
                  <a:lnTo>
                    <a:pt x="248" y="27"/>
                  </a:lnTo>
                  <a:lnTo>
                    <a:pt x="248" y="30"/>
                  </a:lnTo>
                  <a:lnTo>
                    <a:pt x="245" y="30"/>
                  </a:lnTo>
                  <a:lnTo>
                    <a:pt x="243" y="30"/>
                  </a:lnTo>
                  <a:lnTo>
                    <a:pt x="240" y="30"/>
                  </a:lnTo>
                  <a:lnTo>
                    <a:pt x="240" y="30"/>
                  </a:lnTo>
                  <a:lnTo>
                    <a:pt x="237" y="32"/>
                  </a:lnTo>
                  <a:lnTo>
                    <a:pt x="235" y="32"/>
                  </a:lnTo>
                  <a:lnTo>
                    <a:pt x="232" y="35"/>
                  </a:lnTo>
                  <a:lnTo>
                    <a:pt x="232" y="35"/>
                  </a:lnTo>
                  <a:lnTo>
                    <a:pt x="229" y="38"/>
                  </a:lnTo>
                  <a:lnTo>
                    <a:pt x="229" y="38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1" y="43"/>
                  </a:lnTo>
                  <a:lnTo>
                    <a:pt x="221" y="43"/>
                  </a:lnTo>
                  <a:lnTo>
                    <a:pt x="219" y="46"/>
                  </a:lnTo>
                  <a:lnTo>
                    <a:pt x="219" y="46"/>
                  </a:lnTo>
                  <a:lnTo>
                    <a:pt x="216" y="49"/>
                  </a:lnTo>
                  <a:lnTo>
                    <a:pt x="213" y="49"/>
                  </a:lnTo>
                  <a:lnTo>
                    <a:pt x="213" y="51"/>
                  </a:lnTo>
                  <a:lnTo>
                    <a:pt x="213" y="54"/>
                  </a:lnTo>
                  <a:lnTo>
                    <a:pt x="213" y="54"/>
                  </a:lnTo>
                  <a:lnTo>
                    <a:pt x="213" y="57"/>
                  </a:lnTo>
                  <a:lnTo>
                    <a:pt x="213" y="57"/>
                  </a:lnTo>
                  <a:lnTo>
                    <a:pt x="211" y="57"/>
                  </a:lnTo>
                  <a:lnTo>
                    <a:pt x="211" y="59"/>
                  </a:lnTo>
                  <a:lnTo>
                    <a:pt x="211" y="59"/>
                  </a:lnTo>
                  <a:lnTo>
                    <a:pt x="208" y="59"/>
                  </a:lnTo>
                  <a:lnTo>
                    <a:pt x="208" y="59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70"/>
                  </a:lnTo>
                  <a:lnTo>
                    <a:pt x="200" y="70"/>
                  </a:lnTo>
                  <a:lnTo>
                    <a:pt x="200" y="73"/>
                  </a:lnTo>
                  <a:lnTo>
                    <a:pt x="200" y="73"/>
                  </a:lnTo>
                  <a:lnTo>
                    <a:pt x="200" y="73"/>
                  </a:lnTo>
                  <a:lnTo>
                    <a:pt x="197" y="73"/>
                  </a:lnTo>
                  <a:lnTo>
                    <a:pt x="194" y="75"/>
                  </a:lnTo>
                  <a:lnTo>
                    <a:pt x="194" y="78"/>
                  </a:lnTo>
                  <a:lnTo>
                    <a:pt x="194" y="81"/>
                  </a:lnTo>
                  <a:lnTo>
                    <a:pt x="194" y="81"/>
                  </a:lnTo>
                  <a:lnTo>
                    <a:pt x="194" y="83"/>
                  </a:lnTo>
                  <a:lnTo>
                    <a:pt x="194" y="83"/>
                  </a:lnTo>
                  <a:lnTo>
                    <a:pt x="192" y="86"/>
                  </a:lnTo>
                  <a:lnTo>
                    <a:pt x="189" y="86"/>
                  </a:lnTo>
                  <a:lnTo>
                    <a:pt x="186" y="86"/>
                  </a:lnTo>
                  <a:lnTo>
                    <a:pt x="186" y="86"/>
                  </a:lnTo>
                  <a:lnTo>
                    <a:pt x="181" y="89"/>
                  </a:lnTo>
                  <a:lnTo>
                    <a:pt x="178" y="89"/>
                  </a:lnTo>
                  <a:lnTo>
                    <a:pt x="178" y="91"/>
                  </a:lnTo>
                  <a:lnTo>
                    <a:pt x="176" y="91"/>
                  </a:lnTo>
                  <a:lnTo>
                    <a:pt x="173" y="91"/>
                  </a:lnTo>
                  <a:lnTo>
                    <a:pt x="173" y="94"/>
                  </a:lnTo>
                  <a:lnTo>
                    <a:pt x="170" y="94"/>
                  </a:lnTo>
                  <a:lnTo>
                    <a:pt x="170" y="97"/>
                  </a:lnTo>
                  <a:lnTo>
                    <a:pt x="168" y="97"/>
                  </a:lnTo>
                  <a:lnTo>
                    <a:pt x="168" y="99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8" y="105"/>
                  </a:lnTo>
                  <a:lnTo>
                    <a:pt x="165" y="105"/>
                  </a:lnTo>
                  <a:lnTo>
                    <a:pt x="165" y="107"/>
                  </a:lnTo>
                  <a:lnTo>
                    <a:pt x="162" y="107"/>
                  </a:lnTo>
                  <a:lnTo>
                    <a:pt x="162" y="107"/>
                  </a:lnTo>
                  <a:lnTo>
                    <a:pt x="162" y="110"/>
                  </a:lnTo>
                  <a:lnTo>
                    <a:pt x="162" y="113"/>
                  </a:lnTo>
                  <a:lnTo>
                    <a:pt x="162" y="115"/>
                  </a:lnTo>
                  <a:lnTo>
                    <a:pt x="160" y="115"/>
                  </a:lnTo>
                  <a:lnTo>
                    <a:pt x="160" y="118"/>
                  </a:lnTo>
                  <a:lnTo>
                    <a:pt x="157" y="118"/>
                  </a:lnTo>
                  <a:lnTo>
                    <a:pt x="154" y="118"/>
                  </a:lnTo>
                  <a:lnTo>
                    <a:pt x="152" y="121"/>
                  </a:lnTo>
                  <a:lnTo>
                    <a:pt x="152" y="121"/>
                  </a:lnTo>
                  <a:lnTo>
                    <a:pt x="152" y="123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2" y="126"/>
                  </a:lnTo>
                  <a:lnTo>
                    <a:pt x="154" y="129"/>
                  </a:lnTo>
                  <a:lnTo>
                    <a:pt x="154" y="131"/>
                  </a:lnTo>
                  <a:lnTo>
                    <a:pt x="154" y="134"/>
                  </a:lnTo>
                  <a:lnTo>
                    <a:pt x="154" y="134"/>
                  </a:lnTo>
                  <a:lnTo>
                    <a:pt x="154" y="137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4" y="142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6" y="145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38" y="147"/>
                  </a:lnTo>
                  <a:lnTo>
                    <a:pt x="138" y="147"/>
                  </a:lnTo>
                  <a:lnTo>
                    <a:pt x="136" y="150"/>
                  </a:lnTo>
                  <a:lnTo>
                    <a:pt x="133" y="153"/>
                  </a:lnTo>
                  <a:lnTo>
                    <a:pt x="133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28" y="155"/>
                  </a:lnTo>
                  <a:lnTo>
                    <a:pt x="128" y="158"/>
                  </a:lnTo>
                  <a:lnTo>
                    <a:pt x="122" y="161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7" y="163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09" y="166"/>
                  </a:lnTo>
                  <a:lnTo>
                    <a:pt x="106" y="166"/>
                  </a:lnTo>
                  <a:lnTo>
                    <a:pt x="104" y="169"/>
                  </a:lnTo>
                  <a:lnTo>
                    <a:pt x="104" y="169"/>
                  </a:lnTo>
                  <a:lnTo>
                    <a:pt x="104" y="171"/>
                  </a:lnTo>
                  <a:lnTo>
                    <a:pt x="101" y="171"/>
                  </a:lnTo>
                  <a:lnTo>
                    <a:pt x="101" y="174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6" y="171"/>
                  </a:lnTo>
                  <a:lnTo>
                    <a:pt x="93" y="169"/>
                  </a:lnTo>
                  <a:lnTo>
                    <a:pt x="90" y="169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5" y="171"/>
                  </a:lnTo>
                  <a:lnTo>
                    <a:pt x="82" y="171"/>
                  </a:lnTo>
                  <a:lnTo>
                    <a:pt x="82" y="174"/>
                  </a:lnTo>
                  <a:lnTo>
                    <a:pt x="80" y="174"/>
                  </a:lnTo>
                  <a:lnTo>
                    <a:pt x="80" y="177"/>
                  </a:lnTo>
                  <a:lnTo>
                    <a:pt x="77" y="177"/>
                  </a:lnTo>
                  <a:lnTo>
                    <a:pt x="77" y="179"/>
                  </a:lnTo>
                  <a:lnTo>
                    <a:pt x="74" y="179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69" y="185"/>
                  </a:lnTo>
                  <a:lnTo>
                    <a:pt x="64" y="185"/>
                  </a:lnTo>
                  <a:lnTo>
                    <a:pt x="64" y="185"/>
                  </a:lnTo>
                  <a:lnTo>
                    <a:pt x="61" y="182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8" y="177"/>
                  </a:lnTo>
                  <a:lnTo>
                    <a:pt x="58" y="174"/>
                  </a:lnTo>
                  <a:lnTo>
                    <a:pt x="56" y="17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48" y="169"/>
                  </a:lnTo>
                  <a:lnTo>
                    <a:pt x="48" y="166"/>
                  </a:lnTo>
                  <a:lnTo>
                    <a:pt x="45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0" y="166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4" y="163"/>
                  </a:lnTo>
                  <a:lnTo>
                    <a:pt x="34" y="163"/>
                  </a:lnTo>
                  <a:lnTo>
                    <a:pt x="32" y="161"/>
                  </a:lnTo>
                  <a:lnTo>
                    <a:pt x="32" y="161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0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2" y="134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26" y="134"/>
                  </a:lnTo>
                  <a:lnTo>
                    <a:pt x="26" y="131"/>
                  </a:lnTo>
                  <a:lnTo>
                    <a:pt x="24" y="131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1" y="123"/>
                  </a:lnTo>
                  <a:lnTo>
                    <a:pt x="21" y="123"/>
                  </a:lnTo>
                  <a:lnTo>
                    <a:pt x="21" y="123"/>
                  </a:lnTo>
                  <a:lnTo>
                    <a:pt x="18" y="123"/>
                  </a:lnTo>
                  <a:lnTo>
                    <a:pt x="16" y="123"/>
                  </a:lnTo>
                  <a:lnTo>
                    <a:pt x="16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1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7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99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59" name="Freeform 8874">
              <a:extLst>
                <a:ext uri="{FF2B5EF4-FFF2-40B4-BE49-F238E27FC236}">
                  <a16:creationId xmlns:a16="http://schemas.microsoft.com/office/drawing/2014/main" id="{4CD288D5-21FB-9C4D-9885-579C94DD8A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6978" y="4567238"/>
              <a:ext cx="1190625" cy="1530349"/>
            </a:xfrm>
            <a:custGeom>
              <a:avLst/>
              <a:gdLst>
                <a:gd name="T0" fmla="*/ 443 w 750"/>
                <a:gd name="T1" fmla="*/ 769 h 964"/>
                <a:gd name="T2" fmla="*/ 454 w 750"/>
                <a:gd name="T3" fmla="*/ 740 h 964"/>
                <a:gd name="T4" fmla="*/ 446 w 750"/>
                <a:gd name="T5" fmla="*/ 726 h 964"/>
                <a:gd name="T6" fmla="*/ 441 w 750"/>
                <a:gd name="T7" fmla="*/ 684 h 964"/>
                <a:gd name="T8" fmla="*/ 401 w 750"/>
                <a:gd name="T9" fmla="*/ 673 h 964"/>
                <a:gd name="T10" fmla="*/ 371 w 750"/>
                <a:gd name="T11" fmla="*/ 716 h 964"/>
                <a:gd name="T12" fmla="*/ 336 w 750"/>
                <a:gd name="T13" fmla="*/ 726 h 964"/>
                <a:gd name="T14" fmla="*/ 323 w 750"/>
                <a:gd name="T15" fmla="*/ 740 h 964"/>
                <a:gd name="T16" fmla="*/ 286 w 750"/>
                <a:gd name="T17" fmla="*/ 756 h 964"/>
                <a:gd name="T18" fmla="*/ 259 w 750"/>
                <a:gd name="T19" fmla="*/ 775 h 964"/>
                <a:gd name="T20" fmla="*/ 318 w 750"/>
                <a:gd name="T21" fmla="*/ 796 h 964"/>
                <a:gd name="T22" fmla="*/ 371 w 750"/>
                <a:gd name="T23" fmla="*/ 796 h 964"/>
                <a:gd name="T24" fmla="*/ 494 w 750"/>
                <a:gd name="T25" fmla="*/ 66 h 964"/>
                <a:gd name="T26" fmla="*/ 467 w 750"/>
                <a:gd name="T27" fmla="*/ 34 h 964"/>
                <a:gd name="T28" fmla="*/ 390 w 750"/>
                <a:gd name="T29" fmla="*/ 2 h 964"/>
                <a:gd name="T30" fmla="*/ 385 w 750"/>
                <a:gd name="T31" fmla="*/ 93 h 964"/>
                <a:gd name="T32" fmla="*/ 387 w 750"/>
                <a:gd name="T33" fmla="*/ 171 h 964"/>
                <a:gd name="T34" fmla="*/ 328 w 750"/>
                <a:gd name="T35" fmla="*/ 211 h 964"/>
                <a:gd name="T36" fmla="*/ 355 w 750"/>
                <a:gd name="T37" fmla="*/ 280 h 964"/>
                <a:gd name="T38" fmla="*/ 398 w 750"/>
                <a:gd name="T39" fmla="*/ 320 h 964"/>
                <a:gd name="T40" fmla="*/ 433 w 750"/>
                <a:gd name="T41" fmla="*/ 358 h 964"/>
                <a:gd name="T42" fmla="*/ 414 w 750"/>
                <a:gd name="T43" fmla="*/ 392 h 964"/>
                <a:gd name="T44" fmla="*/ 366 w 750"/>
                <a:gd name="T45" fmla="*/ 416 h 964"/>
                <a:gd name="T46" fmla="*/ 334 w 750"/>
                <a:gd name="T47" fmla="*/ 467 h 964"/>
                <a:gd name="T48" fmla="*/ 296 w 750"/>
                <a:gd name="T49" fmla="*/ 502 h 964"/>
                <a:gd name="T50" fmla="*/ 320 w 750"/>
                <a:gd name="T51" fmla="*/ 553 h 964"/>
                <a:gd name="T52" fmla="*/ 278 w 750"/>
                <a:gd name="T53" fmla="*/ 625 h 964"/>
                <a:gd name="T54" fmla="*/ 211 w 750"/>
                <a:gd name="T55" fmla="*/ 670 h 964"/>
                <a:gd name="T56" fmla="*/ 152 w 750"/>
                <a:gd name="T57" fmla="*/ 737 h 964"/>
                <a:gd name="T58" fmla="*/ 77 w 750"/>
                <a:gd name="T59" fmla="*/ 764 h 964"/>
                <a:gd name="T60" fmla="*/ 27 w 750"/>
                <a:gd name="T61" fmla="*/ 769 h 964"/>
                <a:gd name="T62" fmla="*/ 45 w 750"/>
                <a:gd name="T63" fmla="*/ 852 h 964"/>
                <a:gd name="T64" fmla="*/ 11 w 750"/>
                <a:gd name="T65" fmla="*/ 914 h 964"/>
                <a:gd name="T66" fmla="*/ 43 w 750"/>
                <a:gd name="T67" fmla="*/ 951 h 964"/>
                <a:gd name="T68" fmla="*/ 120 w 750"/>
                <a:gd name="T69" fmla="*/ 964 h 964"/>
                <a:gd name="T70" fmla="*/ 195 w 750"/>
                <a:gd name="T71" fmla="*/ 959 h 964"/>
                <a:gd name="T72" fmla="*/ 270 w 750"/>
                <a:gd name="T73" fmla="*/ 919 h 964"/>
                <a:gd name="T74" fmla="*/ 328 w 750"/>
                <a:gd name="T75" fmla="*/ 873 h 964"/>
                <a:gd name="T76" fmla="*/ 374 w 750"/>
                <a:gd name="T77" fmla="*/ 823 h 964"/>
                <a:gd name="T78" fmla="*/ 441 w 750"/>
                <a:gd name="T79" fmla="*/ 823 h 964"/>
                <a:gd name="T80" fmla="*/ 499 w 750"/>
                <a:gd name="T81" fmla="*/ 809 h 964"/>
                <a:gd name="T82" fmla="*/ 574 w 750"/>
                <a:gd name="T83" fmla="*/ 828 h 964"/>
                <a:gd name="T84" fmla="*/ 622 w 750"/>
                <a:gd name="T85" fmla="*/ 820 h 964"/>
                <a:gd name="T86" fmla="*/ 646 w 750"/>
                <a:gd name="T87" fmla="*/ 788 h 964"/>
                <a:gd name="T88" fmla="*/ 681 w 750"/>
                <a:gd name="T89" fmla="*/ 751 h 964"/>
                <a:gd name="T90" fmla="*/ 673 w 750"/>
                <a:gd name="T91" fmla="*/ 697 h 964"/>
                <a:gd name="T92" fmla="*/ 684 w 750"/>
                <a:gd name="T93" fmla="*/ 606 h 964"/>
                <a:gd name="T94" fmla="*/ 697 w 750"/>
                <a:gd name="T95" fmla="*/ 510 h 964"/>
                <a:gd name="T96" fmla="*/ 681 w 750"/>
                <a:gd name="T97" fmla="*/ 451 h 964"/>
                <a:gd name="T98" fmla="*/ 740 w 750"/>
                <a:gd name="T99" fmla="*/ 392 h 964"/>
                <a:gd name="T100" fmla="*/ 705 w 750"/>
                <a:gd name="T101" fmla="*/ 352 h 964"/>
                <a:gd name="T102" fmla="*/ 700 w 750"/>
                <a:gd name="T103" fmla="*/ 323 h 964"/>
                <a:gd name="T104" fmla="*/ 718 w 750"/>
                <a:gd name="T105" fmla="*/ 307 h 964"/>
                <a:gd name="T106" fmla="*/ 694 w 750"/>
                <a:gd name="T107" fmla="*/ 283 h 964"/>
                <a:gd name="T108" fmla="*/ 692 w 750"/>
                <a:gd name="T109" fmla="*/ 267 h 964"/>
                <a:gd name="T110" fmla="*/ 686 w 750"/>
                <a:gd name="T111" fmla="*/ 240 h 964"/>
                <a:gd name="T112" fmla="*/ 670 w 750"/>
                <a:gd name="T113" fmla="*/ 208 h 964"/>
                <a:gd name="T114" fmla="*/ 644 w 750"/>
                <a:gd name="T115" fmla="*/ 211 h 964"/>
                <a:gd name="T116" fmla="*/ 619 w 750"/>
                <a:gd name="T117" fmla="*/ 181 h 964"/>
                <a:gd name="T118" fmla="*/ 593 w 750"/>
                <a:gd name="T119" fmla="*/ 203 h 964"/>
                <a:gd name="T120" fmla="*/ 563 w 750"/>
                <a:gd name="T121" fmla="*/ 187 h 964"/>
                <a:gd name="T122" fmla="*/ 566 w 750"/>
                <a:gd name="T123" fmla="*/ 157 h 964"/>
                <a:gd name="T124" fmla="*/ 534 w 750"/>
                <a:gd name="T125" fmla="*/ 136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0" h="964" extrusionOk="0">
                  <a:moveTo>
                    <a:pt x="390" y="791"/>
                  </a:moveTo>
                  <a:lnTo>
                    <a:pt x="390" y="791"/>
                  </a:lnTo>
                  <a:lnTo>
                    <a:pt x="393" y="791"/>
                  </a:lnTo>
                  <a:lnTo>
                    <a:pt x="393" y="791"/>
                  </a:lnTo>
                  <a:lnTo>
                    <a:pt x="395" y="791"/>
                  </a:lnTo>
                  <a:lnTo>
                    <a:pt x="395" y="791"/>
                  </a:lnTo>
                  <a:lnTo>
                    <a:pt x="395" y="788"/>
                  </a:lnTo>
                  <a:lnTo>
                    <a:pt x="398" y="788"/>
                  </a:lnTo>
                  <a:lnTo>
                    <a:pt x="398" y="788"/>
                  </a:lnTo>
                  <a:lnTo>
                    <a:pt x="398" y="788"/>
                  </a:lnTo>
                  <a:lnTo>
                    <a:pt x="401" y="788"/>
                  </a:lnTo>
                  <a:lnTo>
                    <a:pt x="401" y="785"/>
                  </a:lnTo>
                  <a:lnTo>
                    <a:pt x="401" y="785"/>
                  </a:lnTo>
                  <a:lnTo>
                    <a:pt x="401" y="783"/>
                  </a:lnTo>
                  <a:lnTo>
                    <a:pt x="403" y="783"/>
                  </a:lnTo>
                  <a:lnTo>
                    <a:pt x="403" y="783"/>
                  </a:lnTo>
                  <a:lnTo>
                    <a:pt x="403" y="783"/>
                  </a:lnTo>
                  <a:lnTo>
                    <a:pt x="406" y="783"/>
                  </a:lnTo>
                  <a:lnTo>
                    <a:pt x="406" y="783"/>
                  </a:lnTo>
                  <a:lnTo>
                    <a:pt x="406" y="785"/>
                  </a:lnTo>
                  <a:lnTo>
                    <a:pt x="409" y="785"/>
                  </a:lnTo>
                  <a:lnTo>
                    <a:pt x="411" y="783"/>
                  </a:lnTo>
                  <a:lnTo>
                    <a:pt x="411" y="783"/>
                  </a:lnTo>
                  <a:lnTo>
                    <a:pt x="414" y="783"/>
                  </a:lnTo>
                  <a:lnTo>
                    <a:pt x="414" y="783"/>
                  </a:lnTo>
                  <a:lnTo>
                    <a:pt x="414" y="783"/>
                  </a:lnTo>
                  <a:lnTo>
                    <a:pt x="417" y="780"/>
                  </a:lnTo>
                  <a:lnTo>
                    <a:pt x="417" y="780"/>
                  </a:lnTo>
                  <a:lnTo>
                    <a:pt x="419" y="780"/>
                  </a:lnTo>
                  <a:lnTo>
                    <a:pt x="419" y="780"/>
                  </a:lnTo>
                  <a:lnTo>
                    <a:pt x="422" y="780"/>
                  </a:lnTo>
                  <a:lnTo>
                    <a:pt x="422" y="780"/>
                  </a:lnTo>
                  <a:lnTo>
                    <a:pt x="422" y="780"/>
                  </a:lnTo>
                  <a:lnTo>
                    <a:pt x="425" y="777"/>
                  </a:lnTo>
                  <a:lnTo>
                    <a:pt x="425" y="777"/>
                  </a:lnTo>
                  <a:lnTo>
                    <a:pt x="425" y="777"/>
                  </a:lnTo>
                  <a:lnTo>
                    <a:pt x="427" y="775"/>
                  </a:lnTo>
                  <a:lnTo>
                    <a:pt x="427" y="775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3" y="772"/>
                  </a:lnTo>
                  <a:lnTo>
                    <a:pt x="433" y="772"/>
                  </a:lnTo>
                  <a:lnTo>
                    <a:pt x="435" y="772"/>
                  </a:lnTo>
                  <a:lnTo>
                    <a:pt x="435" y="769"/>
                  </a:lnTo>
                  <a:lnTo>
                    <a:pt x="435" y="769"/>
                  </a:lnTo>
                  <a:lnTo>
                    <a:pt x="438" y="769"/>
                  </a:lnTo>
                  <a:lnTo>
                    <a:pt x="438" y="769"/>
                  </a:lnTo>
                  <a:lnTo>
                    <a:pt x="438" y="769"/>
                  </a:lnTo>
                  <a:lnTo>
                    <a:pt x="441" y="769"/>
                  </a:lnTo>
                  <a:lnTo>
                    <a:pt x="441" y="769"/>
                  </a:lnTo>
                  <a:lnTo>
                    <a:pt x="441" y="769"/>
                  </a:lnTo>
                  <a:lnTo>
                    <a:pt x="443" y="769"/>
                  </a:lnTo>
                  <a:lnTo>
                    <a:pt x="443" y="769"/>
                  </a:lnTo>
                  <a:lnTo>
                    <a:pt x="446" y="769"/>
                  </a:lnTo>
                  <a:lnTo>
                    <a:pt x="446" y="767"/>
                  </a:lnTo>
                  <a:lnTo>
                    <a:pt x="449" y="767"/>
                  </a:lnTo>
                  <a:lnTo>
                    <a:pt x="449" y="767"/>
                  </a:lnTo>
                  <a:lnTo>
                    <a:pt x="451" y="769"/>
                  </a:lnTo>
                  <a:lnTo>
                    <a:pt x="454" y="769"/>
                  </a:lnTo>
                  <a:lnTo>
                    <a:pt x="454" y="769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7"/>
                  </a:lnTo>
                  <a:lnTo>
                    <a:pt x="457" y="764"/>
                  </a:lnTo>
                  <a:lnTo>
                    <a:pt x="457" y="761"/>
                  </a:lnTo>
                  <a:lnTo>
                    <a:pt x="457" y="756"/>
                  </a:lnTo>
                  <a:lnTo>
                    <a:pt x="457" y="756"/>
                  </a:lnTo>
                  <a:lnTo>
                    <a:pt x="459" y="756"/>
                  </a:lnTo>
                  <a:lnTo>
                    <a:pt x="459" y="759"/>
                  </a:lnTo>
                  <a:lnTo>
                    <a:pt x="459" y="759"/>
                  </a:lnTo>
                  <a:lnTo>
                    <a:pt x="459" y="759"/>
                  </a:lnTo>
                  <a:lnTo>
                    <a:pt x="462" y="759"/>
                  </a:lnTo>
                  <a:lnTo>
                    <a:pt x="462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56"/>
                  </a:lnTo>
                  <a:lnTo>
                    <a:pt x="465" y="756"/>
                  </a:lnTo>
                  <a:lnTo>
                    <a:pt x="465" y="756"/>
                  </a:lnTo>
                  <a:lnTo>
                    <a:pt x="462" y="756"/>
                  </a:lnTo>
                  <a:lnTo>
                    <a:pt x="462" y="756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3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51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62" y="748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2"/>
                  </a:lnTo>
                  <a:lnTo>
                    <a:pt x="459" y="742"/>
                  </a:lnTo>
                  <a:lnTo>
                    <a:pt x="459" y="742"/>
                  </a:lnTo>
                  <a:lnTo>
                    <a:pt x="457" y="742"/>
                  </a:lnTo>
                  <a:lnTo>
                    <a:pt x="457" y="742"/>
                  </a:lnTo>
                  <a:lnTo>
                    <a:pt x="457" y="742"/>
                  </a:lnTo>
                  <a:lnTo>
                    <a:pt x="457" y="740"/>
                  </a:lnTo>
                  <a:lnTo>
                    <a:pt x="454" y="740"/>
                  </a:lnTo>
                  <a:lnTo>
                    <a:pt x="454" y="740"/>
                  </a:lnTo>
                  <a:lnTo>
                    <a:pt x="454" y="740"/>
                  </a:lnTo>
                  <a:lnTo>
                    <a:pt x="451" y="740"/>
                  </a:lnTo>
                  <a:lnTo>
                    <a:pt x="451" y="740"/>
                  </a:lnTo>
                  <a:lnTo>
                    <a:pt x="449" y="740"/>
                  </a:lnTo>
                  <a:lnTo>
                    <a:pt x="449" y="742"/>
                  </a:lnTo>
                  <a:lnTo>
                    <a:pt x="449" y="742"/>
                  </a:lnTo>
                  <a:lnTo>
                    <a:pt x="446" y="742"/>
                  </a:lnTo>
                  <a:lnTo>
                    <a:pt x="446" y="742"/>
                  </a:lnTo>
                  <a:lnTo>
                    <a:pt x="443" y="742"/>
                  </a:lnTo>
                  <a:lnTo>
                    <a:pt x="443" y="742"/>
                  </a:lnTo>
                  <a:lnTo>
                    <a:pt x="441" y="742"/>
                  </a:lnTo>
                  <a:lnTo>
                    <a:pt x="438" y="742"/>
                  </a:lnTo>
                  <a:lnTo>
                    <a:pt x="438" y="742"/>
                  </a:lnTo>
                  <a:lnTo>
                    <a:pt x="435" y="742"/>
                  </a:lnTo>
                  <a:lnTo>
                    <a:pt x="435" y="742"/>
                  </a:lnTo>
                  <a:lnTo>
                    <a:pt x="435" y="742"/>
                  </a:lnTo>
                  <a:lnTo>
                    <a:pt x="433" y="742"/>
                  </a:lnTo>
                  <a:lnTo>
                    <a:pt x="433" y="740"/>
                  </a:lnTo>
                  <a:lnTo>
                    <a:pt x="430" y="740"/>
                  </a:lnTo>
                  <a:lnTo>
                    <a:pt x="430" y="740"/>
                  </a:lnTo>
                  <a:lnTo>
                    <a:pt x="427" y="740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27" y="737"/>
                  </a:lnTo>
                  <a:lnTo>
                    <a:pt x="430" y="734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0" y="732"/>
                  </a:lnTo>
                  <a:lnTo>
                    <a:pt x="430" y="732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9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0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3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5" y="724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38" y="726"/>
                  </a:lnTo>
                  <a:lnTo>
                    <a:pt x="441" y="726"/>
                  </a:lnTo>
                  <a:lnTo>
                    <a:pt x="441" y="726"/>
                  </a:lnTo>
                  <a:lnTo>
                    <a:pt x="441" y="726"/>
                  </a:lnTo>
                  <a:lnTo>
                    <a:pt x="443" y="726"/>
                  </a:lnTo>
                  <a:lnTo>
                    <a:pt x="443" y="726"/>
                  </a:lnTo>
                  <a:lnTo>
                    <a:pt x="443" y="726"/>
                  </a:lnTo>
                  <a:lnTo>
                    <a:pt x="446" y="726"/>
                  </a:lnTo>
                  <a:lnTo>
                    <a:pt x="446" y="726"/>
                  </a:lnTo>
                  <a:lnTo>
                    <a:pt x="446" y="726"/>
                  </a:lnTo>
                  <a:lnTo>
                    <a:pt x="446" y="724"/>
                  </a:lnTo>
                  <a:lnTo>
                    <a:pt x="446" y="721"/>
                  </a:lnTo>
                  <a:lnTo>
                    <a:pt x="449" y="721"/>
                  </a:lnTo>
                  <a:lnTo>
                    <a:pt x="449" y="721"/>
                  </a:lnTo>
                  <a:lnTo>
                    <a:pt x="449" y="718"/>
                  </a:lnTo>
                  <a:lnTo>
                    <a:pt x="449" y="718"/>
                  </a:lnTo>
                  <a:lnTo>
                    <a:pt x="451" y="716"/>
                  </a:lnTo>
                  <a:lnTo>
                    <a:pt x="454" y="716"/>
                  </a:lnTo>
                  <a:lnTo>
                    <a:pt x="454" y="713"/>
                  </a:lnTo>
                  <a:lnTo>
                    <a:pt x="454" y="713"/>
                  </a:lnTo>
                  <a:lnTo>
                    <a:pt x="457" y="710"/>
                  </a:lnTo>
                  <a:lnTo>
                    <a:pt x="457" y="710"/>
                  </a:lnTo>
                  <a:lnTo>
                    <a:pt x="457" y="708"/>
                  </a:lnTo>
                  <a:lnTo>
                    <a:pt x="457" y="705"/>
                  </a:lnTo>
                  <a:lnTo>
                    <a:pt x="457" y="705"/>
                  </a:lnTo>
                  <a:lnTo>
                    <a:pt x="459" y="702"/>
                  </a:lnTo>
                  <a:lnTo>
                    <a:pt x="459" y="702"/>
                  </a:lnTo>
                  <a:lnTo>
                    <a:pt x="459" y="702"/>
                  </a:lnTo>
                  <a:lnTo>
                    <a:pt x="459" y="700"/>
                  </a:lnTo>
                  <a:lnTo>
                    <a:pt x="459" y="700"/>
                  </a:lnTo>
                  <a:lnTo>
                    <a:pt x="459" y="697"/>
                  </a:lnTo>
                  <a:lnTo>
                    <a:pt x="459" y="694"/>
                  </a:lnTo>
                  <a:lnTo>
                    <a:pt x="457" y="694"/>
                  </a:lnTo>
                  <a:lnTo>
                    <a:pt x="457" y="694"/>
                  </a:lnTo>
                  <a:lnTo>
                    <a:pt x="457" y="694"/>
                  </a:lnTo>
                  <a:lnTo>
                    <a:pt x="457" y="692"/>
                  </a:lnTo>
                  <a:lnTo>
                    <a:pt x="457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4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9" y="692"/>
                  </a:lnTo>
                  <a:lnTo>
                    <a:pt x="446" y="689"/>
                  </a:lnTo>
                  <a:lnTo>
                    <a:pt x="446" y="689"/>
                  </a:lnTo>
                  <a:lnTo>
                    <a:pt x="446" y="689"/>
                  </a:lnTo>
                  <a:lnTo>
                    <a:pt x="443" y="689"/>
                  </a:lnTo>
                  <a:lnTo>
                    <a:pt x="443" y="689"/>
                  </a:lnTo>
                  <a:lnTo>
                    <a:pt x="443" y="689"/>
                  </a:lnTo>
                  <a:lnTo>
                    <a:pt x="443" y="686"/>
                  </a:lnTo>
                  <a:lnTo>
                    <a:pt x="443" y="686"/>
                  </a:lnTo>
                  <a:lnTo>
                    <a:pt x="443" y="686"/>
                  </a:lnTo>
                  <a:lnTo>
                    <a:pt x="443" y="684"/>
                  </a:lnTo>
                  <a:lnTo>
                    <a:pt x="441" y="684"/>
                  </a:lnTo>
                  <a:lnTo>
                    <a:pt x="441" y="684"/>
                  </a:lnTo>
                  <a:lnTo>
                    <a:pt x="441" y="684"/>
                  </a:lnTo>
                  <a:lnTo>
                    <a:pt x="441" y="681"/>
                  </a:lnTo>
                  <a:lnTo>
                    <a:pt x="441" y="681"/>
                  </a:lnTo>
                  <a:lnTo>
                    <a:pt x="438" y="681"/>
                  </a:lnTo>
                  <a:lnTo>
                    <a:pt x="438" y="678"/>
                  </a:lnTo>
                  <a:lnTo>
                    <a:pt x="438" y="678"/>
                  </a:lnTo>
                  <a:lnTo>
                    <a:pt x="435" y="678"/>
                  </a:lnTo>
                  <a:lnTo>
                    <a:pt x="435" y="678"/>
                  </a:lnTo>
                  <a:lnTo>
                    <a:pt x="435" y="676"/>
                  </a:lnTo>
                  <a:lnTo>
                    <a:pt x="435" y="676"/>
                  </a:lnTo>
                  <a:lnTo>
                    <a:pt x="435" y="676"/>
                  </a:lnTo>
                  <a:lnTo>
                    <a:pt x="433" y="676"/>
                  </a:lnTo>
                  <a:lnTo>
                    <a:pt x="433" y="676"/>
                  </a:lnTo>
                  <a:lnTo>
                    <a:pt x="433" y="676"/>
                  </a:lnTo>
                  <a:lnTo>
                    <a:pt x="430" y="676"/>
                  </a:lnTo>
                  <a:lnTo>
                    <a:pt x="430" y="676"/>
                  </a:lnTo>
                  <a:lnTo>
                    <a:pt x="430" y="678"/>
                  </a:lnTo>
                  <a:lnTo>
                    <a:pt x="427" y="678"/>
                  </a:lnTo>
                  <a:lnTo>
                    <a:pt x="427" y="676"/>
                  </a:lnTo>
                  <a:lnTo>
                    <a:pt x="427" y="676"/>
                  </a:lnTo>
                  <a:lnTo>
                    <a:pt x="425" y="676"/>
                  </a:lnTo>
                  <a:lnTo>
                    <a:pt x="425" y="676"/>
                  </a:lnTo>
                  <a:lnTo>
                    <a:pt x="425" y="676"/>
                  </a:lnTo>
                  <a:lnTo>
                    <a:pt x="422" y="676"/>
                  </a:lnTo>
                  <a:lnTo>
                    <a:pt x="422" y="676"/>
                  </a:lnTo>
                  <a:lnTo>
                    <a:pt x="419" y="676"/>
                  </a:lnTo>
                  <a:lnTo>
                    <a:pt x="419" y="676"/>
                  </a:lnTo>
                  <a:lnTo>
                    <a:pt x="417" y="676"/>
                  </a:lnTo>
                  <a:lnTo>
                    <a:pt x="417" y="676"/>
                  </a:lnTo>
                  <a:lnTo>
                    <a:pt x="414" y="676"/>
                  </a:lnTo>
                  <a:lnTo>
                    <a:pt x="414" y="676"/>
                  </a:lnTo>
                  <a:lnTo>
                    <a:pt x="414" y="673"/>
                  </a:lnTo>
                  <a:lnTo>
                    <a:pt x="411" y="673"/>
                  </a:lnTo>
                  <a:lnTo>
                    <a:pt x="411" y="670"/>
                  </a:lnTo>
                  <a:lnTo>
                    <a:pt x="409" y="670"/>
                  </a:lnTo>
                  <a:lnTo>
                    <a:pt x="409" y="670"/>
                  </a:lnTo>
                  <a:lnTo>
                    <a:pt x="406" y="670"/>
                  </a:lnTo>
                  <a:lnTo>
                    <a:pt x="406" y="670"/>
                  </a:lnTo>
                  <a:lnTo>
                    <a:pt x="406" y="670"/>
                  </a:lnTo>
                  <a:lnTo>
                    <a:pt x="406" y="668"/>
                  </a:lnTo>
                  <a:lnTo>
                    <a:pt x="406" y="668"/>
                  </a:lnTo>
                  <a:lnTo>
                    <a:pt x="403" y="670"/>
                  </a:lnTo>
                  <a:lnTo>
                    <a:pt x="403" y="670"/>
                  </a:lnTo>
                  <a:lnTo>
                    <a:pt x="403" y="670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3"/>
                  </a:lnTo>
                  <a:lnTo>
                    <a:pt x="403" y="676"/>
                  </a:lnTo>
                  <a:lnTo>
                    <a:pt x="403" y="676"/>
                  </a:lnTo>
                  <a:lnTo>
                    <a:pt x="403" y="676"/>
                  </a:lnTo>
                  <a:lnTo>
                    <a:pt x="401" y="676"/>
                  </a:lnTo>
                  <a:lnTo>
                    <a:pt x="401" y="676"/>
                  </a:lnTo>
                  <a:lnTo>
                    <a:pt x="401" y="673"/>
                  </a:lnTo>
                  <a:lnTo>
                    <a:pt x="401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8" y="673"/>
                  </a:lnTo>
                  <a:lnTo>
                    <a:pt x="395" y="673"/>
                  </a:lnTo>
                  <a:lnTo>
                    <a:pt x="395" y="673"/>
                  </a:lnTo>
                  <a:lnTo>
                    <a:pt x="395" y="673"/>
                  </a:lnTo>
                  <a:lnTo>
                    <a:pt x="393" y="673"/>
                  </a:lnTo>
                  <a:lnTo>
                    <a:pt x="393" y="673"/>
                  </a:lnTo>
                  <a:lnTo>
                    <a:pt x="393" y="676"/>
                  </a:lnTo>
                  <a:lnTo>
                    <a:pt x="393" y="676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90" y="678"/>
                  </a:lnTo>
                  <a:lnTo>
                    <a:pt x="387" y="681"/>
                  </a:lnTo>
                  <a:lnTo>
                    <a:pt x="387" y="681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5" y="684"/>
                  </a:lnTo>
                  <a:lnTo>
                    <a:pt x="385" y="686"/>
                  </a:lnTo>
                  <a:lnTo>
                    <a:pt x="385" y="686"/>
                  </a:lnTo>
                  <a:lnTo>
                    <a:pt x="385" y="689"/>
                  </a:lnTo>
                  <a:lnTo>
                    <a:pt x="385" y="689"/>
                  </a:lnTo>
                  <a:lnTo>
                    <a:pt x="382" y="689"/>
                  </a:lnTo>
                  <a:lnTo>
                    <a:pt x="382" y="689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82" y="692"/>
                  </a:lnTo>
                  <a:lnTo>
                    <a:pt x="379" y="694"/>
                  </a:lnTo>
                  <a:lnTo>
                    <a:pt x="382" y="694"/>
                  </a:lnTo>
                  <a:lnTo>
                    <a:pt x="379" y="694"/>
                  </a:lnTo>
                  <a:lnTo>
                    <a:pt x="379" y="697"/>
                  </a:lnTo>
                  <a:lnTo>
                    <a:pt x="379" y="697"/>
                  </a:lnTo>
                  <a:lnTo>
                    <a:pt x="379" y="697"/>
                  </a:lnTo>
                  <a:lnTo>
                    <a:pt x="376" y="697"/>
                  </a:lnTo>
                  <a:lnTo>
                    <a:pt x="376" y="697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4" y="702"/>
                  </a:lnTo>
                  <a:lnTo>
                    <a:pt x="374" y="702"/>
                  </a:lnTo>
                  <a:lnTo>
                    <a:pt x="374" y="702"/>
                  </a:lnTo>
                  <a:lnTo>
                    <a:pt x="374" y="705"/>
                  </a:lnTo>
                  <a:lnTo>
                    <a:pt x="374" y="705"/>
                  </a:lnTo>
                  <a:lnTo>
                    <a:pt x="374" y="705"/>
                  </a:lnTo>
                  <a:lnTo>
                    <a:pt x="374" y="708"/>
                  </a:lnTo>
                  <a:lnTo>
                    <a:pt x="374" y="708"/>
                  </a:lnTo>
                  <a:lnTo>
                    <a:pt x="374" y="710"/>
                  </a:lnTo>
                  <a:lnTo>
                    <a:pt x="374" y="710"/>
                  </a:lnTo>
                  <a:lnTo>
                    <a:pt x="374" y="713"/>
                  </a:lnTo>
                  <a:lnTo>
                    <a:pt x="371" y="713"/>
                  </a:lnTo>
                  <a:lnTo>
                    <a:pt x="371" y="716"/>
                  </a:lnTo>
                  <a:lnTo>
                    <a:pt x="371" y="716"/>
                  </a:lnTo>
                  <a:lnTo>
                    <a:pt x="368" y="716"/>
                  </a:lnTo>
                  <a:lnTo>
                    <a:pt x="368" y="716"/>
                  </a:lnTo>
                  <a:lnTo>
                    <a:pt x="368" y="716"/>
                  </a:lnTo>
                  <a:lnTo>
                    <a:pt x="366" y="716"/>
                  </a:lnTo>
                  <a:lnTo>
                    <a:pt x="366" y="716"/>
                  </a:lnTo>
                  <a:lnTo>
                    <a:pt x="363" y="716"/>
                  </a:lnTo>
                  <a:lnTo>
                    <a:pt x="363" y="718"/>
                  </a:lnTo>
                  <a:lnTo>
                    <a:pt x="363" y="716"/>
                  </a:lnTo>
                  <a:lnTo>
                    <a:pt x="360" y="716"/>
                  </a:lnTo>
                  <a:lnTo>
                    <a:pt x="360" y="716"/>
                  </a:lnTo>
                  <a:lnTo>
                    <a:pt x="360" y="716"/>
                  </a:lnTo>
                  <a:lnTo>
                    <a:pt x="360" y="713"/>
                  </a:lnTo>
                  <a:lnTo>
                    <a:pt x="360" y="713"/>
                  </a:lnTo>
                  <a:lnTo>
                    <a:pt x="360" y="713"/>
                  </a:lnTo>
                  <a:lnTo>
                    <a:pt x="360" y="710"/>
                  </a:lnTo>
                  <a:lnTo>
                    <a:pt x="360" y="710"/>
                  </a:lnTo>
                  <a:lnTo>
                    <a:pt x="360" y="710"/>
                  </a:lnTo>
                  <a:lnTo>
                    <a:pt x="360" y="708"/>
                  </a:lnTo>
                  <a:lnTo>
                    <a:pt x="358" y="708"/>
                  </a:lnTo>
                  <a:lnTo>
                    <a:pt x="358" y="708"/>
                  </a:lnTo>
                  <a:lnTo>
                    <a:pt x="358" y="710"/>
                  </a:lnTo>
                  <a:lnTo>
                    <a:pt x="358" y="710"/>
                  </a:lnTo>
                  <a:lnTo>
                    <a:pt x="358" y="710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3"/>
                  </a:lnTo>
                  <a:lnTo>
                    <a:pt x="355" y="710"/>
                  </a:lnTo>
                  <a:lnTo>
                    <a:pt x="355" y="710"/>
                  </a:lnTo>
                  <a:lnTo>
                    <a:pt x="352" y="710"/>
                  </a:lnTo>
                  <a:lnTo>
                    <a:pt x="352" y="710"/>
                  </a:lnTo>
                  <a:lnTo>
                    <a:pt x="352" y="708"/>
                  </a:lnTo>
                  <a:lnTo>
                    <a:pt x="352" y="708"/>
                  </a:lnTo>
                  <a:lnTo>
                    <a:pt x="350" y="708"/>
                  </a:lnTo>
                  <a:lnTo>
                    <a:pt x="350" y="710"/>
                  </a:lnTo>
                  <a:lnTo>
                    <a:pt x="350" y="710"/>
                  </a:lnTo>
                  <a:lnTo>
                    <a:pt x="347" y="710"/>
                  </a:lnTo>
                  <a:lnTo>
                    <a:pt x="347" y="713"/>
                  </a:lnTo>
                  <a:lnTo>
                    <a:pt x="347" y="713"/>
                  </a:lnTo>
                  <a:lnTo>
                    <a:pt x="344" y="713"/>
                  </a:lnTo>
                  <a:lnTo>
                    <a:pt x="344" y="713"/>
                  </a:lnTo>
                  <a:lnTo>
                    <a:pt x="342" y="713"/>
                  </a:lnTo>
                  <a:lnTo>
                    <a:pt x="342" y="716"/>
                  </a:lnTo>
                  <a:lnTo>
                    <a:pt x="342" y="721"/>
                  </a:lnTo>
                  <a:lnTo>
                    <a:pt x="342" y="721"/>
                  </a:lnTo>
                  <a:lnTo>
                    <a:pt x="339" y="721"/>
                  </a:lnTo>
                  <a:lnTo>
                    <a:pt x="339" y="721"/>
                  </a:lnTo>
                  <a:lnTo>
                    <a:pt x="339" y="724"/>
                  </a:lnTo>
                  <a:lnTo>
                    <a:pt x="336" y="724"/>
                  </a:lnTo>
                  <a:lnTo>
                    <a:pt x="336" y="724"/>
                  </a:lnTo>
                  <a:lnTo>
                    <a:pt x="336" y="726"/>
                  </a:lnTo>
                  <a:lnTo>
                    <a:pt x="336" y="726"/>
                  </a:lnTo>
                  <a:lnTo>
                    <a:pt x="336" y="726"/>
                  </a:lnTo>
                  <a:lnTo>
                    <a:pt x="334" y="729"/>
                  </a:lnTo>
                  <a:lnTo>
                    <a:pt x="336" y="729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6" y="732"/>
                  </a:lnTo>
                  <a:lnTo>
                    <a:pt x="339" y="732"/>
                  </a:lnTo>
                  <a:lnTo>
                    <a:pt x="339" y="732"/>
                  </a:lnTo>
                  <a:lnTo>
                    <a:pt x="339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4"/>
                  </a:lnTo>
                  <a:lnTo>
                    <a:pt x="342" y="737"/>
                  </a:lnTo>
                  <a:lnTo>
                    <a:pt x="342" y="737"/>
                  </a:lnTo>
                  <a:lnTo>
                    <a:pt x="342" y="737"/>
                  </a:lnTo>
                  <a:lnTo>
                    <a:pt x="342" y="740"/>
                  </a:lnTo>
                  <a:lnTo>
                    <a:pt x="342" y="740"/>
                  </a:lnTo>
                  <a:lnTo>
                    <a:pt x="342" y="740"/>
                  </a:lnTo>
                  <a:lnTo>
                    <a:pt x="342" y="742"/>
                  </a:lnTo>
                  <a:lnTo>
                    <a:pt x="342" y="742"/>
                  </a:lnTo>
                  <a:lnTo>
                    <a:pt x="342" y="742"/>
                  </a:lnTo>
                  <a:lnTo>
                    <a:pt x="342" y="745"/>
                  </a:lnTo>
                  <a:lnTo>
                    <a:pt x="342" y="745"/>
                  </a:lnTo>
                  <a:lnTo>
                    <a:pt x="342" y="748"/>
                  </a:lnTo>
                  <a:lnTo>
                    <a:pt x="342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8"/>
                  </a:lnTo>
                  <a:lnTo>
                    <a:pt x="339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6" y="745"/>
                  </a:lnTo>
                  <a:lnTo>
                    <a:pt x="334" y="745"/>
                  </a:lnTo>
                  <a:lnTo>
                    <a:pt x="334" y="745"/>
                  </a:lnTo>
                  <a:lnTo>
                    <a:pt x="334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28" y="745"/>
                  </a:lnTo>
                  <a:lnTo>
                    <a:pt x="328" y="748"/>
                  </a:lnTo>
                  <a:lnTo>
                    <a:pt x="328" y="745"/>
                  </a:lnTo>
                  <a:lnTo>
                    <a:pt x="328" y="745"/>
                  </a:lnTo>
                  <a:lnTo>
                    <a:pt x="326" y="745"/>
                  </a:lnTo>
                  <a:lnTo>
                    <a:pt x="326" y="745"/>
                  </a:lnTo>
                  <a:lnTo>
                    <a:pt x="326" y="742"/>
                  </a:lnTo>
                  <a:lnTo>
                    <a:pt x="326" y="742"/>
                  </a:lnTo>
                  <a:lnTo>
                    <a:pt x="323" y="740"/>
                  </a:lnTo>
                  <a:lnTo>
                    <a:pt x="320" y="740"/>
                  </a:lnTo>
                  <a:lnTo>
                    <a:pt x="318" y="740"/>
                  </a:lnTo>
                  <a:lnTo>
                    <a:pt x="318" y="742"/>
                  </a:lnTo>
                  <a:lnTo>
                    <a:pt x="315" y="745"/>
                  </a:lnTo>
                  <a:lnTo>
                    <a:pt x="315" y="745"/>
                  </a:lnTo>
                  <a:lnTo>
                    <a:pt x="312" y="745"/>
                  </a:lnTo>
                  <a:lnTo>
                    <a:pt x="312" y="745"/>
                  </a:lnTo>
                  <a:lnTo>
                    <a:pt x="312" y="745"/>
                  </a:lnTo>
                  <a:lnTo>
                    <a:pt x="310" y="745"/>
                  </a:lnTo>
                  <a:lnTo>
                    <a:pt x="310" y="745"/>
                  </a:lnTo>
                  <a:lnTo>
                    <a:pt x="310" y="745"/>
                  </a:lnTo>
                  <a:lnTo>
                    <a:pt x="310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2" y="748"/>
                  </a:lnTo>
                  <a:lnTo>
                    <a:pt x="310" y="751"/>
                  </a:lnTo>
                  <a:lnTo>
                    <a:pt x="310" y="751"/>
                  </a:lnTo>
                  <a:lnTo>
                    <a:pt x="310" y="751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7" y="753"/>
                  </a:lnTo>
                  <a:lnTo>
                    <a:pt x="304" y="756"/>
                  </a:lnTo>
                  <a:lnTo>
                    <a:pt x="304" y="756"/>
                  </a:lnTo>
                  <a:lnTo>
                    <a:pt x="304" y="756"/>
                  </a:lnTo>
                  <a:lnTo>
                    <a:pt x="304" y="759"/>
                  </a:lnTo>
                  <a:lnTo>
                    <a:pt x="302" y="759"/>
                  </a:lnTo>
                  <a:lnTo>
                    <a:pt x="302" y="759"/>
                  </a:lnTo>
                  <a:lnTo>
                    <a:pt x="302" y="759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302" y="761"/>
                  </a:lnTo>
                  <a:lnTo>
                    <a:pt x="299" y="764"/>
                  </a:lnTo>
                  <a:lnTo>
                    <a:pt x="299" y="764"/>
                  </a:lnTo>
                  <a:lnTo>
                    <a:pt x="296" y="764"/>
                  </a:lnTo>
                  <a:lnTo>
                    <a:pt x="294" y="764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88" y="761"/>
                  </a:lnTo>
                  <a:lnTo>
                    <a:pt x="288" y="761"/>
                  </a:lnTo>
                  <a:lnTo>
                    <a:pt x="288" y="761"/>
                  </a:lnTo>
                  <a:lnTo>
                    <a:pt x="288" y="759"/>
                  </a:lnTo>
                  <a:lnTo>
                    <a:pt x="286" y="759"/>
                  </a:lnTo>
                  <a:lnTo>
                    <a:pt x="286" y="759"/>
                  </a:lnTo>
                  <a:lnTo>
                    <a:pt x="286" y="759"/>
                  </a:lnTo>
                  <a:lnTo>
                    <a:pt x="286" y="756"/>
                  </a:lnTo>
                  <a:lnTo>
                    <a:pt x="286" y="756"/>
                  </a:lnTo>
                  <a:lnTo>
                    <a:pt x="286" y="756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3"/>
                  </a:lnTo>
                  <a:lnTo>
                    <a:pt x="286" y="751"/>
                  </a:lnTo>
                  <a:lnTo>
                    <a:pt x="286" y="751"/>
                  </a:lnTo>
                  <a:lnTo>
                    <a:pt x="283" y="751"/>
                  </a:lnTo>
                  <a:lnTo>
                    <a:pt x="283" y="748"/>
                  </a:lnTo>
                  <a:lnTo>
                    <a:pt x="283" y="748"/>
                  </a:lnTo>
                  <a:lnTo>
                    <a:pt x="283" y="748"/>
                  </a:lnTo>
                  <a:lnTo>
                    <a:pt x="280" y="748"/>
                  </a:lnTo>
                  <a:lnTo>
                    <a:pt x="280" y="748"/>
                  </a:lnTo>
                  <a:lnTo>
                    <a:pt x="280" y="748"/>
                  </a:lnTo>
                  <a:lnTo>
                    <a:pt x="278" y="748"/>
                  </a:lnTo>
                  <a:lnTo>
                    <a:pt x="278" y="751"/>
                  </a:lnTo>
                  <a:lnTo>
                    <a:pt x="278" y="751"/>
                  </a:lnTo>
                  <a:lnTo>
                    <a:pt x="275" y="751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5" y="748"/>
                  </a:lnTo>
                  <a:lnTo>
                    <a:pt x="272" y="748"/>
                  </a:lnTo>
                  <a:lnTo>
                    <a:pt x="272" y="748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48"/>
                  </a:lnTo>
                  <a:lnTo>
                    <a:pt x="270" y="751"/>
                  </a:lnTo>
                  <a:lnTo>
                    <a:pt x="270" y="751"/>
                  </a:lnTo>
                  <a:lnTo>
                    <a:pt x="270" y="751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3"/>
                  </a:lnTo>
                  <a:lnTo>
                    <a:pt x="270" y="756"/>
                  </a:lnTo>
                  <a:lnTo>
                    <a:pt x="270" y="756"/>
                  </a:lnTo>
                  <a:lnTo>
                    <a:pt x="270" y="756"/>
                  </a:lnTo>
                  <a:lnTo>
                    <a:pt x="267" y="756"/>
                  </a:lnTo>
                  <a:lnTo>
                    <a:pt x="267" y="756"/>
                  </a:lnTo>
                  <a:lnTo>
                    <a:pt x="267" y="756"/>
                  </a:lnTo>
                  <a:lnTo>
                    <a:pt x="267" y="759"/>
                  </a:lnTo>
                  <a:lnTo>
                    <a:pt x="267" y="759"/>
                  </a:lnTo>
                  <a:lnTo>
                    <a:pt x="267" y="759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7" y="761"/>
                  </a:lnTo>
                  <a:lnTo>
                    <a:pt x="264" y="761"/>
                  </a:lnTo>
                  <a:lnTo>
                    <a:pt x="262" y="767"/>
                  </a:lnTo>
                  <a:lnTo>
                    <a:pt x="262" y="769"/>
                  </a:lnTo>
                  <a:lnTo>
                    <a:pt x="262" y="772"/>
                  </a:lnTo>
                  <a:lnTo>
                    <a:pt x="259" y="775"/>
                  </a:lnTo>
                  <a:lnTo>
                    <a:pt x="259" y="775"/>
                  </a:lnTo>
                  <a:lnTo>
                    <a:pt x="259" y="777"/>
                  </a:lnTo>
                  <a:lnTo>
                    <a:pt x="259" y="777"/>
                  </a:lnTo>
                  <a:lnTo>
                    <a:pt x="259" y="780"/>
                  </a:lnTo>
                  <a:lnTo>
                    <a:pt x="262" y="783"/>
                  </a:lnTo>
                  <a:lnTo>
                    <a:pt x="262" y="788"/>
                  </a:lnTo>
                  <a:lnTo>
                    <a:pt x="264" y="785"/>
                  </a:lnTo>
                  <a:lnTo>
                    <a:pt x="267" y="788"/>
                  </a:lnTo>
                  <a:lnTo>
                    <a:pt x="267" y="788"/>
                  </a:lnTo>
                  <a:lnTo>
                    <a:pt x="270" y="788"/>
                  </a:lnTo>
                  <a:lnTo>
                    <a:pt x="270" y="788"/>
                  </a:lnTo>
                  <a:lnTo>
                    <a:pt x="270" y="788"/>
                  </a:lnTo>
                  <a:lnTo>
                    <a:pt x="272" y="785"/>
                  </a:lnTo>
                  <a:lnTo>
                    <a:pt x="272" y="785"/>
                  </a:lnTo>
                  <a:lnTo>
                    <a:pt x="275" y="783"/>
                  </a:lnTo>
                  <a:lnTo>
                    <a:pt x="275" y="785"/>
                  </a:lnTo>
                  <a:lnTo>
                    <a:pt x="278" y="785"/>
                  </a:lnTo>
                  <a:lnTo>
                    <a:pt x="278" y="785"/>
                  </a:lnTo>
                  <a:lnTo>
                    <a:pt x="280" y="785"/>
                  </a:lnTo>
                  <a:lnTo>
                    <a:pt x="283" y="785"/>
                  </a:lnTo>
                  <a:lnTo>
                    <a:pt x="286" y="788"/>
                  </a:lnTo>
                  <a:lnTo>
                    <a:pt x="286" y="788"/>
                  </a:lnTo>
                  <a:lnTo>
                    <a:pt x="283" y="791"/>
                  </a:lnTo>
                  <a:lnTo>
                    <a:pt x="283" y="793"/>
                  </a:lnTo>
                  <a:lnTo>
                    <a:pt x="283" y="796"/>
                  </a:lnTo>
                  <a:lnTo>
                    <a:pt x="286" y="796"/>
                  </a:lnTo>
                  <a:lnTo>
                    <a:pt x="286" y="799"/>
                  </a:lnTo>
                  <a:lnTo>
                    <a:pt x="286" y="799"/>
                  </a:lnTo>
                  <a:lnTo>
                    <a:pt x="288" y="801"/>
                  </a:lnTo>
                  <a:lnTo>
                    <a:pt x="288" y="801"/>
                  </a:lnTo>
                  <a:lnTo>
                    <a:pt x="291" y="801"/>
                  </a:lnTo>
                  <a:lnTo>
                    <a:pt x="291" y="801"/>
                  </a:lnTo>
                  <a:lnTo>
                    <a:pt x="294" y="801"/>
                  </a:lnTo>
                  <a:lnTo>
                    <a:pt x="294" y="801"/>
                  </a:lnTo>
                  <a:lnTo>
                    <a:pt x="296" y="801"/>
                  </a:lnTo>
                  <a:lnTo>
                    <a:pt x="296" y="799"/>
                  </a:lnTo>
                  <a:lnTo>
                    <a:pt x="299" y="799"/>
                  </a:lnTo>
                  <a:lnTo>
                    <a:pt x="299" y="796"/>
                  </a:lnTo>
                  <a:lnTo>
                    <a:pt x="302" y="799"/>
                  </a:lnTo>
                  <a:lnTo>
                    <a:pt x="302" y="799"/>
                  </a:lnTo>
                  <a:lnTo>
                    <a:pt x="307" y="799"/>
                  </a:lnTo>
                  <a:lnTo>
                    <a:pt x="307" y="799"/>
                  </a:lnTo>
                  <a:lnTo>
                    <a:pt x="310" y="799"/>
                  </a:lnTo>
                  <a:lnTo>
                    <a:pt x="310" y="799"/>
                  </a:lnTo>
                  <a:lnTo>
                    <a:pt x="310" y="799"/>
                  </a:lnTo>
                  <a:lnTo>
                    <a:pt x="310" y="796"/>
                  </a:lnTo>
                  <a:lnTo>
                    <a:pt x="310" y="796"/>
                  </a:lnTo>
                  <a:lnTo>
                    <a:pt x="307" y="796"/>
                  </a:lnTo>
                  <a:lnTo>
                    <a:pt x="307" y="796"/>
                  </a:lnTo>
                  <a:lnTo>
                    <a:pt x="307" y="793"/>
                  </a:lnTo>
                  <a:lnTo>
                    <a:pt x="310" y="793"/>
                  </a:lnTo>
                  <a:lnTo>
                    <a:pt x="310" y="796"/>
                  </a:lnTo>
                  <a:lnTo>
                    <a:pt x="312" y="793"/>
                  </a:lnTo>
                  <a:lnTo>
                    <a:pt x="315" y="796"/>
                  </a:lnTo>
                  <a:lnTo>
                    <a:pt x="318" y="796"/>
                  </a:lnTo>
                  <a:lnTo>
                    <a:pt x="318" y="796"/>
                  </a:lnTo>
                  <a:lnTo>
                    <a:pt x="323" y="793"/>
                  </a:lnTo>
                  <a:lnTo>
                    <a:pt x="320" y="796"/>
                  </a:lnTo>
                  <a:lnTo>
                    <a:pt x="320" y="799"/>
                  </a:lnTo>
                  <a:lnTo>
                    <a:pt x="323" y="801"/>
                  </a:lnTo>
                  <a:lnTo>
                    <a:pt x="326" y="801"/>
                  </a:lnTo>
                  <a:lnTo>
                    <a:pt x="326" y="804"/>
                  </a:lnTo>
                  <a:lnTo>
                    <a:pt x="328" y="804"/>
                  </a:lnTo>
                  <a:lnTo>
                    <a:pt x="328" y="807"/>
                  </a:lnTo>
                  <a:lnTo>
                    <a:pt x="328" y="807"/>
                  </a:lnTo>
                  <a:lnTo>
                    <a:pt x="328" y="809"/>
                  </a:lnTo>
                  <a:lnTo>
                    <a:pt x="326" y="809"/>
                  </a:lnTo>
                  <a:lnTo>
                    <a:pt x="326" y="812"/>
                  </a:lnTo>
                  <a:lnTo>
                    <a:pt x="328" y="812"/>
                  </a:lnTo>
                  <a:lnTo>
                    <a:pt x="328" y="812"/>
                  </a:lnTo>
                  <a:lnTo>
                    <a:pt x="331" y="809"/>
                  </a:lnTo>
                  <a:lnTo>
                    <a:pt x="331" y="809"/>
                  </a:lnTo>
                  <a:lnTo>
                    <a:pt x="334" y="809"/>
                  </a:lnTo>
                  <a:lnTo>
                    <a:pt x="334" y="809"/>
                  </a:lnTo>
                  <a:lnTo>
                    <a:pt x="334" y="807"/>
                  </a:lnTo>
                  <a:lnTo>
                    <a:pt x="334" y="804"/>
                  </a:lnTo>
                  <a:lnTo>
                    <a:pt x="334" y="804"/>
                  </a:lnTo>
                  <a:lnTo>
                    <a:pt x="336" y="801"/>
                  </a:lnTo>
                  <a:lnTo>
                    <a:pt x="336" y="801"/>
                  </a:lnTo>
                  <a:lnTo>
                    <a:pt x="339" y="801"/>
                  </a:lnTo>
                  <a:lnTo>
                    <a:pt x="339" y="801"/>
                  </a:lnTo>
                  <a:lnTo>
                    <a:pt x="339" y="801"/>
                  </a:lnTo>
                  <a:lnTo>
                    <a:pt x="339" y="799"/>
                  </a:lnTo>
                  <a:lnTo>
                    <a:pt x="339" y="799"/>
                  </a:lnTo>
                  <a:lnTo>
                    <a:pt x="339" y="796"/>
                  </a:lnTo>
                  <a:lnTo>
                    <a:pt x="339" y="796"/>
                  </a:lnTo>
                  <a:lnTo>
                    <a:pt x="342" y="796"/>
                  </a:lnTo>
                  <a:lnTo>
                    <a:pt x="344" y="796"/>
                  </a:lnTo>
                  <a:lnTo>
                    <a:pt x="344" y="793"/>
                  </a:lnTo>
                  <a:lnTo>
                    <a:pt x="347" y="793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50" y="796"/>
                  </a:lnTo>
                  <a:lnTo>
                    <a:pt x="350" y="796"/>
                  </a:lnTo>
                  <a:lnTo>
                    <a:pt x="352" y="796"/>
                  </a:lnTo>
                  <a:lnTo>
                    <a:pt x="352" y="796"/>
                  </a:lnTo>
                  <a:lnTo>
                    <a:pt x="355" y="796"/>
                  </a:lnTo>
                  <a:lnTo>
                    <a:pt x="355" y="799"/>
                  </a:lnTo>
                  <a:lnTo>
                    <a:pt x="358" y="799"/>
                  </a:lnTo>
                  <a:lnTo>
                    <a:pt x="358" y="801"/>
                  </a:lnTo>
                  <a:lnTo>
                    <a:pt x="360" y="801"/>
                  </a:lnTo>
                  <a:lnTo>
                    <a:pt x="360" y="801"/>
                  </a:lnTo>
                  <a:lnTo>
                    <a:pt x="360" y="801"/>
                  </a:lnTo>
                  <a:lnTo>
                    <a:pt x="363" y="801"/>
                  </a:lnTo>
                  <a:lnTo>
                    <a:pt x="366" y="799"/>
                  </a:lnTo>
                  <a:lnTo>
                    <a:pt x="366" y="799"/>
                  </a:lnTo>
                  <a:lnTo>
                    <a:pt x="368" y="796"/>
                  </a:lnTo>
                  <a:lnTo>
                    <a:pt x="371" y="796"/>
                  </a:lnTo>
                  <a:lnTo>
                    <a:pt x="371" y="793"/>
                  </a:lnTo>
                  <a:lnTo>
                    <a:pt x="371" y="793"/>
                  </a:lnTo>
                  <a:lnTo>
                    <a:pt x="374" y="793"/>
                  </a:lnTo>
                  <a:lnTo>
                    <a:pt x="376" y="791"/>
                  </a:lnTo>
                  <a:lnTo>
                    <a:pt x="376" y="791"/>
                  </a:lnTo>
                  <a:lnTo>
                    <a:pt x="379" y="791"/>
                  </a:lnTo>
                  <a:lnTo>
                    <a:pt x="382" y="791"/>
                  </a:lnTo>
                  <a:lnTo>
                    <a:pt x="382" y="791"/>
                  </a:lnTo>
                  <a:lnTo>
                    <a:pt x="385" y="791"/>
                  </a:lnTo>
                  <a:lnTo>
                    <a:pt x="385" y="791"/>
                  </a:lnTo>
                  <a:lnTo>
                    <a:pt x="387" y="791"/>
                  </a:lnTo>
                  <a:lnTo>
                    <a:pt x="387" y="791"/>
                  </a:lnTo>
                  <a:lnTo>
                    <a:pt x="390" y="791"/>
                  </a:lnTo>
                  <a:close/>
                  <a:moveTo>
                    <a:pt x="518" y="90"/>
                  </a:moveTo>
                  <a:lnTo>
                    <a:pt x="518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0" y="90"/>
                  </a:lnTo>
                  <a:lnTo>
                    <a:pt x="510" y="88"/>
                  </a:lnTo>
                  <a:lnTo>
                    <a:pt x="510" y="85"/>
                  </a:lnTo>
                  <a:lnTo>
                    <a:pt x="510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5"/>
                  </a:lnTo>
                  <a:lnTo>
                    <a:pt x="507" y="82"/>
                  </a:lnTo>
                  <a:lnTo>
                    <a:pt x="507" y="82"/>
                  </a:lnTo>
                  <a:lnTo>
                    <a:pt x="507" y="80"/>
                  </a:lnTo>
                  <a:lnTo>
                    <a:pt x="507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80"/>
                  </a:lnTo>
                  <a:lnTo>
                    <a:pt x="505" y="77"/>
                  </a:lnTo>
                  <a:lnTo>
                    <a:pt x="502" y="77"/>
                  </a:lnTo>
                  <a:lnTo>
                    <a:pt x="502" y="77"/>
                  </a:lnTo>
                  <a:lnTo>
                    <a:pt x="499" y="77"/>
                  </a:lnTo>
                  <a:lnTo>
                    <a:pt x="499" y="77"/>
                  </a:lnTo>
                  <a:lnTo>
                    <a:pt x="499" y="80"/>
                  </a:lnTo>
                  <a:lnTo>
                    <a:pt x="499" y="77"/>
                  </a:lnTo>
                  <a:lnTo>
                    <a:pt x="499" y="77"/>
                  </a:lnTo>
                  <a:lnTo>
                    <a:pt x="497" y="77"/>
                  </a:lnTo>
                  <a:lnTo>
                    <a:pt x="497" y="74"/>
                  </a:lnTo>
                  <a:lnTo>
                    <a:pt x="497" y="74"/>
                  </a:lnTo>
                  <a:lnTo>
                    <a:pt x="497" y="72"/>
                  </a:lnTo>
                  <a:lnTo>
                    <a:pt x="497" y="72"/>
                  </a:lnTo>
                  <a:lnTo>
                    <a:pt x="494" y="72"/>
                  </a:lnTo>
                  <a:lnTo>
                    <a:pt x="494" y="72"/>
                  </a:lnTo>
                  <a:lnTo>
                    <a:pt x="494" y="69"/>
                  </a:lnTo>
                  <a:lnTo>
                    <a:pt x="494" y="69"/>
                  </a:lnTo>
                  <a:lnTo>
                    <a:pt x="494" y="66"/>
                  </a:lnTo>
                  <a:lnTo>
                    <a:pt x="494" y="66"/>
                  </a:lnTo>
                  <a:lnTo>
                    <a:pt x="494" y="64"/>
                  </a:lnTo>
                  <a:lnTo>
                    <a:pt x="497" y="64"/>
                  </a:lnTo>
                  <a:lnTo>
                    <a:pt x="497" y="64"/>
                  </a:lnTo>
                  <a:lnTo>
                    <a:pt x="497" y="61"/>
                  </a:lnTo>
                  <a:lnTo>
                    <a:pt x="497" y="61"/>
                  </a:lnTo>
                  <a:lnTo>
                    <a:pt x="497" y="58"/>
                  </a:lnTo>
                  <a:lnTo>
                    <a:pt x="497" y="58"/>
                  </a:lnTo>
                  <a:lnTo>
                    <a:pt x="494" y="56"/>
                  </a:lnTo>
                  <a:lnTo>
                    <a:pt x="494" y="56"/>
                  </a:lnTo>
                  <a:lnTo>
                    <a:pt x="491" y="56"/>
                  </a:lnTo>
                  <a:lnTo>
                    <a:pt x="491" y="56"/>
                  </a:lnTo>
                  <a:lnTo>
                    <a:pt x="491" y="56"/>
                  </a:lnTo>
                  <a:lnTo>
                    <a:pt x="489" y="56"/>
                  </a:lnTo>
                  <a:lnTo>
                    <a:pt x="489" y="56"/>
                  </a:lnTo>
                  <a:lnTo>
                    <a:pt x="486" y="56"/>
                  </a:lnTo>
                  <a:lnTo>
                    <a:pt x="486" y="56"/>
                  </a:lnTo>
                  <a:lnTo>
                    <a:pt x="486" y="58"/>
                  </a:lnTo>
                  <a:lnTo>
                    <a:pt x="486" y="58"/>
                  </a:lnTo>
                  <a:lnTo>
                    <a:pt x="486" y="58"/>
                  </a:lnTo>
                  <a:lnTo>
                    <a:pt x="483" y="66"/>
                  </a:lnTo>
                  <a:lnTo>
                    <a:pt x="483" y="66"/>
                  </a:lnTo>
                  <a:lnTo>
                    <a:pt x="483" y="69"/>
                  </a:lnTo>
                  <a:lnTo>
                    <a:pt x="483" y="69"/>
                  </a:lnTo>
                  <a:lnTo>
                    <a:pt x="481" y="69"/>
                  </a:lnTo>
                  <a:lnTo>
                    <a:pt x="481" y="66"/>
                  </a:lnTo>
                  <a:lnTo>
                    <a:pt x="481" y="66"/>
                  </a:lnTo>
                  <a:lnTo>
                    <a:pt x="481" y="66"/>
                  </a:lnTo>
                  <a:lnTo>
                    <a:pt x="478" y="66"/>
                  </a:lnTo>
                  <a:lnTo>
                    <a:pt x="478" y="64"/>
                  </a:lnTo>
                  <a:lnTo>
                    <a:pt x="478" y="64"/>
                  </a:lnTo>
                  <a:lnTo>
                    <a:pt x="478" y="61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8"/>
                  </a:lnTo>
                  <a:lnTo>
                    <a:pt x="478" y="53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5" y="50"/>
                  </a:lnTo>
                  <a:lnTo>
                    <a:pt x="475" y="50"/>
                  </a:lnTo>
                  <a:lnTo>
                    <a:pt x="475" y="50"/>
                  </a:lnTo>
                  <a:lnTo>
                    <a:pt x="473" y="50"/>
                  </a:lnTo>
                  <a:lnTo>
                    <a:pt x="473" y="50"/>
                  </a:lnTo>
                  <a:lnTo>
                    <a:pt x="470" y="50"/>
                  </a:lnTo>
                  <a:lnTo>
                    <a:pt x="470" y="50"/>
                  </a:lnTo>
                  <a:lnTo>
                    <a:pt x="467" y="48"/>
                  </a:lnTo>
                  <a:lnTo>
                    <a:pt x="470" y="45"/>
                  </a:lnTo>
                  <a:lnTo>
                    <a:pt x="470" y="42"/>
                  </a:lnTo>
                  <a:lnTo>
                    <a:pt x="470" y="40"/>
                  </a:lnTo>
                  <a:lnTo>
                    <a:pt x="470" y="37"/>
                  </a:lnTo>
                  <a:lnTo>
                    <a:pt x="467" y="37"/>
                  </a:lnTo>
                  <a:lnTo>
                    <a:pt x="467" y="34"/>
                  </a:lnTo>
                  <a:lnTo>
                    <a:pt x="467" y="34"/>
                  </a:lnTo>
                  <a:lnTo>
                    <a:pt x="467" y="32"/>
                  </a:lnTo>
                  <a:lnTo>
                    <a:pt x="467" y="18"/>
                  </a:lnTo>
                  <a:lnTo>
                    <a:pt x="467" y="18"/>
                  </a:lnTo>
                  <a:lnTo>
                    <a:pt x="467" y="16"/>
                  </a:lnTo>
                  <a:lnTo>
                    <a:pt x="467" y="16"/>
                  </a:lnTo>
                  <a:lnTo>
                    <a:pt x="465" y="16"/>
                  </a:lnTo>
                  <a:lnTo>
                    <a:pt x="465" y="13"/>
                  </a:lnTo>
                  <a:lnTo>
                    <a:pt x="465" y="10"/>
                  </a:lnTo>
                  <a:lnTo>
                    <a:pt x="465" y="10"/>
                  </a:lnTo>
                  <a:lnTo>
                    <a:pt x="465" y="8"/>
                  </a:lnTo>
                  <a:lnTo>
                    <a:pt x="465" y="8"/>
                  </a:lnTo>
                  <a:lnTo>
                    <a:pt x="462" y="8"/>
                  </a:lnTo>
                  <a:lnTo>
                    <a:pt x="462" y="5"/>
                  </a:lnTo>
                  <a:lnTo>
                    <a:pt x="462" y="5"/>
                  </a:lnTo>
                  <a:lnTo>
                    <a:pt x="462" y="2"/>
                  </a:lnTo>
                  <a:lnTo>
                    <a:pt x="459" y="2"/>
                  </a:lnTo>
                  <a:lnTo>
                    <a:pt x="459" y="2"/>
                  </a:lnTo>
                  <a:lnTo>
                    <a:pt x="454" y="2"/>
                  </a:lnTo>
                  <a:lnTo>
                    <a:pt x="451" y="2"/>
                  </a:lnTo>
                  <a:lnTo>
                    <a:pt x="451" y="2"/>
                  </a:lnTo>
                  <a:lnTo>
                    <a:pt x="449" y="5"/>
                  </a:lnTo>
                  <a:lnTo>
                    <a:pt x="449" y="5"/>
                  </a:lnTo>
                  <a:lnTo>
                    <a:pt x="446" y="5"/>
                  </a:lnTo>
                  <a:lnTo>
                    <a:pt x="446" y="8"/>
                  </a:lnTo>
                  <a:lnTo>
                    <a:pt x="443" y="8"/>
                  </a:lnTo>
                  <a:lnTo>
                    <a:pt x="443" y="8"/>
                  </a:lnTo>
                  <a:lnTo>
                    <a:pt x="441" y="10"/>
                  </a:lnTo>
                  <a:lnTo>
                    <a:pt x="441" y="13"/>
                  </a:lnTo>
                  <a:lnTo>
                    <a:pt x="435" y="13"/>
                  </a:lnTo>
                  <a:lnTo>
                    <a:pt x="433" y="13"/>
                  </a:lnTo>
                  <a:lnTo>
                    <a:pt x="430" y="10"/>
                  </a:lnTo>
                  <a:lnTo>
                    <a:pt x="427" y="10"/>
                  </a:lnTo>
                  <a:lnTo>
                    <a:pt x="427" y="13"/>
                  </a:lnTo>
                  <a:lnTo>
                    <a:pt x="425" y="10"/>
                  </a:lnTo>
                  <a:lnTo>
                    <a:pt x="425" y="8"/>
                  </a:lnTo>
                  <a:lnTo>
                    <a:pt x="422" y="8"/>
                  </a:lnTo>
                  <a:lnTo>
                    <a:pt x="419" y="8"/>
                  </a:lnTo>
                  <a:lnTo>
                    <a:pt x="417" y="5"/>
                  </a:lnTo>
                  <a:lnTo>
                    <a:pt x="414" y="2"/>
                  </a:lnTo>
                  <a:lnTo>
                    <a:pt x="411" y="0"/>
                  </a:lnTo>
                  <a:lnTo>
                    <a:pt x="409" y="0"/>
                  </a:lnTo>
                  <a:lnTo>
                    <a:pt x="409" y="0"/>
                  </a:lnTo>
                  <a:lnTo>
                    <a:pt x="406" y="0"/>
                  </a:lnTo>
                  <a:lnTo>
                    <a:pt x="403" y="2"/>
                  </a:lnTo>
                  <a:lnTo>
                    <a:pt x="403" y="2"/>
                  </a:lnTo>
                  <a:lnTo>
                    <a:pt x="401" y="5"/>
                  </a:lnTo>
                  <a:lnTo>
                    <a:pt x="398" y="2"/>
                  </a:lnTo>
                  <a:lnTo>
                    <a:pt x="398" y="2"/>
                  </a:lnTo>
                  <a:lnTo>
                    <a:pt x="398" y="0"/>
                  </a:lnTo>
                  <a:lnTo>
                    <a:pt x="395" y="2"/>
                  </a:lnTo>
                  <a:lnTo>
                    <a:pt x="393" y="2"/>
                  </a:lnTo>
                  <a:lnTo>
                    <a:pt x="393" y="2"/>
                  </a:lnTo>
                  <a:lnTo>
                    <a:pt x="390" y="2"/>
                  </a:lnTo>
                  <a:lnTo>
                    <a:pt x="390" y="2"/>
                  </a:lnTo>
                  <a:lnTo>
                    <a:pt x="390" y="0"/>
                  </a:lnTo>
                  <a:lnTo>
                    <a:pt x="387" y="2"/>
                  </a:lnTo>
                  <a:lnTo>
                    <a:pt x="385" y="5"/>
                  </a:lnTo>
                  <a:lnTo>
                    <a:pt x="382" y="5"/>
                  </a:lnTo>
                  <a:lnTo>
                    <a:pt x="379" y="5"/>
                  </a:lnTo>
                  <a:lnTo>
                    <a:pt x="379" y="8"/>
                  </a:lnTo>
                  <a:lnTo>
                    <a:pt x="379" y="8"/>
                  </a:lnTo>
                  <a:lnTo>
                    <a:pt x="376" y="10"/>
                  </a:lnTo>
                  <a:lnTo>
                    <a:pt x="374" y="18"/>
                  </a:lnTo>
                  <a:lnTo>
                    <a:pt x="376" y="18"/>
                  </a:lnTo>
                  <a:lnTo>
                    <a:pt x="379" y="21"/>
                  </a:lnTo>
                  <a:lnTo>
                    <a:pt x="379" y="24"/>
                  </a:lnTo>
                  <a:lnTo>
                    <a:pt x="379" y="24"/>
                  </a:lnTo>
                  <a:lnTo>
                    <a:pt x="382" y="29"/>
                  </a:lnTo>
                  <a:lnTo>
                    <a:pt x="382" y="29"/>
                  </a:lnTo>
                  <a:lnTo>
                    <a:pt x="382" y="32"/>
                  </a:lnTo>
                  <a:lnTo>
                    <a:pt x="379" y="32"/>
                  </a:lnTo>
                  <a:lnTo>
                    <a:pt x="376" y="32"/>
                  </a:lnTo>
                  <a:lnTo>
                    <a:pt x="374" y="34"/>
                  </a:lnTo>
                  <a:lnTo>
                    <a:pt x="376" y="37"/>
                  </a:lnTo>
                  <a:lnTo>
                    <a:pt x="376" y="40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8"/>
                  </a:lnTo>
                  <a:lnTo>
                    <a:pt x="376" y="48"/>
                  </a:lnTo>
                  <a:lnTo>
                    <a:pt x="376" y="48"/>
                  </a:lnTo>
                  <a:lnTo>
                    <a:pt x="376" y="50"/>
                  </a:lnTo>
                  <a:lnTo>
                    <a:pt x="376" y="53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9" y="56"/>
                  </a:lnTo>
                  <a:lnTo>
                    <a:pt x="376" y="58"/>
                  </a:lnTo>
                  <a:lnTo>
                    <a:pt x="379" y="61"/>
                  </a:lnTo>
                  <a:lnTo>
                    <a:pt x="376" y="64"/>
                  </a:lnTo>
                  <a:lnTo>
                    <a:pt x="374" y="64"/>
                  </a:lnTo>
                  <a:lnTo>
                    <a:pt x="371" y="64"/>
                  </a:lnTo>
                  <a:lnTo>
                    <a:pt x="368" y="64"/>
                  </a:lnTo>
                  <a:lnTo>
                    <a:pt x="368" y="66"/>
                  </a:lnTo>
                  <a:lnTo>
                    <a:pt x="368" y="69"/>
                  </a:lnTo>
                  <a:lnTo>
                    <a:pt x="368" y="72"/>
                  </a:lnTo>
                  <a:lnTo>
                    <a:pt x="374" y="77"/>
                  </a:lnTo>
                  <a:lnTo>
                    <a:pt x="374" y="77"/>
                  </a:lnTo>
                  <a:lnTo>
                    <a:pt x="371" y="82"/>
                  </a:lnTo>
                  <a:lnTo>
                    <a:pt x="374" y="85"/>
                  </a:lnTo>
                  <a:lnTo>
                    <a:pt x="374" y="85"/>
                  </a:lnTo>
                  <a:lnTo>
                    <a:pt x="376" y="85"/>
                  </a:lnTo>
                  <a:lnTo>
                    <a:pt x="376" y="85"/>
                  </a:lnTo>
                  <a:lnTo>
                    <a:pt x="379" y="85"/>
                  </a:lnTo>
                  <a:lnTo>
                    <a:pt x="379" y="85"/>
                  </a:lnTo>
                  <a:lnTo>
                    <a:pt x="382" y="85"/>
                  </a:lnTo>
                  <a:lnTo>
                    <a:pt x="382" y="90"/>
                  </a:lnTo>
                  <a:lnTo>
                    <a:pt x="385" y="90"/>
                  </a:lnTo>
                  <a:lnTo>
                    <a:pt x="385" y="93"/>
                  </a:lnTo>
                  <a:lnTo>
                    <a:pt x="382" y="93"/>
                  </a:lnTo>
                  <a:lnTo>
                    <a:pt x="385" y="98"/>
                  </a:lnTo>
                  <a:lnTo>
                    <a:pt x="385" y="98"/>
                  </a:lnTo>
                  <a:lnTo>
                    <a:pt x="385" y="101"/>
                  </a:lnTo>
                  <a:lnTo>
                    <a:pt x="387" y="101"/>
                  </a:lnTo>
                  <a:lnTo>
                    <a:pt x="387" y="101"/>
                  </a:lnTo>
                  <a:lnTo>
                    <a:pt x="390" y="101"/>
                  </a:lnTo>
                  <a:lnTo>
                    <a:pt x="390" y="104"/>
                  </a:lnTo>
                  <a:lnTo>
                    <a:pt x="390" y="109"/>
                  </a:lnTo>
                  <a:lnTo>
                    <a:pt x="393" y="112"/>
                  </a:lnTo>
                  <a:lnTo>
                    <a:pt x="395" y="112"/>
                  </a:lnTo>
                  <a:lnTo>
                    <a:pt x="398" y="109"/>
                  </a:lnTo>
                  <a:lnTo>
                    <a:pt x="398" y="112"/>
                  </a:lnTo>
                  <a:lnTo>
                    <a:pt x="398" y="117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6" y="112"/>
                  </a:lnTo>
                  <a:lnTo>
                    <a:pt x="403" y="109"/>
                  </a:lnTo>
                  <a:lnTo>
                    <a:pt x="406" y="109"/>
                  </a:lnTo>
                  <a:lnTo>
                    <a:pt x="409" y="109"/>
                  </a:lnTo>
                  <a:lnTo>
                    <a:pt x="411" y="109"/>
                  </a:lnTo>
                  <a:lnTo>
                    <a:pt x="411" y="109"/>
                  </a:lnTo>
                  <a:lnTo>
                    <a:pt x="414" y="109"/>
                  </a:lnTo>
                  <a:lnTo>
                    <a:pt x="414" y="112"/>
                  </a:lnTo>
                  <a:lnTo>
                    <a:pt x="414" y="115"/>
                  </a:lnTo>
                  <a:lnTo>
                    <a:pt x="414" y="120"/>
                  </a:lnTo>
                  <a:lnTo>
                    <a:pt x="409" y="128"/>
                  </a:lnTo>
                  <a:lnTo>
                    <a:pt x="411" y="128"/>
                  </a:lnTo>
                  <a:lnTo>
                    <a:pt x="411" y="131"/>
                  </a:lnTo>
                  <a:lnTo>
                    <a:pt x="411" y="131"/>
                  </a:lnTo>
                  <a:lnTo>
                    <a:pt x="414" y="131"/>
                  </a:lnTo>
                  <a:lnTo>
                    <a:pt x="414" y="133"/>
                  </a:lnTo>
                  <a:lnTo>
                    <a:pt x="417" y="141"/>
                  </a:lnTo>
                  <a:lnTo>
                    <a:pt x="414" y="144"/>
                  </a:lnTo>
                  <a:lnTo>
                    <a:pt x="411" y="147"/>
                  </a:lnTo>
                  <a:lnTo>
                    <a:pt x="411" y="147"/>
                  </a:lnTo>
                  <a:lnTo>
                    <a:pt x="414" y="149"/>
                  </a:lnTo>
                  <a:lnTo>
                    <a:pt x="414" y="155"/>
                  </a:lnTo>
                  <a:lnTo>
                    <a:pt x="411" y="157"/>
                  </a:lnTo>
                  <a:lnTo>
                    <a:pt x="411" y="160"/>
                  </a:lnTo>
                  <a:lnTo>
                    <a:pt x="409" y="157"/>
                  </a:lnTo>
                  <a:lnTo>
                    <a:pt x="406" y="157"/>
                  </a:lnTo>
                  <a:lnTo>
                    <a:pt x="403" y="155"/>
                  </a:lnTo>
                  <a:lnTo>
                    <a:pt x="403" y="152"/>
                  </a:lnTo>
                  <a:lnTo>
                    <a:pt x="403" y="152"/>
                  </a:lnTo>
                  <a:lnTo>
                    <a:pt x="401" y="152"/>
                  </a:lnTo>
                  <a:lnTo>
                    <a:pt x="401" y="155"/>
                  </a:lnTo>
                  <a:lnTo>
                    <a:pt x="398" y="160"/>
                  </a:lnTo>
                  <a:lnTo>
                    <a:pt x="395" y="165"/>
                  </a:lnTo>
                  <a:lnTo>
                    <a:pt x="393" y="165"/>
                  </a:lnTo>
                  <a:lnTo>
                    <a:pt x="390" y="168"/>
                  </a:lnTo>
                  <a:lnTo>
                    <a:pt x="390" y="168"/>
                  </a:lnTo>
                  <a:lnTo>
                    <a:pt x="390" y="171"/>
                  </a:lnTo>
                  <a:lnTo>
                    <a:pt x="387" y="171"/>
                  </a:lnTo>
                  <a:lnTo>
                    <a:pt x="385" y="171"/>
                  </a:lnTo>
                  <a:lnTo>
                    <a:pt x="382" y="173"/>
                  </a:lnTo>
                  <a:lnTo>
                    <a:pt x="379" y="176"/>
                  </a:lnTo>
                  <a:lnTo>
                    <a:pt x="379" y="176"/>
                  </a:lnTo>
                  <a:lnTo>
                    <a:pt x="376" y="173"/>
                  </a:lnTo>
                  <a:lnTo>
                    <a:pt x="376" y="173"/>
                  </a:lnTo>
                  <a:lnTo>
                    <a:pt x="371" y="176"/>
                  </a:lnTo>
                  <a:lnTo>
                    <a:pt x="366" y="176"/>
                  </a:lnTo>
                  <a:lnTo>
                    <a:pt x="363" y="176"/>
                  </a:lnTo>
                  <a:lnTo>
                    <a:pt x="360" y="176"/>
                  </a:lnTo>
                  <a:lnTo>
                    <a:pt x="360" y="173"/>
                  </a:lnTo>
                  <a:lnTo>
                    <a:pt x="358" y="173"/>
                  </a:lnTo>
                  <a:lnTo>
                    <a:pt x="355" y="173"/>
                  </a:lnTo>
                  <a:lnTo>
                    <a:pt x="352" y="171"/>
                  </a:lnTo>
                  <a:lnTo>
                    <a:pt x="350" y="173"/>
                  </a:lnTo>
                  <a:lnTo>
                    <a:pt x="350" y="176"/>
                  </a:lnTo>
                  <a:lnTo>
                    <a:pt x="344" y="176"/>
                  </a:lnTo>
                  <a:lnTo>
                    <a:pt x="342" y="176"/>
                  </a:lnTo>
                  <a:lnTo>
                    <a:pt x="339" y="173"/>
                  </a:lnTo>
                  <a:lnTo>
                    <a:pt x="336" y="171"/>
                  </a:lnTo>
                  <a:lnTo>
                    <a:pt x="334" y="173"/>
                  </a:lnTo>
                  <a:lnTo>
                    <a:pt x="331" y="173"/>
                  </a:lnTo>
                  <a:lnTo>
                    <a:pt x="328" y="171"/>
                  </a:lnTo>
                  <a:lnTo>
                    <a:pt x="323" y="168"/>
                  </a:lnTo>
                  <a:lnTo>
                    <a:pt x="320" y="171"/>
                  </a:lnTo>
                  <a:lnTo>
                    <a:pt x="318" y="171"/>
                  </a:lnTo>
                  <a:lnTo>
                    <a:pt x="318" y="173"/>
                  </a:lnTo>
                  <a:lnTo>
                    <a:pt x="315" y="173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8" y="181"/>
                  </a:lnTo>
                  <a:lnTo>
                    <a:pt x="318" y="184"/>
                  </a:lnTo>
                  <a:lnTo>
                    <a:pt x="318" y="187"/>
                  </a:lnTo>
                  <a:lnTo>
                    <a:pt x="318" y="189"/>
                  </a:lnTo>
                  <a:lnTo>
                    <a:pt x="320" y="192"/>
                  </a:lnTo>
                  <a:lnTo>
                    <a:pt x="318" y="192"/>
                  </a:lnTo>
                  <a:lnTo>
                    <a:pt x="318" y="195"/>
                  </a:lnTo>
                  <a:lnTo>
                    <a:pt x="318" y="197"/>
                  </a:lnTo>
                  <a:lnTo>
                    <a:pt x="315" y="197"/>
                  </a:lnTo>
                  <a:lnTo>
                    <a:pt x="312" y="197"/>
                  </a:lnTo>
                  <a:lnTo>
                    <a:pt x="312" y="197"/>
                  </a:lnTo>
                  <a:lnTo>
                    <a:pt x="312" y="200"/>
                  </a:lnTo>
                  <a:lnTo>
                    <a:pt x="312" y="203"/>
                  </a:lnTo>
                  <a:lnTo>
                    <a:pt x="312" y="203"/>
                  </a:lnTo>
                  <a:lnTo>
                    <a:pt x="312" y="205"/>
                  </a:lnTo>
                  <a:lnTo>
                    <a:pt x="315" y="205"/>
                  </a:lnTo>
                  <a:lnTo>
                    <a:pt x="318" y="205"/>
                  </a:lnTo>
                  <a:lnTo>
                    <a:pt x="320" y="205"/>
                  </a:lnTo>
                  <a:lnTo>
                    <a:pt x="323" y="205"/>
                  </a:lnTo>
                  <a:lnTo>
                    <a:pt x="326" y="205"/>
                  </a:lnTo>
                  <a:lnTo>
                    <a:pt x="328" y="205"/>
                  </a:lnTo>
                  <a:lnTo>
                    <a:pt x="328" y="205"/>
                  </a:lnTo>
                  <a:lnTo>
                    <a:pt x="328" y="208"/>
                  </a:lnTo>
                  <a:lnTo>
                    <a:pt x="328" y="211"/>
                  </a:lnTo>
                  <a:lnTo>
                    <a:pt x="328" y="211"/>
                  </a:lnTo>
                  <a:lnTo>
                    <a:pt x="328" y="211"/>
                  </a:lnTo>
                  <a:lnTo>
                    <a:pt x="331" y="213"/>
                  </a:lnTo>
                  <a:lnTo>
                    <a:pt x="334" y="213"/>
                  </a:lnTo>
                  <a:lnTo>
                    <a:pt x="334" y="213"/>
                  </a:lnTo>
                  <a:lnTo>
                    <a:pt x="336" y="216"/>
                  </a:lnTo>
                  <a:lnTo>
                    <a:pt x="336" y="216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6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34" y="216"/>
                  </a:lnTo>
                  <a:lnTo>
                    <a:pt x="331" y="216"/>
                  </a:lnTo>
                  <a:lnTo>
                    <a:pt x="331" y="219"/>
                  </a:lnTo>
                  <a:lnTo>
                    <a:pt x="331" y="221"/>
                  </a:lnTo>
                  <a:lnTo>
                    <a:pt x="331" y="221"/>
                  </a:lnTo>
                  <a:lnTo>
                    <a:pt x="334" y="224"/>
                  </a:lnTo>
                  <a:lnTo>
                    <a:pt x="334" y="227"/>
                  </a:lnTo>
                  <a:lnTo>
                    <a:pt x="334" y="232"/>
                  </a:lnTo>
                  <a:lnTo>
                    <a:pt x="334" y="232"/>
                  </a:lnTo>
                  <a:lnTo>
                    <a:pt x="336" y="235"/>
                  </a:lnTo>
                  <a:lnTo>
                    <a:pt x="339" y="237"/>
                  </a:lnTo>
                  <a:lnTo>
                    <a:pt x="339" y="237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2" y="243"/>
                  </a:lnTo>
                  <a:lnTo>
                    <a:pt x="342" y="243"/>
                  </a:lnTo>
                  <a:lnTo>
                    <a:pt x="342" y="245"/>
                  </a:lnTo>
                  <a:lnTo>
                    <a:pt x="342" y="248"/>
                  </a:lnTo>
                  <a:lnTo>
                    <a:pt x="344" y="248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4" y="251"/>
                  </a:lnTo>
                  <a:lnTo>
                    <a:pt x="342" y="253"/>
                  </a:lnTo>
                  <a:lnTo>
                    <a:pt x="344" y="253"/>
                  </a:lnTo>
                  <a:lnTo>
                    <a:pt x="347" y="256"/>
                  </a:lnTo>
                  <a:lnTo>
                    <a:pt x="347" y="259"/>
                  </a:lnTo>
                  <a:lnTo>
                    <a:pt x="347" y="261"/>
                  </a:lnTo>
                  <a:lnTo>
                    <a:pt x="350" y="261"/>
                  </a:lnTo>
                  <a:lnTo>
                    <a:pt x="352" y="261"/>
                  </a:lnTo>
                  <a:lnTo>
                    <a:pt x="352" y="264"/>
                  </a:lnTo>
                  <a:lnTo>
                    <a:pt x="352" y="267"/>
                  </a:lnTo>
                  <a:lnTo>
                    <a:pt x="352" y="270"/>
                  </a:lnTo>
                  <a:lnTo>
                    <a:pt x="352" y="270"/>
                  </a:lnTo>
                  <a:lnTo>
                    <a:pt x="350" y="275"/>
                  </a:lnTo>
                  <a:lnTo>
                    <a:pt x="352" y="275"/>
                  </a:lnTo>
                  <a:lnTo>
                    <a:pt x="352" y="278"/>
                  </a:lnTo>
                  <a:lnTo>
                    <a:pt x="352" y="278"/>
                  </a:lnTo>
                  <a:lnTo>
                    <a:pt x="355" y="280"/>
                  </a:lnTo>
                  <a:lnTo>
                    <a:pt x="355" y="280"/>
                  </a:lnTo>
                  <a:lnTo>
                    <a:pt x="355" y="283"/>
                  </a:lnTo>
                  <a:lnTo>
                    <a:pt x="355" y="286"/>
                  </a:lnTo>
                  <a:lnTo>
                    <a:pt x="355" y="288"/>
                  </a:lnTo>
                  <a:lnTo>
                    <a:pt x="355" y="288"/>
                  </a:lnTo>
                  <a:lnTo>
                    <a:pt x="358" y="288"/>
                  </a:lnTo>
                  <a:lnTo>
                    <a:pt x="358" y="291"/>
                  </a:lnTo>
                  <a:lnTo>
                    <a:pt x="358" y="291"/>
                  </a:lnTo>
                  <a:lnTo>
                    <a:pt x="360" y="294"/>
                  </a:lnTo>
                  <a:lnTo>
                    <a:pt x="360" y="296"/>
                  </a:lnTo>
                  <a:lnTo>
                    <a:pt x="360" y="296"/>
                  </a:lnTo>
                  <a:lnTo>
                    <a:pt x="360" y="299"/>
                  </a:lnTo>
                  <a:lnTo>
                    <a:pt x="360" y="302"/>
                  </a:lnTo>
                  <a:lnTo>
                    <a:pt x="360" y="304"/>
                  </a:lnTo>
                  <a:lnTo>
                    <a:pt x="360" y="304"/>
                  </a:lnTo>
                  <a:lnTo>
                    <a:pt x="363" y="307"/>
                  </a:lnTo>
                  <a:lnTo>
                    <a:pt x="366" y="307"/>
                  </a:lnTo>
                  <a:lnTo>
                    <a:pt x="366" y="307"/>
                  </a:lnTo>
                  <a:lnTo>
                    <a:pt x="366" y="310"/>
                  </a:lnTo>
                  <a:lnTo>
                    <a:pt x="366" y="312"/>
                  </a:lnTo>
                  <a:lnTo>
                    <a:pt x="366" y="312"/>
                  </a:lnTo>
                  <a:lnTo>
                    <a:pt x="366" y="312"/>
                  </a:lnTo>
                  <a:lnTo>
                    <a:pt x="368" y="315"/>
                  </a:lnTo>
                  <a:lnTo>
                    <a:pt x="368" y="315"/>
                  </a:lnTo>
                  <a:lnTo>
                    <a:pt x="371" y="315"/>
                  </a:lnTo>
                  <a:lnTo>
                    <a:pt x="371" y="315"/>
                  </a:lnTo>
                  <a:lnTo>
                    <a:pt x="374" y="315"/>
                  </a:lnTo>
                  <a:lnTo>
                    <a:pt x="374" y="315"/>
                  </a:lnTo>
                  <a:lnTo>
                    <a:pt x="376" y="315"/>
                  </a:lnTo>
                  <a:lnTo>
                    <a:pt x="379" y="315"/>
                  </a:lnTo>
                  <a:lnTo>
                    <a:pt x="379" y="315"/>
                  </a:lnTo>
                  <a:lnTo>
                    <a:pt x="382" y="315"/>
                  </a:lnTo>
                  <a:lnTo>
                    <a:pt x="382" y="315"/>
                  </a:lnTo>
                  <a:lnTo>
                    <a:pt x="385" y="315"/>
                  </a:lnTo>
                  <a:lnTo>
                    <a:pt x="385" y="312"/>
                  </a:lnTo>
                  <a:lnTo>
                    <a:pt x="387" y="310"/>
                  </a:lnTo>
                  <a:lnTo>
                    <a:pt x="387" y="310"/>
                  </a:lnTo>
                  <a:lnTo>
                    <a:pt x="390" y="310"/>
                  </a:lnTo>
                  <a:lnTo>
                    <a:pt x="390" y="310"/>
                  </a:lnTo>
                  <a:lnTo>
                    <a:pt x="393" y="310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2"/>
                  </a:lnTo>
                  <a:lnTo>
                    <a:pt x="395" y="312"/>
                  </a:lnTo>
                  <a:lnTo>
                    <a:pt x="398" y="312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5"/>
                  </a:lnTo>
                  <a:lnTo>
                    <a:pt x="395" y="318"/>
                  </a:lnTo>
                  <a:lnTo>
                    <a:pt x="398" y="318"/>
                  </a:lnTo>
                  <a:lnTo>
                    <a:pt x="398" y="318"/>
                  </a:lnTo>
                  <a:lnTo>
                    <a:pt x="398" y="320"/>
                  </a:lnTo>
                  <a:lnTo>
                    <a:pt x="398" y="320"/>
                  </a:lnTo>
                  <a:lnTo>
                    <a:pt x="401" y="323"/>
                  </a:lnTo>
                  <a:lnTo>
                    <a:pt x="403" y="323"/>
                  </a:lnTo>
                  <a:lnTo>
                    <a:pt x="403" y="323"/>
                  </a:lnTo>
                  <a:lnTo>
                    <a:pt x="406" y="326"/>
                  </a:lnTo>
                  <a:lnTo>
                    <a:pt x="406" y="326"/>
                  </a:lnTo>
                  <a:lnTo>
                    <a:pt x="409" y="328"/>
                  </a:lnTo>
                  <a:lnTo>
                    <a:pt x="411" y="328"/>
                  </a:lnTo>
                  <a:lnTo>
                    <a:pt x="411" y="328"/>
                  </a:lnTo>
                  <a:lnTo>
                    <a:pt x="414" y="328"/>
                  </a:lnTo>
                  <a:lnTo>
                    <a:pt x="414" y="328"/>
                  </a:lnTo>
                  <a:lnTo>
                    <a:pt x="414" y="328"/>
                  </a:lnTo>
                  <a:lnTo>
                    <a:pt x="417" y="328"/>
                  </a:lnTo>
                  <a:lnTo>
                    <a:pt x="417" y="328"/>
                  </a:lnTo>
                  <a:lnTo>
                    <a:pt x="417" y="328"/>
                  </a:lnTo>
                  <a:lnTo>
                    <a:pt x="419" y="331"/>
                  </a:lnTo>
                  <a:lnTo>
                    <a:pt x="419" y="331"/>
                  </a:lnTo>
                  <a:lnTo>
                    <a:pt x="419" y="331"/>
                  </a:lnTo>
                  <a:lnTo>
                    <a:pt x="419" y="334"/>
                  </a:lnTo>
                  <a:lnTo>
                    <a:pt x="422" y="334"/>
                  </a:lnTo>
                  <a:lnTo>
                    <a:pt x="422" y="334"/>
                  </a:lnTo>
                  <a:lnTo>
                    <a:pt x="422" y="336"/>
                  </a:lnTo>
                  <a:lnTo>
                    <a:pt x="422" y="336"/>
                  </a:lnTo>
                  <a:lnTo>
                    <a:pt x="422" y="339"/>
                  </a:lnTo>
                  <a:lnTo>
                    <a:pt x="422" y="339"/>
                  </a:lnTo>
                  <a:lnTo>
                    <a:pt x="422" y="339"/>
                  </a:lnTo>
                  <a:lnTo>
                    <a:pt x="425" y="342"/>
                  </a:lnTo>
                  <a:lnTo>
                    <a:pt x="425" y="342"/>
                  </a:lnTo>
                  <a:lnTo>
                    <a:pt x="425" y="339"/>
                  </a:lnTo>
                  <a:lnTo>
                    <a:pt x="425" y="339"/>
                  </a:lnTo>
                  <a:lnTo>
                    <a:pt x="425" y="339"/>
                  </a:lnTo>
                  <a:lnTo>
                    <a:pt x="427" y="339"/>
                  </a:lnTo>
                  <a:lnTo>
                    <a:pt x="427" y="339"/>
                  </a:lnTo>
                  <a:lnTo>
                    <a:pt x="427" y="342"/>
                  </a:lnTo>
                  <a:lnTo>
                    <a:pt x="425" y="342"/>
                  </a:lnTo>
                  <a:lnTo>
                    <a:pt x="425" y="342"/>
                  </a:lnTo>
                  <a:lnTo>
                    <a:pt x="427" y="342"/>
                  </a:lnTo>
                  <a:lnTo>
                    <a:pt x="427" y="342"/>
                  </a:lnTo>
                  <a:lnTo>
                    <a:pt x="427" y="344"/>
                  </a:lnTo>
                  <a:lnTo>
                    <a:pt x="427" y="344"/>
                  </a:lnTo>
                  <a:lnTo>
                    <a:pt x="427" y="344"/>
                  </a:lnTo>
                  <a:lnTo>
                    <a:pt x="427" y="347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0" y="350"/>
                  </a:lnTo>
                  <a:lnTo>
                    <a:pt x="433" y="350"/>
                  </a:lnTo>
                  <a:lnTo>
                    <a:pt x="433" y="352"/>
                  </a:lnTo>
                  <a:lnTo>
                    <a:pt x="433" y="352"/>
                  </a:lnTo>
                  <a:lnTo>
                    <a:pt x="433" y="352"/>
                  </a:lnTo>
                  <a:lnTo>
                    <a:pt x="433" y="355"/>
                  </a:lnTo>
                  <a:lnTo>
                    <a:pt x="433" y="355"/>
                  </a:lnTo>
                  <a:lnTo>
                    <a:pt x="433" y="355"/>
                  </a:lnTo>
                  <a:lnTo>
                    <a:pt x="433" y="358"/>
                  </a:lnTo>
                  <a:lnTo>
                    <a:pt x="433" y="358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30" y="360"/>
                  </a:lnTo>
                  <a:lnTo>
                    <a:pt x="430" y="363"/>
                  </a:lnTo>
                  <a:lnTo>
                    <a:pt x="433" y="363"/>
                  </a:lnTo>
                  <a:lnTo>
                    <a:pt x="433" y="366"/>
                  </a:lnTo>
                  <a:lnTo>
                    <a:pt x="433" y="366"/>
                  </a:lnTo>
                  <a:lnTo>
                    <a:pt x="433" y="366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30" y="368"/>
                  </a:lnTo>
                  <a:lnTo>
                    <a:pt x="427" y="368"/>
                  </a:lnTo>
                  <a:lnTo>
                    <a:pt x="427" y="371"/>
                  </a:lnTo>
                  <a:lnTo>
                    <a:pt x="427" y="371"/>
                  </a:lnTo>
                  <a:lnTo>
                    <a:pt x="427" y="371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6"/>
                  </a:lnTo>
                  <a:lnTo>
                    <a:pt x="430" y="376"/>
                  </a:lnTo>
                  <a:lnTo>
                    <a:pt x="430" y="376"/>
                  </a:lnTo>
                  <a:lnTo>
                    <a:pt x="430" y="376"/>
                  </a:lnTo>
                  <a:lnTo>
                    <a:pt x="430" y="379"/>
                  </a:lnTo>
                  <a:lnTo>
                    <a:pt x="427" y="379"/>
                  </a:lnTo>
                  <a:lnTo>
                    <a:pt x="427" y="379"/>
                  </a:lnTo>
                  <a:lnTo>
                    <a:pt x="427" y="379"/>
                  </a:lnTo>
                  <a:lnTo>
                    <a:pt x="427" y="382"/>
                  </a:lnTo>
                  <a:lnTo>
                    <a:pt x="427" y="382"/>
                  </a:lnTo>
                  <a:lnTo>
                    <a:pt x="430" y="384"/>
                  </a:lnTo>
                  <a:lnTo>
                    <a:pt x="427" y="384"/>
                  </a:lnTo>
                  <a:lnTo>
                    <a:pt x="427" y="384"/>
                  </a:lnTo>
                  <a:lnTo>
                    <a:pt x="427" y="387"/>
                  </a:lnTo>
                  <a:lnTo>
                    <a:pt x="425" y="387"/>
                  </a:lnTo>
                  <a:lnTo>
                    <a:pt x="425" y="387"/>
                  </a:lnTo>
                  <a:lnTo>
                    <a:pt x="422" y="387"/>
                  </a:lnTo>
                  <a:lnTo>
                    <a:pt x="422" y="387"/>
                  </a:lnTo>
                  <a:lnTo>
                    <a:pt x="422" y="387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90"/>
                  </a:lnTo>
                  <a:lnTo>
                    <a:pt x="419" y="390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9" y="392"/>
                  </a:lnTo>
                  <a:lnTo>
                    <a:pt x="417" y="392"/>
                  </a:lnTo>
                  <a:lnTo>
                    <a:pt x="417" y="392"/>
                  </a:lnTo>
                  <a:lnTo>
                    <a:pt x="417" y="392"/>
                  </a:lnTo>
                  <a:lnTo>
                    <a:pt x="414" y="392"/>
                  </a:lnTo>
                  <a:lnTo>
                    <a:pt x="414" y="392"/>
                  </a:lnTo>
                  <a:lnTo>
                    <a:pt x="411" y="390"/>
                  </a:lnTo>
                  <a:lnTo>
                    <a:pt x="411" y="390"/>
                  </a:lnTo>
                  <a:lnTo>
                    <a:pt x="409" y="390"/>
                  </a:lnTo>
                  <a:lnTo>
                    <a:pt x="409" y="390"/>
                  </a:lnTo>
                  <a:lnTo>
                    <a:pt x="409" y="390"/>
                  </a:lnTo>
                  <a:lnTo>
                    <a:pt x="409" y="392"/>
                  </a:lnTo>
                  <a:lnTo>
                    <a:pt x="409" y="392"/>
                  </a:lnTo>
                  <a:lnTo>
                    <a:pt x="409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6" y="392"/>
                  </a:lnTo>
                  <a:lnTo>
                    <a:pt x="403" y="392"/>
                  </a:lnTo>
                  <a:lnTo>
                    <a:pt x="403" y="395"/>
                  </a:lnTo>
                  <a:lnTo>
                    <a:pt x="401" y="395"/>
                  </a:lnTo>
                  <a:lnTo>
                    <a:pt x="401" y="392"/>
                  </a:lnTo>
                  <a:lnTo>
                    <a:pt x="401" y="392"/>
                  </a:lnTo>
                  <a:lnTo>
                    <a:pt x="401" y="392"/>
                  </a:lnTo>
                  <a:lnTo>
                    <a:pt x="398" y="392"/>
                  </a:lnTo>
                  <a:lnTo>
                    <a:pt x="398" y="395"/>
                  </a:lnTo>
                  <a:lnTo>
                    <a:pt x="398" y="395"/>
                  </a:lnTo>
                  <a:lnTo>
                    <a:pt x="395" y="398"/>
                  </a:lnTo>
                  <a:lnTo>
                    <a:pt x="395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0" y="398"/>
                  </a:lnTo>
                  <a:lnTo>
                    <a:pt x="390" y="400"/>
                  </a:lnTo>
                  <a:lnTo>
                    <a:pt x="390" y="400"/>
                  </a:lnTo>
                  <a:lnTo>
                    <a:pt x="387" y="400"/>
                  </a:lnTo>
                  <a:lnTo>
                    <a:pt x="387" y="400"/>
                  </a:lnTo>
                  <a:lnTo>
                    <a:pt x="382" y="403"/>
                  </a:lnTo>
                  <a:lnTo>
                    <a:pt x="382" y="403"/>
                  </a:lnTo>
                  <a:lnTo>
                    <a:pt x="382" y="406"/>
                  </a:lnTo>
                  <a:lnTo>
                    <a:pt x="379" y="406"/>
                  </a:lnTo>
                  <a:lnTo>
                    <a:pt x="379" y="406"/>
                  </a:lnTo>
                  <a:lnTo>
                    <a:pt x="379" y="406"/>
                  </a:lnTo>
                  <a:lnTo>
                    <a:pt x="376" y="406"/>
                  </a:lnTo>
                  <a:lnTo>
                    <a:pt x="376" y="406"/>
                  </a:lnTo>
                  <a:lnTo>
                    <a:pt x="374" y="408"/>
                  </a:lnTo>
                  <a:lnTo>
                    <a:pt x="374" y="408"/>
                  </a:lnTo>
                  <a:lnTo>
                    <a:pt x="371" y="408"/>
                  </a:lnTo>
                  <a:lnTo>
                    <a:pt x="371" y="408"/>
                  </a:lnTo>
                  <a:lnTo>
                    <a:pt x="371" y="411"/>
                  </a:lnTo>
                  <a:lnTo>
                    <a:pt x="371" y="411"/>
                  </a:lnTo>
                  <a:lnTo>
                    <a:pt x="368" y="414"/>
                  </a:lnTo>
                  <a:lnTo>
                    <a:pt x="368" y="414"/>
                  </a:lnTo>
                  <a:lnTo>
                    <a:pt x="368" y="414"/>
                  </a:lnTo>
                  <a:lnTo>
                    <a:pt x="366" y="414"/>
                  </a:lnTo>
                  <a:lnTo>
                    <a:pt x="366" y="414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9"/>
                  </a:lnTo>
                  <a:lnTo>
                    <a:pt x="366" y="419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6" y="422"/>
                  </a:lnTo>
                  <a:lnTo>
                    <a:pt x="363" y="425"/>
                  </a:lnTo>
                  <a:lnTo>
                    <a:pt x="363" y="425"/>
                  </a:lnTo>
                  <a:lnTo>
                    <a:pt x="360" y="425"/>
                  </a:lnTo>
                  <a:lnTo>
                    <a:pt x="360" y="427"/>
                  </a:lnTo>
                  <a:lnTo>
                    <a:pt x="360" y="427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5" y="430"/>
                  </a:lnTo>
                  <a:lnTo>
                    <a:pt x="355" y="433"/>
                  </a:lnTo>
                  <a:lnTo>
                    <a:pt x="355" y="433"/>
                  </a:lnTo>
                  <a:lnTo>
                    <a:pt x="355" y="435"/>
                  </a:lnTo>
                  <a:lnTo>
                    <a:pt x="352" y="435"/>
                  </a:lnTo>
                  <a:lnTo>
                    <a:pt x="352" y="435"/>
                  </a:lnTo>
                  <a:lnTo>
                    <a:pt x="352" y="435"/>
                  </a:lnTo>
                  <a:lnTo>
                    <a:pt x="352" y="438"/>
                  </a:lnTo>
                  <a:lnTo>
                    <a:pt x="352" y="438"/>
                  </a:lnTo>
                  <a:lnTo>
                    <a:pt x="352" y="441"/>
                  </a:lnTo>
                  <a:lnTo>
                    <a:pt x="352" y="441"/>
                  </a:lnTo>
                  <a:lnTo>
                    <a:pt x="352" y="443"/>
                  </a:lnTo>
                  <a:lnTo>
                    <a:pt x="350" y="443"/>
                  </a:lnTo>
                  <a:lnTo>
                    <a:pt x="350" y="446"/>
                  </a:lnTo>
                  <a:lnTo>
                    <a:pt x="347" y="449"/>
                  </a:lnTo>
                  <a:lnTo>
                    <a:pt x="347" y="449"/>
                  </a:lnTo>
                  <a:lnTo>
                    <a:pt x="347" y="449"/>
                  </a:lnTo>
                  <a:lnTo>
                    <a:pt x="347" y="451"/>
                  </a:lnTo>
                  <a:lnTo>
                    <a:pt x="347" y="451"/>
                  </a:lnTo>
                  <a:lnTo>
                    <a:pt x="347" y="451"/>
                  </a:lnTo>
                  <a:lnTo>
                    <a:pt x="347" y="454"/>
                  </a:lnTo>
                  <a:lnTo>
                    <a:pt x="347" y="454"/>
                  </a:lnTo>
                  <a:lnTo>
                    <a:pt x="347" y="457"/>
                  </a:lnTo>
                  <a:lnTo>
                    <a:pt x="344" y="457"/>
                  </a:lnTo>
                  <a:lnTo>
                    <a:pt x="344" y="457"/>
                  </a:lnTo>
                  <a:lnTo>
                    <a:pt x="344" y="459"/>
                  </a:lnTo>
                  <a:lnTo>
                    <a:pt x="342" y="459"/>
                  </a:lnTo>
                  <a:lnTo>
                    <a:pt x="342" y="459"/>
                  </a:lnTo>
                  <a:lnTo>
                    <a:pt x="342" y="459"/>
                  </a:lnTo>
                  <a:lnTo>
                    <a:pt x="339" y="459"/>
                  </a:lnTo>
                  <a:lnTo>
                    <a:pt x="339" y="462"/>
                  </a:lnTo>
                  <a:lnTo>
                    <a:pt x="339" y="462"/>
                  </a:lnTo>
                  <a:lnTo>
                    <a:pt x="339" y="462"/>
                  </a:lnTo>
                  <a:lnTo>
                    <a:pt x="336" y="462"/>
                  </a:lnTo>
                  <a:lnTo>
                    <a:pt x="336" y="465"/>
                  </a:lnTo>
                  <a:lnTo>
                    <a:pt x="336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5"/>
                  </a:lnTo>
                  <a:lnTo>
                    <a:pt x="334" y="467"/>
                  </a:lnTo>
                  <a:lnTo>
                    <a:pt x="334" y="467"/>
                  </a:lnTo>
                  <a:lnTo>
                    <a:pt x="331" y="467"/>
                  </a:lnTo>
                  <a:lnTo>
                    <a:pt x="331" y="467"/>
                  </a:lnTo>
                  <a:lnTo>
                    <a:pt x="328" y="467"/>
                  </a:lnTo>
                  <a:lnTo>
                    <a:pt x="328" y="470"/>
                  </a:lnTo>
                  <a:lnTo>
                    <a:pt x="328" y="470"/>
                  </a:lnTo>
                  <a:lnTo>
                    <a:pt x="326" y="470"/>
                  </a:lnTo>
                  <a:lnTo>
                    <a:pt x="326" y="470"/>
                  </a:lnTo>
                  <a:lnTo>
                    <a:pt x="326" y="470"/>
                  </a:lnTo>
                  <a:lnTo>
                    <a:pt x="326" y="473"/>
                  </a:lnTo>
                  <a:lnTo>
                    <a:pt x="326" y="473"/>
                  </a:lnTo>
                  <a:lnTo>
                    <a:pt x="326" y="475"/>
                  </a:lnTo>
                  <a:lnTo>
                    <a:pt x="323" y="475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81"/>
                  </a:lnTo>
                  <a:lnTo>
                    <a:pt x="323" y="481"/>
                  </a:lnTo>
                  <a:lnTo>
                    <a:pt x="323" y="481"/>
                  </a:lnTo>
                  <a:lnTo>
                    <a:pt x="320" y="481"/>
                  </a:lnTo>
                  <a:lnTo>
                    <a:pt x="320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5" y="481"/>
                  </a:lnTo>
                  <a:lnTo>
                    <a:pt x="315" y="481"/>
                  </a:lnTo>
                  <a:lnTo>
                    <a:pt x="315" y="483"/>
                  </a:lnTo>
                  <a:lnTo>
                    <a:pt x="315" y="483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0" y="489"/>
                  </a:lnTo>
                  <a:lnTo>
                    <a:pt x="310" y="491"/>
                  </a:lnTo>
                  <a:lnTo>
                    <a:pt x="310" y="491"/>
                  </a:lnTo>
                  <a:lnTo>
                    <a:pt x="307" y="491"/>
                  </a:lnTo>
                  <a:lnTo>
                    <a:pt x="307" y="491"/>
                  </a:lnTo>
                  <a:lnTo>
                    <a:pt x="307" y="491"/>
                  </a:lnTo>
                  <a:lnTo>
                    <a:pt x="307" y="489"/>
                  </a:lnTo>
                  <a:lnTo>
                    <a:pt x="304" y="489"/>
                  </a:lnTo>
                  <a:lnTo>
                    <a:pt x="304" y="489"/>
                  </a:lnTo>
                  <a:lnTo>
                    <a:pt x="304" y="491"/>
                  </a:lnTo>
                  <a:lnTo>
                    <a:pt x="304" y="491"/>
                  </a:lnTo>
                  <a:lnTo>
                    <a:pt x="302" y="491"/>
                  </a:lnTo>
                  <a:lnTo>
                    <a:pt x="302" y="494"/>
                  </a:lnTo>
                  <a:lnTo>
                    <a:pt x="299" y="494"/>
                  </a:lnTo>
                  <a:lnTo>
                    <a:pt x="299" y="494"/>
                  </a:lnTo>
                  <a:lnTo>
                    <a:pt x="296" y="494"/>
                  </a:lnTo>
                  <a:lnTo>
                    <a:pt x="296" y="494"/>
                  </a:lnTo>
                  <a:lnTo>
                    <a:pt x="296" y="497"/>
                  </a:lnTo>
                  <a:lnTo>
                    <a:pt x="296" y="497"/>
                  </a:lnTo>
                  <a:lnTo>
                    <a:pt x="296" y="499"/>
                  </a:lnTo>
                  <a:lnTo>
                    <a:pt x="296" y="499"/>
                  </a:lnTo>
                  <a:lnTo>
                    <a:pt x="296" y="502"/>
                  </a:lnTo>
                  <a:lnTo>
                    <a:pt x="299" y="502"/>
                  </a:lnTo>
                  <a:lnTo>
                    <a:pt x="296" y="502"/>
                  </a:lnTo>
                  <a:lnTo>
                    <a:pt x="296" y="502"/>
                  </a:lnTo>
                  <a:lnTo>
                    <a:pt x="294" y="502"/>
                  </a:lnTo>
                  <a:lnTo>
                    <a:pt x="294" y="505"/>
                  </a:lnTo>
                  <a:lnTo>
                    <a:pt x="294" y="505"/>
                  </a:lnTo>
                  <a:lnTo>
                    <a:pt x="291" y="505"/>
                  </a:lnTo>
                  <a:lnTo>
                    <a:pt x="291" y="505"/>
                  </a:lnTo>
                  <a:lnTo>
                    <a:pt x="291" y="507"/>
                  </a:lnTo>
                  <a:lnTo>
                    <a:pt x="288" y="507"/>
                  </a:lnTo>
                  <a:lnTo>
                    <a:pt x="288" y="507"/>
                  </a:lnTo>
                  <a:lnTo>
                    <a:pt x="288" y="510"/>
                  </a:lnTo>
                  <a:lnTo>
                    <a:pt x="288" y="510"/>
                  </a:lnTo>
                  <a:lnTo>
                    <a:pt x="291" y="510"/>
                  </a:lnTo>
                  <a:lnTo>
                    <a:pt x="291" y="510"/>
                  </a:lnTo>
                  <a:lnTo>
                    <a:pt x="291" y="510"/>
                  </a:lnTo>
                  <a:lnTo>
                    <a:pt x="294" y="510"/>
                  </a:lnTo>
                  <a:lnTo>
                    <a:pt x="296" y="513"/>
                  </a:lnTo>
                  <a:lnTo>
                    <a:pt x="296" y="515"/>
                  </a:lnTo>
                  <a:lnTo>
                    <a:pt x="296" y="518"/>
                  </a:lnTo>
                  <a:lnTo>
                    <a:pt x="296" y="518"/>
                  </a:lnTo>
                  <a:lnTo>
                    <a:pt x="294" y="523"/>
                  </a:lnTo>
                  <a:lnTo>
                    <a:pt x="296" y="523"/>
                  </a:lnTo>
                  <a:lnTo>
                    <a:pt x="296" y="526"/>
                  </a:lnTo>
                  <a:lnTo>
                    <a:pt x="296" y="526"/>
                  </a:lnTo>
                  <a:lnTo>
                    <a:pt x="296" y="529"/>
                  </a:lnTo>
                  <a:lnTo>
                    <a:pt x="299" y="531"/>
                  </a:lnTo>
                  <a:lnTo>
                    <a:pt x="302" y="531"/>
                  </a:lnTo>
                  <a:lnTo>
                    <a:pt x="304" y="531"/>
                  </a:lnTo>
                  <a:lnTo>
                    <a:pt x="304" y="534"/>
                  </a:lnTo>
                  <a:lnTo>
                    <a:pt x="304" y="534"/>
                  </a:lnTo>
                  <a:lnTo>
                    <a:pt x="304" y="537"/>
                  </a:lnTo>
                  <a:lnTo>
                    <a:pt x="304" y="537"/>
                  </a:lnTo>
                  <a:lnTo>
                    <a:pt x="307" y="539"/>
                  </a:lnTo>
                  <a:lnTo>
                    <a:pt x="307" y="542"/>
                  </a:lnTo>
                  <a:lnTo>
                    <a:pt x="307" y="542"/>
                  </a:lnTo>
                  <a:lnTo>
                    <a:pt x="310" y="539"/>
                  </a:lnTo>
                  <a:lnTo>
                    <a:pt x="310" y="539"/>
                  </a:lnTo>
                  <a:lnTo>
                    <a:pt x="312" y="539"/>
                  </a:lnTo>
                  <a:lnTo>
                    <a:pt x="312" y="542"/>
                  </a:lnTo>
                  <a:lnTo>
                    <a:pt x="312" y="542"/>
                  </a:lnTo>
                  <a:lnTo>
                    <a:pt x="315" y="542"/>
                  </a:lnTo>
                  <a:lnTo>
                    <a:pt x="318" y="542"/>
                  </a:lnTo>
                  <a:lnTo>
                    <a:pt x="320" y="542"/>
                  </a:lnTo>
                  <a:lnTo>
                    <a:pt x="320" y="545"/>
                  </a:lnTo>
                  <a:lnTo>
                    <a:pt x="320" y="545"/>
                  </a:lnTo>
                  <a:lnTo>
                    <a:pt x="320" y="547"/>
                  </a:lnTo>
                  <a:lnTo>
                    <a:pt x="320" y="547"/>
                  </a:lnTo>
                  <a:lnTo>
                    <a:pt x="320" y="550"/>
                  </a:lnTo>
                  <a:lnTo>
                    <a:pt x="320" y="550"/>
                  </a:lnTo>
                  <a:lnTo>
                    <a:pt x="318" y="553"/>
                  </a:lnTo>
                  <a:lnTo>
                    <a:pt x="318" y="553"/>
                  </a:lnTo>
                  <a:lnTo>
                    <a:pt x="320" y="555"/>
                  </a:lnTo>
                  <a:lnTo>
                    <a:pt x="320" y="553"/>
                  </a:lnTo>
                  <a:lnTo>
                    <a:pt x="320" y="553"/>
                  </a:lnTo>
                  <a:lnTo>
                    <a:pt x="323" y="553"/>
                  </a:lnTo>
                  <a:lnTo>
                    <a:pt x="323" y="553"/>
                  </a:lnTo>
                  <a:lnTo>
                    <a:pt x="323" y="550"/>
                  </a:lnTo>
                  <a:lnTo>
                    <a:pt x="326" y="550"/>
                  </a:lnTo>
                  <a:lnTo>
                    <a:pt x="326" y="553"/>
                  </a:lnTo>
                  <a:lnTo>
                    <a:pt x="331" y="553"/>
                  </a:lnTo>
                  <a:lnTo>
                    <a:pt x="331" y="555"/>
                  </a:lnTo>
                  <a:lnTo>
                    <a:pt x="328" y="555"/>
                  </a:lnTo>
                  <a:lnTo>
                    <a:pt x="328" y="561"/>
                  </a:lnTo>
                  <a:lnTo>
                    <a:pt x="331" y="561"/>
                  </a:lnTo>
                  <a:lnTo>
                    <a:pt x="331" y="563"/>
                  </a:lnTo>
                  <a:lnTo>
                    <a:pt x="331" y="563"/>
                  </a:lnTo>
                  <a:lnTo>
                    <a:pt x="328" y="566"/>
                  </a:lnTo>
                  <a:lnTo>
                    <a:pt x="328" y="569"/>
                  </a:lnTo>
                  <a:lnTo>
                    <a:pt x="328" y="571"/>
                  </a:lnTo>
                  <a:lnTo>
                    <a:pt x="328" y="571"/>
                  </a:lnTo>
                  <a:lnTo>
                    <a:pt x="328" y="574"/>
                  </a:lnTo>
                  <a:lnTo>
                    <a:pt x="331" y="577"/>
                  </a:lnTo>
                  <a:lnTo>
                    <a:pt x="331" y="577"/>
                  </a:lnTo>
                  <a:lnTo>
                    <a:pt x="331" y="577"/>
                  </a:lnTo>
                  <a:lnTo>
                    <a:pt x="328" y="577"/>
                  </a:lnTo>
                  <a:lnTo>
                    <a:pt x="328" y="582"/>
                  </a:lnTo>
                  <a:lnTo>
                    <a:pt x="326" y="585"/>
                  </a:lnTo>
                  <a:lnTo>
                    <a:pt x="328" y="588"/>
                  </a:lnTo>
                  <a:lnTo>
                    <a:pt x="326" y="588"/>
                  </a:lnTo>
                  <a:lnTo>
                    <a:pt x="326" y="590"/>
                  </a:lnTo>
                  <a:lnTo>
                    <a:pt x="323" y="590"/>
                  </a:lnTo>
                  <a:lnTo>
                    <a:pt x="326" y="593"/>
                  </a:lnTo>
                  <a:lnTo>
                    <a:pt x="323" y="593"/>
                  </a:lnTo>
                  <a:lnTo>
                    <a:pt x="323" y="593"/>
                  </a:lnTo>
                  <a:lnTo>
                    <a:pt x="318" y="598"/>
                  </a:lnTo>
                  <a:lnTo>
                    <a:pt x="315" y="598"/>
                  </a:lnTo>
                  <a:lnTo>
                    <a:pt x="315" y="598"/>
                  </a:lnTo>
                  <a:lnTo>
                    <a:pt x="315" y="601"/>
                  </a:lnTo>
                  <a:lnTo>
                    <a:pt x="312" y="604"/>
                  </a:lnTo>
                  <a:lnTo>
                    <a:pt x="310" y="604"/>
                  </a:lnTo>
                  <a:lnTo>
                    <a:pt x="310" y="606"/>
                  </a:lnTo>
                  <a:lnTo>
                    <a:pt x="307" y="606"/>
                  </a:lnTo>
                  <a:lnTo>
                    <a:pt x="307" y="609"/>
                  </a:lnTo>
                  <a:lnTo>
                    <a:pt x="304" y="609"/>
                  </a:lnTo>
                  <a:lnTo>
                    <a:pt x="304" y="614"/>
                  </a:lnTo>
                  <a:lnTo>
                    <a:pt x="302" y="614"/>
                  </a:lnTo>
                  <a:lnTo>
                    <a:pt x="302" y="620"/>
                  </a:lnTo>
                  <a:lnTo>
                    <a:pt x="299" y="617"/>
                  </a:lnTo>
                  <a:lnTo>
                    <a:pt x="294" y="620"/>
                  </a:lnTo>
                  <a:lnTo>
                    <a:pt x="291" y="620"/>
                  </a:lnTo>
                  <a:lnTo>
                    <a:pt x="288" y="620"/>
                  </a:lnTo>
                  <a:lnTo>
                    <a:pt x="286" y="622"/>
                  </a:lnTo>
                  <a:lnTo>
                    <a:pt x="283" y="622"/>
                  </a:lnTo>
                  <a:lnTo>
                    <a:pt x="283" y="622"/>
                  </a:lnTo>
                  <a:lnTo>
                    <a:pt x="280" y="622"/>
                  </a:lnTo>
                  <a:lnTo>
                    <a:pt x="278" y="625"/>
                  </a:lnTo>
                  <a:lnTo>
                    <a:pt x="278" y="625"/>
                  </a:lnTo>
                  <a:lnTo>
                    <a:pt x="275" y="625"/>
                  </a:lnTo>
                  <a:lnTo>
                    <a:pt x="275" y="628"/>
                  </a:lnTo>
                  <a:lnTo>
                    <a:pt x="275" y="628"/>
                  </a:lnTo>
                  <a:lnTo>
                    <a:pt x="272" y="630"/>
                  </a:lnTo>
                  <a:lnTo>
                    <a:pt x="272" y="630"/>
                  </a:lnTo>
                  <a:lnTo>
                    <a:pt x="270" y="636"/>
                  </a:lnTo>
                  <a:lnTo>
                    <a:pt x="267" y="638"/>
                  </a:lnTo>
                  <a:lnTo>
                    <a:pt x="262" y="638"/>
                  </a:lnTo>
                  <a:lnTo>
                    <a:pt x="262" y="638"/>
                  </a:lnTo>
                  <a:lnTo>
                    <a:pt x="259" y="638"/>
                  </a:lnTo>
                  <a:lnTo>
                    <a:pt x="259" y="641"/>
                  </a:lnTo>
                  <a:lnTo>
                    <a:pt x="256" y="641"/>
                  </a:lnTo>
                  <a:lnTo>
                    <a:pt x="256" y="641"/>
                  </a:lnTo>
                  <a:lnTo>
                    <a:pt x="254" y="641"/>
                  </a:lnTo>
                  <a:lnTo>
                    <a:pt x="251" y="641"/>
                  </a:lnTo>
                  <a:lnTo>
                    <a:pt x="251" y="641"/>
                  </a:lnTo>
                  <a:lnTo>
                    <a:pt x="251" y="641"/>
                  </a:lnTo>
                  <a:lnTo>
                    <a:pt x="248" y="641"/>
                  </a:lnTo>
                  <a:lnTo>
                    <a:pt x="246" y="641"/>
                  </a:lnTo>
                  <a:lnTo>
                    <a:pt x="243" y="646"/>
                  </a:lnTo>
                  <a:lnTo>
                    <a:pt x="240" y="646"/>
                  </a:lnTo>
                  <a:lnTo>
                    <a:pt x="240" y="649"/>
                  </a:lnTo>
                  <a:lnTo>
                    <a:pt x="243" y="649"/>
                  </a:lnTo>
                  <a:lnTo>
                    <a:pt x="243" y="652"/>
                  </a:lnTo>
                  <a:lnTo>
                    <a:pt x="243" y="652"/>
                  </a:lnTo>
                  <a:lnTo>
                    <a:pt x="243" y="652"/>
                  </a:lnTo>
                  <a:lnTo>
                    <a:pt x="240" y="654"/>
                  </a:lnTo>
                  <a:lnTo>
                    <a:pt x="240" y="654"/>
                  </a:lnTo>
                  <a:lnTo>
                    <a:pt x="240" y="654"/>
                  </a:lnTo>
                  <a:lnTo>
                    <a:pt x="238" y="657"/>
                  </a:lnTo>
                  <a:lnTo>
                    <a:pt x="235" y="654"/>
                  </a:lnTo>
                  <a:lnTo>
                    <a:pt x="232" y="654"/>
                  </a:lnTo>
                  <a:lnTo>
                    <a:pt x="232" y="654"/>
                  </a:lnTo>
                  <a:lnTo>
                    <a:pt x="227" y="654"/>
                  </a:lnTo>
                  <a:lnTo>
                    <a:pt x="224" y="649"/>
                  </a:lnTo>
                  <a:lnTo>
                    <a:pt x="222" y="652"/>
                  </a:lnTo>
                  <a:lnTo>
                    <a:pt x="222" y="652"/>
                  </a:lnTo>
                  <a:lnTo>
                    <a:pt x="219" y="652"/>
                  </a:lnTo>
                  <a:lnTo>
                    <a:pt x="219" y="654"/>
                  </a:lnTo>
                  <a:lnTo>
                    <a:pt x="219" y="654"/>
                  </a:lnTo>
                  <a:lnTo>
                    <a:pt x="216" y="657"/>
                  </a:lnTo>
                  <a:lnTo>
                    <a:pt x="216" y="660"/>
                  </a:lnTo>
                  <a:lnTo>
                    <a:pt x="216" y="660"/>
                  </a:lnTo>
                  <a:lnTo>
                    <a:pt x="214" y="662"/>
                  </a:lnTo>
                  <a:lnTo>
                    <a:pt x="214" y="662"/>
                  </a:lnTo>
                  <a:lnTo>
                    <a:pt x="214" y="662"/>
                  </a:lnTo>
                  <a:lnTo>
                    <a:pt x="211" y="662"/>
                  </a:lnTo>
                  <a:lnTo>
                    <a:pt x="214" y="665"/>
                  </a:lnTo>
                  <a:lnTo>
                    <a:pt x="214" y="665"/>
                  </a:lnTo>
                  <a:lnTo>
                    <a:pt x="214" y="665"/>
                  </a:lnTo>
                  <a:lnTo>
                    <a:pt x="214" y="668"/>
                  </a:lnTo>
                  <a:lnTo>
                    <a:pt x="211" y="668"/>
                  </a:lnTo>
                  <a:lnTo>
                    <a:pt x="211" y="668"/>
                  </a:lnTo>
                  <a:lnTo>
                    <a:pt x="211" y="670"/>
                  </a:lnTo>
                  <a:lnTo>
                    <a:pt x="208" y="670"/>
                  </a:lnTo>
                  <a:lnTo>
                    <a:pt x="208" y="673"/>
                  </a:lnTo>
                  <a:lnTo>
                    <a:pt x="208" y="673"/>
                  </a:lnTo>
                  <a:lnTo>
                    <a:pt x="206" y="676"/>
                  </a:lnTo>
                  <a:lnTo>
                    <a:pt x="206" y="676"/>
                  </a:lnTo>
                  <a:lnTo>
                    <a:pt x="206" y="678"/>
                  </a:lnTo>
                  <a:lnTo>
                    <a:pt x="203" y="681"/>
                  </a:lnTo>
                  <a:lnTo>
                    <a:pt x="203" y="681"/>
                  </a:lnTo>
                  <a:lnTo>
                    <a:pt x="203" y="684"/>
                  </a:lnTo>
                  <a:lnTo>
                    <a:pt x="203" y="684"/>
                  </a:lnTo>
                  <a:lnTo>
                    <a:pt x="203" y="686"/>
                  </a:lnTo>
                  <a:lnTo>
                    <a:pt x="200" y="686"/>
                  </a:lnTo>
                  <a:lnTo>
                    <a:pt x="200" y="689"/>
                  </a:lnTo>
                  <a:lnTo>
                    <a:pt x="198" y="689"/>
                  </a:lnTo>
                  <a:lnTo>
                    <a:pt x="198" y="692"/>
                  </a:lnTo>
                  <a:lnTo>
                    <a:pt x="195" y="692"/>
                  </a:lnTo>
                  <a:lnTo>
                    <a:pt x="192" y="694"/>
                  </a:lnTo>
                  <a:lnTo>
                    <a:pt x="192" y="697"/>
                  </a:lnTo>
                  <a:lnTo>
                    <a:pt x="190" y="697"/>
                  </a:lnTo>
                  <a:lnTo>
                    <a:pt x="187" y="700"/>
                  </a:lnTo>
                  <a:lnTo>
                    <a:pt x="184" y="700"/>
                  </a:lnTo>
                  <a:lnTo>
                    <a:pt x="184" y="700"/>
                  </a:lnTo>
                  <a:lnTo>
                    <a:pt x="182" y="700"/>
                  </a:lnTo>
                  <a:lnTo>
                    <a:pt x="182" y="702"/>
                  </a:lnTo>
                  <a:lnTo>
                    <a:pt x="182" y="702"/>
                  </a:lnTo>
                  <a:lnTo>
                    <a:pt x="179" y="702"/>
                  </a:lnTo>
                  <a:lnTo>
                    <a:pt x="176" y="705"/>
                  </a:lnTo>
                  <a:lnTo>
                    <a:pt x="174" y="705"/>
                  </a:lnTo>
                  <a:lnTo>
                    <a:pt x="174" y="705"/>
                  </a:lnTo>
                  <a:lnTo>
                    <a:pt x="171" y="708"/>
                  </a:lnTo>
                  <a:lnTo>
                    <a:pt x="168" y="710"/>
                  </a:lnTo>
                  <a:lnTo>
                    <a:pt x="166" y="710"/>
                  </a:lnTo>
                  <a:lnTo>
                    <a:pt x="166" y="713"/>
                  </a:lnTo>
                  <a:lnTo>
                    <a:pt x="168" y="713"/>
                  </a:lnTo>
                  <a:lnTo>
                    <a:pt x="168" y="718"/>
                  </a:lnTo>
                  <a:lnTo>
                    <a:pt x="163" y="718"/>
                  </a:lnTo>
                  <a:lnTo>
                    <a:pt x="160" y="721"/>
                  </a:lnTo>
                  <a:lnTo>
                    <a:pt x="160" y="721"/>
                  </a:lnTo>
                  <a:lnTo>
                    <a:pt x="160" y="721"/>
                  </a:lnTo>
                  <a:lnTo>
                    <a:pt x="158" y="724"/>
                  </a:lnTo>
                  <a:lnTo>
                    <a:pt x="158" y="726"/>
                  </a:lnTo>
                  <a:lnTo>
                    <a:pt x="160" y="726"/>
                  </a:lnTo>
                  <a:lnTo>
                    <a:pt x="160" y="726"/>
                  </a:lnTo>
                  <a:lnTo>
                    <a:pt x="160" y="726"/>
                  </a:lnTo>
                  <a:lnTo>
                    <a:pt x="160" y="729"/>
                  </a:lnTo>
                  <a:lnTo>
                    <a:pt x="160" y="729"/>
                  </a:lnTo>
                  <a:lnTo>
                    <a:pt x="160" y="732"/>
                  </a:lnTo>
                  <a:lnTo>
                    <a:pt x="158" y="732"/>
                  </a:lnTo>
                  <a:lnTo>
                    <a:pt x="155" y="732"/>
                  </a:lnTo>
                  <a:lnTo>
                    <a:pt x="155" y="737"/>
                  </a:lnTo>
                  <a:lnTo>
                    <a:pt x="155" y="737"/>
                  </a:lnTo>
                  <a:lnTo>
                    <a:pt x="155" y="734"/>
                  </a:lnTo>
                  <a:lnTo>
                    <a:pt x="152" y="737"/>
                  </a:lnTo>
                  <a:lnTo>
                    <a:pt x="152" y="737"/>
                  </a:lnTo>
                  <a:lnTo>
                    <a:pt x="152" y="740"/>
                  </a:lnTo>
                  <a:lnTo>
                    <a:pt x="155" y="740"/>
                  </a:lnTo>
                  <a:lnTo>
                    <a:pt x="152" y="742"/>
                  </a:lnTo>
                  <a:lnTo>
                    <a:pt x="150" y="742"/>
                  </a:lnTo>
                  <a:lnTo>
                    <a:pt x="150" y="742"/>
                  </a:lnTo>
                  <a:lnTo>
                    <a:pt x="147" y="742"/>
                  </a:lnTo>
                  <a:lnTo>
                    <a:pt x="147" y="742"/>
                  </a:lnTo>
                  <a:lnTo>
                    <a:pt x="144" y="742"/>
                  </a:lnTo>
                  <a:lnTo>
                    <a:pt x="142" y="742"/>
                  </a:lnTo>
                  <a:lnTo>
                    <a:pt x="142" y="742"/>
                  </a:lnTo>
                  <a:lnTo>
                    <a:pt x="139" y="742"/>
                  </a:lnTo>
                  <a:lnTo>
                    <a:pt x="136" y="742"/>
                  </a:lnTo>
                  <a:lnTo>
                    <a:pt x="136" y="742"/>
                  </a:lnTo>
                  <a:lnTo>
                    <a:pt x="133" y="740"/>
                  </a:lnTo>
                  <a:lnTo>
                    <a:pt x="133" y="737"/>
                  </a:lnTo>
                  <a:lnTo>
                    <a:pt x="131" y="737"/>
                  </a:lnTo>
                  <a:lnTo>
                    <a:pt x="128" y="737"/>
                  </a:lnTo>
                  <a:lnTo>
                    <a:pt x="125" y="737"/>
                  </a:lnTo>
                  <a:lnTo>
                    <a:pt x="123" y="737"/>
                  </a:lnTo>
                  <a:lnTo>
                    <a:pt x="120" y="737"/>
                  </a:lnTo>
                  <a:lnTo>
                    <a:pt x="120" y="737"/>
                  </a:lnTo>
                  <a:lnTo>
                    <a:pt x="120" y="737"/>
                  </a:lnTo>
                  <a:lnTo>
                    <a:pt x="117" y="737"/>
                  </a:lnTo>
                  <a:lnTo>
                    <a:pt x="117" y="740"/>
                  </a:lnTo>
                  <a:lnTo>
                    <a:pt x="115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12" y="737"/>
                  </a:lnTo>
                  <a:lnTo>
                    <a:pt x="109" y="737"/>
                  </a:lnTo>
                  <a:lnTo>
                    <a:pt x="107" y="740"/>
                  </a:lnTo>
                  <a:lnTo>
                    <a:pt x="107" y="742"/>
                  </a:lnTo>
                  <a:lnTo>
                    <a:pt x="104" y="745"/>
                  </a:lnTo>
                  <a:lnTo>
                    <a:pt x="101" y="745"/>
                  </a:lnTo>
                  <a:lnTo>
                    <a:pt x="101" y="748"/>
                  </a:lnTo>
                  <a:lnTo>
                    <a:pt x="101" y="748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6" y="751"/>
                  </a:lnTo>
                  <a:lnTo>
                    <a:pt x="96" y="753"/>
                  </a:lnTo>
                  <a:lnTo>
                    <a:pt x="93" y="756"/>
                  </a:lnTo>
                  <a:lnTo>
                    <a:pt x="93" y="756"/>
                  </a:lnTo>
                  <a:lnTo>
                    <a:pt x="91" y="759"/>
                  </a:lnTo>
                  <a:lnTo>
                    <a:pt x="91" y="759"/>
                  </a:lnTo>
                  <a:lnTo>
                    <a:pt x="88" y="759"/>
                  </a:lnTo>
                  <a:lnTo>
                    <a:pt x="85" y="759"/>
                  </a:lnTo>
                  <a:lnTo>
                    <a:pt x="85" y="759"/>
                  </a:lnTo>
                  <a:lnTo>
                    <a:pt x="83" y="759"/>
                  </a:lnTo>
                  <a:lnTo>
                    <a:pt x="83" y="759"/>
                  </a:lnTo>
                  <a:lnTo>
                    <a:pt x="83" y="761"/>
                  </a:lnTo>
                  <a:lnTo>
                    <a:pt x="80" y="761"/>
                  </a:lnTo>
                  <a:lnTo>
                    <a:pt x="80" y="761"/>
                  </a:lnTo>
                  <a:lnTo>
                    <a:pt x="80" y="761"/>
                  </a:lnTo>
                  <a:lnTo>
                    <a:pt x="77" y="764"/>
                  </a:lnTo>
                  <a:lnTo>
                    <a:pt x="77" y="764"/>
                  </a:lnTo>
                  <a:lnTo>
                    <a:pt x="77" y="764"/>
                  </a:lnTo>
                  <a:lnTo>
                    <a:pt x="80" y="767"/>
                  </a:lnTo>
                  <a:lnTo>
                    <a:pt x="80" y="767"/>
                  </a:lnTo>
                  <a:lnTo>
                    <a:pt x="77" y="767"/>
                  </a:lnTo>
                  <a:lnTo>
                    <a:pt x="77" y="767"/>
                  </a:lnTo>
                  <a:lnTo>
                    <a:pt x="77" y="767"/>
                  </a:lnTo>
                  <a:lnTo>
                    <a:pt x="75" y="764"/>
                  </a:lnTo>
                  <a:lnTo>
                    <a:pt x="75" y="767"/>
                  </a:lnTo>
                  <a:lnTo>
                    <a:pt x="72" y="769"/>
                  </a:lnTo>
                  <a:lnTo>
                    <a:pt x="72" y="769"/>
                  </a:lnTo>
                  <a:lnTo>
                    <a:pt x="69" y="769"/>
                  </a:lnTo>
                  <a:lnTo>
                    <a:pt x="67" y="767"/>
                  </a:lnTo>
                  <a:lnTo>
                    <a:pt x="67" y="764"/>
                  </a:lnTo>
                  <a:lnTo>
                    <a:pt x="64" y="767"/>
                  </a:lnTo>
                  <a:lnTo>
                    <a:pt x="64" y="764"/>
                  </a:lnTo>
                  <a:lnTo>
                    <a:pt x="61" y="764"/>
                  </a:lnTo>
                  <a:lnTo>
                    <a:pt x="61" y="761"/>
                  </a:lnTo>
                  <a:lnTo>
                    <a:pt x="61" y="761"/>
                  </a:lnTo>
                  <a:lnTo>
                    <a:pt x="61" y="761"/>
                  </a:lnTo>
                  <a:lnTo>
                    <a:pt x="59" y="759"/>
                  </a:lnTo>
                  <a:lnTo>
                    <a:pt x="59" y="759"/>
                  </a:lnTo>
                  <a:lnTo>
                    <a:pt x="59" y="756"/>
                  </a:lnTo>
                  <a:lnTo>
                    <a:pt x="56" y="756"/>
                  </a:lnTo>
                  <a:lnTo>
                    <a:pt x="56" y="761"/>
                  </a:lnTo>
                  <a:lnTo>
                    <a:pt x="56" y="761"/>
                  </a:lnTo>
                  <a:lnTo>
                    <a:pt x="56" y="761"/>
                  </a:lnTo>
                  <a:lnTo>
                    <a:pt x="53" y="761"/>
                  </a:lnTo>
                  <a:lnTo>
                    <a:pt x="53" y="764"/>
                  </a:lnTo>
                  <a:lnTo>
                    <a:pt x="51" y="764"/>
                  </a:lnTo>
                  <a:lnTo>
                    <a:pt x="51" y="764"/>
                  </a:lnTo>
                  <a:lnTo>
                    <a:pt x="51" y="764"/>
                  </a:lnTo>
                  <a:lnTo>
                    <a:pt x="48" y="767"/>
                  </a:lnTo>
                  <a:lnTo>
                    <a:pt x="48" y="767"/>
                  </a:lnTo>
                  <a:lnTo>
                    <a:pt x="48" y="767"/>
                  </a:lnTo>
                  <a:lnTo>
                    <a:pt x="43" y="764"/>
                  </a:lnTo>
                  <a:lnTo>
                    <a:pt x="43" y="767"/>
                  </a:lnTo>
                  <a:lnTo>
                    <a:pt x="40" y="767"/>
                  </a:lnTo>
                  <a:lnTo>
                    <a:pt x="37" y="764"/>
                  </a:lnTo>
                  <a:lnTo>
                    <a:pt x="37" y="764"/>
                  </a:lnTo>
                  <a:lnTo>
                    <a:pt x="35" y="764"/>
                  </a:lnTo>
                  <a:lnTo>
                    <a:pt x="35" y="761"/>
                  </a:lnTo>
                  <a:lnTo>
                    <a:pt x="32" y="761"/>
                  </a:lnTo>
                  <a:lnTo>
                    <a:pt x="32" y="761"/>
                  </a:lnTo>
                  <a:lnTo>
                    <a:pt x="32" y="761"/>
                  </a:lnTo>
                  <a:lnTo>
                    <a:pt x="32" y="764"/>
                  </a:lnTo>
                  <a:lnTo>
                    <a:pt x="32" y="767"/>
                  </a:lnTo>
                  <a:lnTo>
                    <a:pt x="32" y="769"/>
                  </a:lnTo>
                  <a:lnTo>
                    <a:pt x="32" y="769"/>
                  </a:lnTo>
                  <a:lnTo>
                    <a:pt x="29" y="772"/>
                  </a:lnTo>
                  <a:lnTo>
                    <a:pt x="29" y="772"/>
                  </a:lnTo>
                  <a:lnTo>
                    <a:pt x="29" y="769"/>
                  </a:lnTo>
                  <a:lnTo>
                    <a:pt x="27" y="769"/>
                  </a:lnTo>
                  <a:lnTo>
                    <a:pt x="27" y="769"/>
                  </a:lnTo>
                  <a:lnTo>
                    <a:pt x="27" y="772"/>
                  </a:lnTo>
                  <a:lnTo>
                    <a:pt x="24" y="777"/>
                  </a:lnTo>
                  <a:lnTo>
                    <a:pt x="24" y="780"/>
                  </a:lnTo>
                  <a:lnTo>
                    <a:pt x="24" y="780"/>
                  </a:lnTo>
                  <a:lnTo>
                    <a:pt x="24" y="783"/>
                  </a:lnTo>
                  <a:lnTo>
                    <a:pt x="21" y="783"/>
                  </a:lnTo>
                  <a:lnTo>
                    <a:pt x="21" y="785"/>
                  </a:lnTo>
                  <a:lnTo>
                    <a:pt x="21" y="788"/>
                  </a:lnTo>
                  <a:lnTo>
                    <a:pt x="21" y="788"/>
                  </a:lnTo>
                  <a:lnTo>
                    <a:pt x="24" y="788"/>
                  </a:lnTo>
                  <a:lnTo>
                    <a:pt x="27" y="791"/>
                  </a:lnTo>
                  <a:lnTo>
                    <a:pt x="32" y="791"/>
                  </a:lnTo>
                  <a:lnTo>
                    <a:pt x="32" y="793"/>
                  </a:lnTo>
                  <a:lnTo>
                    <a:pt x="35" y="793"/>
                  </a:lnTo>
                  <a:lnTo>
                    <a:pt x="35" y="796"/>
                  </a:lnTo>
                  <a:lnTo>
                    <a:pt x="35" y="796"/>
                  </a:lnTo>
                  <a:lnTo>
                    <a:pt x="32" y="799"/>
                  </a:lnTo>
                  <a:lnTo>
                    <a:pt x="32" y="801"/>
                  </a:lnTo>
                  <a:lnTo>
                    <a:pt x="32" y="801"/>
                  </a:lnTo>
                  <a:lnTo>
                    <a:pt x="29" y="804"/>
                  </a:lnTo>
                  <a:lnTo>
                    <a:pt x="29" y="804"/>
                  </a:lnTo>
                  <a:lnTo>
                    <a:pt x="27" y="804"/>
                  </a:lnTo>
                  <a:lnTo>
                    <a:pt x="21" y="804"/>
                  </a:lnTo>
                  <a:lnTo>
                    <a:pt x="21" y="815"/>
                  </a:lnTo>
                  <a:lnTo>
                    <a:pt x="19" y="820"/>
                  </a:lnTo>
                  <a:lnTo>
                    <a:pt x="19" y="820"/>
                  </a:lnTo>
                  <a:lnTo>
                    <a:pt x="21" y="823"/>
                  </a:lnTo>
                  <a:lnTo>
                    <a:pt x="21" y="825"/>
                  </a:lnTo>
                  <a:lnTo>
                    <a:pt x="21" y="825"/>
                  </a:lnTo>
                  <a:lnTo>
                    <a:pt x="19" y="825"/>
                  </a:lnTo>
                  <a:lnTo>
                    <a:pt x="19" y="828"/>
                  </a:lnTo>
                  <a:lnTo>
                    <a:pt x="11" y="833"/>
                  </a:lnTo>
                  <a:lnTo>
                    <a:pt x="11" y="833"/>
                  </a:lnTo>
                  <a:lnTo>
                    <a:pt x="19" y="844"/>
                  </a:lnTo>
                  <a:lnTo>
                    <a:pt x="21" y="841"/>
                  </a:lnTo>
                  <a:lnTo>
                    <a:pt x="24" y="844"/>
                  </a:lnTo>
                  <a:lnTo>
                    <a:pt x="24" y="844"/>
                  </a:lnTo>
                  <a:lnTo>
                    <a:pt x="24" y="844"/>
                  </a:lnTo>
                  <a:lnTo>
                    <a:pt x="27" y="844"/>
                  </a:lnTo>
                  <a:lnTo>
                    <a:pt x="29" y="844"/>
                  </a:lnTo>
                  <a:lnTo>
                    <a:pt x="29" y="847"/>
                  </a:lnTo>
                  <a:lnTo>
                    <a:pt x="32" y="847"/>
                  </a:lnTo>
                  <a:lnTo>
                    <a:pt x="32" y="844"/>
                  </a:lnTo>
                  <a:lnTo>
                    <a:pt x="35" y="847"/>
                  </a:lnTo>
                  <a:lnTo>
                    <a:pt x="37" y="847"/>
                  </a:lnTo>
                  <a:lnTo>
                    <a:pt x="37" y="849"/>
                  </a:lnTo>
                  <a:lnTo>
                    <a:pt x="40" y="849"/>
                  </a:lnTo>
                  <a:lnTo>
                    <a:pt x="40" y="849"/>
                  </a:lnTo>
                  <a:lnTo>
                    <a:pt x="40" y="849"/>
                  </a:lnTo>
                  <a:lnTo>
                    <a:pt x="40" y="852"/>
                  </a:lnTo>
                  <a:lnTo>
                    <a:pt x="40" y="852"/>
                  </a:lnTo>
                  <a:lnTo>
                    <a:pt x="40" y="852"/>
                  </a:lnTo>
                  <a:lnTo>
                    <a:pt x="43" y="852"/>
                  </a:lnTo>
                  <a:lnTo>
                    <a:pt x="45" y="852"/>
                  </a:lnTo>
                  <a:lnTo>
                    <a:pt x="48" y="852"/>
                  </a:lnTo>
                  <a:lnTo>
                    <a:pt x="48" y="849"/>
                  </a:lnTo>
                  <a:lnTo>
                    <a:pt x="51" y="852"/>
                  </a:lnTo>
                  <a:lnTo>
                    <a:pt x="51" y="852"/>
                  </a:lnTo>
                  <a:lnTo>
                    <a:pt x="51" y="855"/>
                  </a:lnTo>
                  <a:lnTo>
                    <a:pt x="51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5" y="857"/>
                  </a:lnTo>
                  <a:lnTo>
                    <a:pt x="43" y="857"/>
                  </a:lnTo>
                  <a:lnTo>
                    <a:pt x="40" y="860"/>
                  </a:lnTo>
                  <a:lnTo>
                    <a:pt x="40" y="860"/>
                  </a:lnTo>
                  <a:lnTo>
                    <a:pt x="37" y="860"/>
                  </a:lnTo>
                  <a:lnTo>
                    <a:pt x="37" y="857"/>
                  </a:lnTo>
                  <a:lnTo>
                    <a:pt x="35" y="860"/>
                  </a:lnTo>
                  <a:lnTo>
                    <a:pt x="35" y="860"/>
                  </a:lnTo>
                  <a:lnTo>
                    <a:pt x="35" y="863"/>
                  </a:lnTo>
                  <a:lnTo>
                    <a:pt x="35" y="865"/>
                  </a:lnTo>
                  <a:lnTo>
                    <a:pt x="32" y="865"/>
                  </a:lnTo>
                  <a:lnTo>
                    <a:pt x="32" y="865"/>
                  </a:lnTo>
                  <a:lnTo>
                    <a:pt x="24" y="865"/>
                  </a:lnTo>
                  <a:lnTo>
                    <a:pt x="24" y="865"/>
                  </a:lnTo>
                  <a:lnTo>
                    <a:pt x="21" y="865"/>
                  </a:lnTo>
                  <a:lnTo>
                    <a:pt x="21" y="868"/>
                  </a:lnTo>
                  <a:lnTo>
                    <a:pt x="21" y="871"/>
                  </a:lnTo>
                  <a:lnTo>
                    <a:pt x="21" y="871"/>
                  </a:lnTo>
                  <a:lnTo>
                    <a:pt x="19" y="876"/>
                  </a:lnTo>
                  <a:lnTo>
                    <a:pt x="16" y="873"/>
                  </a:lnTo>
                  <a:lnTo>
                    <a:pt x="11" y="876"/>
                  </a:lnTo>
                  <a:lnTo>
                    <a:pt x="11" y="879"/>
                  </a:lnTo>
                  <a:lnTo>
                    <a:pt x="8" y="884"/>
                  </a:lnTo>
                  <a:lnTo>
                    <a:pt x="11" y="887"/>
                  </a:lnTo>
                  <a:lnTo>
                    <a:pt x="8" y="887"/>
                  </a:lnTo>
                  <a:lnTo>
                    <a:pt x="5" y="889"/>
                  </a:lnTo>
                  <a:lnTo>
                    <a:pt x="3" y="889"/>
                  </a:lnTo>
                  <a:lnTo>
                    <a:pt x="3" y="895"/>
                  </a:lnTo>
                  <a:lnTo>
                    <a:pt x="0" y="895"/>
                  </a:lnTo>
                  <a:lnTo>
                    <a:pt x="0" y="897"/>
                  </a:lnTo>
                  <a:lnTo>
                    <a:pt x="3" y="900"/>
                  </a:lnTo>
                  <a:lnTo>
                    <a:pt x="3" y="906"/>
                  </a:lnTo>
                  <a:lnTo>
                    <a:pt x="3" y="906"/>
                  </a:lnTo>
                  <a:lnTo>
                    <a:pt x="3" y="908"/>
                  </a:lnTo>
                  <a:lnTo>
                    <a:pt x="0" y="914"/>
                  </a:lnTo>
                  <a:lnTo>
                    <a:pt x="3" y="914"/>
                  </a:lnTo>
                  <a:lnTo>
                    <a:pt x="3" y="914"/>
                  </a:lnTo>
                  <a:lnTo>
                    <a:pt x="3" y="914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8" y="914"/>
                  </a:lnTo>
                  <a:lnTo>
                    <a:pt x="8" y="914"/>
                  </a:lnTo>
                  <a:lnTo>
                    <a:pt x="8" y="911"/>
                  </a:lnTo>
                  <a:lnTo>
                    <a:pt x="11" y="911"/>
                  </a:lnTo>
                  <a:lnTo>
                    <a:pt x="11" y="914"/>
                  </a:lnTo>
                  <a:lnTo>
                    <a:pt x="13" y="914"/>
                  </a:lnTo>
                  <a:lnTo>
                    <a:pt x="13" y="914"/>
                  </a:lnTo>
                  <a:lnTo>
                    <a:pt x="13" y="914"/>
                  </a:lnTo>
                  <a:lnTo>
                    <a:pt x="16" y="914"/>
                  </a:lnTo>
                  <a:lnTo>
                    <a:pt x="16" y="914"/>
                  </a:lnTo>
                  <a:lnTo>
                    <a:pt x="16" y="916"/>
                  </a:lnTo>
                  <a:lnTo>
                    <a:pt x="16" y="919"/>
                  </a:lnTo>
                  <a:lnTo>
                    <a:pt x="16" y="919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2"/>
                  </a:lnTo>
                  <a:lnTo>
                    <a:pt x="16" y="924"/>
                  </a:lnTo>
                  <a:lnTo>
                    <a:pt x="19" y="927"/>
                  </a:lnTo>
                  <a:lnTo>
                    <a:pt x="19" y="930"/>
                  </a:lnTo>
                  <a:lnTo>
                    <a:pt x="19" y="930"/>
                  </a:lnTo>
                  <a:lnTo>
                    <a:pt x="19" y="930"/>
                  </a:lnTo>
                  <a:lnTo>
                    <a:pt x="19" y="932"/>
                  </a:lnTo>
                  <a:lnTo>
                    <a:pt x="19" y="932"/>
                  </a:lnTo>
                  <a:lnTo>
                    <a:pt x="19" y="932"/>
                  </a:lnTo>
                  <a:lnTo>
                    <a:pt x="19" y="935"/>
                  </a:lnTo>
                  <a:lnTo>
                    <a:pt x="19" y="935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9" y="940"/>
                  </a:lnTo>
                  <a:lnTo>
                    <a:pt x="19" y="940"/>
                  </a:lnTo>
                  <a:lnTo>
                    <a:pt x="21" y="940"/>
                  </a:lnTo>
                  <a:lnTo>
                    <a:pt x="21" y="940"/>
                  </a:lnTo>
                  <a:lnTo>
                    <a:pt x="21" y="940"/>
                  </a:lnTo>
                  <a:lnTo>
                    <a:pt x="21" y="938"/>
                  </a:lnTo>
                  <a:lnTo>
                    <a:pt x="21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4" y="940"/>
                  </a:lnTo>
                  <a:lnTo>
                    <a:pt x="27" y="943"/>
                  </a:lnTo>
                  <a:lnTo>
                    <a:pt x="27" y="943"/>
                  </a:lnTo>
                  <a:lnTo>
                    <a:pt x="27" y="943"/>
                  </a:lnTo>
                  <a:lnTo>
                    <a:pt x="29" y="943"/>
                  </a:lnTo>
                  <a:lnTo>
                    <a:pt x="29" y="943"/>
                  </a:lnTo>
                  <a:lnTo>
                    <a:pt x="32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5" y="946"/>
                  </a:lnTo>
                  <a:lnTo>
                    <a:pt x="37" y="946"/>
                  </a:lnTo>
                  <a:lnTo>
                    <a:pt x="37" y="946"/>
                  </a:lnTo>
                  <a:lnTo>
                    <a:pt x="37" y="946"/>
                  </a:lnTo>
                  <a:lnTo>
                    <a:pt x="40" y="948"/>
                  </a:lnTo>
                  <a:lnTo>
                    <a:pt x="40" y="948"/>
                  </a:lnTo>
                  <a:lnTo>
                    <a:pt x="43" y="948"/>
                  </a:lnTo>
                  <a:lnTo>
                    <a:pt x="43" y="951"/>
                  </a:lnTo>
                  <a:lnTo>
                    <a:pt x="43" y="951"/>
                  </a:lnTo>
                  <a:lnTo>
                    <a:pt x="45" y="954"/>
                  </a:lnTo>
                  <a:lnTo>
                    <a:pt x="45" y="954"/>
                  </a:lnTo>
                  <a:lnTo>
                    <a:pt x="48" y="956"/>
                  </a:lnTo>
                  <a:lnTo>
                    <a:pt x="51" y="956"/>
                  </a:lnTo>
                  <a:lnTo>
                    <a:pt x="51" y="956"/>
                  </a:lnTo>
                  <a:lnTo>
                    <a:pt x="51" y="956"/>
                  </a:lnTo>
                  <a:lnTo>
                    <a:pt x="53" y="959"/>
                  </a:lnTo>
                  <a:lnTo>
                    <a:pt x="56" y="962"/>
                  </a:lnTo>
                  <a:lnTo>
                    <a:pt x="59" y="962"/>
                  </a:lnTo>
                  <a:lnTo>
                    <a:pt x="59" y="962"/>
                  </a:lnTo>
                  <a:lnTo>
                    <a:pt x="59" y="964"/>
                  </a:lnTo>
                  <a:lnTo>
                    <a:pt x="61" y="964"/>
                  </a:lnTo>
                  <a:lnTo>
                    <a:pt x="64" y="964"/>
                  </a:lnTo>
                  <a:lnTo>
                    <a:pt x="67" y="962"/>
                  </a:lnTo>
                  <a:lnTo>
                    <a:pt x="67" y="962"/>
                  </a:lnTo>
                  <a:lnTo>
                    <a:pt x="69" y="962"/>
                  </a:lnTo>
                  <a:lnTo>
                    <a:pt x="69" y="962"/>
                  </a:lnTo>
                  <a:lnTo>
                    <a:pt x="72" y="959"/>
                  </a:lnTo>
                  <a:lnTo>
                    <a:pt x="75" y="959"/>
                  </a:lnTo>
                  <a:lnTo>
                    <a:pt x="75" y="959"/>
                  </a:lnTo>
                  <a:lnTo>
                    <a:pt x="77" y="959"/>
                  </a:lnTo>
                  <a:lnTo>
                    <a:pt x="77" y="959"/>
                  </a:lnTo>
                  <a:lnTo>
                    <a:pt x="80" y="959"/>
                  </a:lnTo>
                  <a:lnTo>
                    <a:pt x="80" y="959"/>
                  </a:lnTo>
                  <a:lnTo>
                    <a:pt x="83" y="959"/>
                  </a:lnTo>
                  <a:lnTo>
                    <a:pt x="83" y="959"/>
                  </a:lnTo>
                  <a:lnTo>
                    <a:pt x="83" y="959"/>
                  </a:lnTo>
                  <a:lnTo>
                    <a:pt x="85" y="959"/>
                  </a:lnTo>
                  <a:lnTo>
                    <a:pt x="85" y="959"/>
                  </a:lnTo>
                  <a:lnTo>
                    <a:pt x="85" y="959"/>
                  </a:lnTo>
                  <a:lnTo>
                    <a:pt x="88" y="959"/>
                  </a:lnTo>
                  <a:lnTo>
                    <a:pt x="91" y="959"/>
                  </a:lnTo>
                  <a:lnTo>
                    <a:pt x="91" y="959"/>
                  </a:lnTo>
                  <a:lnTo>
                    <a:pt x="93" y="959"/>
                  </a:lnTo>
                  <a:lnTo>
                    <a:pt x="96" y="956"/>
                  </a:lnTo>
                  <a:lnTo>
                    <a:pt x="96" y="956"/>
                  </a:lnTo>
                  <a:lnTo>
                    <a:pt x="96" y="956"/>
                  </a:lnTo>
                  <a:lnTo>
                    <a:pt x="99" y="956"/>
                  </a:lnTo>
                  <a:lnTo>
                    <a:pt x="99" y="956"/>
                  </a:lnTo>
                  <a:lnTo>
                    <a:pt x="99" y="956"/>
                  </a:lnTo>
                  <a:lnTo>
                    <a:pt x="101" y="956"/>
                  </a:lnTo>
                  <a:lnTo>
                    <a:pt x="104" y="956"/>
                  </a:lnTo>
                  <a:lnTo>
                    <a:pt x="107" y="956"/>
                  </a:lnTo>
                  <a:lnTo>
                    <a:pt x="107" y="956"/>
                  </a:lnTo>
                  <a:lnTo>
                    <a:pt x="109" y="956"/>
                  </a:lnTo>
                  <a:lnTo>
                    <a:pt x="112" y="959"/>
                  </a:lnTo>
                  <a:lnTo>
                    <a:pt x="112" y="959"/>
                  </a:lnTo>
                  <a:lnTo>
                    <a:pt x="112" y="959"/>
                  </a:lnTo>
                  <a:lnTo>
                    <a:pt x="115" y="959"/>
                  </a:lnTo>
                  <a:lnTo>
                    <a:pt x="115" y="962"/>
                  </a:lnTo>
                  <a:lnTo>
                    <a:pt x="117" y="962"/>
                  </a:lnTo>
                  <a:lnTo>
                    <a:pt x="117" y="962"/>
                  </a:lnTo>
                  <a:lnTo>
                    <a:pt x="120" y="962"/>
                  </a:lnTo>
                  <a:lnTo>
                    <a:pt x="120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3" y="964"/>
                  </a:lnTo>
                  <a:lnTo>
                    <a:pt x="125" y="964"/>
                  </a:lnTo>
                  <a:lnTo>
                    <a:pt x="128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3" y="962"/>
                  </a:lnTo>
                  <a:lnTo>
                    <a:pt x="133" y="962"/>
                  </a:lnTo>
                  <a:lnTo>
                    <a:pt x="136" y="962"/>
                  </a:lnTo>
                  <a:lnTo>
                    <a:pt x="139" y="964"/>
                  </a:lnTo>
                  <a:lnTo>
                    <a:pt x="139" y="964"/>
                  </a:lnTo>
                  <a:lnTo>
                    <a:pt x="139" y="964"/>
                  </a:lnTo>
                  <a:lnTo>
                    <a:pt x="142" y="964"/>
                  </a:lnTo>
                  <a:lnTo>
                    <a:pt x="142" y="964"/>
                  </a:lnTo>
                  <a:lnTo>
                    <a:pt x="142" y="964"/>
                  </a:lnTo>
                  <a:lnTo>
                    <a:pt x="144" y="962"/>
                  </a:lnTo>
                  <a:lnTo>
                    <a:pt x="147" y="962"/>
                  </a:lnTo>
                  <a:lnTo>
                    <a:pt x="147" y="962"/>
                  </a:lnTo>
                  <a:lnTo>
                    <a:pt x="150" y="962"/>
                  </a:lnTo>
                  <a:lnTo>
                    <a:pt x="150" y="962"/>
                  </a:lnTo>
                  <a:lnTo>
                    <a:pt x="152" y="962"/>
                  </a:lnTo>
                  <a:lnTo>
                    <a:pt x="155" y="962"/>
                  </a:lnTo>
                  <a:lnTo>
                    <a:pt x="158" y="962"/>
                  </a:lnTo>
                  <a:lnTo>
                    <a:pt x="160" y="962"/>
                  </a:lnTo>
                  <a:lnTo>
                    <a:pt x="160" y="962"/>
                  </a:lnTo>
                  <a:lnTo>
                    <a:pt x="163" y="962"/>
                  </a:lnTo>
                  <a:lnTo>
                    <a:pt x="163" y="962"/>
                  </a:lnTo>
                  <a:lnTo>
                    <a:pt x="163" y="962"/>
                  </a:lnTo>
                  <a:lnTo>
                    <a:pt x="166" y="962"/>
                  </a:lnTo>
                  <a:lnTo>
                    <a:pt x="168" y="962"/>
                  </a:lnTo>
                  <a:lnTo>
                    <a:pt x="168" y="959"/>
                  </a:lnTo>
                  <a:lnTo>
                    <a:pt x="168" y="956"/>
                  </a:lnTo>
                  <a:lnTo>
                    <a:pt x="171" y="954"/>
                  </a:lnTo>
                  <a:lnTo>
                    <a:pt x="171" y="954"/>
                  </a:lnTo>
                  <a:lnTo>
                    <a:pt x="171" y="954"/>
                  </a:lnTo>
                  <a:lnTo>
                    <a:pt x="174" y="954"/>
                  </a:lnTo>
                  <a:lnTo>
                    <a:pt x="174" y="954"/>
                  </a:lnTo>
                  <a:lnTo>
                    <a:pt x="174" y="954"/>
                  </a:lnTo>
                  <a:lnTo>
                    <a:pt x="174" y="956"/>
                  </a:lnTo>
                  <a:lnTo>
                    <a:pt x="176" y="956"/>
                  </a:lnTo>
                  <a:lnTo>
                    <a:pt x="179" y="956"/>
                  </a:lnTo>
                  <a:lnTo>
                    <a:pt x="179" y="956"/>
                  </a:lnTo>
                  <a:lnTo>
                    <a:pt x="182" y="956"/>
                  </a:lnTo>
                  <a:lnTo>
                    <a:pt x="182" y="959"/>
                  </a:lnTo>
                  <a:lnTo>
                    <a:pt x="184" y="959"/>
                  </a:lnTo>
                  <a:lnTo>
                    <a:pt x="184" y="959"/>
                  </a:lnTo>
                  <a:lnTo>
                    <a:pt x="187" y="959"/>
                  </a:lnTo>
                  <a:lnTo>
                    <a:pt x="190" y="959"/>
                  </a:lnTo>
                  <a:lnTo>
                    <a:pt x="192" y="959"/>
                  </a:lnTo>
                  <a:lnTo>
                    <a:pt x="192" y="959"/>
                  </a:lnTo>
                  <a:lnTo>
                    <a:pt x="195" y="959"/>
                  </a:lnTo>
                  <a:lnTo>
                    <a:pt x="195" y="959"/>
                  </a:lnTo>
                  <a:lnTo>
                    <a:pt x="198" y="959"/>
                  </a:lnTo>
                  <a:lnTo>
                    <a:pt x="198" y="959"/>
                  </a:lnTo>
                  <a:lnTo>
                    <a:pt x="200" y="959"/>
                  </a:lnTo>
                  <a:lnTo>
                    <a:pt x="203" y="956"/>
                  </a:lnTo>
                  <a:lnTo>
                    <a:pt x="203" y="956"/>
                  </a:lnTo>
                  <a:lnTo>
                    <a:pt x="206" y="954"/>
                  </a:lnTo>
                  <a:lnTo>
                    <a:pt x="206" y="954"/>
                  </a:lnTo>
                  <a:lnTo>
                    <a:pt x="208" y="954"/>
                  </a:lnTo>
                  <a:lnTo>
                    <a:pt x="208" y="951"/>
                  </a:lnTo>
                  <a:lnTo>
                    <a:pt x="211" y="951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1" y="948"/>
                  </a:lnTo>
                  <a:lnTo>
                    <a:pt x="214" y="946"/>
                  </a:lnTo>
                  <a:lnTo>
                    <a:pt x="214" y="946"/>
                  </a:lnTo>
                  <a:lnTo>
                    <a:pt x="214" y="946"/>
                  </a:lnTo>
                  <a:lnTo>
                    <a:pt x="216" y="943"/>
                  </a:lnTo>
                  <a:lnTo>
                    <a:pt x="216" y="943"/>
                  </a:lnTo>
                  <a:lnTo>
                    <a:pt x="219" y="940"/>
                  </a:lnTo>
                  <a:lnTo>
                    <a:pt x="219" y="940"/>
                  </a:lnTo>
                  <a:lnTo>
                    <a:pt x="222" y="940"/>
                  </a:lnTo>
                  <a:lnTo>
                    <a:pt x="222" y="938"/>
                  </a:lnTo>
                  <a:lnTo>
                    <a:pt x="224" y="938"/>
                  </a:lnTo>
                  <a:lnTo>
                    <a:pt x="224" y="935"/>
                  </a:lnTo>
                  <a:lnTo>
                    <a:pt x="227" y="935"/>
                  </a:lnTo>
                  <a:lnTo>
                    <a:pt x="230" y="932"/>
                  </a:lnTo>
                  <a:lnTo>
                    <a:pt x="232" y="932"/>
                  </a:lnTo>
                  <a:lnTo>
                    <a:pt x="235" y="932"/>
                  </a:lnTo>
                  <a:lnTo>
                    <a:pt x="235" y="935"/>
                  </a:lnTo>
                  <a:lnTo>
                    <a:pt x="238" y="935"/>
                  </a:lnTo>
                  <a:lnTo>
                    <a:pt x="238" y="932"/>
                  </a:lnTo>
                  <a:lnTo>
                    <a:pt x="240" y="932"/>
                  </a:lnTo>
                  <a:lnTo>
                    <a:pt x="240" y="932"/>
                  </a:lnTo>
                  <a:lnTo>
                    <a:pt x="243" y="930"/>
                  </a:lnTo>
                  <a:lnTo>
                    <a:pt x="246" y="930"/>
                  </a:lnTo>
                  <a:lnTo>
                    <a:pt x="248" y="927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4" y="927"/>
                  </a:lnTo>
                  <a:lnTo>
                    <a:pt x="254" y="927"/>
                  </a:lnTo>
                  <a:lnTo>
                    <a:pt x="256" y="927"/>
                  </a:lnTo>
                  <a:lnTo>
                    <a:pt x="256" y="924"/>
                  </a:lnTo>
                  <a:lnTo>
                    <a:pt x="259" y="924"/>
                  </a:lnTo>
                  <a:lnTo>
                    <a:pt x="262" y="924"/>
                  </a:lnTo>
                  <a:lnTo>
                    <a:pt x="262" y="924"/>
                  </a:lnTo>
                  <a:lnTo>
                    <a:pt x="264" y="924"/>
                  </a:lnTo>
                  <a:lnTo>
                    <a:pt x="264" y="924"/>
                  </a:lnTo>
                  <a:lnTo>
                    <a:pt x="267" y="922"/>
                  </a:lnTo>
                  <a:lnTo>
                    <a:pt x="267" y="922"/>
                  </a:lnTo>
                  <a:lnTo>
                    <a:pt x="267" y="919"/>
                  </a:lnTo>
                  <a:lnTo>
                    <a:pt x="270" y="919"/>
                  </a:lnTo>
                  <a:lnTo>
                    <a:pt x="270" y="919"/>
                  </a:lnTo>
                  <a:lnTo>
                    <a:pt x="272" y="916"/>
                  </a:lnTo>
                  <a:lnTo>
                    <a:pt x="275" y="916"/>
                  </a:lnTo>
                  <a:lnTo>
                    <a:pt x="275" y="914"/>
                  </a:lnTo>
                  <a:lnTo>
                    <a:pt x="278" y="914"/>
                  </a:lnTo>
                  <a:lnTo>
                    <a:pt x="278" y="914"/>
                  </a:lnTo>
                  <a:lnTo>
                    <a:pt x="280" y="911"/>
                  </a:lnTo>
                  <a:lnTo>
                    <a:pt x="283" y="908"/>
                  </a:lnTo>
                  <a:lnTo>
                    <a:pt x="283" y="908"/>
                  </a:lnTo>
                  <a:lnTo>
                    <a:pt x="286" y="908"/>
                  </a:lnTo>
                  <a:lnTo>
                    <a:pt x="286" y="906"/>
                  </a:lnTo>
                  <a:lnTo>
                    <a:pt x="288" y="906"/>
                  </a:lnTo>
                  <a:lnTo>
                    <a:pt x="291" y="906"/>
                  </a:lnTo>
                  <a:lnTo>
                    <a:pt x="291" y="906"/>
                  </a:lnTo>
                  <a:lnTo>
                    <a:pt x="294" y="906"/>
                  </a:lnTo>
                  <a:lnTo>
                    <a:pt x="294" y="903"/>
                  </a:lnTo>
                  <a:lnTo>
                    <a:pt x="296" y="903"/>
                  </a:lnTo>
                  <a:lnTo>
                    <a:pt x="299" y="903"/>
                  </a:lnTo>
                  <a:lnTo>
                    <a:pt x="302" y="903"/>
                  </a:lnTo>
                  <a:lnTo>
                    <a:pt x="302" y="903"/>
                  </a:lnTo>
                  <a:lnTo>
                    <a:pt x="304" y="903"/>
                  </a:lnTo>
                  <a:lnTo>
                    <a:pt x="304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07" y="903"/>
                  </a:lnTo>
                  <a:lnTo>
                    <a:pt x="310" y="903"/>
                  </a:lnTo>
                  <a:lnTo>
                    <a:pt x="310" y="903"/>
                  </a:lnTo>
                  <a:lnTo>
                    <a:pt x="312" y="903"/>
                  </a:lnTo>
                  <a:lnTo>
                    <a:pt x="312" y="903"/>
                  </a:lnTo>
                  <a:lnTo>
                    <a:pt x="315" y="900"/>
                  </a:lnTo>
                  <a:lnTo>
                    <a:pt x="315" y="900"/>
                  </a:lnTo>
                  <a:lnTo>
                    <a:pt x="315" y="900"/>
                  </a:lnTo>
                  <a:lnTo>
                    <a:pt x="318" y="897"/>
                  </a:lnTo>
                  <a:lnTo>
                    <a:pt x="318" y="897"/>
                  </a:lnTo>
                  <a:lnTo>
                    <a:pt x="320" y="895"/>
                  </a:lnTo>
                  <a:lnTo>
                    <a:pt x="320" y="892"/>
                  </a:lnTo>
                  <a:lnTo>
                    <a:pt x="323" y="892"/>
                  </a:lnTo>
                  <a:lnTo>
                    <a:pt x="323" y="892"/>
                  </a:lnTo>
                  <a:lnTo>
                    <a:pt x="326" y="889"/>
                  </a:lnTo>
                  <a:lnTo>
                    <a:pt x="326" y="889"/>
                  </a:lnTo>
                  <a:lnTo>
                    <a:pt x="328" y="889"/>
                  </a:lnTo>
                  <a:lnTo>
                    <a:pt x="328" y="887"/>
                  </a:lnTo>
                  <a:lnTo>
                    <a:pt x="328" y="887"/>
                  </a:lnTo>
                  <a:lnTo>
                    <a:pt x="328" y="887"/>
                  </a:lnTo>
                  <a:lnTo>
                    <a:pt x="326" y="884"/>
                  </a:lnTo>
                  <a:lnTo>
                    <a:pt x="326" y="884"/>
                  </a:lnTo>
                  <a:lnTo>
                    <a:pt x="326" y="884"/>
                  </a:lnTo>
                  <a:lnTo>
                    <a:pt x="326" y="881"/>
                  </a:lnTo>
                  <a:lnTo>
                    <a:pt x="326" y="881"/>
                  </a:lnTo>
                  <a:lnTo>
                    <a:pt x="328" y="879"/>
                  </a:lnTo>
                  <a:lnTo>
                    <a:pt x="328" y="879"/>
                  </a:lnTo>
                  <a:lnTo>
                    <a:pt x="328" y="879"/>
                  </a:lnTo>
                  <a:lnTo>
                    <a:pt x="328" y="876"/>
                  </a:lnTo>
                  <a:lnTo>
                    <a:pt x="328" y="876"/>
                  </a:lnTo>
                  <a:lnTo>
                    <a:pt x="328" y="873"/>
                  </a:lnTo>
                  <a:lnTo>
                    <a:pt x="328" y="871"/>
                  </a:lnTo>
                  <a:lnTo>
                    <a:pt x="331" y="871"/>
                  </a:lnTo>
                  <a:lnTo>
                    <a:pt x="331" y="868"/>
                  </a:lnTo>
                  <a:lnTo>
                    <a:pt x="331" y="868"/>
                  </a:lnTo>
                  <a:lnTo>
                    <a:pt x="331" y="865"/>
                  </a:lnTo>
                  <a:lnTo>
                    <a:pt x="334" y="865"/>
                  </a:lnTo>
                  <a:lnTo>
                    <a:pt x="334" y="863"/>
                  </a:lnTo>
                  <a:lnTo>
                    <a:pt x="334" y="863"/>
                  </a:lnTo>
                  <a:lnTo>
                    <a:pt x="336" y="863"/>
                  </a:lnTo>
                  <a:lnTo>
                    <a:pt x="336" y="860"/>
                  </a:lnTo>
                  <a:lnTo>
                    <a:pt x="339" y="860"/>
                  </a:lnTo>
                  <a:lnTo>
                    <a:pt x="339" y="857"/>
                  </a:lnTo>
                  <a:lnTo>
                    <a:pt x="339" y="857"/>
                  </a:lnTo>
                  <a:lnTo>
                    <a:pt x="342" y="857"/>
                  </a:lnTo>
                  <a:lnTo>
                    <a:pt x="342" y="855"/>
                  </a:lnTo>
                  <a:lnTo>
                    <a:pt x="344" y="855"/>
                  </a:lnTo>
                  <a:lnTo>
                    <a:pt x="344" y="855"/>
                  </a:lnTo>
                  <a:lnTo>
                    <a:pt x="344" y="852"/>
                  </a:lnTo>
                  <a:lnTo>
                    <a:pt x="344" y="852"/>
                  </a:lnTo>
                  <a:lnTo>
                    <a:pt x="347" y="852"/>
                  </a:lnTo>
                  <a:lnTo>
                    <a:pt x="347" y="852"/>
                  </a:lnTo>
                  <a:lnTo>
                    <a:pt x="347" y="852"/>
                  </a:lnTo>
                  <a:lnTo>
                    <a:pt x="350" y="849"/>
                  </a:lnTo>
                  <a:lnTo>
                    <a:pt x="350" y="849"/>
                  </a:lnTo>
                  <a:lnTo>
                    <a:pt x="350" y="849"/>
                  </a:lnTo>
                  <a:lnTo>
                    <a:pt x="352" y="849"/>
                  </a:lnTo>
                  <a:lnTo>
                    <a:pt x="352" y="847"/>
                  </a:lnTo>
                  <a:lnTo>
                    <a:pt x="352" y="847"/>
                  </a:lnTo>
                  <a:lnTo>
                    <a:pt x="355" y="847"/>
                  </a:lnTo>
                  <a:lnTo>
                    <a:pt x="355" y="844"/>
                  </a:lnTo>
                  <a:lnTo>
                    <a:pt x="355" y="844"/>
                  </a:lnTo>
                  <a:lnTo>
                    <a:pt x="355" y="841"/>
                  </a:lnTo>
                  <a:lnTo>
                    <a:pt x="358" y="841"/>
                  </a:lnTo>
                  <a:lnTo>
                    <a:pt x="358" y="841"/>
                  </a:lnTo>
                  <a:lnTo>
                    <a:pt x="358" y="839"/>
                  </a:lnTo>
                  <a:lnTo>
                    <a:pt x="358" y="839"/>
                  </a:lnTo>
                  <a:lnTo>
                    <a:pt x="360" y="836"/>
                  </a:lnTo>
                  <a:lnTo>
                    <a:pt x="360" y="836"/>
                  </a:lnTo>
                  <a:lnTo>
                    <a:pt x="360" y="836"/>
                  </a:lnTo>
                  <a:lnTo>
                    <a:pt x="363" y="836"/>
                  </a:lnTo>
                  <a:lnTo>
                    <a:pt x="363" y="833"/>
                  </a:lnTo>
                  <a:lnTo>
                    <a:pt x="366" y="833"/>
                  </a:lnTo>
                  <a:lnTo>
                    <a:pt x="366" y="831"/>
                  </a:lnTo>
                  <a:lnTo>
                    <a:pt x="366" y="831"/>
                  </a:lnTo>
                  <a:lnTo>
                    <a:pt x="368" y="831"/>
                  </a:lnTo>
                  <a:lnTo>
                    <a:pt x="368" y="828"/>
                  </a:lnTo>
                  <a:lnTo>
                    <a:pt x="368" y="828"/>
                  </a:lnTo>
                  <a:lnTo>
                    <a:pt x="371" y="828"/>
                  </a:lnTo>
                  <a:lnTo>
                    <a:pt x="371" y="825"/>
                  </a:lnTo>
                  <a:lnTo>
                    <a:pt x="371" y="825"/>
                  </a:lnTo>
                  <a:lnTo>
                    <a:pt x="371" y="825"/>
                  </a:lnTo>
                  <a:lnTo>
                    <a:pt x="374" y="825"/>
                  </a:lnTo>
                  <a:lnTo>
                    <a:pt x="374" y="823"/>
                  </a:lnTo>
                  <a:lnTo>
                    <a:pt x="374" y="823"/>
                  </a:lnTo>
                  <a:lnTo>
                    <a:pt x="374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0"/>
                  </a:lnTo>
                  <a:lnTo>
                    <a:pt x="376" y="820"/>
                  </a:lnTo>
                  <a:lnTo>
                    <a:pt x="379" y="817"/>
                  </a:lnTo>
                  <a:lnTo>
                    <a:pt x="379" y="817"/>
                  </a:lnTo>
                  <a:lnTo>
                    <a:pt x="379" y="817"/>
                  </a:lnTo>
                  <a:lnTo>
                    <a:pt x="382" y="817"/>
                  </a:lnTo>
                  <a:lnTo>
                    <a:pt x="382" y="815"/>
                  </a:lnTo>
                  <a:lnTo>
                    <a:pt x="385" y="815"/>
                  </a:lnTo>
                  <a:lnTo>
                    <a:pt x="385" y="815"/>
                  </a:lnTo>
                  <a:lnTo>
                    <a:pt x="385" y="812"/>
                  </a:lnTo>
                  <a:lnTo>
                    <a:pt x="387" y="812"/>
                  </a:lnTo>
                  <a:lnTo>
                    <a:pt x="387" y="809"/>
                  </a:lnTo>
                  <a:lnTo>
                    <a:pt x="387" y="809"/>
                  </a:lnTo>
                  <a:lnTo>
                    <a:pt x="390" y="812"/>
                  </a:lnTo>
                  <a:lnTo>
                    <a:pt x="390" y="812"/>
                  </a:lnTo>
                  <a:lnTo>
                    <a:pt x="390" y="812"/>
                  </a:lnTo>
                  <a:lnTo>
                    <a:pt x="393" y="812"/>
                  </a:lnTo>
                  <a:lnTo>
                    <a:pt x="395" y="812"/>
                  </a:lnTo>
                  <a:lnTo>
                    <a:pt x="395" y="812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401" y="812"/>
                  </a:lnTo>
                  <a:lnTo>
                    <a:pt x="401" y="812"/>
                  </a:lnTo>
                  <a:lnTo>
                    <a:pt x="403" y="812"/>
                  </a:lnTo>
                  <a:lnTo>
                    <a:pt x="403" y="809"/>
                  </a:lnTo>
                  <a:lnTo>
                    <a:pt x="403" y="809"/>
                  </a:lnTo>
                  <a:lnTo>
                    <a:pt x="406" y="809"/>
                  </a:lnTo>
                  <a:lnTo>
                    <a:pt x="406" y="809"/>
                  </a:lnTo>
                  <a:lnTo>
                    <a:pt x="409" y="807"/>
                  </a:lnTo>
                  <a:lnTo>
                    <a:pt x="411" y="807"/>
                  </a:lnTo>
                  <a:lnTo>
                    <a:pt x="411" y="807"/>
                  </a:lnTo>
                  <a:lnTo>
                    <a:pt x="414" y="807"/>
                  </a:lnTo>
                  <a:lnTo>
                    <a:pt x="417" y="809"/>
                  </a:lnTo>
                  <a:lnTo>
                    <a:pt x="417" y="809"/>
                  </a:lnTo>
                  <a:lnTo>
                    <a:pt x="419" y="809"/>
                  </a:lnTo>
                  <a:lnTo>
                    <a:pt x="419" y="809"/>
                  </a:lnTo>
                  <a:lnTo>
                    <a:pt x="422" y="809"/>
                  </a:lnTo>
                  <a:lnTo>
                    <a:pt x="422" y="809"/>
                  </a:lnTo>
                  <a:lnTo>
                    <a:pt x="425" y="809"/>
                  </a:lnTo>
                  <a:lnTo>
                    <a:pt x="425" y="809"/>
                  </a:lnTo>
                  <a:lnTo>
                    <a:pt x="427" y="812"/>
                  </a:lnTo>
                  <a:lnTo>
                    <a:pt x="427" y="812"/>
                  </a:lnTo>
                  <a:lnTo>
                    <a:pt x="430" y="812"/>
                  </a:lnTo>
                  <a:lnTo>
                    <a:pt x="433" y="815"/>
                  </a:lnTo>
                  <a:lnTo>
                    <a:pt x="433" y="815"/>
                  </a:lnTo>
                  <a:lnTo>
                    <a:pt x="435" y="817"/>
                  </a:lnTo>
                  <a:lnTo>
                    <a:pt x="435" y="817"/>
                  </a:lnTo>
                  <a:lnTo>
                    <a:pt x="438" y="820"/>
                  </a:lnTo>
                  <a:lnTo>
                    <a:pt x="438" y="820"/>
                  </a:lnTo>
                  <a:lnTo>
                    <a:pt x="441" y="823"/>
                  </a:lnTo>
                  <a:lnTo>
                    <a:pt x="441" y="823"/>
                  </a:lnTo>
                  <a:lnTo>
                    <a:pt x="443" y="823"/>
                  </a:lnTo>
                  <a:lnTo>
                    <a:pt x="446" y="825"/>
                  </a:lnTo>
                  <a:lnTo>
                    <a:pt x="446" y="825"/>
                  </a:lnTo>
                  <a:lnTo>
                    <a:pt x="449" y="825"/>
                  </a:lnTo>
                  <a:lnTo>
                    <a:pt x="451" y="828"/>
                  </a:lnTo>
                  <a:lnTo>
                    <a:pt x="451" y="828"/>
                  </a:lnTo>
                  <a:lnTo>
                    <a:pt x="454" y="828"/>
                  </a:lnTo>
                  <a:lnTo>
                    <a:pt x="457" y="831"/>
                  </a:lnTo>
                  <a:lnTo>
                    <a:pt x="457" y="831"/>
                  </a:lnTo>
                  <a:lnTo>
                    <a:pt x="459" y="831"/>
                  </a:lnTo>
                  <a:lnTo>
                    <a:pt x="459" y="831"/>
                  </a:lnTo>
                  <a:lnTo>
                    <a:pt x="462" y="831"/>
                  </a:lnTo>
                  <a:lnTo>
                    <a:pt x="462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31"/>
                  </a:lnTo>
                  <a:lnTo>
                    <a:pt x="465" y="828"/>
                  </a:lnTo>
                  <a:lnTo>
                    <a:pt x="467" y="828"/>
                  </a:lnTo>
                  <a:lnTo>
                    <a:pt x="470" y="828"/>
                  </a:lnTo>
                  <a:lnTo>
                    <a:pt x="473" y="828"/>
                  </a:lnTo>
                  <a:lnTo>
                    <a:pt x="473" y="828"/>
                  </a:lnTo>
                  <a:lnTo>
                    <a:pt x="475" y="828"/>
                  </a:lnTo>
                  <a:lnTo>
                    <a:pt x="475" y="831"/>
                  </a:lnTo>
                  <a:lnTo>
                    <a:pt x="478" y="831"/>
                  </a:lnTo>
                  <a:lnTo>
                    <a:pt x="478" y="831"/>
                  </a:lnTo>
                  <a:lnTo>
                    <a:pt x="478" y="828"/>
                  </a:lnTo>
                  <a:lnTo>
                    <a:pt x="478" y="828"/>
                  </a:lnTo>
                  <a:lnTo>
                    <a:pt x="481" y="828"/>
                  </a:lnTo>
                  <a:lnTo>
                    <a:pt x="481" y="828"/>
                  </a:lnTo>
                  <a:lnTo>
                    <a:pt x="481" y="828"/>
                  </a:lnTo>
                  <a:lnTo>
                    <a:pt x="483" y="828"/>
                  </a:lnTo>
                  <a:lnTo>
                    <a:pt x="483" y="828"/>
                  </a:lnTo>
                  <a:lnTo>
                    <a:pt x="483" y="825"/>
                  </a:lnTo>
                  <a:lnTo>
                    <a:pt x="483" y="825"/>
                  </a:lnTo>
                  <a:lnTo>
                    <a:pt x="483" y="825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6" y="820"/>
                  </a:lnTo>
                  <a:lnTo>
                    <a:pt x="489" y="820"/>
                  </a:lnTo>
                  <a:lnTo>
                    <a:pt x="489" y="820"/>
                  </a:lnTo>
                  <a:lnTo>
                    <a:pt x="489" y="820"/>
                  </a:lnTo>
                  <a:lnTo>
                    <a:pt x="491" y="817"/>
                  </a:lnTo>
                  <a:lnTo>
                    <a:pt x="491" y="817"/>
                  </a:lnTo>
                  <a:lnTo>
                    <a:pt x="491" y="817"/>
                  </a:lnTo>
                  <a:lnTo>
                    <a:pt x="494" y="815"/>
                  </a:lnTo>
                  <a:lnTo>
                    <a:pt x="494" y="815"/>
                  </a:lnTo>
                  <a:lnTo>
                    <a:pt x="494" y="815"/>
                  </a:lnTo>
                  <a:lnTo>
                    <a:pt x="497" y="812"/>
                  </a:lnTo>
                  <a:lnTo>
                    <a:pt x="497" y="812"/>
                  </a:lnTo>
                  <a:lnTo>
                    <a:pt x="497" y="812"/>
                  </a:lnTo>
                  <a:lnTo>
                    <a:pt x="499" y="812"/>
                  </a:lnTo>
                  <a:lnTo>
                    <a:pt x="499" y="809"/>
                  </a:lnTo>
                  <a:lnTo>
                    <a:pt x="499" y="809"/>
                  </a:lnTo>
                  <a:lnTo>
                    <a:pt x="502" y="809"/>
                  </a:lnTo>
                  <a:lnTo>
                    <a:pt x="502" y="809"/>
                  </a:lnTo>
                  <a:lnTo>
                    <a:pt x="502" y="809"/>
                  </a:lnTo>
                  <a:lnTo>
                    <a:pt x="505" y="809"/>
                  </a:lnTo>
                  <a:lnTo>
                    <a:pt x="507" y="809"/>
                  </a:lnTo>
                  <a:lnTo>
                    <a:pt x="510" y="809"/>
                  </a:lnTo>
                  <a:lnTo>
                    <a:pt x="510" y="809"/>
                  </a:lnTo>
                  <a:lnTo>
                    <a:pt x="513" y="809"/>
                  </a:lnTo>
                  <a:lnTo>
                    <a:pt x="513" y="809"/>
                  </a:lnTo>
                  <a:lnTo>
                    <a:pt x="513" y="809"/>
                  </a:lnTo>
                  <a:lnTo>
                    <a:pt x="515" y="809"/>
                  </a:lnTo>
                  <a:lnTo>
                    <a:pt x="515" y="809"/>
                  </a:lnTo>
                  <a:lnTo>
                    <a:pt x="518" y="809"/>
                  </a:lnTo>
                  <a:lnTo>
                    <a:pt x="521" y="812"/>
                  </a:lnTo>
                  <a:lnTo>
                    <a:pt x="521" y="812"/>
                  </a:lnTo>
                  <a:lnTo>
                    <a:pt x="523" y="812"/>
                  </a:lnTo>
                  <a:lnTo>
                    <a:pt x="523" y="812"/>
                  </a:lnTo>
                  <a:lnTo>
                    <a:pt x="526" y="812"/>
                  </a:lnTo>
                  <a:lnTo>
                    <a:pt x="526" y="812"/>
                  </a:lnTo>
                  <a:lnTo>
                    <a:pt x="526" y="812"/>
                  </a:lnTo>
                  <a:lnTo>
                    <a:pt x="529" y="812"/>
                  </a:lnTo>
                  <a:lnTo>
                    <a:pt x="531" y="812"/>
                  </a:lnTo>
                  <a:lnTo>
                    <a:pt x="531" y="812"/>
                  </a:lnTo>
                  <a:lnTo>
                    <a:pt x="531" y="812"/>
                  </a:lnTo>
                  <a:lnTo>
                    <a:pt x="534" y="815"/>
                  </a:lnTo>
                  <a:lnTo>
                    <a:pt x="534" y="815"/>
                  </a:lnTo>
                  <a:lnTo>
                    <a:pt x="534" y="817"/>
                  </a:lnTo>
                  <a:lnTo>
                    <a:pt x="537" y="817"/>
                  </a:lnTo>
                  <a:lnTo>
                    <a:pt x="537" y="817"/>
                  </a:lnTo>
                  <a:lnTo>
                    <a:pt x="539" y="817"/>
                  </a:lnTo>
                  <a:lnTo>
                    <a:pt x="539" y="820"/>
                  </a:lnTo>
                  <a:lnTo>
                    <a:pt x="539" y="820"/>
                  </a:lnTo>
                  <a:lnTo>
                    <a:pt x="542" y="820"/>
                  </a:lnTo>
                  <a:lnTo>
                    <a:pt x="542" y="820"/>
                  </a:lnTo>
                  <a:lnTo>
                    <a:pt x="545" y="823"/>
                  </a:lnTo>
                  <a:lnTo>
                    <a:pt x="545" y="823"/>
                  </a:lnTo>
                  <a:lnTo>
                    <a:pt x="547" y="823"/>
                  </a:lnTo>
                  <a:lnTo>
                    <a:pt x="547" y="823"/>
                  </a:lnTo>
                  <a:lnTo>
                    <a:pt x="550" y="823"/>
                  </a:lnTo>
                  <a:lnTo>
                    <a:pt x="553" y="825"/>
                  </a:lnTo>
                  <a:lnTo>
                    <a:pt x="553" y="825"/>
                  </a:lnTo>
                  <a:lnTo>
                    <a:pt x="555" y="825"/>
                  </a:lnTo>
                  <a:lnTo>
                    <a:pt x="558" y="828"/>
                  </a:lnTo>
                  <a:lnTo>
                    <a:pt x="558" y="828"/>
                  </a:lnTo>
                  <a:lnTo>
                    <a:pt x="561" y="828"/>
                  </a:lnTo>
                  <a:lnTo>
                    <a:pt x="561" y="828"/>
                  </a:lnTo>
                  <a:lnTo>
                    <a:pt x="563" y="828"/>
                  </a:lnTo>
                  <a:lnTo>
                    <a:pt x="566" y="828"/>
                  </a:lnTo>
                  <a:lnTo>
                    <a:pt x="569" y="828"/>
                  </a:lnTo>
                  <a:lnTo>
                    <a:pt x="569" y="828"/>
                  </a:lnTo>
                  <a:lnTo>
                    <a:pt x="571" y="828"/>
                  </a:lnTo>
                  <a:lnTo>
                    <a:pt x="571" y="828"/>
                  </a:lnTo>
                  <a:lnTo>
                    <a:pt x="574" y="828"/>
                  </a:lnTo>
                  <a:lnTo>
                    <a:pt x="574" y="828"/>
                  </a:lnTo>
                  <a:lnTo>
                    <a:pt x="577" y="828"/>
                  </a:lnTo>
                  <a:lnTo>
                    <a:pt x="579" y="828"/>
                  </a:lnTo>
                  <a:lnTo>
                    <a:pt x="582" y="828"/>
                  </a:lnTo>
                  <a:lnTo>
                    <a:pt x="582" y="828"/>
                  </a:lnTo>
                  <a:lnTo>
                    <a:pt x="582" y="828"/>
                  </a:lnTo>
                  <a:lnTo>
                    <a:pt x="585" y="828"/>
                  </a:lnTo>
                  <a:lnTo>
                    <a:pt x="585" y="828"/>
                  </a:lnTo>
                  <a:lnTo>
                    <a:pt x="585" y="828"/>
                  </a:lnTo>
                  <a:lnTo>
                    <a:pt x="587" y="828"/>
                  </a:lnTo>
                  <a:lnTo>
                    <a:pt x="587" y="828"/>
                  </a:lnTo>
                  <a:lnTo>
                    <a:pt x="587" y="828"/>
                  </a:lnTo>
                  <a:lnTo>
                    <a:pt x="590" y="828"/>
                  </a:lnTo>
                  <a:lnTo>
                    <a:pt x="590" y="828"/>
                  </a:lnTo>
                  <a:lnTo>
                    <a:pt x="593" y="828"/>
                  </a:lnTo>
                  <a:lnTo>
                    <a:pt x="593" y="828"/>
                  </a:lnTo>
                  <a:lnTo>
                    <a:pt x="595" y="831"/>
                  </a:lnTo>
                  <a:lnTo>
                    <a:pt x="595" y="831"/>
                  </a:lnTo>
                  <a:lnTo>
                    <a:pt x="595" y="831"/>
                  </a:lnTo>
                  <a:lnTo>
                    <a:pt x="598" y="831"/>
                  </a:lnTo>
                  <a:lnTo>
                    <a:pt x="601" y="831"/>
                  </a:lnTo>
                  <a:lnTo>
                    <a:pt x="601" y="831"/>
                  </a:lnTo>
                  <a:lnTo>
                    <a:pt x="601" y="831"/>
                  </a:lnTo>
                  <a:lnTo>
                    <a:pt x="603" y="831"/>
                  </a:lnTo>
                  <a:lnTo>
                    <a:pt x="603" y="831"/>
                  </a:lnTo>
                  <a:lnTo>
                    <a:pt x="603" y="831"/>
                  </a:lnTo>
                  <a:lnTo>
                    <a:pt x="606" y="831"/>
                  </a:lnTo>
                  <a:lnTo>
                    <a:pt x="606" y="831"/>
                  </a:lnTo>
                  <a:lnTo>
                    <a:pt x="609" y="833"/>
                  </a:lnTo>
                  <a:lnTo>
                    <a:pt x="609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31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4" y="828"/>
                  </a:lnTo>
                  <a:lnTo>
                    <a:pt x="617" y="828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5"/>
                  </a:lnTo>
                  <a:lnTo>
                    <a:pt x="617" y="823"/>
                  </a:lnTo>
                  <a:lnTo>
                    <a:pt x="619" y="823"/>
                  </a:lnTo>
                  <a:lnTo>
                    <a:pt x="619" y="823"/>
                  </a:lnTo>
                  <a:lnTo>
                    <a:pt x="619" y="823"/>
                  </a:lnTo>
                  <a:lnTo>
                    <a:pt x="619" y="820"/>
                  </a:lnTo>
                  <a:lnTo>
                    <a:pt x="619" y="820"/>
                  </a:lnTo>
                  <a:lnTo>
                    <a:pt x="622" y="820"/>
                  </a:lnTo>
                  <a:lnTo>
                    <a:pt x="622" y="817"/>
                  </a:lnTo>
                  <a:lnTo>
                    <a:pt x="622" y="817"/>
                  </a:lnTo>
                  <a:lnTo>
                    <a:pt x="622" y="817"/>
                  </a:lnTo>
                  <a:lnTo>
                    <a:pt x="625" y="817"/>
                  </a:lnTo>
                  <a:lnTo>
                    <a:pt x="625" y="817"/>
                  </a:lnTo>
                  <a:lnTo>
                    <a:pt x="625" y="815"/>
                  </a:lnTo>
                  <a:lnTo>
                    <a:pt x="625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28" y="815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12"/>
                  </a:lnTo>
                  <a:lnTo>
                    <a:pt x="630" y="809"/>
                  </a:lnTo>
                  <a:lnTo>
                    <a:pt x="630" y="809"/>
                  </a:lnTo>
                  <a:lnTo>
                    <a:pt x="633" y="809"/>
                  </a:lnTo>
                  <a:lnTo>
                    <a:pt x="633" y="807"/>
                  </a:lnTo>
                  <a:lnTo>
                    <a:pt x="633" y="807"/>
                  </a:lnTo>
                  <a:lnTo>
                    <a:pt x="633" y="807"/>
                  </a:lnTo>
                  <a:lnTo>
                    <a:pt x="633" y="804"/>
                  </a:lnTo>
                  <a:lnTo>
                    <a:pt x="633" y="804"/>
                  </a:lnTo>
                  <a:lnTo>
                    <a:pt x="633" y="804"/>
                  </a:lnTo>
                  <a:lnTo>
                    <a:pt x="636" y="804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6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801"/>
                  </a:lnTo>
                  <a:lnTo>
                    <a:pt x="638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1" y="799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6"/>
                  </a:lnTo>
                  <a:lnTo>
                    <a:pt x="644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3"/>
                  </a:lnTo>
                  <a:lnTo>
                    <a:pt x="646" y="791"/>
                  </a:lnTo>
                  <a:lnTo>
                    <a:pt x="646" y="791"/>
                  </a:lnTo>
                  <a:lnTo>
                    <a:pt x="646" y="791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8"/>
                  </a:lnTo>
                  <a:lnTo>
                    <a:pt x="646" y="785"/>
                  </a:lnTo>
                  <a:lnTo>
                    <a:pt x="646" y="785"/>
                  </a:lnTo>
                  <a:lnTo>
                    <a:pt x="646" y="785"/>
                  </a:lnTo>
                  <a:lnTo>
                    <a:pt x="649" y="785"/>
                  </a:lnTo>
                  <a:lnTo>
                    <a:pt x="649" y="783"/>
                  </a:lnTo>
                  <a:lnTo>
                    <a:pt x="649" y="783"/>
                  </a:lnTo>
                  <a:lnTo>
                    <a:pt x="649" y="783"/>
                  </a:lnTo>
                  <a:lnTo>
                    <a:pt x="652" y="783"/>
                  </a:lnTo>
                  <a:lnTo>
                    <a:pt x="652" y="783"/>
                  </a:lnTo>
                  <a:lnTo>
                    <a:pt x="652" y="783"/>
                  </a:lnTo>
                  <a:lnTo>
                    <a:pt x="652" y="780"/>
                  </a:lnTo>
                  <a:lnTo>
                    <a:pt x="654" y="780"/>
                  </a:lnTo>
                  <a:lnTo>
                    <a:pt x="654" y="780"/>
                  </a:lnTo>
                  <a:lnTo>
                    <a:pt x="654" y="780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57" y="780"/>
                  </a:lnTo>
                  <a:lnTo>
                    <a:pt x="660" y="780"/>
                  </a:lnTo>
                  <a:lnTo>
                    <a:pt x="660" y="780"/>
                  </a:lnTo>
                  <a:lnTo>
                    <a:pt x="660" y="777"/>
                  </a:lnTo>
                  <a:lnTo>
                    <a:pt x="660" y="777"/>
                  </a:lnTo>
                  <a:lnTo>
                    <a:pt x="660" y="777"/>
                  </a:lnTo>
                  <a:lnTo>
                    <a:pt x="662" y="777"/>
                  </a:lnTo>
                  <a:lnTo>
                    <a:pt x="662" y="775"/>
                  </a:lnTo>
                  <a:lnTo>
                    <a:pt x="662" y="775"/>
                  </a:lnTo>
                  <a:lnTo>
                    <a:pt x="665" y="775"/>
                  </a:lnTo>
                  <a:lnTo>
                    <a:pt x="665" y="775"/>
                  </a:lnTo>
                  <a:lnTo>
                    <a:pt x="668" y="772"/>
                  </a:lnTo>
                  <a:lnTo>
                    <a:pt x="668" y="772"/>
                  </a:lnTo>
                  <a:lnTo>
                    <a:pt x="668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0" y="772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3" y="769"/>
                  </a:lnTo>
                  <a:lnTo>
                    <a:pt x="676" y="769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7"/>
                  </a:lnTo>
                  <a:lnTo>
                    <a:pt x="676" y="764"/>
                  </a:lnTo>
                  <a:lnTo>
                    <a:pt x="676" y="761"/>
                  </a:lnTo>
                  <a:lnTo>
                    <a:pt x="676" y="761"/>
                  </a:lnTo>
                  <a:lnTo>
                    <a:pt x="678" y="759"/>
                  </a:lnTo>
                  <a:lnTo>
                    <a:pt x="681" y="759"/>
                  </a:lnTo>
                  <a:lnTo>
                    <a:pt x="681" y="756"/>
                  </a:lnTo>
                  <a:lnTo>
                    <a:pt x="681" y="756"/>
                  </a:lnTo>
                  <a:lnTo>
                    <a:pt x="681" y="753"/>
                  </a:lnTo>
                  <a:lnTo>
                    <a:pt x="681" y="751"/>
                  </a:lnTo>
                  <a:lnTo>
                    <a:pt x="681" y="751"/>
                  </a:lnTo>
                  <a:lnTo>
                    <a:pt x="681" y="748"/>
                  </a:lnTo>
                  <a:lnTo>
                    <a:pt x="681" y="748"/>
                  </a:lnTo>
                  <a:lnTo>
                    <a:pt x="681" y="748"/>
                  </a:lnTo>
                  <a:lnTo>
                    <a:pt x="681" y="745"/>
                  </a:lnTo>
                  <a:lnTo>
                    <a:pt x="681" y="745"/>
                  </a:lnTo>
                  <a:lnTo>
                    <a:pt x="681" y="742"/>
                  </a:lnTo>
                  <a:lnTo>
                    <a:pt x="681" y="742"/>
                  </a:lnTo>
                  <a:lnTo>
                    <a:pt x="681" y="742"/>
                  </a:lnTo>
                  <a:lnTo>
                    <a:pt x="678" y="742"/>
                  </a:lnTo>
                  <a:lnTo>
                    <a:pt x="678" y="740"/>
                  </a:lnTo>
                  <a:lnTo>
                    <a:pt x="678" y="740"/>
                  </a:lnTo>
                  <a:lnTo>
                    <a:pt x="678" y="737"/>
                  </a:lnTo>
                  <a:lnTo>
                    <a:pt x="678" y="734"/>
                  </a:lnTo>
                  <a:lnTo>
                    <a:pt x="678" y="734"/>
                  </a:lnTo>
                  <a:lnTo>
                    <a:pt x="681" y="732"/>
                  </a:lnTo>
                  <a:lnTo>
                    <a:pt x="678" y="732"/>
                  </a:lnTo>
                  <a:lnTo>
                    <a:pt x="678" y="732"/>
                  </a:lnTo>
                  <a:lnTo>
                    <a:pt x="678" y="729"/>
                  </a:lnTo>
                  <a:lnTo>
                    <a:pt x="676" y="729"/>
                  </a:lnTo>
                  <a:lnTo>
                    <a:pt x="676" y="732"/>
                  </a:lnTo>
                  <a:lnTo>
                    <a:pt x="676" y="732"/>
                  </a:lnTo>
                  <a:lnTo>
                    <a:pt x="673" y="729"/>
                  </a:lnTo>
                  <a:lnTo>
                    <a:pt x="670" y="732"/>
                  </a:lnTo>
                  <a:lnTo>
                    <a:pt x="670" y="732"/>
                  </a:lnTo>
                  <a:lnTo>
                    <a:pt x="670" y="732"/>
                  </a:lnTo>
                  <a:lnTo>
                    <a:pt x="668" y="732"/>
                  </a:lnTo>
                  <a:lnTo>
                    <a:pt x="668" y="732"/>
                  </a:lnTo>
                  <a:lnTo>
                    <a:pt x="668" y="732"/>
                  </a:lnTo>
                  <a:lnTo>
                    <a:pt x="665" y="729"/>
                  </a:lnTo>
                  <a:lnTo>
                    <a:pt x="665" y="729"/>
                  </a:lnTo>
                  <a:lnTo>
                    <a:pt x="665" y="729"/>
                  </a:lnTo>
                  <a:lnTo>
                    <a:pt x="665" y="726"/>
                  </a:lnTo>
                  <a:lnTo>
                    <a:pt x="668" y="726"/>
                  </a:lnTo>
                  <a:lnTo>
                    <a:pt x="668" y="726"/>
                  </a:lnTo>
                  <a:lnTo>
                    <a:pt x="668" y="724"/>
                  </a:lnTo>
                  <a:lnTo>
                    <a:pt x="668" y="724"/>
                  </a:lnTo>
                  <a:lnTo>
                    <a:pt x="668" y="721"/>
                  </a:lnTo>
                  <a:lnTo>
                    <a:pt x="668" y="721"/>
                  </a:lnTo>
                  <a:lnTo>
                    <a:pt x="670" y="718"/>
                  </a:lnTo>
                  <a:lnTo>
                    <a:pt x="668" y="718"/>
                  </a:lnTo>
                  <a:lnTo>
                    <a:pt x="668" y="716"/>
                  </a:lnTo>
                  <a:lnTo>
                    <a:pt x="668" y="716"/>
                  </a:lnTo>
                  <a:lnTo>
                    <a:pt x="668" y="713"/>
                  </a:lnTo>
                  <a:lnTo>
                    <a:pt x="668" y="710"/>
                  </a:lnTo>
                  <a:lnTo>
                    <a:pt x="668" y="710"/>
                  </a:lnTo>
                  <a:lnTo>
                    <a:pt x="668" y="708"/>
                  </a:lnTo>
                  <a:lnTo>
                    <a:pt x="668" y="705"/>
                  </a:lnTo>
                  <a:lnTo>
                    <a:pt x="670" y="702"/>
                  </a:lnTo>
                  <a:lnTo>
                    <a:pt x="670" y="702"/>
                  </a:lnTo>
                  <a:lnTo>
                    <a:pt x="670" y="702"/>
                  </a:lnTo>
                  <a:lnTo>
                    <a:pt x="673" y="700"/>
                  </a:lnTo>
                  <a:lnTo>
                    <a:pt x="670" y="700"/>
                  </a:lnTo>
                  <a:lnTo>
                    <a:pt x="673" y="697"/>
                  </a:lnTo>
                  <a:lnTo>
                    <a:pt x="673" y="697"/>
                  </a:lnTo>
                  <a:lnTo>
                    <a:pt x="676" y="694"/>
                  </a:lnTo>
                  <a:lnTo>
                    <a:pt x="676" y="689"/>
                  </a:lnTo>
                  <a:lnTo>
                    <a:pt x="676" y="689"/>
                  </a:lnTo>
                  <a:lnTo>
                    <a:pt x="676" y="686"/>
                  </a:lnTo>
                  <a:lnTo>
                    <a:pt x="676" y="686"/>
                  </a:lnTo>
                  <a:lnTo>
                    <a:pt x="673" y="684"/>
                  </a:lnTo>
                  <a:lnTo>
                    <a:pt x="673" y="684"/>
                  </a:lnTo>
                  <a:lnTo>
                    <a:pt x="673" y="681"/>
                  </a:lnTo>
                  <a:lnTo>
                    <a:pt x="673" y="678"/>
                  </a:lnTo>
                  <a:lnTo>
                    <a:pt x="673" y="678"/>
                  </a:lnTo>
                  <a:lnTo>
                    <a:pt x="673" y="676"/>
                  </a:lnTo>
                  <a:lnTo>
                    <a:pt x="673" y="676"/>
                  </a:lnTo>
                  <a:lnTo>
                    <a:pt x="676" y="670"/>
                  </a:lnTo>
                  <a:lnTo>
                    <a:pt x="676" y="670"/>
                  </a:lnTo>
                  <a:lnTo>
                    <a:pt x="676" y="668"/>
                  </a:lnTo>
                  <a:lnTo>
                    <a:pt x="678" y="665"/>
                  </a:lnTo>
                  <a:lnTo>
                    <a:pt x="678" y="665"/>
                  </a:lnTo>
                  <a:lnTo>
                    <a:pt x="681" y="662"/>
                  </a:lnTo>
                  <a:lnTo>
                    <a:pt x="681" y="662"/>
                  </a:lnTo>
                  <a:lnTo>
                    <a:pt x="681" y="662"/>
                  </a:lnTo>
                  <a:lnTo>
                    <a:pt x="681" y="660"/>
                  </a:lnTo>
                  <a:lnTo>
                    <a:pt x="681" y="657"/>
                  </a:lnTo>
                  <a:lnTo>
                    <a:pt x="681" y="657"/>
                  </a:lnTo>
                  <a:lnTo>
                    <a:pt x="681" y="654"/>
                  </a:lnTo>
                  <a:lnTo>
                    <a:pt x="681" y="654"/>
                  </a:lnTo>
                  <a:lnTo>
                    <a:pt x="681" y="649"/>
                  </a:lnTo>
                  <a:lnTo>
                    <a:pt x="681" y="649"/>
                  </a:lnTo>
                  <a:lnTo>
                    <a:pt x="681" y="649"/>
                  </a:lnTo>
                  <a:lnTo>
                    <a:pt x="681" y="646"/>
                  </a:lnTo>
                  <a:lnTo>
                    <a:pt x="681" y="644"/>
                  </a:lnTo>
                  <a:lnTo>
                    <a:pt x="681" y="644"/>
                  </a:lnTo>
                  <a:lnTo>
                    <a:pt x="684" y="644"/>
                  </a:lnTo>
                  <a:lnTo>
                    <a:pt x="681" y="641"/>
                  </a:lnTo>
                  <a:lnTo>
                    <a:pt x="681" y="641"/>
                  </a:lnTo>
                  <a:lnTo>
                    <a:pt x="681" y="638"/>
                  </a:lnTo>
                  <a:lnTo>
                    <a:pt x="681" y="638"/>
                  </a:lnTo>
                  <a:lnTo>
                    <a:pt x="681" y="636"/>
                  </a:lnTo>
                  <a:lnTo>
                    <a:pt x="684" y="636"/>
                  </a:lnTo>
                  <a:lnTo>
                    <a:pt x="684" y="633"/>
                  </a:lnTo>
                  <a:lnTo>
                    <a:pt x="684" y="630"/>
                  </a:lnTo>
                  <a:lnTo>
                    <a:pt x="686" y="628"/>
                  </a:lnTo>
                  <a:lnTo>
                    <a:pt x="684" y="628"/>
                  </a:lnTo>
                  <a:lnTo>
                    <a:pt x="684" y="628"/>
                  </a:lnTo>
                  <a:lnTo>
                    <a:pt x="684" y="625"/>
                  </a:lnTo>
                  <a:lnTo>
                    <a:pt x="686" y="622"/>
                  </a:lnTo>
                  <a:lnTo>
                    <a:pt x="684" y="622"/>
                  </a:lnTo>
                  <a:lnTo>
                    <a:pt x="684" y="620"/>
                  </a:lnTo>
                  <a:lnTo>
                    <a:pt x="686" y="617"/>
                  </a:lnTo>
                  <a:lnTo>
                    <a:pt x="684" y="614"/>
                  </a:lnTo>
                  <a:lnTo>
                    <a:pt x="686" y="614"/>
                  </a:lnTo>
                  <a:lnTo>
                    <a:pt x="686" y="612"/>
                  </a:lnTo>
                  <a:lnTo>
                    <a:pt x="686" y="609"/>
                  </a:lnTo>
                  <a:lnTo>
                    <a:pt x="684" y="606"/>
                  </a:lnTo>
                  <a:lnTo>
                    <a:pt x="684" y="604"/>
                  </a:lnTo>
                  <a:lnTo>
                    <a:pt x="686" y="601"/>
                  </a:lnTo>
                  <a:lnTo>
                    <a:pt x="686" y="598"/>
                  </a:lnTo>
                  <a:lnTo>
                    <a:pt x="686" y="598"/>
                  </a:lnTo>
                  <a:lnTo>
                    <a:pt x="686" y="596"/>
                  </a:lnTo>
                  <a:lnTo>
                    <a:pt x="689" y="596"/>
                  </a:lnTo>
                  <a:lnTo>
                    <a:pt x="689" y="596"/>
                  </a:lnTo>
                  <a:lnTo>
                    <a:pt x="692" y="593"/>
                  </a:lnTo>
                  <a:lnTo>
                    <a:pt x="692" y="590"/>
                  </a:lnTo>
                  <a:lnTo>
                    <a:pt x="694" y="588"/>
                  </a:lnTo>
                  <a:lnTo>
                    <a:pt x="694" y="585"/>
                  </a:lnTo>
                  <a:lnTo>
                    <a:pt x="697" y="582"/>
                  </a:lnTo>
                  <a:lnTo>
                    <a:pt x="700" y="579"/>
                  </a:lnTo>
                  <a:lnTo>
                    <a:pt x="700" y="579"/>
                  </a:lnTo>
                  <a:lnTo>
                    <a:pt x="700" y="577"/>
                  </a:lnTo>
                  <a:lnTo>
                    <a:pt x="702" y="574"/>
                  </a:lnTo>
                  <a:lnTo>
                    <a:pt x="702" y="574"/>
                  </a:lnTo>
                  <a:lnTo>
                    <a:pt x="702" y="571"/>
                  </a:lnTo>
                  <a:lnTo>
                    <a:pt x="705" y="571"/>
                  </a:lnTo>
                  <a:lnTo>
                    <a:pt x="705" y="569"/>
                  </a:lnTo>
                  <a:lnTo>
                    <a:pt x="705" y="566"/>
                  </a:lnTo>
                  <a:lnTo>
                    <a:pt x="708" y="566"/>
                  </a:lnTo>
                  <a:lnTo>
                    <a:pt x="710" y="563"/>
                  </a:lnTo>
                  <a:lnTo>
                    <a:pt x="710" y="561"/>
                  </a:lnTo>
                  <a:lnTo>
                    <a:pt x="710" y="561"/>
                  </a:lnTo>
                  <a:lnTo>
                    <a:pt x="713" y="558"/>
                  </a:lnTo>
                  <a:lnTo>
                    <a:pt x="713" y="555"/>
                  </a:lnTo>
                  <a:lnTo>
                    <a:pt x="710" y="555"/>
                  </a:lnTo>
                  <a:lnTo>
                    <a:pt x="710" y="553"/>
                  </a:lnTo>
                  <a:lnTo>
                    <a:pt x="710" y="550"/>
                  </a:lnTo>
                  <a:lnTo>
                    <a:pt x="713" y="547"/>
                  </a:lnTo>
                  <a:lnTo>
                    <a:pt x="710" y="547"/>
                  </a:lnTo>
                  <a:lnTo>
                    <a:pt x="713" y="545"/>
                  </a:lnTo>
                  <a:lnTo>
                    <a:pt x="710" y="542"/>
                  </a:lnTo>
                  <a:lnTo>
                    <a:pt x="710" y="542"/>
                  </a:lnTo>
                  <a:lnTo>
                    <a:pt x="710" y="539"/>
                  </a:lnTo>
                  <a:lnTo>
                    <a:pt x="710" y="539"/>
                  </a:lnTo>
                  <a:lnTo>
                    <a:pt x="708" y="537"/>
                  </a:lnTo>
                  <a:lnTo>
                    <a:pt x="708" y="537"/>
                  </a:lnTo>
                  <a:lnTo>
                    <a:pt x="708" y="534"/>
                  </a:lnTo>
                  <a:lnTo>
                    <a:pt x="705" y="534"/>
                  </a:lnTo>
                  <a:lnTo>
                    <a:pt x="705" y="531"/>
                  </a:lnTo>
                  <a:lnTo>
                    <a:pt x="702" y="531"/>
                  </a:lnTo>
                  <a:lnTo>
                    <a:pt x="700" y="529"/>
                  </a:lnTo>
                  <a:lnTo>
                    <a:pt x="700" y="529"/>
                  </a:lnTo>
                  <a:lnTo>
                    <a:pt x="700" y="523"/>
                  </a:lnTo>
                  <a:lnTo>
                    <a:pt x="700" y="523"/>
                  </a:lnTo>
                  <a:lnTo>
                    <a:pt x="700" y="521"/>
                  </a:lnTo>
                  <a:lnTo>
                    <a:pt x="700" y="518"/>
                  </a:lnTo>
                  <a:lnTo>
                    <a:pt x="700" y="515"/>
                  </a:lnTo>
                  <a:lnTo>
                    <a:pt x="697" y="515"/>
                  </a:lnTo>
                  <a:lnTo>
                    <a:pt x="697" y="513"/>
                  </a:lnTo>
                  <a:lnTo>
                    <a:pt x="697" y="510"/>
                  </a:lnTo>
                  <a:lnTo>
                    <a:pt x="697" y="510"/>
                  </a:lnTo>
                  <a:lnTo>
                    <a:pt x="697" y="507"/>
                  </a:lnTo>
                  <a:lnTo>
                    <a:pt x="697" y="507"/>
                  </a:lnTo>
                  <a:lnTo>
                    <a:pt x="694" y="507"/>
                  </a:lnTo>
                  <a:lnTo>
                    <a:pt x="692" y="507"/>
                  </a:lnTo>
                  <a:lnTo>
                    <a:pt x="689" y="505"/>
                  </a:lnTo>
                  <a:lnTo>
                    <a:pt x="686" y="505"/>
                  </a:lnTo>
                  <a:lnTo>
                    <a:pt x="684" y="505"/>
                  </a:lnTo>
                  <a:lnTo>
                    <a:pt x="681" y="502"/>
                  </a:lnTo>
                  <a:lnTo>
                    <a:pt x="678" y="505"/>
                  </a:lnTo>
                  <a:lnTo>
                    <a:pt x="678" y="505"/>
                  </a:lnTo>
                  <a:lnTo>
                    <a:pt x="676" y="507"/>
                  </a:lnTo>
                  <a:lnTo>
                    <a:pt x="673" y="507"/>
                  </a:lnTo>
                  <a:lnTo>
                    <a:pt x="673" y="507"/>
                  </a:lnTo>
                  <a:lnTo>
                    <a:pt x="670" y="510"/>
                  </a:lnTo>
                  <a:lnTo>
                    <a:pt x="668" y="510"/>
                  </a:lnTo>
                  <a:lnTo>
                    <a:pt x="668" y="513"/>
                  </a:lnTo>
                  <a:lnTo>
                    <a:pt x="665" y="513"/>
                  </a:lnTo>
                  <a:lnTo>
                    <a:pt x="662" y="513"/>
                  </a:lnTo>
                  <a:lnTo>
                    <a:pt x="662" y="513"/>
                  </a:lnTo>
                  <a:lnTo>
                    <a:pt x="660" y="513"/>
                  </a:lnTo>
                  <a:lnTo>
                    <a:pt x="660" y="510"/>
                  </a:lnTo>
                  <a:lnTo>
                    <a:pt x="660" y="507"/>
                  </a:lnTo>
                  <a:lnTo>
                    <a:pt x="660" y="505"/>
                  </a:lnTo>
                  <a:lnTo>
                    <a:pt x="660" y="505"/>
                  </a:lnTo>
                  <a:lnTo>
                    <a:pt x="657" y="502"/>
                  </a:lnTo>
                  <a:lnTo>
                    <a:pt x="654" y="499"/>
                  </a:lnTo>
                  <a:lnTo>
                    <a:pt x="654" y="497"/>
                  </a:lnTo>
                  <a:lnTo>
                    <a:pt x="657" y="494"/>
                  </a:lnTo>
                  <a:lnTo>
                    <a:pt x="657" y="494"/>
                  </a:lnTo>
                  <a:lnTo>
                    <a:pt x="657" y="494"/>
                  </a:lnTo>
                  <a:lnTo>
                    <a:pt x="660" y="491"/>
                  </a:lnTo>
                  <a:lnTo>
                    <a:pt x="660" y="491"/>
                  </a:lnTo>
                  <a:lnTo>
                    <a:pt x="662" y="491"/>
                  </a:lnTo>
                  <a:lnTo>
                    <a:pt x="662" y="491"/>
                  </a:lnTo>
                  <a:lnTo>
                    <a:pt x="662" y="486"/>
                  </a:lnTo>
                  <a:lnTo>
                    <a:pt x="665" y="486"/>
                  </a:lnTo>
                  <a:lnTo>
                    <a:pt x="665" y="483"/>
                  </a:lnTo>
                  <a:lnTo>
                    <a:pt x="665" y="483"/>
                  </a:lnTo>
                  <a:lnTo>
                    <a:pt x="668" y="481"/>
                  </a:lnTo>
                  <a:lnTo>
                    <a:pt x="668" y="478"/>
                  </a:lnTo>
                  <a:lnTo>
                    <a:pt x="668" y="475"/>
                  </a:lnTo>
                  <a:lnTo>
                    <a:pt x="668" y="475"/>
                  </a:lnTo>
                  <a:lnTo>
                    <a:pt x="670" y="473"/>
                  </a:lnTo>
                  <a:lnTo>
                    <a:pt x="670" y="470"/>
                  </a:lnTo>
                  <a:lnTo>
                    <a:pt x="670" y="470"/>
                  </a:lnTo>
                  <a:lnTo>
                    <a:pt x="673" y="467"/>
                  </a:lnTo>
                  <a:lnTo>
                    <a:pt x="673" y="465"/>
                  </a:lnTo>
                  <a:lnTo>
                    <a:pt x="673" y="462"/>
                  </a:lnTo>
                  <a:lnTo>
                    <a:pt x="676" y="459"/>
                  </a:lnTo>
                  <a:lnTo>
                    <a:pt x="678" y="457"/>
                  </a:lnTo>
                  <a:lnTo>
                    <a:pt x="678" y="457"/>
                  </a:lnTo>
                  <a:lnTo>
                    <a:pt x="678" y="454"/>
                  </a:lnTo>
                  <a:lnTo>
                    <a:pt x="678" y="454"/>
                  </a:lnTo>
                  <a:lnTo>
                    <a:pt x="681" y="451"/>
                  </a:lnTo>
                  <a:lnTo>
                    <a:pt x="681" y="449"/>
                  </a:lnTo>
                  <a:lnTo>
                    <a:pt x="681" y="449"/>
                  </a:lnTo>
                  <a:lnTo>
                    <a:pt x="681" y="446"/>
                  </a:lnTo>
                  <a:lnTo>
                    <a:pt x="681" y="443"/>
                  </a:lnTo>
                  <a:lnTo>
                    <a:pt x="684" y="441"/>
                  </a:lnTo>
                  <a:lnTo>
                    <a:pt x="686" y="441"/>
                  </a:lnTo>
                  <a:lnTo>
                    <a:pt x="684" y="441"/>
                  </a:lnTo>
                  <a:lnTo>
                    <a:pt x="684" y="438"/>
                  </a:lnTo>
                  <a:lnTo>
                    <a:pt x="686" y="438"/>
                  </a:lnTo>
                  <a:lnTo>
                    <a:pt x="686" y="438"/>
                  </a:lnTo>
                  <a:lnTo>
                    <a:pt x="689" y="435"/>
                  </a:lnTo>
                  <a:lnTo>
                    <a:pt x="689" y="435"/>
                  </a:lnTo>
                  <a:lnTo>
                    <a:pt x="692" y="435"/>
                  </a:lnTo>
                  <a:lnTo>
                    <a:pt x="694" y="435"/>
                  </a:lnTo>
                  <a:lnTo>
                    <a:pt x="694" y="435"/>
                  </a:lnTo>
                  <a:lnTo>
                    <a:pt x="697" y="433"/>
                  </a:lnTo>
                  <a:lnTo>
                    <a:pt x="697" y="433"/>
                  </a:lnTo>
                  <a:lnTo>
                    <a:pt x="700" y="433"/>
                  </a:lnTo>
                  <a:lnTo>
                    <a:pt x="700" y="433"/>
                  </a:lnTo>
                  <a:lnTo>
                    <a:pt x="702" y="433"/>
                  </a:lnTo>
                  <a:lnTo>
                    <a:pt x="702" y="433"/>
                  </a:lnTo>
                  <a:lnTo>
                    <a:pt x="705" y="430"/>
                  </a:lnTo>
                  <a:lnTo>
                    <a:pt x="708" y="430"/>
                  </a:lnTo>
                  <a:lnTo>
                    <a:pt x="708" y="430"/>
                  </a:lnTo>
                  <a:lnTo>
                    <a:pt x="710" y="427"/>
                  </a:lnTo>
                  <a:lnTo>
                    <a:pt x="710" y="425"/>
                  </a:lnTo>
                  <a:lnTo>
                    <a:pt x="713" y="425"/>
                  </a:lnTo>
                  <a:lnTo>
                    <a:pt x="716" y="425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18" y="422"/>
                  </a:lnTo>
                  <a:lnTo>
                    <a:pt x="721" y="422"/>
                  </a:lnTo>
                  <a:lnTo>
                    <a:pt x="724" y="419"/>
                  </a:lnTo>
                  <a:lnTo>
                    <a:pt x="726" y="416"/>
                  </a:lnTo>
                  <a:lnTo>
                    <a:pt x="726" y="414"/>
                  </a:lnTo>
                  <a:lnTo>
                    <a:pt x="729" y="414"/>
                  </a:lnTo>
                  <a:lnTo>
                    <a:pt x="732" y="411"/>
                  </a:lnTo>
                  <a:lnTo>
                    <a:pt x="732" y="411"/>
                  </a:lnTo>
                  <a:lnTo>
                    <a:pt x="734" y="408"/>
                  </a:lnTo>
                  <a:lnTo>
                    <a:pt x="737" y="406"/>
                  </a:lnTo>
                  <a:lnTo>
                    <a:pt x="742" y="406"/>
                  </a:lnTo>
                  <a:lnTo>
                    <a:pt x="745" y="403"/>
                  </a:lnTo>
                  <a:lnTo>
                    <a:pt x="748" y="403"/>
                  </a:lnTo>
                  <a:lnTo>
                    <a:pt x="748" y="403"/>
                  </a:lnTo>
                  <a:lnTo>
                    <a:pt x="750" y="400"/>
                  </a:lnTo>
                  <a:lnTo>
                    <a:pt x="748" y="400"/>
                  </a:lnTo>
                  <a:lnTo>
                    <a:pt x="748" y="398"/>
                  </a:lnTo>
                  <a:lnTo>
                    <a:pt x="745" y="398"/>
                  </a:lnTo>
                  <a:lnTo>
                    <a:pt x="745" y="398"/>
                  </a:lnTo>
                  <a:lnTo>
                    <a:pt x="742" y="395"/>
                  </a:lnTo>
                  <a:lnTo>
                    <a:pt x="742" y="395"/>
                  </a:lnTo>
                  <a:lnTo>
                    <a:pt x="740" y="395"/>
                  </a:lnTo>
                  <a:lnTo>
                    <a:pt x="740" y="395"/>
                  </a:lnTo>
                  <a:lnTo>
                    <a:pt x="740" y="392"/>
                  </a:lnTo>
                  <a:lnTo>
                    <a:pt x="740" y="392"/>
                  </a:lnTo>
                  <a:lnTo>
                    <a:pt x="737" y="392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4" y="387"/>
                  </a:lnTo>
                  <a:lnTo>
                    <a:pt x="734" y="387"/>
                  </a:lnTo>
                  <a:lnTo>
                    <a:pt x="734" y="387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2"/>
                  </a:lnTo>
                  <a:lnTo>
                    <a:pt x="734" y="382"/>
                  </a:lnTo>
                  <a:lnTo>
                    <a:pt x="734" y="382"/>
                  </a:lnTo>
                  <a:lnTo>
                    <a:pt x="734" y="379"/>
                  </a:lnTo>
                  <a:lnTo>
                    <a:pt x="734" y="379"/>
                  </a:lnTo>
                  <a:lnTo>
                    <a:pt x="734" y="379"/>
                  </a:lnTo>
                  <a:lnTo>
                    <a:pt x="732" y="379"/>
                  </a:lnTo>
                  <a:lnTo>
                    <a:pt x="732" y="379"/>
                  </a:lnTo>
                  <a:lnTo>
                    <a:pt x="732" y="376"/>
                  </a:lnTo>
                  <a:lnTo>
                    <a:pt x="732" y="376"/>
                  </a:lnTo>
                  <a:lnTo>
                    <a:pt x="732" y="376"/>
                  </a:lnTo>
                  <a:lnTo>
                    <a:pt x="732" y="374"/>
                  </a:lnTo>
                  <a:lnTo>
                    <a:pt x="729" y="374"/>
                  </a:lnTo>
                  <a:lnTo>
                    <a:pt x="729" y="374"/>
                  </a:lnTo>
                  <a:lnTo>
                    <a:pt x="729" y="374"/>
                  </a:lnTo>
                  <a:lnTo>
                    <a:pt x="729" y="371"/>
                  </a:lnTo>
                  <a:lnTo>
                    <a:pt x="732" y="371"/>
                  </a:lnTo>
                  <a:lnTo>
                    <a:pt x="732" y="371"/>
                  </a:lnTo>
                  <a:lnTo>
                    <a:pt x="729" y="368"/>
                  </a:lnTo>
                  <a:lnTo>
                    <a:pt x="729" y="368"/>
                  </a:lnTo>
                  <a:lnTo>
                    <a:pt x="729" y="368"/>
                  </a:lnTo>
                  <a:lnTo>
                    <a:pt x="726" y="366"/>
                  </a:lnTo>
                  <a:lnTo>
                    <a:pt x="726" y="366"/>
                  </a:lnTo>
                  <a:lnTo>
                    <a:pt x="724" y="363"/>
                  </a:lnTo>
                  <a:lnTo>
                    <a:pt x="721" y="363"/>
                  </a:lnTo>
                  <a:lnTo>
                    <a:pt x="721" y="360"/>
                  </a:lnTo>
                  <a:lnTo>
                    <a:pt x="718" y="358"/>
                  </a:lnTo>
                  <a:lnTo>
                    <a:pt x="718" y="358"/>
                  </a:lnTo>
                  <a:lnTo>
                    <a:pt x="718" y="358"/>
                  </a:lnTo>
                  <a:lnTo>
                    <a:pt x="718" y="360"/>
                  </a:lnTo>
                  <a:lnTo>
                    <a:pt x="718" y="360"/>
                  </a:lnTo>
                  <a:lnTo>
                    <a:pt x="716" y="360"/>
                  </a:lnTo>
                  <a:lnTo>
                    <a:pt x="716" y="360"/>
                  </a:lnTo>
                  <a:lnTo>
                    <a:pt x="716" y="360"/>
                  </a:lnTo>
                  <a:lnTo>
                    <a:pt x="713" y="358"/>
                  </a:lnTo>
                  <a:lnTo>
                    <a:pt x="713" y="358"/>
                  </a:lnTo>
                  <a:lnTo>
                    <a:pt x="710" y="358"/>
                  </a:lnTo>
                  <a:lnTo>
                    <a:pt x="708" y="355"/>
                  </a:lnTo>
                  <a:lnTo>
                    <a:pt x="708" y="355"/>
                  </a:lnTo>
                  <a:lnTo>
                    <a:pt x="708" y="355"/>
                  </a:lnTo>
                  <a:lnTo>
                    <a:pt x="705" y="355"/>
                  </a:lnTo>
                  <a:lnTo>
                    <a:pt x="705" y="355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2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50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7"/>
                  </a:lnTo>
                  <a:lnTo>
                    <a:pt x="705" y="344"/>
                  </a:lnTo>
                  <a:lnTo>
                    <a:pt x="705" y="344"/>
                  </a:lnTo>
                  <a:lnTo>
                    <a:pt x="708" y="344"/>
                  </a:lnTo>
                  <a:lnTo>
                    <a:pt x="708" y="344"/>
                  </a:lnTo>
                  <a:lnTo>
                    <a:pt x="708" y="344"/>
                  </a:lnTo>
                  <a:lnTo>
                    <a:pt x="708" y="342"/>
                  </a:lnTo>
                  <a:lnTo>
                    <a:pt x="710" y="342"/>
                  </a:lnTo>
                  <a:lnTo>
                    <a:pt x="710" y="342"/>
                  </a:lnTo>
                  <a:lnTo>
                    <a:pt x="710" y="342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10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9"/>
                  </a:lnTo>
                  <a:lnTo>
                    <a:pt x="708" y="336"/>
                  </a:lnTo>
                  <a:lnTo>
                    <a:pt x="705" y="336"/>
                  </a:lnTo>
                  <a:lnTo>
                    <a:pt x="705" y="336"/>
                  </a:lnTo>
                  <a:lnTo>
                    <a:pt x="705" y="336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4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5" y="331"/>
                  </a:lnTo>
                  <a:lnTo>
                    <a:pt x="702" y="331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8"/>
                  </a:lnTo>
                  <a:lnTo>
                    <a:pt x="702" y="326"/>
                  </a:lnTo>
                  <a:lnTo>
                    <a:pt x="702" y="326"/>
                  </a:lnTo>
                  <a:lnTo>
                    <a:pt x="700" y="326"/>
                  </a:lnTo>
                  <a:lnTo>
                    <a:pt x="700" y="326"/>
                  </a:lnTo>
                  <a:lnTo>
                    <a:pt x="700" y="326"/>
                  </a:lnTo>
                  <a:lnTo>
                    <a:pt x="700" y="323"/>
                  </a:lnTo>
                  <a:lnTo>
                    <a:pt x="700" y="323"/>
                  </a:lnTo>
                  <a:lnTo>
                    <a:pt x="700" y="323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20"/>
                  </a:lnTo>
                  <a:lnTo>
                    <a:pt x="700" y="318"/>
                  </a:lnTo>
                  <a:lnTo>
                    <a:pt x="700" y="318"/>
                  </a:lnTo>
                  <a:lnTo>
                    <a:pt x="700" y="318"/>
                  </a:lnTo>
                  <a:lnTo>
                    <a:pt x="700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2"/>
                  </a:lnTo>
                  <a:lnTo>
                    <a:pt x="702" y="312"/>
                  </a:lnTo>
                  <a:lnTo>
                    <a:pt x="705" y="312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5" y="315"/>
                  </a:lnTo>
                  <a:lnTo>
                    <a:pt x="708" y="315"/>
                  </a:lnTo>
                  <a:lnTo>
                    <a:pt x="708" y="315"/>
                  </a:lnTo>
                  <a:lnTo>
                    <a:pt x="708" y="315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18"/>
                  </a:lnTo>
                  <a:lnTo>
                    <a:pt x="708" y="320"/>
                  </a:lnTo>
                  <a:lnTo>
                    <a:pt x="708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3" y="318"/>
                  </a:lnTo>
                  <a:lnTo>
                    <a:pt x="716" y="315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18" y="315"/>
                  </a:lnTo>
                  <a:lnTo>
                    <a:pt x="718" y="312"/>
                  </a:lnTo>
                  <a:lnTo>
                    <a:pt x="718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2"/>
                  </a:lnTo>
                  <a:lnTo>
                    <a:pt x="721" y="310"/>
                  </a:lnTo>
                  <a:lnTo>
                    <a:pt x="721" y="310"/>
                  </a:lnTo>
                  <a:lnTo>
                    <a:pt x="721" y="310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18" y="307"/>
                  </a:lnTo>
                  <a:lnTo>
                    <a:pt x="718" y="307"/>
                  </a:lnTo>
                  <a:lnTo>
                    <a:pt x="716" y="304"/>
                  </a:lnTo>
                  <a:lnTo>
                    <a:pt x="716" y="304"/>
                  </a:lnTo>
                  <a:lnTo>
                    <a:pt x="713" y="304"/>
                  </a:lnTo>
                  <a:lnTo>
                    <a:pt x="713" y="304"/>
                  </a:lnTo>
                  <a:lnTo>
                    <a:pt x="713" y="304"/>
                  </a:lnTo>
                  <a:lnTo>
                    <a:pt x="713" y="302"/>
                  </a:lnTo>
                  <a:lnTo>
                    <a:pt x="713" y="302"/>
                  </a:lnTo>
                  <a:lnTo>
                    <a:pt x="710" y="302"/>
                  </a:lnTo>
                  <a:lnTo>
                    <a:pt x="710" y="302"/>
                  </a:lnTo>
                  <a:lnTo>
                    <a:pt x="710" y="302"/>
                  </a:lnTo>
                  <a:lnTo>
                    <a:pt x="708" y="302"/>
                  </a:lnTo>
                  <a:lnTo>
                    <a:pt x="708" y="299"/>
                  </a:lnTo>
                  <a:lnTo>
                    <a:pt x="708" y="299"/>
                  </a:lnTo>
                  <a:lnTo>
                    <a:pt x="705" y="299"/>
                  </a:lnTo>
                  <a:lnTo>
                    <a:pt x="705" y="299"/>
                  </a:lnTo>
                  <a:lnTo>
                    <a:pt x="705" y="296"/>
                  </a:lnTo>
                  <a:lnTo>
                    <a:pt x="705" y="296"/>
                  </a:lnTo>
                  <a:lnTo>
                    <a:pt x="705" y="296"/>
                  </a:lnTo>
                  <a:lnTo>
                    <a:pt x="705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4"/>
                  </a:lnTo>
                  <a:lnTo>
                    <a:pt x="702" y="291"/>
                  </a:lnTo>
                  <a:lnTo>
                    <a:pt x="702" y="291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8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2" y="286"/>
                  </a:lnTo>
                  <a:lnTo>
                    <a:pt x="700" y="286"/>
                  </a:lnTo>
                  <a:lnTo>
                    <a:pt x="700" y="286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3"/>
                  </a:lnTo>
                  <a:lnTo>
                    <a:pt x="700" y="280"/>
                  </a:lnTo>
                  <a:lnTo>
                    <a:pt x="700" y="280"/>
                  </a:lnTo>
                  <a:lnTo>
                    <a:pt x="697" y="280"/>
                  </a:lnTo>
                  <a:lnTo>
                    <a:pt x="700" y="280"/>
                  </a:lnTo>
                  <a:lnTo>
                    <a:pt x="697" y="280"/>
                  </a:lnTo>
                  <a:lnTo>
                    <a:pt x="697" y="280"/>
                  </a:lnTo>
                  <a:lnTo>
                    <a:pt x="697" y="280"/>
                  </a:lnTo>
                  <a:lnTo>
                    <a:pt x="697" y="283"/>
                  </a:lnTo>
                  <a:lnTo>
                    <a:pt x="697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3"/>
                  </a:lnTo>
                  <a:lnTo>
                    <a:pt x="694" y="286"/>
                  </a:lnTo>
                  <a:lnTo>
                    <a:pt x="694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6"/>
                  </a:lnTo>
                  <a:lnTo>
                    <a:pt x="692" y="288"/>
                  </a:lnTo>
                  <a:lnTo>
                    <a:pt x="692" y="288"/>
                  </a:lnTo>
                  <a:lnTo>
                    <a:pt x="692" y="288"/>
                  </a:lnTo>
                  <a:lnTo>
                    <a:pt x="689" y="288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9" y="291"/>
                  </a:lnTo>
                  <a:lnTo>
                    <a:pt x="686" y="291"/>
                  </a:lnTo>
                  <a:lnTo>
                    <a:pt x="686" y="291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3"/>
                  </a:lnTo>
                  <a:lnTo>
                    <a:pt x="686" y="283"/>
                  </a:lnTo>
                  <a:lnTo>
                    <a:pt x="686" y="283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80"/>
                  </a:lnTo>
                  <a:lnTo>
                    <a:pt x="686" y="278"/>
                  </a:lnTo>
                  <a:lnTo>
                    <a:pt x="686" y="278"/>
                  </a:lnTo>
                  <a:lnTo>
                    <a:pt x="689" y="278"/>
                  </a:lnTo>
                  <a:lnTo>
                    <a:pt x="689" y="278"/>
                  </a:lnTo>
                  <a:lnTo>
                    <a:pt x="689" y="278"/>
                  </a:lnTo>
                  <a:lnTo>
                    <a:pt x="689" y="275"/>
                  </a:lnTo>
                  <a:lnTo>
                    <a:pt x="689" y="275"/>
                  </a:lnTo>
                  <a:lnTo>
                    <a:pt x="689" y="275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2"/>
                  </a:lnTo>
                  <a:lnTo>
                    <a:pt x="689" y="270"/>
                  </a:lnTo>
                  <a:lnTo>
                    <a:pt x="689" y="270"/>
                  </a:lnTo>
                  <a:lnTo>
                    <a:pt x="692" y="270"/>
                  </a:lnTo>
                  <a:lnTo>
                    <a:pt x="689" y="267"/>
                  </a:lnTo>
                  <a:lnTo>
                    <a:pt x="689" y="267"/>
                  </a:lnTo>
                  <a:lnTo>
                    <a:pt x="689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7"/>
                  </a:lnTo>
                  <a:lnTo>
                    <a:pt x="692" y="264"/>
                  </a:lnTo>
                  <a:lnTo>
                    <a:pt x="694" y="264"/>
                  </a:lnTo>
                  <a:lnTo>
                    <a:pt x="694" y="264"/>
                  </a:lnTo>
                  <a:lnTo>
                    <a:pt x="694" y="264"/>
                  </a:lnTo>
                  <a:lnTo>
                    <a:pt x="694" y="261"/>
                  </a:lnTo>
                  <a:lnTo>
                    <a:pt x="694" y="261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9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4" y="256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3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5"/>
                  </a:lnTo>
                  <a:lnTo>
                    <a:pt x="692" y="245"/>
                  </a:lnTo>
                  <a:lnTo>
                    <a:pt x="692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5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3"/>
                  </a:lnTo>
                  <a:lnTo>
                    <a:pt x="694" y="240"/>
                  </a:lnTo>
                  <a:lnTo>
                    <a:pt x="694" y="240"/>
                  </a:lnTo>
                  <a:lnTo>
                    <a:pt x="694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92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9" y="243"/>
                  </a:lnTo>
                  <a:lnTo>
                    <a:pt x="686" y="243"/>
                  </a:lnTo>
                  <a:lnTo>
                    <a:pt x="686" y="243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7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5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32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7"/>
                  </a:lnTo>
                  <a:lnTo>
                    <a:pt x="686" y="224"/>
                  </a:lnTo>
                  <a:lnTo>
                    <a:pt x="686" y="224"/>
                  </a:lnTo>
                  <a:lnTo>
                    <a:pt x="686" y="224"/>
                  </a:lnTo>
                  <a:lnTo>
                    <a:pt x="686" y="221"/>
                  </a:lnTo>
                  <a:lnTo>
                    <a:pt x="686" y="221"/>
                  </a:lnTo>
                  <a:lnTo>
                    <a:pt x="684" y="221"/>
                  </a:lnTo>
                  <a:lnTo>
                    <a:pt x="684" y="221"/>
                  </a:lnTo>
                  <a:lnTo>
                    <a:pt x="684" y="219"/>
                  </a:lnTo>
                  <a:lnTo>
                    <a:pt x="684" y="219"/>
                  </a:lnTo>
                  <a:lnTo>
                    <a:pt x="684" y="219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1" y="216"/>
                  </a:lnTo>
                  <a:lnTo>
                    <a:pt x="681" y="216"/>
                  </a:lnTo>
                  <a:lnTo>
                    <a:pt x="681" y="213"/>
                  </a:lnTo>
                  <a:lnTo>
                    <a:pt x="681" y="213"/>
                  </a:lnTo>
                  <a:lnTo>
                    <a:pt x="681" y="213"/>
                  </a:lnTo>
                  <a:lnTo>
                    <a:pt x="678" y="213"/>
                  </a:lnTo>
                  <a:lnTo>
                    <a:pt x="678" y="213"/>
                  </a:lnTo>
                  <a:lnTo>
                    <a:pt x="678" y="211"/>
                  </a:lnTo>
                  <a:lnTo>
                    <a:pt x="678" y="211"/>
                  </a:lnTo>
                  <a:lnTo>
                    <a:pt x="676" y="211"/>
                  </a:lnTo>
                  <a:lnTo>
                    <a:pt x="676" y="208"/>
                  </a:lnTo>
                  <a:lnTo>
                    <a:pt x="676" y="208"/>
                  </a:lnTo>
                  <a:lnTo>
                    <a:pt x="676" y="208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8"/>
                  </a:lnTo>
                  <a:lnTo>
                    <a:pt x="673" y="208"/>
                  </a:lnTo>
                  <a:lnTo>
                    <a:pt x="670" y="208"/>
                  </a:lnTo>
                  <a:lnTo>
                    <a:pt x="670" y="208"/>
                  </a:lnTo>
                  <a:lnTo>
                    <a:pt x="670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8" y="208"/>
                  </a:lnTo>
                  <a:lnTo>
                    <a:pt x="665" y="208"/>
                  </a:lnTo>
                  <a:lnTo>
                    <a:pt x="665" y="208"/>
                  </a:lnTo>
                  <a:lnTo>
                    <a:pt x="665" y="208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3"/>
                  </a:lnTo>
                  <a:lnTo>
                    <a:pt x="662" y="213"/>
                  </a:lnTo>
                  <a:lnTo>
                    <a:pt x="662" y="216"/>
                  </a:lnTo>
                  <a:lnTo>
                    <a:pt x="662" y="216"/>
                  </a:lnTo>
                  <a:lnTo>
                    <a:pt x="662" y="216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2" y="219"/>
                  </a:lnTo>
                  <a:lnTo>
                    <a:pt x="660" y="219"/>
                  </a:lnTo>
                  <a:lnTo>
                    <a:pt x="660" y="219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60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7" y="221"/>
                  </a:lnTo>
                  <a:lnTo>
                    <a:pt x="654" y="221"/>
                  </a:lnTo>
                  <a:lnTo>
                    <a:pt x="654" y="221"/>
                  </a:lnTo>
                  <a:lnTo>
                    <a:pt x="654" y="224"/>
                  </a:lnTo>
                  <a:lnTo>
                    <a:pt x="654" y="224"/>
                  </a:lnTo>
                  <a:lnTo>
                    <a:pt x="652" y="224"/>
                  </a:lnTo>
                  <a:lnTo>
                    <a:pt x="652" y="224"/>
                  </a:lnTo>
                  <a:lnTo>
                    <a:pt x="652" y="224"/>
                  </a:lnTo>
                  <a:lnTo>
                    <a:pt x="649" y="221"/>
                  </a:lnTo>
                  <a:lnTo>
                    <a:pt x="646" y="224"/>
                  </a:lnTo>
                  <a:lnTo>
                    <a:pt x="646" y="221"/>
                  </a:lnTo>
                  <a:lnTo>
                    <a:pt x="649" y="221"/>
                  </a:lnTo>
                  <a:lnTo>
                    <a:pt x="649" y="221"/>
                  </a:lnTo>
                  <a:lnTo>
                    <a:pt x="649" y="219"/>
                  </a:lnTo>
                  <a:lnTo>
                    <a:pt x="646" y="219"/>
                  </a:lnTo>
                  <a:lnTo>
                    <a:pt x="646" y="216"/>
                  </a:lnTo>
                  <a:lnTo>
                    <a:pt x="646" y="216"/>
                  </a:lnTo>
                  <a:lnTo>
                    <a:pt x="646" y="216"/>
                  </a:lnTo>
                  <a:lnTo>
                    <a:pt x="646" y="213"/>
                  </a:lnTo>
                  <a:lnTo>
                    <a:pt x="646" y="213"/>
                  </a:lnTo>
                  <a:lnTo>
                    <a:pt x="646" y="213"/>
                  </a:lnTo>
                  <a:lnTo>
                    <a:pt x="644" y="213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4" y="208"/>
                  </a:lnTo>
                  <a:lnTo>
                    <a:pt x="644" y="208"/>
                  </a:lnTo>
                  <a:lnTo>
                    <a:pt x="644" y="208"/>
                  </a:lnTo>
                  <a:lnTo>
                    <a:pt x="641" y="205"/>
                  </a:lnTo>
                  <a:lnTo>
                    <a:pt x="641" y="205"/>
                  </a:lnTo>
                  <a:lnTo>
                    <a:pt x="638" y="205"/>
                  </a:lnTo>
                  <a:lnTo>
                    <a:pt x="641" y="205"/>
                  </a:lnTo>
                  <a:lnTo>
                    <a:pt x="638" y="205"/>
                  </a:lnTo>
                  <a:lnTo>
                    <a:pt x="638" y="203"/>
                  </a:lnTo>
                  <a:lnTo>
                    <a:pt x="638" y="203"/>
                  </a:lnTo>
                  <a:lnTo>
                    <a:pt x="638" y="200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41" y="197"/>
                  </a:lnTo>
                  <a:lnTo>
                    <a:pt x="638" y="197"/>
                  </a:lnTo>
                  <a:lnTo>
                    <a:pt x="638" y="195"/>
                  </a:lnTo>
                  <a:lnTo>
                    <a:pt x="638" y="195"/>
                  </a:lnTo>
                  <a:lnTo>
                    <a:pt x="638" y="195"/>
                  </a:lnTo>
                  <a:lnTo>
                    <a:pt x="636" y="195"/>
                  </a:lnTo>
                  <a:lnTo>
                    <a:pt x="636" y="192"/>
                  </a:lnTo>
                  <a:lnTo>
                    <a:pt x="636" y="192"/>
                  </a:lnTo>
                  <a:lnTo>
                    <a:pt x="636" y="192"/>
                  </a:lnTo>
                  <a:lnTo>
                    <a:pt x="633" y="192"/>
                  </a:lnTo>
                  <a:lnTo>
                    <a:pt x="633" y="192"/>
                  </a:lnTo>
                  <a:lnTo>
                    <a:pt x="633" y="189"/>
                  </a:lnTo>
                  <a:lnTo>
                    <a:pt x="633" y="189"/>
                  </a:lnTo>
                  <a:lnTo>
                    <a:pt x="633" y="189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4"/>
                  </a:lnTo>
                  <a:lnTo>
                    <a:pt x="630" y="184"/>
                  </a:lnTo>
                  <a:lnTo>
                    <a:pt x="630" y="181"/>
                  </a:lnTo>
                  <a:lnTo>
                    <a:pt x="630" y="181"/>
                  </a:lnTo>
                  <a:lnTo>
                    <a:pt x="630" y="181"/>
                  </a:lnTo>
                  <a:lnTo>
                    <a:pt x="628" y="181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8" y="179"/>
                  </a:lnTo>
                  <a:lnTo>
                    <a:pt x="625" y="179"/>
                  </a:lnTo>
                  <a:lnTo>
                    <a:pt x="625" y="179"/>
                  </a:lnTo>
                  <a:lnTo>
                    <a:pt x="625" y="181"/>
                  </a:lnTo>
                  <a:lnTo>
                    <a:pt x="622" y="181"/>
                  </a:lnTo>
                  <a:lnTo>
                    <a:pt x="622" y="181"/>
                  </a:lnTo>
                  <a:lnTo>
                    <a:pt x="622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9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7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4" y="181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11" y="184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09" y="187"/>
                  </a:lnTo>
                  <a:lnTo>
                    <a:pt x="609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3" y="189"/>
                  </a:lnTo>
                  <a:lnTo>
                    <a:pt x="603" y="192"/>
                  </a:lnTo>
                  <a:lnTo>
                    <a:pt x="603" y="192"/>
                  </a:lnTo>
                  <a:lnTo>
                    <a:pt x="603" y="192"/>
                  </a:lnTo>
                  <a:lnTo>
                    <a:pt x="601" y="192"/>
                  </a:lnTo>
                  <a:lnTo>
                    <a:pt x="601" y="192"/>
                  </a:lnTo>
                  <a:lnTo>
                    <a:pt x="601" y="192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5"/>
                  </a:lnTo>
                  <a:lnTo>
                    <a:pt x="601" y="197"/>
                  </a:lnTo>
                  <a:lnTo>
                    <a:pt x="598" y="197"/>
                  </a:lnTo>
                  <a:lnTo>
                    <a:pt x="598" y="195"/>
                  </a:lnTo>
                  <a:lnTo>
                    <a:pt x="598" y="195"/>
                  </a:lnTo>
                  <a:lnTo>
                    <a:pt x="598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5" y="197"/>
                  </a:lnTo>
                  <a:lnTo>
                    <a:pt x="593" y="197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0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90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7" y="205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2" y="203"/>
                  </a:lnTo>
                  <a:lnTo>
                    <a:pt x="582" y="203"/>
                  </a:lnTo>
                  <a:lnTo>
                    <a:pt x="582" y="203"/>
                  </a:lnTo>
                  <a:lnTo>
                    <a:pt x="579" y="203"/>
                  </a:lnTo>
                  <a:lnTo>
                    <a:pt x="582" y="203"/>
                  </a:lnTo>
                  <a:lnTo>
                    <a:pt x="579" y="203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5"/>
                  </a:lnTo>
                  <a:lnTo>
                    <a:pt x="579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7" y="211"/>
                  </a:lnTo>
                  <a:lnTo>
                    <a:pt x="577" y="211"/>
                  </a:lnTo>
                  <a:lnTo>
                    <a:pt x="577" y="208"/>
                  </a:lnTo>
                  <a:lnTo>
                    <a:pt x="574" y="208"/>
                  </a:lnTo>
                  <a:lnTo>
                    <a:pt x="574" y="205"/>
                  </a:lnTo>
                  <a:lnTo>
                    <a:pt x="574" y="205"/>
                  </a:lnTo>
                  <a:lnTo>
                    <a:pt x="574" y="205"/>
                  </a:lnTo>
                  <a:lnTo>
                    <a:pt x="574" y="203"/>
                  </a:lnTo>
                  <a:lnTo>
                    <a:pt x="574" y="203"/>
                  </a:lnTo>
                  <a:lnTo>
                    <a:pt x="574" y="200"/>
                  </a:lnTo>
                  <a:lnTo>
                    <a:pt x="574" y="200"/>
                  </a:lnTo>
                  <a:lnTo>
                    <a:pt x="571" y="197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89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4"/>
                  </a:lnTo>
                  <a:lnTo>
                    <a:pt x="563" y="184"/>
                  </a:lnTo>
                  <a:lnTo>
                    <a:pt x="563" y="184"/>
                  </a:lnTo>
                  <a:lnTo>
                    <a:pt x="566" y="181"/>
                  </a:lnTo>
                  <a:lnTo>
                    <a:pt x="566" y="181"/>
                  </a:lnTo>
                  <a:lnTo>
                    <a:pt x="569" y="181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71" y="176"/>
                  </a:lnTo>
                  <a:lnTo>
                    <a:pt x="571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7" y="173"/>
                  </a:lnTo>
                  <a:lnTo>
                    <a:pt x="577" y="173"/>
                  </a:lnTo>
                  <a:lnTo>
                    <a:pt x="579" y="173"/>
                  </a:lnTo>
                  <a:lnTo>
                    <a:pt x="579" y="173"/>
                  </a:lnTo>
                  <a:lnTo>
                    <a:pt x="579" y="173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2" y="171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8"/>
                  </a:lnTo>
                  <a:lnTo>
                    <a:pt x="585" y="165"/>
                  </a:lnTo>
                  <a:lnTo>
                    <a:pt x="585" y="165"/>
                  </a:lnTo>
                  <a:lnTo>
                    <a:pt x="585" y="165"/>
                  </a:lnTo>
                  <a:lnTo>
                    <a:pt x="585" y="163"/>
                  </a:lnTo>
                  <a:lnTo>
                    <a:pt x="582" y="163"/>
                  </a:lnTo>
                  <a:lnTo>
                    <a:pt x="582" y="165"/>
                  </a:lnTo>
                  <a:lnTo>
                    <a:pt x="579" y="165"/>
                  </a:lnTo>
                  <a:lnTo>
                    <a:pt x="579" y="163"/>
                  </a:lnTo>
                  <a:lnTo>
                    <a:pt x="579" y="163"/>
                  </a:lnTo>
                  <a:lnTo>
                    <a:pt x="577" y="163"/>
                  </a:lnTo>
                  <a:lnTo>
                    <a:pt x="577" y="163"/>
                  </a:lnTo>
                  <a:lnTo>
                    <a:pt x="574" y="163"/>
                  </a:lnTo>
                  <a:lnTo>
                    <a:pt x="574" y="163"/>
                  </a:lnTo>
                  <a:lnTo>
                    <a:pt x="574" y="160"/>
                  </a:lnTo>
                  <a:lnTo>
                    <a:pt x="577" y="163"/>
                  </a:lnTo>
                  <a:lnTo>
                    <a:pt x="577" y="160"/>
                  </a:lnTo>
                  <a:lnTo>
                    <a:pt x="574" y="160"/>
                  </a:lnTo>
                  <a:lnTo>
                    <a:pt x="574" y="160"/>
                  </a:lnTo>
                  <a:lnTo>
                    <a:pt x="571" y="160"/>
                  </a:lnTo>
                  <a:lnTo>
                    <a:pt x="571" y="160"/>
                  </a:lnTo>
                  <a:lnTo>
                    <a:pt x="569" y="160"/>
                  </a:lnTo>
                  <a:lnTo>
                    <a:pt x="569" y="157"/>
                  </a:lnTo>
                  <a:lnTo>
                    <a:pt x="569" y="157"/>
                  </a:lnTo>
                  <a:lnTo>
                    <a:pt x="566" y="157"/>
                  </a:lnTo>
                  <a:lnTo>
                    <a:pt x="566" y="157"/>
                  </a:lnTo>
                  <a:lnTo>
                    <a:pt x="566" y="157"/>
                  </a:lnTo>
                  <a:lnTo>
                    <a:pt x="569" y="157"/>
                  </a:lnTo>
                  <a:lnTo>
                    <a:pt x="566" y="155"/>
                  </a:lnTo>
                  <a:lnTo>
                    <a:pt x="566" y="155"/>
                  </a:lnTo>
                  <a:lnTo>
                    <a:pt x="566" y="155"/>
                  </a:lnTo>
                  <a:lnTo>
                    <a:pt x="566" y="152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58" y="155"/>
                  </a:lnTo>
                  <a:lnTo>
                    <a:pt x="558" y="152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3" y="155"/>
                  </a:lnTo>
                  <a:lnTo>
                    <a:pt x="553" y="155"/>
                  </a:lnTo>
                  <a:lnTo>
                    <a:pt x="550" y="155"/>
                  </a:lnTo>
                  <a:lnTo>
                    <a:pt x="550" y="155"/>
                  </a:lnTo>
                  <a:lnTo>
                    <a:pt x="550" y="155"/>
                  </a:lnTo>
                  <a:lnTo>
                    <a:pt x="547" y="152"/>
                  </a:lnTo>
                  <a:lnTo>
                    <a:pt x="547" y="152"/>
                  </a:lnTo>
                  <a:lnTo>
                    <a:pt x="547" y="149"/>
                  </a:lnTo>
                  <a:lnTo>
                    <a:pt x="547" y="149"/>
                  </a:lnTo>
                  <a:lnTo>
                    <a:pt x="545" y="149"/>
                  </a:lnTo>
                  <a:lnTo>
                    <a:pt x="545" y="149"/>
                  </a:lnTo>
                  <a:lnTo>
                    <a:pt x="545" y="149"/>
                  </a:lnTo>
                  <a:lnTo>
                    <a:pt x="542" y="149"/>
                  </a:lnTo>
                  <a:lnTo>
                    <a:pt x="542" y="149"/>
                  </a:lnTo>
                  <a:lnTo>
                    <a:pt x="542" y="149"/>
                  </a:lnTo>
                  <a:lnTo>
                    <a:pt x="539" y="147"/>
                  </a:lnTo>
                  <a:lnTo>
                    <a:pt x="539" y="147"/>
                  </a:lnTo>
                  <a:lnTo>
                    <a:pt x="537" y="147"/>
                  </a:lnTo>
                  <a:lnTo>
                    <a:pt x="537" y="144"/>
                  </a:lnTo>
                  <a:lnTo>
                    <a:pt x="539" y="144"/>
                  </a:lnTo>
                  <a:lnTo>
                    <a:pt x="539" y="141"/>
                  </a:lnTo>
                  <a:lnTo>
                    <a:pt x="539" y="141"/>
                  </a:lnTo>
                  <a:lnTo>
                    <a:pt x="539" y="141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9" y="139"/>
                  </a:lnTo>
                  <a:lnTo>
                    <a:pt x="537" y="139"/>
                  </a:lnTo>
                  <a:lnTo>
                    <a:pt x="537" y="139"/>
                  </a:lnTo>
                  <a:lnTo>
                    <a:pt x="537" y="139"/>
                  </a:lnTo>
                  <a:lnTo>
                    <a:pt x="537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1" y="133"/>
                  </a:lnTo>
                  <a:lnTo>
                    <a:pt x="531" y="136"/>
                  </a:lnTo>
                  <a:lnTo>
                    <a:pt x="529" y="136"/>
                  </a:lnTo>
                  <a:lnTo>
                    <a:pt x="529" y="133"/>
                  </a:lnTo>
                  <a:lnTo>
                    <a:pt x="529" y="133"/>
                  </a:lnTo>
                  <a:lnTo>
                    <a:pt x="526" y="133"/>
                  </a:lnTo>
                  <a:lnTo>
                    <a:pt x="529" y="131"/>
                  </a:lnTo>
                  <a:lnTo>
                    <a:pt x="529" y="131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8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29" y="125"/>
                  </a:lnTo>
                  <a:lnTo>
                    <a:pt x="531" y="123"/>
                  </a:lnTo>
                  <a:lnTo>
                    <a:pt x="531" y="123"/>
                  </a:lnTo>
                  <a:lnTo>
                    <a:pt x="534" y="123"/>
                  </a:lnTo>
                  <a:lnTo>
                    <a:pt x="534" y="120"/>
                  </a:lnTo>
                  <a:lnTo>
                    <a:pt x="534" y="120"/>
                  </a:lnTo>
                  <a:lnTo>
                    <a:pt x="534" y="117"/>
                  </a:lnTo>
                  <a:lnTo>
                    <a:pt x="534" y="117"/>
                  </a:lnTo>
                  <a:lnTo>
                    <a:pt x="518" y="90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0" name="Freeform 8875">
              <a:extLst>
                <a:ext uri="{FF2B5EF4-FFF2-40B4-BE49-F238E27FC236}">
                  <a16:creationId xmlns:a16="http://schemas.microsoft.com/office/drawing/2014/main" id="{CDA39A7A-EAE0-D241-9BAD-378E5344AAC4}"/>
                </a:ext>
              </a:extLst>
            </p:cNvPr>
            <p:cNvSpPr/>
            <p:nvPr/>
          </p:nvSpPr>
          <p:spPr bwMode="auto">
            <a:xfrm>
              <a:off x="8008140" y="5627689"/>
              <a:ext cx="327025" cy="228600"/>
            </a:xfrm>
            <a:custGeom>
              <a:avLst/>
              <a:gdLst>
                <a:gd name="T0" fmla="*/ 142 w 206"/>
                <a:gd name="T1" fmla="*/ 120 h 144"/>
                <a:gd name="T2" fmla="*/ 152 w 206"/>
                <a:gd name="T3" fmla="*/ 115 h 144"/>
                <a:gd name="T4" fmla="*/ 163 w 206"/>
                <a:gd name="T5" fmla="*/ 112 h 144"/>
                <a:gd name="T6" fmla="*/ 176 w 206"/>
                <a:gd name="T7" fmla="*/ 104 h 144"/>
                <a:gd name="T8" fmla="*/ 187 w 206"/>
                <a:gd name="T9" fmla="*/ 101 h 144"/>
                <a:gd name="T10" fmla="*/ 198 w 206"/>
                <a:gd name="T11" fmla="*/ 96 h 144"/>
                <a:gd name="T12" fmla="*/ 206 w 206"/>
                <a:gd name="T13" fmla="*/ 91 h 144"/>
                <a:gd name="T14" fmla="*/ 203 w 206"/>
                <a:gd name="T15" fmla="*/ 83 h 144"/>
                <a:gd name="T16" fmla="*/ 200 w 206"/>
                <a:gd name="T17" fmla="*/ 74 h 144"/>
                <a:gd name="T18" fmla="*/ 192 w 206"/>
                <a:gd name="T19" fmla="*/ 72 h 144"/>
                <a:gd name="T20" fmla="*/ 176 w 206"/>
                <a:gd name="T21" fmla="*/ 74 h 144"/>
                <a:gd name="T22" fmla="*/ 168 w 206"/>
                <a:gd name="T23" fmla="*/ 69 h 144"/>
                <a:gd name="T24" fmla="*/ 171 w 206"/>
                <a:gd name="T25" fmla="*/ 56 h 144"/>
                <a:gd name="T26" fmla="*/ 179 w 206"/>
                <a:gd name="T27" fmla="*/ 58 h 144"/>
                <a:gd name="T28" fmla="*/ 187 w 206"/>
                <a:gd name="T29" fmla="*/ 56 h 144"/>
                <a:gd name="T30" fmla="*/ 198 w 206"/>
                <a:gd name="T31" fmla="*/ 42 h 144"/>
                <a:gd name="T32" fmla="*/ 198 w 206"/>
                <a:gd name="T33" fmla="*/ 26 h 144"/>
                <a:gd name="T34" fmla="*/ 192 w 206"/>
                <a:gd name="T35" fmla="*/ 24 h 144"/>
                <a:gd name="T36" fmla="*/ 184 w 206"/>
                <a:gd name="T37" fmla="*/ 21 h 144"/>
                <a:gd name="T38" fmla="*/ 179 w 206"/>
                <a:gd name="T39" fmla="*/ 10 h 144"/>
                <a:gd name="T40" fmla="*/ 171 w 206"/>
                <a:gd name="T41" fmla="*/ 8 h 144"/>
                <a:gd name="T42" fmla="*/ 160 w 206"/>
                <a:gd name="T43" fmla="*/ 8 h 144"/>
                <a:gd name="T44" fmla="*/ 147 w 206"/>
                <a:gd name="T45" fmla="*/ 2 h 144"/>
                <a:gd name="T46" fmla="*/ 144 w 206"/>
                <a:gd name="T47" fmla="*/ 8 h 144"/>
                <a:gd name="T48" fmla="*/ 136 w 206"/>
                <a:gd name="T49" fmla="*/ 5 h 144"/>
                <a:gd name="T50" fmla="*/ 128 w 206"/>
                <a:gd name="T51" fmla="*/ 13 h 144"/>
                <a:gd name="T52" fmla="*/ 123 w 206"/>
                <a:gd name="T53" fmla="*/ 21 h 144"/>
                <a:gd name="T54" fmla="*/ 117 w 206"/>
                <a:gd name="T55" fmla="*/ 29 h 144"/>
                <a:gd name="T56" fmla="*/ 115 w 206"/>
                <a:gd name="T57" fmla="*/ 40 h 144"/>
                <a:gd name="T58" fmla="*/ 107 w 206"/>
                <a:gd name="T59" fmla="*/ 48 h 144"/>
                <a:gd name="T60" fmla="*/ 101 w 206"/>
                <a:gd name="T61" fmla="*/ 42 h 144"/>
                <a:gd name="T62" fmla="*/ 96 w 206"/>
                <a:gd name="T63" fmla="*/ 45 h 144"/>
                <a:gd name="T64" fmla="*/ 88 w 206"/>
                <a:gd name="T65" fmla="*/ 42 h 144"/>
                <a:gd name="T66" fmla="*/ 80 w 206"/>
                <a:gd name="T67" fmla="*/ 56 h 144"/>
                <a:gd name="T68" fmla="*/ 77 w 206"/>
                <a:gd name="T69" fmla="*/ 64 h 144"/>
                <a:gd name="T70" fmla="*/ 83 w 206"/>
                <a:gd name="T71" fmla="*/ 69 h 144"/>
                <a:gd name="T72" fmla="*/ 80 w 206"/>
                <a:gd name="T73" fmla="*/ 80 h 144"/>
                <a:gd name="T74" fmla="*/ 75 w 206"/>
                <a:gd name="T75" fmla="*/ 77 h 144"/>
                <a:gd name="T76" fmla="*/ 67 w 206"/>
                <a:gd name="T77" fmla="*/ 77 h 144"/>
                <a:gd name="T78" fmla="*/ 53 w 206"/>
                <a:gd name="T79" fmla="*/ 77 h 144"/>
                <a:gd name="T80" fmla="*/ 51 w 206"/>
                <a:gd name="T81" fmla="*/ 83 h 144"/>
                <a:gd name="T82" fmla="*/ 43 w 206"/>
                <a:gd name="T83" fmla="*/ 91 h 144"/>
                <a:gd name="T84" fmla="*/ 37 w 206"/>
                <a:gd name="T85" fmla="*/ 96 h 144"/>
                <a:gd name="T86" fmla="*/ 27 w 206"/>
                <a:gd name="T87" fmla="*/ 91 h 144"/>
                <a:gd name="T88" fmla="*/ 24 w 206"/>
                <a:gd name="T89" fmla="*/ 83 h 144"/>
                <a:gd name="T90" fmla="*/ 16 w 206"/>
                <a:gd name="T91" fmla="*/ 80 h 144"/>
                <a:gd name="T92" fmla="*/ 11 w 206"/>
                <a:gd name="T93" fmla="*/ 83 h 144"/>
                <a:gd name="T94" fmla="*/ 8 w 206"/>
                <a:gd name="T95" fmla="*/ 91 h 144"/>
                <a:gd name="T96" fmla="*/ 0 w 206"/>
                <a:gd name="T97" fmla="*/ 107 h 144"/>
                <a:gd name="T98" fmla="*/ 11 w 206"/>
                <a:gd name="T99" fmla="*/ 120 h 144"/>
                <a:gd name="T100" fmla="*/ 27 w 206"/>
                <a:gd name="T101" fmla="*/ 120 h 144"/>
                <a:gd name="T102" fmla="*/ 35 w 206"/>
                <a:gd name="T103" fmla="*/ 133 h 144"/>
                <a:gd name="T104" fmla="*/ 51 w 206"/>
                <a:gd name="T105" fmla="*/ 131 h 144"/>
                <a:gd name="T106" fmla="*/ 59 w 206"/>
                <a:gd name="T107" fmla="*/ 128 h 144"/>
                <a:gd name="T108" fmla="*/ 69 w 206"/>
                <a:gd name="T109" fmla="*/ 141 h 144"/>
                <a:gd name="T110" fmla="*/ 75 w 206"/>
                <a:gd name="T111" fmla="*/ 136 h 144"/>
                <a:gd name="T112" fmla="*/ 85 w 206"/>
                <a:gd name="T113" fmla="*/ 128 h 144"/>
                <a:gd name="T114" fmla="*/ 96 w 206"/>
                <a:gd name="T115" fmla="*/ 131 h 144"/>
                <a:gd name="T116" fmla="*/ 112 w 206"/>
                <a:gd name="T117" fmla="*/ 125 h 144"/>
                <a:gd name="T118" fmla="*/ 128 w 206"/>
                <a:gd name="T119" fmla="*/ 12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6" h="144" extrusionOk="0">
                  <a:moveTo>
                    <a:pt x="131" y="123"/>
                  </a:moveTo>
                  <a:lnTo>
                    <a:pt x="131" y="123"/>
                  </a:lnTo>
                  <a:lnTo>
                    <a:pt x="134" y="123"/>
                  </a:lnTo>
                  <a:lnTo>
                    <a:pt x="134" y="123"/>
                  </a:lnTo>
                  <a:lnTo>
                    <a:pt x="136" y="123"/>
                  </a:lnTo>
                  <a:lnTo>
                    <a:pt x="136" y="123"/>
                  </a:lnTo>
                  <a:lnTo>
                    <a:pt x="136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42" y="117"/>
                  </a:lnTo>
                  <a:lnTo>
                    <a:pt x="142" y="117"/>
                  </a:lnTo>
                  <a:lnTo>
                    <a:pt x="142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7"/>
                  </a:lnTo>
                  <a:lnTo>
                    <a:pt x="150" y="117"/>
                  </a:lnTo>
                  <a:lnTo>
                    <a:pt x="152" y="115"/>
                  </a:lnTo>
                  <a:lnTo>
                    <a:pt x="152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8" y="112"/>
                  </a:lnTo>
                  <a:lnTo>
                    <a:pt x="158" y="112"/>
                  </a:lnTo>
                  <a:lnTo>
                    <a:pt x="160" y="112"/>
                  </a:lnTo>
                  <a:lnTo>
                    <a:pt x="160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6" y="109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4" y="104"/>
                  </a:lnTo>
                  <a:lnTo>
                    <a:pt x="174" y="104"/>
                  </a:lnTo>
                  <a:lnTo>
                    <a:pt x="176" y="104"/>
                  </a:lnTo>
                  <a:lnTo>
                    <a:pt x="176" y="101"/>
                  </a:lnTo>
                  <a:lnTo>
                    <a:pt x="176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7" y="101"/>
                  </a:lnTo>
                  <a:lnTo>
                    <a:pt x="187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2" y="101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6"/>
                  </a:lnTo>
                  <a:lnTo>
                    <a:pt x="198" y="93"/>
                  </a:lnTo>
                  <a:lnTo>
                    <a:pt x="198" y="88"/>
                  </a:lnTo>
                  <a:lnTo>
                    <a:pt x="198" y="88"/>
                  </a:lnTo>
                  <a:lnTo>
                    <a:pt x="200" y="88"/>
                  </a:lnTo>
                  <a:lnTo>
                    <a:pt x="200" y="91"/>
                  </a:lnTo>
                  <a:lnTo>
                    <a:pt x="200" y="91"/>
                  </a:lnTo>
                  <a:lnTo>
                    <a:pt x="200" y="91"/>
                  </a:lnTo>
                  <a:lnTo>
                    <a:pt x="203" y="91"/>
                  </a:lnTo>
                  <a:lnTo>
                    <a:pt x="203" y="91"/>
                  </a:lnTo>
                  <a:lnTo>
                    <a:pt x="206" y="91"/>
                  </a:lnTo>
                  <a:lnTo>
                    <a:pt x="206" y="91"/>
                  </a:lnTo>
                  <a:lnTo>
                    <a:pt x="206" y="91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6" y="88"/>
                  </a:lnTo>
                  <a:lnTo>
                    <a:pt x="203" y="88"/>
                  </a:lnTo>
                  <a:lnTo>
                    <a:pt x="203" y="88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5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7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2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192" y="72"/>
                  </a:lnTo>
                  <a:lnTo>
                    <a:pt x="192" y="72"/>
                  </a:lnTo>
                  <a:lnTo>
                    <a:pt x="190" y="72"/>
                  </a:lnTo>
                  <a:lnTo>
                    <a:pt x="190" y="74"/>
                  </a:lnTo>
                  <a:lnTo>
                    <a:pt x="190" y="74"/>
                  </a:lnTo>
                  <a:lnTo>
                    <a:pt x="187" y="74"/>
                  </a:lnTo>
                  <a:lnTo>
                    <a:pt x="187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2" y="74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4" y="74"/>
                  </a:lnTo>
                  <a:lnTo>
                    <a:pt x="174" y="72"/>
                  </a:lnTo>
                  <a:lnTo>
                    <a:pt x="171" y="72"/>
                  </a:lnTo>
                  <a:lnTo>
                    <a:pt x="171" y="72"/>
                  </a:lnTo>
                  <a:lnTo>
                    <a:pt x="168" y="72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58"/>
                  </a:lnTo>
                  <a:lnTo>
                    <a:pt x="171" y="56"/>
                  </a:lnTo>
                  <a:lnTo>
                    <a:pt x="171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9" y="58"/>
                  </a:lnTo>
                  <a:lnTo>
                    <a:pt x="179" y="58"/>
                  </a:lnTo>
                  <a:lnTo>
                    <a:pt x="179" y="58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2" y="58"/>
                  </a:lnTo>
                  <a:lnTo>
                    <a:pt x="184" y="58"/>
                  </a:lnTo>
                  <a:lnTo>
                    <a:pt x="184" y="58"/>
                  </a:lnTo>
                  <a:lnTo>
                    <a:pt x="184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6"/>
                  </a:lnTo>
                  <a:lnTo>
                    <a:pt x="187" y="53"/>
                  </a:lnTo>
                  <a:lnTo>
                    <a:pt x="190" y="53"/>
                  </a:lnTo>
                  <a:lnTo>
                    <a:pt x="190" y="53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2" y="48"/>
                  </a:lnTo>
                  <a:lnTo>
                    <a:pt x="195" y="48"/>
                  </a:lnTo>
                  <a:lnTo>
                    <a:pt x="195" y="45"/>
                  </a:lnTo>
                  <a:lnTo>
                    <a:pt x="195" y="45"/>
                  </a:lnTo>
                  <a:lnTo>
                    <a:pt x="198" y="42"/>
                  </a:lnTo>
                  <a:lnTo>
                    <a:pt x="198" y="42"/>
                  </a:lnTo>
                  <a:lnTo>
                    <a:pt x="198" y="40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29"/>
                  </a:lnTo>
                  <a:lnTo>
                    <a:pt x="200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2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90" y="24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79" y="13"/>
                  </a:lnTo>
                  <a:lnTo>
                    <a:pt x="179" y="10"/>
                  </a:lnTo>
                  <a:lnTo>
                    <a:pt x="179" y="10"/>
                  </a:lnTo>
                  <a:lnTo>
                    <a:pt x="176" y="10"/>
                  </a:lnTo>
                  <a:lnTo>
                    <a:pt x="176" y="10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6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1" y="8"/>
                  </a:lnTo>
                  <a:lnTo>
                    <a:pt x="171" y="8"/>
                  </a:lnTo>
                  <a:lnTo>
                    <a:pt x="171" y="10"/>
                  </a:lnTo>
                  <a:lnTo>
                    <a:pt x="168" y="10"/>
                  </a:lnTo>
                  <a:lnTo>
                    <a:pt x="168" y="8"/>
                  </a:lnTo>
                  <a:lnTo>
                    <a:pt x="168" y="8"/>
                  </a:lnTo>
                  <a:lnTo>
                    <a:pt x="166" y="8"/>
                  </a:lnTo>
                  <a:lnTo>
                    <a:pt x="166" y="8"/>
                  </a:lnTo>
                  <a:lnTo>
                    <a:pt x="166" y="8"/>
                  </a:lnTo>
                  <a:lnTo>
                    <a:pt x="163" y="8"/>
                  </a:lnTo>
                  <a:lnTo>
                    <a:pt x="163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58" y="8"/>
                  </a:lnTo>
                  <a:lnTo>
                    <a:pt x="158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5"/>
                  </a:lnTo>
                  <a:lnTo>
                    <a:pt x="152" y="5"/>
                  </a:lnTo>
                  <a:lnTo>
                    <a:pt x="152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8"/>
                  </a:lnTo>
                  <a:lnTo>
                    <a:pt x="144" y="8"/>
                  </a:lnTo>
                  <a:lnTo>
                    <a:pt x="144" y="8"/>
                  </a:lnTo>
                  <a:lnTo>
                    <a:pt x="142" y="8"/>
                  </a:lnTo>
                  <a:lnTo>
                    <a:pt x="142" y="8"/>
                  </a:lnTo>
                  <a:lnTo>
                    <a:pt x="142" y="5"/>
                  </a:lnTo>
                  <a:lnTo>
                    <a:pt x="142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8"/>
                  </a:lnTo>
                  <a:lnTo>
                    <a:pt x="134" y="8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6" y="1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0" y="26"/>
                  </a:lnTo>
                  <a:lnTo>
                    <a:pt x="123" y="26"/>
                  </a:lnTo>
                  <a:lnTo>
                    <a:pt x="120" y="26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5" y="45"/>
                  </a:lnTo>
                  <a:lnTo>
                    <a:pt x="112" y="45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48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1" y="40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88" y="42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3" y="45"/>
                  </a:lnTo>
                  <a:lnTo>
                    <a:pt x="83" y="48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5" y="61"/>
                  </a:lnTo>
                  <a:lnTo>
                    <a:pt x="77" y="61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80" y="64"/>
                  </a:lnTo>
                  <a:lnTo>
                    <a:pt x="80" y="64"/>
                  </a:lnTo>
                  <a:lnTo>
                    <a:pt x="80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7"/>
                  </a:lnTo>
                  <a:lnTo>
                    <a:pt x="83" y="77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69" y="77"/>
                  </a:lnTo>
                  <a:lnTo>
                    <a:pt x="69" y="80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4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4"/>
                  </a:lnTo>
                  <a:lnTo>
                    <a:pt x="56" y="77"/>
                  </a:lnTo>
                  <a:lnTo>
                    <a:pt x="56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1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4" y="83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19" y="80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5" y="93"/>
                  </a:lnTo>
                  <a:lnTo>
                    <a:pt x="3" y="99"/>
                  </a:lnTo>
                  <a:lnTo>
                    <a:pt x="3" y="101"/>
                  </a:lnTo>
                  <a:lnTo>
                    <a:pt x="3" y="104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0" y="112"/>
                  </a:lnTo>
                  <a:lnTo>
                    <a:pt x="3" y="115"/>
                  </a:lnTo>
                  <a:lnTo>
                    <a:pt x="3" y="120"/>
                  </a:lnTo>
                  <a:lnTo>
                    <a:pt x="5" y="117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9" y="117"/>
                  </a:lnTo>
                  <a:lnTo>
                    <a:pt x="19" y="117"/>
                  </a:lnTo>
                  <a:lnTo>
                    <a:pt x="21" y="117"/>
                  </a:lnTo>
                  <a:lnTo>
                    <a:pt x="24" y="117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3"/>
                  </a:lnTo>
                  <a:lnTo>
                    <a:pt x="24" y="125"/>
                  </a:lnTo>
                  <a:lnTo>
                    <a:pt x="24" y="128"/>
                  </a:lnTo>
                  <a:lnTo>
                    <a:pt x="27" y="128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37" y="131"/>
                  </a:lnTo>
                  <a:lnTo>
                    <a:pt x="40" y="131"/>
                  </a:lnTo>
                  <a:lnTo>
                    <a:pt x="40" y="128"/>
                  </a:lnTo>
                  <a:lnTo>
                    <a:pt x="43" y="131"/>
                  </a:lnTo>
                  <a:lnTo>
                    <a:pt x="43" y="131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28"/>
                  </a:lnTo>
                  <a:lnTo>
                    <a:pt x="51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5"/>
                  </a:lnTo>
                  <a:lnTo>
                    <a:pt x="51" y="125"/>
                  </a:lnTo>
                  <a:lnTo>
                    <a:pt x="51" y="128"/>
                  </a:lnTo>
                  <a:lnTo>
                    <a:pt x="53" y="125"/>
                  </a:lnTo>
                  <a:lnTo>
                    <a:pt x="56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64" y="125"/>
                  </a:lnTo>
                  <a:lnTo>
                    <a:pt x="61" y="128"/>
                  </a:lnTo>
                  <a:lnTo>
                    <a:pt x="61" y="131"/>
                  </a:lnTo>
                  <a:lnTo>
                    <a:pt x="64" y="133"/>
                  </a:lnTo>
                  <a:lnTo>
                    <a:pt x="67" y="133"/>
                  </a:lnTo>
                  <a:lnTo>
                    <a:pt x="67" y="136"/>
                  </a:lnTo>
                  <a:lnTo>
                    <a:pt x="69" y="136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41"/>
                  </a:lnTo>
                  <a:lnTo>
                    <a:pt x="67" y="141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5" y="141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0" y="128"/>
                  </a:lnTo>
                  <a:lnTo>
                    <a:pt x="80" y="128"/>
                  </a:lnTo>
                  <a:lnTo>
                    <a:pt x="83" y="128"/>
                  </a:lnTo>
                  <a:lnTo>
                    <a:pt x="85" y="128"/>
                  </a:lnTo>
                  <a:lnTo>
                    <a:pt x="85" y="125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3" y="128"/>
                  </a:lnTo>
                  <a:lnTo>
                    <a:pt x="93" y="128"/>
                  </a:lnTo>
                  <a:lnTo>
                    <a:pt x="96" y="128"/>
                  </a:lnTo>
                  <a:lnTo>
                    <a:pt x="96" y="131"/>
                  </a:lnTo>
                  <a:lnTo>
                    <a:pt x="99" y="131"/>
                  </a:lnTo>
                  <a:lnTo>
                    <a:pt x="99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4" y="133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9" y="128"/>
                  </a:lnTo>
                  <a:lnTo>
                    <a:pt x="112" y="128"/>
                  </a:lnTo>
                  <a:lnTo>
                    <a:pt x="112" y="125"/>
                  </a:lnTo>
                  <a:lnTo>
                    <a:pt x="112" y="125"/>
                  </a:lnTo>
                  <a:lnTo>
                    <a:pt x="115" y="125"/>
                  </a:lnTo>
                  <a:lnTo>
                    <a:pt x="117" y="123"/>
                  </a:lnTo>
                  <a:lnTo>
                    <a:pt x="117" y="123"/>
                  </a:lnTo>
                  <a:lnTo>
                    <a:pt x="120" y="123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26" y="123"/>
                  </a:lnTo>
                  <a:lnTo>
                    <a:pt x="128" y="123"/>
                  </a:lnTo>
                  <a:lnTo>
                    <a:pt x="128" y="123"/>
                  </a:lnTo>
                  <a:lnTo>
                    <a:pt x="131" y="123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1" name="Freeform 8876">
              <a:extLst>
                <a:ext uri="{FF2B5EF4-FFF2-40B4-BE49-F238E27FC236}">
                  <a16:creationId xmlns:a16="http://schemas.microsoft.com/office/drawing/2014/main" id="{99F13ACE-C816-A640-B808-F507E8018EFD}"/>
                </a:ext>
              </a:extLst>
            </p:cNvPr>
            <p:cNvSpPr/>
            <p:nvPr/>
          </p:nvSpPr>
          <p:spPr bwMode="auto">
            <a:xfrm>
              <a:off x="6711153" y="4787900"/>
              <a:ext cx="1573212" cy="1250950"/>
            </a:xfrm>
            <a:custGeom>
              <a:avLst/>
              <a:gdLst>
                <a:gd name="T0" fmla="*/ 75 w 991"/>
                <a:gd name="T1" fmla="*/ 502 h 788"/>
                <a:gd name="T2" fmla="*/ 99 w 991"/>
                <a:gd name="T3" fmla="*/ 513 h 788"/>
                <a:gd name="T4" fmla="*/ 123 w 991"/>
                <a:gd name="T5" fmla="*/ 542 h 788"/>
                <a:gd name="T6" fmla="*/ 165 w 991"/>
                <a:gd name="T7" fmla="*/ 569 h 788"/>
                <a:gd name="T8" fmla="*/ 219 w 991"/>
                <a:gd name="T9" fmla="*/ 595 h 788"/>
                <a:gd name="T10" fmla="*/ 264 w 991"/>
                <a:gd name="T11" fmla="*/ 630 h 788"/>
                <a:gd name="T12" fmla="*/ 280 w 991"/>
                <a:gd name="T13" fmla="*/ 665 h 788"/>
                <a:gd name="T14" fmla="*/ 326 w 991"/>
                <a:gd name="T15" fmla="*/ 684 h 788"/>
                <a:gd name="T16" fmla="*/ 358 w 991"/>
                <a:gd name="T17" fmla="*/ 662 h 788"/>
                <a:gd name="T18" fmla="*/ 537 w 991"/>
                <a:gd name="T19" fmla="*/ 264 h 788"/>
                <a:gd name="T20" fmla="*/ 555 w 991"/>
                <a:gd name="T21" fmla="*/ 192 h 788"/>
                <a:gd name="T22" fmla="*/ 515 w 991"/>
                <a:gd name="T23" fmla="*/ 141 h 788"/>
                <a:gd name="T24" fmla="*/ 603 w 991"/>
                <a:gd name="T25" fmla="*/ 90 h 788"/>
                <a:gd name="T26" fmla="*/ 673 w 991"/>
                <a:gd name="T27" fmla="*/ 74 h 788"/>
                <a:gd name="T28" fmla="*/ 732 w 991"/>
                <a:gd name="T29" fmla="*/ 85 h 788"/>
                <a:gd name="T30" fmla="*/ 798 w 991"/>
                <a:gd name="T31" fmla="*/ 85 h 788"/>
                <a:gd name="T32" fmla="*/ 849 w 991"/>
                <a:gd name="T33" fmla="*/ 21 h 788"/>
                <a:gd name="T34" fmla="*/ 894 w 991"/>
                <a:gd name="T35" fmla="*/ 13 h 788"/>
                <a:gd name="T36" fmla="*/ 884 w 991"/>
                <a:gd name="T37" fmla="*/ 66 h 788"/>
                <a:gd name="T38" fmla="*/ 902 w 991"/>
                <a:gd name="T39" fmla="*/ 101 h 788"/>
                <a:gd name="T40" fmla="*/ 913 w 991"/>
                <a:gd name="T41" fmla="*/ 144 h 788"/>
                <a:gd name="T42" fmla="*/ 940 w 991"/>
                <a:gd name="T43" fmla="*/ 176 h 788"/>
                <a:gd name="T44" fmla="*/ 969 w 991"/>
                <a:gd name="T45" fmla="*/ 189 h 788"/>
                <a:gd name="T46" fmla="*/ 985 w 991"/>
                <a:gd name="T47" fmla="*/ 203 h 788"/>
                <a:gd name="T48" fmla="*/ 988 w 991"/>
                <a:gd name="T49" fmla="*/ 229 h 788"/>
                <a:gd name="T50" fmla="*/ 977 w 991"/>
                <a:gd name="T51" fmla="*/ 248 h 788"/>
                <a:gd name="T52" fmla="*/ 956 w 991"/>
                <a:gd name="T53" fmla="*/ 253 h 788"/>
                <a:gd name="T54" fmla="*/ 924 w 991"/>
                <a:gd name="T55" fmla="*/ 275 h 788"/>
                <a:gd name="T56" fmla="*/ 908 w 991"/>
                <a:gd name="T57" fmla="*/ 304 h 788"/>
                <a:gd name="T58" fmla="*/ 889 w 991"/>
                <a:gd name="T59" fmla="*/ 328 h 788"/>
                <a:gd name="T60" fmla="*/ 870 w 991"/>
                <a:gd name="T61" fmla="*/ 350 h 788"/>
                <a:gd name="T62" fmla="*/ 849 w 991"/>
                <a:gd name="T63" fmla="*/ 366 h 788"/>
                <a:gd name="T64" fmla="*/ 868 w 991"/>
                <a:gd name="T65" fmla="*/ 400 h 788"/>
                <a:gd name="T66" fmla="*/ 886 w 991"/>
                <a:gd name="T67" fmla="*/ 427 h 788"/>
                <a:gd name="T68" fmla="*/ 860 w 991"/>
                <a:gd name="T69" fmla="*/ 481 h 788"/>
                <a:gd name="T70" fmla="*/ 801 w 991"/>
                <a:gd name="T71" fmla="*/ 507 h 788"/>
                <a:gd name="T72" fmla="*/ 772 w 991"/>
                <a:gd name="T73" fmla="*/ 526 h 788"/>
                <a:gd name="T74" fmla="*/ 737 w 991"/>
                <a:gd name="T75" fmla="*/ 563 h 788"/>
                <a:gd name="T76" fmla="*/ 713 w 991"/>
                <a:gd name="T77" fmla="*/ 601 h 788"/>
                <a:gd name="T78" fmla="*/ 665 w 991"/>
                <a:gd name="T79" fmla="*/ 603 h 788"/>
                <a:gd name="T80" fmla="*/ 633 w 991"/>
                <a:gd name="T81" fmla="*/ 625 h 788"/>
                <a:gd name="T82" fmla="*/ 598 w 991"/>
                <a:gd name="T83" fmla="*/ 628 h 788"/>
                <a:gd name="T84" fmla="*/ 593 w 991"/>
                <a:gd name="T85" fmla="*/ 654 h 788"/>
                <a:gd name="T86" fmla="*/ 593 w 991"/>
                <a:gd name="T87" fmla="*/ 708 h 788"/>
                <a:gd name="T88" fmla="*/ 590 w 991"/>
                <a:gd name="T89" fmla="*/ 726 h 788"/>
                <a:gd name="T90" fmla="*/ 550 w 991"/>
                <a:gd name="T91" fmla="*/ 775 h 788"/>
                <a:gd name="T92" fmla="*/ 513 w 991"/>
                <a:gd name="T93" fmla="*/ 761 h 788"/>
                <a:gd name="T94" fmla="*/ 470 w 991"/>
                <a:gd name="T95" fmla="*/ 753 h 788"/>
                <a:gd name="T96" fmla="*/ 414 w 991"/>
                <a:gd name="T97" fmla="*/ 745 h 788"/>
                <a:gd name="T98" fmla="*/ 366 w 991"/>
                <a:gd name="T99" fmla="*/ 764 h 788"/>
                <a:gd name="T100" fmla="*/ 320 w 991"/>
                <a:gd name="T101" fmla="*/ 783 h 788"/>
                <a:gd name="T102" fmla="*/ 283 w 991"/>
                <a:gd name="T103" fmla="*/ 772 h 788"/>
                <a:gd name="T104" fmla="*/ 238 w 991"/>
                <a:gd name="T105" fmla="*/ 758 h 788"/>
                <a:gd name="T106" fmla="*/ 219 w 991"/>
                <a:gd name="T107" fmla="*/ 710 h 788"/>
                <a:gd name="T108" fmla="*/ 195 w 991"/>
                <a:gd name="T109" fmla="*/ 676 h 788"/>
                <a:gd name="T110" fmla="*/ 144 w 991"/>
                <a:gd name="T111" fmla="*/ 665 h 788"/>
                <a:gd name="T112" fmla="*/ 120 w 991"/>
                <a:gd name="T113" fmla="*/ 652 h 788"/>
                <a:gd name="T114" fmla="*/ 88 w 991"/>
                <a:gd name="T115" fmla="*/ 652 h 788"/>
                <a:gd name="T116" fmla="*/ 40 w 991"/>
                <a:gd name="T117" fmla="*/ 630 h 788"/>
                <a:gd name="T118" fmla="*/ 3 w 991"/>
                <a:gd name="T119" fmla="*/ 606 h 788"/>
                <a:gd name="T120" fmla="*/ 16 w 991"/>
                <a:gd name="T121" fmla="*/ 563 h 788"/>
                <a:gd name="T122" fmla="*/ 27 w 991"/>
                <a:gd name="T123" fmla="*/ 547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91" h="788" extrusionOk="0">
                  <a:moveTo>
                    <a:pt x="35" y="539"/>
                  </a:moveTo>
                  <a:lnTo>
                    <a:pt x="35" y="537"/>
                  </a:lnTo>
                  <a:lnTo>
                    <a:pt x="37" y="534"/>
                  </a:lnTo>
                  <a:lnTo>
                    <a:pt x="37" y="534"/>
                  </a:lnTo>
                  <a:lnTo>
                    <a:pt x="40" y="531"/>
                  </a:lnTo>
                  <a:lnTo>
                    <a:pt x="40" y="531"/>
                  </a:lnTo>
                  <a:lnTo>
                    <a:pt x="43" y="531"/>
                  </a:lnTo>
                  <a:lnTo>
                    <a:pt x="43" y="526"/>
                  </a:lnTo>
                  <a:lnTo>
                    <a:pt x="40" y="526"/>
                  </a:lnTo>
                  <a:lnTo>
                    <a:pt x="40" y="523"/>
                  </a:lnTo>
                  <a:lnTo>
                    <a:pt x="45" y="521"/>
                  </a:lnTo>
                  <a:lnTo>
                    <a:pt x="48" y="521"/>
                  </a:lnTo>
                  <a:lnTo>
                    <a:pt x="51" y="521"/>
                  </a:lnTo>
                  <a:lnTo>
                    <a:pt x="53" y="521"/>
                  </a:lnTo>
                  <a:lnTo>
                    <a:pt x="53" y="521"/>
                  </a:lnTo>
                  <a:lnTo>
                    <a:pt x="56" y="518"/>
                  </a:lnTo>
                  <a:lnTo>
                    <a:pt x="59" y="518"/>
                  </a:lnTo>
                  <a:lnTo>
                    <a:pt x="61" y="518"/>
                  </a:lnTo>
                  <a:lnTo>
                    <a:pt x="61" y="515"/>
                  </a:lnTo>
                  <a:lnTo>
                    <a:pt x="69" y="513"/>
                  </a:lnTo>
                  <a:lnTo>
                    <a:pt x="69" y="510"/>
                  </a:lnTo>
                  <a:lnTo>
                    <a:pt x="67" y="507"/>
                  </a:lnTo>
                  <a:lnTo>
                    <a:pt x="67" y="507"/>
                  </a:lnTo>
                  <a:lnTo>
                    <a:pt x="67" y="505"/>
                  </a:lnTo>
                  <a:lnTo>
                    <a:pt x="67" y="505"/>
                  </a:lnTo>
                  <a:lnTo>
                    <a:pt x="69" y="502"/>
                  </a:lnTo>
                  <a:lnTo>
                    <a:pt x="69" y="502"/>
                  </a:lnTo>
                  <a:lnTo>
                    <a:pt x="72" y="502"/>
                  </a:lnTo>
                  <a:lnTo>
                    <a:pt x="72" y="502"/>
                  </a:lnTo>
                  <a:lnTo>
                    <a:pt x="75" y="502"/>
                  </a:lnTo>
                  <a:lnTo>
                    <a:pt x="75" y="502"/>
                  </a:lnTo>
                  <a:lnTo>
                    <a:pt x="77" y="505"/>
                  </a:lnTo>
                  <a:lnTo>
                    <a:pt x="77" y="505"/>
                  </a:lnTo>
                  <a:lnTo>
                    <a:pt x="77" y="505"/>
                  </a:lnTo>
                  <a:lnTo>
                    <a:pt x="80" y="505"/>
                  </a:lnTo>
                  <a:lnTo>
                    <a:pt x="80" y="502"/>
                  </a:lnTo>
                  <a:lnTo>
                    <a:pt x="80" y="502"/>
                  </a:lnTo>
                  <a:lnTo>
                    <a:pt x="83" y="499"/>
                  </a:lnTo>
                  <a:lnTo>
                    <a:pt x="83" y="497"/>
                  </a:lnTo>
                  <a:lnTo>
                    <a:pt x="83" y="497"/>
                  </a:lnTo>
                  <a:lnTo>
                    <a:pt x="85" y="497"/>
                  </a:lnTo>
                  <a:lnTo>
                    <a:pt x="85" y="494"/>
                  </a:lnTo>
                  <a:lnTo>
                    <a:pt x="88" y="494"/>
                  </a:lnTo>
                  <a:lnTo>
                    <a:pt x="88" y="494"/>
                  </a:lnTo>
                  <a:lnTo>
                    <a:pt x="91" y="494"/>
                  </a:lnTo>
                  <a:lnTo>
                    <a:pt x="91" y="497"/>
                  </a:lnTo>
                  <a:lnTo>
                    <a:pt x="91" y="497"/>
                  </a:lnTo>
                  <a:lnTo>
                    <a:pt x="91" y="499"/>
                  </a:lnTo>
                  <a:lnTo>
                    <a:pt x="91" y="499"/>
                  </a:lnTo>
                  <a:lnTo>
                    <a:pt x="93" y="499"/>
                  </a:lnTo>
                  <a:lnTo>
                    <a:pt x="93" y="502"/>
                  </a:lnTo>
                  <a:lnTo>
                    <a:pt x="93" y="502"/>
                  </a:lnTo>
                  <a:lnTo>
                    <a:pt x="93" y="505"/>
                  </a:lnTo>
                  <a:lnTo>
                    <a:pt x="96" y="505"/>
                  </a:lnTo>
                  <a:lnTo>
                    <a:pt x="99" y="507"/>
                  </a:lnTo>
                  <a:lnTo>
                    <a:pt x="99" y="507"/>
                  </a:lnTo>
                  <a:lnTo>
                    <a:pt x="99" y="510"/>
                  </a:lnTo>
                  <a:lnTo>
                    <a:pt x="99" y="510"/>
                  </a:lnTo>
                  <a:lnTo>
                    <a:pt x="99" y="510"/>
                  </a:lnTo>
                  <a:lnTo>
                    <a:pt x="99" y="513"/>
                  </a:lnTo>
                  <a:lnTo>
                    <a:pt x="99" y="513"/>
                  </a:lnTo>
                  <a:lnTo>
                    <a:pt x="99" y="515"/>
                  </a:lnTo>
                  <a:lnTo>
                    <a:pt x="96" y="515"/>
                  </a:lnTo>
                  <a:lnTo>
                    <a:pt x="96" y="515"/>
                  </a:lnTo>
                  <a:lnTo>
                    <a:pt x="96" y="515"/>
                  </a:lnTo>
                  <a:lnTo>
                    <a:pt x="96" y="518"/>
                  </a:lnTo>
                  <a:lnTo>
                    <a:pt x="96" y="518"/>
                  </a:lnTo>
                  <a:lnTo>
                    <a:pt x="99" y="521"/>
                  </a:lnTo>
                  <a:lnTo>
                    <a:pt x="99" y="521"/>
                  </a:lnTo>
                  <a:lnTo>
                    <a:pt x="99" y="523"/>
                  </a:lnTo>
                  <a:lnTo>
                    <a:pt x="101" y="523"/>
                  </a:lnTo>
                  <a:lnTo>
                    <a:pt x="101" y="523"/>
                  </a:lnTo>
                  <a:lnTo>
                    <a:pt x="104" y="526"/>
                  </a:lnTo>
                  <a:lnTo>
                    <a:pt x="104" y="529"/>
                  </a:lnTo>
                  <a:lnTo>
                    <a:pt x="107" y="529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1"/>
                  </a:lnTo>
                  <a:lnTo>
                    <a:pt x="109" y="534"/>
                  </a:lnTo>
                  <a:lnTo>
                    <a:pt x="112" y="537"/>
                  </a:lnTo>
                  <a:lnTo>
                    <a:pt x="112" y="537"/>
                  </a:lnTo>
                  <a:lnTo>
                    <a:pt x="115" y="537"/>
                  </a:lnTo>
                  <a:lnTo>
                    <a:pt x="117" y="539"/>
                  </a:lnTo>
                  <a:lnTo>
                    <a:pt x="117" y="539"/>
                  </a:lnTo>
                  <a:lnTo>
                    <a:pt x="120" y="539"/>
                  </a:lnTo>
                  <a:lnTo>
                    <a:pt x="120" y="539"/>
                  </a:lnTo>
                  <a:lnTo>
                    <a:pt x="123" y="542"/>
                  </a:lnTo>
                  <a:lnTo>
                    <a:pt x="125" y="545"/>
                  </a:lnTo>
                  <a:lnTo>
                    <a:pt x="125" y="545"/>
                  </a:lnTo>
                  <a:lnTo>
                    <a:pt x="125" y="547"/>
                  </a:lnTo>
                  <a:lnTo>
                    <a:pt x="128" y="550"/>
                  </a:lnTo>
                  <a:lnTo>
                    <a:pt x="131" y="550"/>
                  </a:lnTo>
                  <a:lnTo>
                    <a:pt x="131" y="550"/>
                  </a:lnTo>
                  <a:lnTo>
                    <a:pt x="133" y="550"/>
                  </a:lnTo>
                  <a:lnTo>
                    <a:pt x="133" y="550"/>
                  </a:lnTo>
                  <a:lnTo>
                    <a:pt x="136" y="550"/>
                  </a:lnTo>
                  <a:lnTo>
                    <a:pt x="136" y="550"/>
                  </a:lnTo>
                  <a:lnTo>
                    <a:pt x="136" y="550"/>
                  </a:lnTo>
                  <a:lnTo>
                    <a:pt x="141" y="553"/>
                  </a:lnTo>
                  <a:lnTo>
                    <a:pt x="141" y="555"/>
                  </a:lnTo>
                  <a:lnTo>
                    <a:pt x="141" y="555"/>
                  </a:lnTo>
                  <a:lnTo>
                    <a:pt x="144" y="555"/>
                  </a:lnTo>
                  <a:lnTo>
                    <a:pt x="147" y="555"/>
                  </a:lnTo>
                  <a:lnTo>
                    <a:pt x="149" y="555"/>
                  </a:lnTo>
                  <a:lnTo>
                    <a:pt x="149" y="558"/>
                  </a:lnTo>
                  <a:lnTo>
                    <a:pt x="149" y="558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2" y="561"/>
                  </a:lnTo>
                  <a:lnTo>
                    <a:pt x="155" y="563"/>
                  </a:lnTo>
                  <a:lnTo>
                    <a:pt x="157" y="563"/>
                  </a:lnTo>
                  <a:lnTo>
                    <a:pt x="157" y="563"/>
                  </a:lnTo>
                  <a:lnTo>
                    <a:pt x="160" y="563"/>
                  </a:lnTo>
                  <a:lnTo>
                    <a:pt x="163" y="566"/>
                  </a:lnTo>
                  <a:lnTo>
                    <a:pt x="163" y="569"/>
                  </a:lnTo>
                  <a:lnTo>
                    <a:pt x="165" y="569"/>
                  </a:lnTo>
                  <a:lnTo>
                    <a:pt x="165" y="569"/>
                  </a:lnTo>
                  <a:lnTo>
                    <a:pt x="168" y="571"/>
                  </a:lnTo>
                  <a:lnTo>
                    <a:pt x="168" y="571"/>
                  </a:lnTo>
                  <a:lnTo>
                    <a:pt x="168" y="571"/>
                  </a:lnTo>
                  <a:lnTo>
                    <a:pt x="173" y="577"/>
                  </a:lnTo>
                  <a:lnTo>
                    <a:pt x="176" y="577"/>
                  </a:lnTo>
                  <a:lnTo>
                    <a:pt x="176" y="582"/>
                  </a:lnTo>
                  <a:lnTo>
                    <a:pt x="176" y="582"/>
                  </a:lnTo>
                  <a:lnTo>
                    <a:pt x="176" y="582"/>
                  </a:lnTo>
                  <a:lnTo>
                    <a:pt x="179" y="582"/>
                  </a:lnTo>
                  <a:lnTo>
                    <a:pt x="189" y="590"/>
                  </a:lnTo>
                  <a:lnTo>
                    <a:pt x="192" y="590"/>
                  </a:lnTo>
                  <a:lnTo>
                    <a:pt x="192" y="593"/>
                  </a:lnTo>
                  <a:lnTo>
                    <a:pt x="192" y="593"/>
                  </a:lnTo>
                  <a:lnTo>
                    <a:pt x="192" y="593"/>
                  </a:lnTo>
                  <a:lnTo>
                    <a:pt x="192" y="595"/>
                  </a:lnTo>
                  <a:lnTo>
                    <a:pt x="192" y="598"/>
                  </a:lnTo>
                  <a:lnTo>
                    <a:pt x="195" y="598"/>
                  </a:lnTo>
                  <a:lnTo>
                    <a:pt x="203" y="598"/>
                  </a:lnTo>
                  <a:lnTo>
                    <a:pt x="200" y="595"/>
                  </a:lnTo>
                  <a:lnTo>
                    <a:pt x="203" y="595"/>
                  </a:lnTo>
                  <a:lnTo>
                    <a:pt x="203" y="595"/>
                  </a:lnTo>
                  <a:lnTo>
                    <a:pt x="203" y="593"/>
                  </a:lnTo>
                  <a:lnTo>
                    <a:pt x="208" y="593"/>
                  </a:lnTo>
                  <a:lnTo>
                    <a:pt x="208" y="595"/>
                  </a:lnTo>
                  <a:lnTo>
                    <a:pt x="211" y="593"/>
                  </a:lnTo>
                  <a:lnTo>
                    <a:pt x="213" y="595"/>
                  </a:lnTo>
                  <a:lnTo>
                    <a:pt x="216" y="595"/>
                  </a:lnTo>
                  <a:lnTo>
                    <a:pt x="216" y="595"/>
                  </a:lnTo>
                  <a:lnTo>
                    <a:pt x="219" y="595"/>
                  </a:lnTo>
                  <a:lnTo>
                    <a:pt x="219" y="595"/>
                  </a:lnTo>
                  <a:lnTo>
                    <a:pt x="219" y="593"/>
                  </a:lnTo>
                  <a:lnTo>
                    <a:pt x="222" y="593"/>
                  </a:lnTo>
                  <a:lnTo>
                    <a:pt x="224" y="595"/>
                  </a:lnTo>
                  <a:lnTo>
                    <a:pt x="224" y="595"/>
                  </a:lnTo>
                  <a:lnTo>
                    <a:pt x="224" y="595"/>
                  </a:lnTo>
                  <a:lnTo>
                    <a:pt x="227" y="595"/>
                  </a:lnTo>
                  <a:lnTo>
                    <a:pt x="227" y="595"/>
                  </a:lnTo>
                  <a:lnTo>
                    <a:pt x="230" y="595"/>
                  </a:lnTo>
                  <a:lnTo>
                    <a:pt x="230" y="595"/>
                  </a:lnTo>
                  <a:lnTo>
                    <a:pt x="230" y="598"/>
                  </a:lnTo>
                  <a:lnTo>
                    <a:pt x="230" y="603"/>
                  </a:lnTo>
                  <a:lnTo>
                    <a:pt x="232" y="606"/>
                  </a:lnTo>
                  <a:lnTo>
                    <a:pt x="235" y="606"/>
                  </a:lnTo>
                  <a:lnTo>
                    <a:pt x="235" y="606"/>
                  </a:lnTo>
                  <a:lnTo>
                    <a:pt x="235" y="609"/>
                  </a:lnTo>
                  <a:lnTo>
                    <a:pt x="238" y="609"/>
                  </a:lnTo>
                  <a:lnTo>
                    <a:pt x="238" y="612"/>
                  </a:lnTo>
                  <a:lnTo>
                    <a:pt x="240" y="612"/>
                  </a:lnTo>
                  <a:lnTo>
                    <a:pt x="243" y="617"/>
                  </a:lnTo>
                  <a:lnTo>
                    <a:pt x="246" y="617"/>
                  </a:lnTo>
                  <a:lnTo>
                    <a:pt x="248" y="620"/>
                  </a:lnTo>
                  <a:lnTo>
                    <a:pt x="248" y="620"/>
                  </a:lnTo>
                  <a:lnTo>
                    <a:pt x="251" y="622"/>
                  </a:lnTo>
                  <a:lnTo>
                    <a:pt x="256" y="625"/>
                  </a:lnTo>
                  <a:lnTo>
                    <a:pt x="256" y="625"/>
                  </a:lnTo>
                  <a:lnTo>
                    <a:pt x="259" y="625"/>
                  </a:lnTo>
                  <a:lnTo>
                    <a:pt x="262" y="625"/>
                  </a:lnTo>
                  <a:lnTo>
                    <a:pt x="262" y="628"/>
                  </a:lnTo>
                  <a:lnTo>
                    <a:pt x="264" y="630"/>
                  </a:lnTo>
                  <a:lnTo>
                    <a:pt x="264" y="630"/>
                  </a:lnTo>
                  <a:lnTo>
                    <a:pt x="267" y="630"/>
                  </a:lnTo>
                  <a:lnTo>
                    <a:pt x="267" y="630"/>
                  </a:lnTo>
                  <a:lnTo>
                    <a:pt x="270" y="630"/>
                  </a:lnTo>
                  <a:lnTo>
                    <a:pt x="270" y="633"/>
                  </a:lnTo>
                  <a:lnTo>
                    <a:pt x="270" y="633"/>
                  </a:lnTo>
                  <a:lnTo>
                    <a:pt x="270" y="636"/>
                  </a:lnTo>
                  <a:lnTo>
                    <a:pt x="270" y="641"/>
                  </a:lnTo>
                  <a:lnTo>
                    <a:pt x="270" y="641"/>
                  </a:lnTo>
                  <a:lnTo>
                    <a:pt x="272" y="644"/>
                  </a:lnTo>
                  <a:lnTo>
                    <a:pt x="272" y="644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9"/>
                  </a:lnTo>
                  <a:lnTo>
                    <a:pt x="272" y="649"/>
                  </a:lnTo>
                  <a:lnTo>
                    <a:pt x="272" y="652"/>
                  </a:lnTo>
                  <a:lnTo>
                    <a:pt x="272" y="652"/>
                  </a:lnTo>
                  <a:lnTo>
                    <a:pt x="272" y="652"/>
                  </a:lnTo>
                  <a:lnTo>
                    <a:pt x="275" y="654"/>
                  </a:lnTo>
                  <a:lnTo>
                    <a:pt x="275" y="654"/>
                  </a:lnTo>
                  <a:lnTo>
                    <a:pt x="275" y="654"/>
                  </a:lnTo>
                  <a:lnTo>
                    <a:pt x="275" y="657"/>
                  </a:lnTo>
                  <a:lnTo>
                    <a:pt x="275" y="660"/>
                  </a:lnTo>
                  <a:lnTo>
                    <a:pt x="278" y="662"/>
                  </a:lnTo>
                  <a:lnTo>
                    <a:pt x="278" y="662"/>
                  </a:lnTo>
                  <a:lnTo>
                    <a:pt x="278" y="662"/>
                  </a:lnTo>
                  <a:lnTo>
                    <a:pt x="280" y="662"/>
                  </a:lnTo>
                  <a:lnTo>
                    <a:pt x="280" y="665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3" y="665"/>
                  </a:lnTo>
                  <a:lnTo>
                    <a:pt x="286" y="665"/>
                  </a:lnTo>
                  <a:lnTo>
                    <a:pt x="286" y="665"/>
                  </a:lnTo>
                  <a:lnTo>
                    <a:pt x="286" y="665"/>
                  </a:lnTo>
                  <a:lnTo>
                    <a:pt x="288" y="665"/>
                  </a:lnTo>
                  <a:lnTo>
                    <a:pt x="288" y="665"/>
                  </a:lnTo>
                  <a:lnTo>
                    <a:pt x="291" y="662"/>
                  </a:lnTo>
                  <a:lnTo>
                    <a:pt x="291" y="662"/>
                  </a:lnTo>
                  <a:lnTo>
                    <a:pt x="291" y="662"/>
                  </a:lnTo>
                  <a:lnTo>
                    <a:pt x="294" y="662"/>
                  </a:lnTo>
                  <a:lnTo>
                    <a:pt x="294" y="662"/>
                  </a:lnTo>
                  <a:lnTo>
                    <a:pt x="294" y="660"/>
                  </a:lnTo>
                  <a:lnTo>
                    <a:pt x="296" y="660"/>
                  </a:lnTo>
                  <a:lnTo>
                    <a:pt x="304" y="662"/>
                  </a:lnTo>
                  <a:lnTo>
                    <a:pt x="310" y="665"/>
                  </a:lnTo>
                  <a:lnTo>
                    <a:pt x="310" y="665"/>
                  </a:lnTo>
                  <a:lnTo>
                    <a:pt x="312" y="692"/>
                  </a:lnTo>
                  <a:lnTo>
                    <a:pt x="312" y="692"/>
                  </a:lnTo>
                  <a:lnTo>
                    <a:pt x="315" y="692"/>
                  </a:lnTo>
                  <a:lnTo>
                    <a:pt x="318" y="692"/>
                  </a:lnTo>
                  <a:lnTo>
                    <a:pt x="320" y="689"/>
                  </a:lnTo>
                  <a:lnTo>
                    <a:pt x="320" y="689"/>
                  </a:lnTo>
                  <a:lnTo>
                    <a:pt x="320" y="686"/>
                  </a:lnTo>
                  <a:lnTo>
                    <a:pt x="323" y="686"/>
                  </a:lnTo>
                  <a:lnTo>
                    <a:pt x="323" y="684"/>
                  </a:lnTo>
                  <a:lnTo>
                    <a:pt x="323" y="684"/>
                  </a:lnTo>
                  <a:lnTo>
                    <a:pt x="326" y="684"/>
                  </a:lnTo>
                  <a:lnTo>
                    <a:pt x="326" y="684"/>
                  </a:lnTo>
                  <a:lnTo>
                    <a:pt x="328" y="684"/>
                  </a:lnTo>
                  <a:lnTo>
                    <a:pt x="328" y="684"/>
                  </a:lnTo>
                  <a:lnTo>
                    <a:pt x="331" y="681"/>
                  </a:lnTo>
                  <a:lnTo>
                    <a:pt x="331" y="681"/>
                  </a:lnTo>
                  <a:lnTo>
                    <a:pt x="331" y="678"/>
                  </a:lnTo>
                  <a:lnTo>
                    <a:pt x="331" y="678"/>
                  </a:lnTo>
                  <a:lnTo>
                    <a:pt x="334" y="678"/>
                  </a:lnTo>
                  <a:lnTo>
                    <a:pt x="336" y="676"/>
                  </a:lnTo>
                  <a:lnTo>
                    <a:pt x="339" y="676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4" y="676"/>
                  </a:lnTo>
                  <a:lnTo>
                    <a:pt x="344" y="676"/>
                  </a:lnTo>
                  <a:lnTo>
                    <a:pt x="347" y="673"/>
                  </a:lnTo>
                  <a:lnTo>
                    <a:pt x="350" y="673"/>
                  </a:lnTo>
                  <a:lnTo>
                    <a:pt x="350" y="670"/>
                  </a:lnTo>
                  <a:lnTo>
                    <a:pt x="350" y="670"/>
                  </a:lnTo>
                  <a:lnTo>
                    <a:pt x="352" y="673"/>
                  </a:lnTo>
                  <a:lnTo>
                    <a:pt x="352" y="673"/>
                  </a:lnTo>
                  <a:lnTo>
                    <a:pt x="355" y="673"/>
                  </a:lnTo>
                  <a:lnTo>
                    <a:pt x="355" y="673"/>
                  </a:lnTo>
                  <a:lnTo>
                    <a:pt x="355" y="673"/>
                  </a:lnTo>
                  <a:lnTo>
                    <a:pt x="358" y="673"/>
                  </a:lnTo>
                  <a:lnTo>
                    <a:pt x="358" y="670"/>
                  </a:lnTo>
                  <a:lnTo>
                    <a:pt x="360" y="670"/>
                  </a:lnTo>
                  <a:lnTo>
                    <a:pt x="360" y="668"/>
                  </a:lnTo>
                  <a:lnTo>
                    <a:pt x="360" y="668"/>
                  </a:lnTo>
                  <a:lnTo>
                    <a:pt x="360" y="665"/>
                  </a:lnTo>
                  <a:lnTo>
                    <a:pt x="360" y="665"/>
                  </a:lnTo>
                  <a:lnTo>
                    <a:pt x="358" y="662"/>
                  </a:lnTo>
                  <a:lnTo>
                    <a:pt x="358" y="662"/>
                  </a:lnTo>
                  <a:lnTo>
                    <a:pt x="358" y="660"/>
                  </a:lnTo>
                  <a:lnTo>
                    <a:pt x="355" y="657"/>
                  </a:lnTo>
                  <a:lnTo>
                    <a:pt x="435" y="566"/>
                  </a:lnTo>
                  <a:lnTo>
                    <a:pt x="497" y="497"/>
                  </a:lnTo>
                  <a:lnTo>
                    <a:pt x="531" y="457"/>
                  </a:lnTo>
                  <a:lnTo>
                    <a:pt x="553" y="374"/>
                  </a:lnTo>
                  <a:lnTo>
                    <a:pt x="545" y="336"/>
                  </a:lnTo>
                  <a:lnTo>
                    <a:pt x="542" y="336"/>
                  </a:lnTo>
                  <a:lnTo>
                    <a:pt x="539" y="336"/>
                  </a:lnTo>
                  <a:lnTo>
                    <a:pt x="542" y="331"/>
                  </a:lnTo>
                  <a:lnTo>
                    <a:pt x="542" y="328"/>
                  </a:lnTo>
                  <a:lnTo>
                    <a:pt x="539" y="326"/>
                  </a:lnTo>
                  <a:lnTo>
                    <a:pt x="545" y="323"/>
                  </a:lnTo>
                  <a:lnTo>
                    <a:pt x="545" y="320"/>
                  </a:lnTo>
                  <a:lnTo>
                    <a:pt x="545" y="312"/>
                  </a:lnTo>
                  <a:lnTo>
                    <a:pt x="542" y="307"/>
                  </a:lnTo>
                  <a:lnTo>
                    <a:pt x="542" y="302"/>
                  </a:lnTo>
                  <a:lnTo>
                    <a:pt x="545" y="299"/>
                  </a:lnTo>
                  <a:lnTo>
                    <a:pt x="539" y="296"/>
                  </a:lnTo>
                  <a:lnTo>
                    <a:pt x="539" y="286"/>
                  </a:lnTo>
                  <a:lnTo>
                    <a:pt x="542" y="280"/>
                  </a:lnTo>
                  <a:lnTo>
                    <a:pt x="542" y="280"/>
                  </a:lnTo>
                  <a:lnTo>
                    <a:pt x="542" y="275"/>
                  </a:lnTo>
                  <a:lnTo>
                    <a:pt x="542" y="272"/>
                  </a:lnTo>
                  <a:lnTo>
                    <a:pt x="542" y="272"/>
                  </a:lnTo>
                  <a:lnTo>
                    <a:pt x="542" y="267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4"/>
                  </a:lnTo>
                  <a:lnTo>
                    <a:pt x="534" y="264"/>
                  </a:lnTo>
                  <a:lnTo>
                    <a:pt x="534" y="261"/>
                  </a:lnTo>
                  <a:lnTo>
                    <a:pt x="534" y="259"/>
                  </a:lnTo>
                  <a:lnTo>
                    <a:pt x="534" y="256"/>
                  </a:lnTo>
                  <a:lnTo>
                    <a:pt x="534" y="253"/>
                  </a:lnTo>
                  <a:lnTo>
                    <a:pt x="531" y="251"/>
                  </a:lnTo>
                  <a:lnTo>
                    <a:pt x="529" y="251"/>
                  </a:lnTo>
                  <a:lnTo>
                    <a:pt x="529" y="248"/>
                  </a:lnTo>
                  <a:lnTo>
                    <a:pt x="531" y="243"/>
                  </a:lnTo>
                  <a:lnTo>
                    <a:pt x="534" y="240"/>
                  </a:lnTo>
                  <a:lnTo>
                    <a:pt x="531" y="237"/>
                  </a:lnTo>
                  <a:lnTo>
                    <a:pt x="531" y="232"/>
                  </a:lnTo>
                  <a:lnTo>
                    <a:pt x="537" y="232"/>
                  </a:lnTo>
                  <a:lnTo>
                    <a:pt x="534" y="227"/>
                  </a:lnTo>
                  <a:lnTo>
                    <a:pt x="534" y="216"/>
                  </a:lnTo>
                  <a:lnTo>
                    <a:pt x="537" y="208"/>
                  </a:lnTo>
                  <a:lnTo>
                    <a:pt x="537" y="205"/>
                  </a:lnTo>
                  <a:lnTo>
                    <a:pt x="539" y="205"/>
                  </a:lnTo>
                  <a:lnTo>
                    <a:pt x="539" y="200"/>
                  </a:lnTo>
                  <a:lnTo>
                    <a:pt x="542" y="200"/>
                  </a:lnTo>
                  <a:lnTo>
                    <a:pt x="545" y="200"/>
                  </a:lnTo>
                  <a:lnTo>
                    <a:pt x="545" y="200"/>
                  </a:lnTo>
                  <a:lnTo>
                    <a:pt x="545" y="200"/>
                  </a:lnTo>
                  <a:lnTo>
                    <a:pt x="545" y="197"/>
                  </a:lnTo>
                  <a:lnTo>
                    <a:pt x="547" y="200"/>
                  </a:lnTo>
                  <a:lnTo>
                    <a:pt x="550" y="200"/>
                  </a:lnTo>
                  <a:lnTo>
                    <a:pt x="553" y="200"/>
                  </a:lnTo>
                  <a:lnTo>
                    <a:pt x="555" y="197"/>
                  </a:lnTo>
                  <a:lnTo>
                    <a:pt x="555" y="197"/>
                  </a:lnTo>
                  <a:lnTo>
                    <a:pt x="555" y="192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0" y="192"/>
                  </a:lnTo>
                  <a:lnTo>
                    <a:pt x="547" y="189"/>
                  </a:lnTo>
                  <a:lnTo>
                    <a:pt x="545" y="189"/>
                  </a:lnTo>
                  <a:lnTo>
                    <a:pt x="542" y="189"/>
                  </a:lnTo>
                  <a:lnTo>
                    <a:pt x="542" y="187"/>
                  </a:lnTo>
                  <a:lnTo>
                    <a:pt x="539" y="187"/>
                  </a:lnTo>
                  <a:lnTo>
                    <a:pt x="534" y="181"/>
                  </a:lnTo>
                  <a:lnTo>
                    <a:pt x="534" y="181"/>
                  </a:lnTo>
                  <a:lnTo>
                    <a:pt x="534" y="179"/>
                  </a:lnTo>
                  <a:lnTo>
                    <a:pt x="531" y="173"/>
                  </a:lnTo>
                  <a:lnTo>
                    <a:pt x="529" y="171"/>
                  </a:lnTo>
                  <a:lnTo>
                    <a:pt x="526" y="171"/>
                  </a:lnTo>
                  <a:lnTo>
                    <a:pt x="526" y="171"/>
                  </a:lnTo>
                  <a:lnTo>
                    <a:pt x="523" y="171"/>
                  </a:lnTo>
                  <a:lnTo>
                    <a:pt x="521" y="171"/>
                  </a:lnTo>
                  <a:lnTo>
                    <a:pt x="518" y="171"/>
                  </a:lnTo>
                  <a:lnTo>
                    <a:pt x="518" y="168"/>
                  </a:lnTo>
                  <a:lnTo>
                    <a:pt x="515" y="163"/>
                  </a:lnTo>
                  <a:lnTo>
                    <a:pt x="515" y="163"/>
                  </a:lnTo>
                  <a:lnTo>
                    <a:pt x="515" y="160"/>
                  </a:lnTo>
                  <a:lnTo>
                    <a:pt x="515" y="157"/>
                  </a:lnTo>
                  <a:lnTo>
                    <a:pt x="518" y="155"/>
                  </a:lnTo>
                  <a:lnTo>
                    <a:pt x="518" y="152"/>
                  </a:lnTo>
                  <a:lnTo>
                    <a:pt x="518" y="149"/>
                  </a:lnTo>
                  <a:lnTo>
                    <a:pt x="521" y="147"/>
                  </a:lnTo>
                  <a:lnTo>
                    <a:pt x="521" y="147"/>
                  </a:lnTo>
                  <a:lnTo>
                    <a:pt x="518" y="144"/>
                  </a:lnTo>
                  <a:lnTo>
                    <a:pt x="515" y="141"/>
                  </a:lnTo>
                  <a:lnTo>
                    <a:pt x="518" y="139"/>
                  </a:lnTo>
                  <a:lnTo>
                    <a:pt x="523" y="139"/>
                  </a:lnTo>
                  <a:lnTo>
                    <a:pt x="526" y="136"/>
                  </a:lnTo>
                  <a:lnTo>
                    <a:pt x="531" y="136"/>
                  </a:lnTo>
                  <a:lnTo>
                    <a:pt x="534" y="131"/>
                  </a:lnTo>
                  <a:lnTo>
                    <a:pt x="534" y="131"/>
                  </a:lnTo>
                  <a:lnTo>
                    <a:pt x="537" y="131"/>
                  </a:lnTo>
                  <a:lnTo>
                    <a:pt x="539" y="125"/>
                  </a:lnTo>
                  <a:lnTo>
                    <a:pt x="542" y="125"/>
                  </a:lnTo>
                  <a:lnTo>
                    <a:pt x="550" y="122"/>
                  </a:lnTo>
                  <a:lnTo>
                    <a:pt x="555" y="117"/>
                  </a:lnTo>
                  <a:lnTo>
                    <a:pt x="561" y="117"/>
                  </a:lnTo>
                  <a:lnTo>
                    <a:pt x="563" y="117"/>
                  </a:lnTo>
                  <a:lnTo>
                    <a:pt x="571" y="117"/>
                  </a:lnTo>
                  <a:lnTo>
                    <a:pt x="574" y="117"/>
                  </a:lnTo>
                  <a:lnTo>
                    <a:pt x="574" y="112"/>
                  </a:lnTo>
                  <a:lnTo>
                    <a:pt x="577" y="112"/>
                  </a:lnTo>
                  <a:lnTo>
                    <a:pt x="577" y="109"/>
                  </a:lnTo>
                  <a:lnTo>
                    <a:pt x="579" y="106"/>
                  </a:lnTo>
                  <a:lnTo>
                    <a:pt x="577" y="104"/>
                  </a:lnTo>
                  <a:lnTo>
                    <a:pt x="577" y="101"/>
                  </a:lnTo>
                  <a:lnTo>
                    <a:pt x="577" y="98"/>
                  </a:lnTo>
                  <a:lnTo>
                    <a:pt x="579" y="96"/>
                  </a:lnTo>
                  <a:lnTo>
                    <a:pt x="582" y="93"/>
                  </a:lnTo>
                  <a:lnTo>
                    <a:pt x="582" y="88"/>
                  </a:lnTo>
                  <a:lnTo>
                    <a:pt x="585" y="85"/>
                  </a:lnTo>
                  <a:lnTo>
                    <a:pt x="587" y="88"/>
                  </a:lnTo>
                  <a:lnTo>
                    <a:pt x="595" y="90"/>
                  </a:lnTo>
                  <a:lnTo>
                    <a:pt x="601" y="88"/>
                  </a:lnTo>
                  <a:lnTo>
                    <a:pt x="603" y="90"/>
                  </a:lnTo>
                  <a:lnTo>
                    <a:pt x="606" y="96"/>
                  </a:lnTo>
                  <a:lnTo>
                    <a:pt x="611" y="98"/>
                  </a:lnTo>
                  <a:lnTo>
                    <a:pt x="614" y="98"/>
                  </a:lnTo>
                  <a:lnTo>
                    <a:pt x="617" y="96"/>
                  </a:lnTo>
                  <a:lnTo>
                    <a:pt x="619" y="90"/>
                  </a:lnTo>
                  <a:lnTo>
                    <a:pt x="622" y="93"/>
                  </a:lnTo>
                  <a:lnTo>
                    <a:pt x="625" y="93"/>
                  </a:lnTo>
                  <a:lnTo>
                    <a:pt x="630" y="93"/>
                  </a:lnTo>
                  <a:lnTo>
                    <a:pt x="635" y="90"/>
                  </a:lnTo>
                  <a:lnTo>
                    <a:pt x="638" y="93"/>
                  </a:lnTo>
                  <a:lnTo>
                    <a:pt x="641" y="93"/>
                  </a:lnTo>
                  <a:lnTo>
                    <a:pt x="643" y="93"/>
                  </a:lnTo>
                  <a:lnTo>
                    <a:pt x="646" y="90"/>
                  </a:lnTo>
                  <a:lnTo>
                    <a:pt x="649" y="85"/>
                  </a:lnTo>
                  <a:lnTo>
                    <a:pt x="651" y="82"/>
                  </a:lnTo>
                  <a:lnTo>
                    <a:pt x="651" y="80"/>
                  </a:lnTo>
                  <a:lnTo>
                    <a:pt x="649" y="77"/>
                  </a:lnTo>
                  <a:lnTo>
                    <a:pt x="651" y="77"/>
                  </a:lnTo>
                  <a:lnTo>
                    <a:pt x="651" y="72"/>
                  </a:lnTo>
                  <a:lnTo>
                    <a:pt x="651" y="66"/>
                  </a:lnTo>
                  <a:lnTo>
                    <a:pt x="654" y="66"/>
                  </a:lnTo>
                  <a:lnTo>
                    <a:pt x="654" y="66"/>
                  </a:lnTo>
                  <a:lnTo>
                    <a:pt x="654" y="61"/>
                  </a:lnTo>
                  <a:lnTo>
                    <a:pt x="659" y="61"/>
                  </a:lnTo>
                  <a:lnTo>
                    <a:pt x="659" y="61"/>
                  </a:lnTo>
                  <a:lnTo>
                    <a:pt x="662" y="66"/>
                  </a:lnTo>
                  <a:lnTo>
                    <a:pt x="665" y="69"/>
                  </a:lnTo>
                  <a:lnTo>
                    <a:pt x="667" y="72"/>
                  </a:lnTo>
                  <a:lnTo>
                    <a:pt x="670" y="74"/>
                  </a:lnTo>
                  <a:lnTo>
                    <a:pt x="673" y="74"/>
                  </a:lnTo>
                  <a:lnTo>
                    <a:pt x="675" y="80"/>
                  </a:lnTo>
                  <a:lnTo>
                    <a:pt x="675" y="80"/>
                  </a:lnTo>
                  <a:lnTo>
                    <a:pt x="678" y="77"/>
                  </a:lnTo>
                  <a:lnTo>
                    <a:pt x="678" y="74"/>
                  </a:lnTo>
                  <a:lnTo>
                    <a:pt x="683" y="74"/>
                  </a:lnTo>
                  <a:lnTo>
                    <a:pt x="686" y="72"/>
                  </a:lnTo>
                  <a:lnTo>
                    <a:pt x="691" y="72"/>
                  </a:lnTo>
                  <a:lnTo>
                    <a:pt x="694" y="77"/>
                  </a:lnTo>
                  <a:lnTo>
                    <a:pt x="694" y="77"/>
                  </a:lnTo>
                  <a:lnTo>
                    <a:pt x="697" y="80"/>
                  </a:lnTo>
                  <a:lnTo>
                    <a:pt x="700" y="80"/>
                  </a:lnTo>
                  <a:lnTo>
                    <a:pt x="702" y="77"/>
                  </a:lnTo>
                  <a:lnTo>
                    <a:pt x="705" y="77"/>
                  </a:lnTo>
                  <a:lnTo>
                    <a:pt x="705" y="77"/>
                  </a:lnTo>
                  <a:lnTo>
                    <a:pt x="708" y="77"/>
                  </a:lnTo>
                  <a:lnTo>
                    <a:pt x="710" y="72"/>
                  </a:lnTo>
                  <a:lnTo>
                    <a:pt x="713" y="72"/>
                  </a:lnTo>
                  <a:lnTo>
                    <a:pt x="716" y="66"/>
                  </a:lnTo>
                  <a:lnTo>
                    <a:pt x="718" y="66"/>
                  </a:lnTo>
                  <a:lnTo>
                    <a:pt x="724" y="66"/>
                  </a:lnTo>
                  <a:lnTo>
                    <a:pt x="724" y="69"/>
                  </a:lnTo>
                  <a:lnTo>
                    <a:pt x="724" y="72"/>
                  </a:lnTo>
                  <a:lnTo>
                    <a:pt x="724" y="72"/>
                  </a:lnTo>
                  <a:lnTo>
                    <a:pt x="721" y="74"/>
                  </a:lnTo>
                  <a:lnTo>
                    <a:pt x="724" y="77"/>
                  </a:lnTo>
                  <a:lnTo>
                    <a:pt x="724" y="77"/>
                  </a:lnTo>
                  <a:lnTo>
                    <a:pt x="724" y="80"/>
                  </a:lnTo>
                  <a:lnTo>
                    <a:pt x="729" y="80"/>
                  </a:lnTo>
                  <a:lnTo>
                    <a:pt x="726" y="85"/>
                  </a:lnTo>
                  <a:lnTo>
                    <a:pt x="732" y="85"/>
                  </a:lnTo>
                  <a:lnTo>
                    <a:pt x="734" y="85"/>
                  </a:lnTo>
                  <a:lnTo>
                    <a:pt x="734" y="88"/>
                  </a:lnTo>
                  <a:lnTo>
                    <a:pt x="737" y="90"/>
                  </a:lnTo>
                  <a:lnTo>
                    <a:pt x="740" y="90"/>
                  </a:lnTo>
                  <a:lnTo>
                    <a:pt x="742" y="88"/>
                  </a:lnTo>
                  <a:lnTo>
                    <a:pt x="745" y="88"/>
                  </a:lnTo>
                  <a:lnTo>
                    <a:pt x="748" y="88"/>
                  </a:lnTo>
                  <a:lnTo>
                    <a:pt x="750" y="88"/>
                  </a:lnTo>
                  <a:lnTo>
                    <a:pt x="756" y="90"/>
                  </a:lnTo>
                  <a:lnTo>
                    <a:pt x="761" y="90"/>
                  </a:lnTo>
                  <a:lnTo>
                    <a:pt x="761" y="90"/>
                  </a:lnTo>
                  <a:lnTo>
                    <a:pt x="766" y="90"/>
                  </a:lnTo>
                  <a:lnTo>
                    <a:pt x="766" y="88"/>
                  </a:lnTo>
                  <a:lnTo>
                    <a:pt x="769" y="88"/>
                  </a:lnTo>
                  <a:lnTo>
                    <a:pt x="772" y="85"/>
                  </a:lnTo>
                  <a:lnTo>
                    <a:pt x="774" y="85"/>
                  </a:lnTo>
                  <a:lnTo>
                    <a:pt x="777" y="85"/>
                  </a:lnTo>
                  <a:lnTo>
                    <a:pt x="780" y="85"/>
                  </a:lnTo>
                  <a:lnTo>
                    <a:pt x="782" y="88"/>
                  </a:lnTo>
                  <a:lnTo>
                    <a:pt x="785" y="88"/>
                  </a:lnTo>
                  <a:lnTo>
                    <a:pt x="785" y="88"/>
                  </a:lnTo>
                  <a:lnTo>
                    <a:pt x="788" y="90"/>
                  </a:lnTo>
                  <a:lnTo>
                    <a:pt x="788" y="90"/>
                  </a:lnTo>
                  <a:lnTo>
                    <a:pt x="790" y="93"/>
                  </a:lnTo>
                  <a:lnTo>
                    <a:pt x="796" y="96"/>
                  </a:lnTo>
                  <a:lnTo>
                    <a:pt x="796" y="93"/>
                  </a:lnTo>
                  <a:lnTo>
                    <a:pt x="796" y="93"/>
                  </a:lnTo>
                  <a:lnTo>
                    <a:pt x="798" y="90"/>
                  </a:lnTo>
                  <a:lnTo>
                    <a:pt x="796" y="88"/>
                  </a:lnTo>
                  <a:lnTo>
                    <a:pt x="798" y="85"/>
                  </a:lnTo>
                  <a:lnTo>
                    <a:pt x="801" y="80"/>
                  </a:lnTo>
                  <a:lnTo>
                    <a:pt x="801" y="74"/>
                  </a:lnTo>
                  <a:lnTo>
                    <a:pt x="804" y="74"/>
                  </a:lnTo>
                  <a:lnTo>
                    <a:pt x="806" y="74"/>
                  </a:lnTo>
                  <a:lnTo>
                    <a:pt x="812" y="72"/>
                  </a:lnTo>
                  <a:lnTo>
                    <a:pt x="814" y="74"/>
                  </a:lnTo>
                  <a:lnTo>
                    <a:pt x="817" y="74"/>
                  </a:lnTo>
                  <a:lnTo>
                    <a:pt x="820" y="74"/>
                  </a:lnTo>
                  <a:lnTo>
                    <a:pt x="822" y="72"/>
                  </a:lnTo>
                  <a:lnTo>
                    <a:pt x="822" y="72"/>
                  </a:lnTo>
                  <a:lnTo>
                    <a:pt x="828" y="72"/>
                  </a:lnTo>
                  <a:lnTo>
                    <a:pt x="830" y="69"/>
                  </a:lnTo>
                  <a:lnTo>
                    <a:pt x="833" y="66"/>
                  </a:lnTo>
                  <a:lnTo>
                    <a:pt x="836" y="66"/>
                  </a:lnTo>
                  <a:lnTo>
                    <a:pt x="836" y="64"/>
                  </a:lnTo>
                  <a:lnTo>
                    <a:pt x="836" y="61"/>
                  </a:lnTo>
                  <a:lnTo>
                    <a:pt x="836" y="58"/>
                  </a:lnTo>
                  <a:lnTo>
                    <a:pt x="836" y="56"/>
                  </a:lnTo>
                  <a:lnTo>
                    <a:pt x="836" y="53"/>
                  </a:lnTo>
                  <a:lnTo>
                    <a:pt x="838" y="50"/>
                  </a:lnTo>
                  <a:lnTo>
                    <a:pt x="838" y="45"/>
                  </a:lnTo>
                  <a:lnTo>
                    <a:pt x="841" y="42"/>
                  </a:lnTo>
                  <a:lnTo>
                    <a:pt x="844" y="40"/>
                  </a:lnTo>
                  <a:lnTo>
                    <a:pt x="844" y="37"/>
                  </a:lnTo>
                  <a:lnTo>
                    <a:pt x="841" y="32"/>
                  </a:lnTo>
                  <a:lnTo>
                    <a:pt x="841" y="26"/>
                  </a:lnTo>
                  <a:lnTo>
                    <a:pt x="844" y="24"/>
                  </a:lnTo>
                  <a:lnTo>
                    <a:pt x="846" y="24"/>
                  </a:lnTo>
                  <a:lnTo>
                    <a:pt x="846" y="21"/>
                  </a:lnTo>
                  <a:lnTo>
                    <a:pt x="849" y="21"/>
                  </a:lnTo>
                  <a:lnTo>
                    <a:pt x="852" y="21"/>
                  </a:lnTo>
                  <a:lnTo>
                    <a:pt x="854" y="21"/>
                  </a:lnTo>
                  <a:lnTo>
                    <a:pt x="857" y="21"/>
                  </a:lnTo>
                  <a:lnTo>
                    <a:pt x="860" y="21"/>
                  </a:lnTo>
                  <a:lnTo>
                    <a:pt x="862" y="21"/>
                  </a:lnTo>
                  <a:lnTo>
                    <a:pt x="862" y="18"/>
                  </a:lnTo>
                  <a:lnTo>
                    <a:pt x="865" y="18"/>
                  </a:lnTo>
                  <a:lnTo>
                    <a:pt x="868" y="16"/>
                  </a:lnTo>
                  <a:lnTo>
                    <a:pt x="870" y="16"/>
                  </a:lnTo>
                  <a:lnTo>
                    <a:pt x="870" y="16"/>
                  </a:lnTo>
                  <a:lnTo>
                    <a:pt x="873" y="13"/>
                  </a:lnTo>
                  <a:lnTo>
                    <a:pt x="873" y="13"/>
                  </a:lnTo>
                  <a:lnTo>
                    <a:pt x="876" y="10"/>
                  </a:lnTo>
                  <a:lnTo>
                    <a:pt x="876" y="10"/>
                  </a:lnTo>
                  <a:lnTo>
                    <a:pt x="876" y="5"/>
                  </a:lnTo>
                  <a:lnTo>
                    <a:pt x="878" y="5"/>
                  </a:lnTo>
                  <a:lnTo>
                    <a:pt x="878" y="2"/>
                  </a:lnTo>
                  <a:lnTo>
                    <a:pt x="881" y="2"/>
                  </a:lnTo>
                  <a:lnTo>
                    <a:pt x="884" y="0"/>
                  </a:lnTo>
                  <a:lnTo>
                    <a:pt x="886" y="0"/>
                  </a:lnTo>
                  <a:lnTo>
                    <a:pt x="886" y="2"/>
                  </a:lnTo>
                  <a:lnTo>
                    <a:pt x="889" y="2"/>
                  </a:lnTo>
                  <a:lnTo>
                    <a:pt x="889" y="0"/>
                  </a:lnTo>
                  <a:lnTo>
                    <a:pt x="892" y="0"/>
                  </a:lnTo>
                  <a:lnTo>
                    <a:pt x="897" y="2"/>
                  </a:lnTo>
                  <a:lnTo>
                    <a:pt x="902" y="5"/>
                  </a:lnTo>
                  <a:lnTo>
                    <a:pt x="902" y="8"/>
                  </a:lnTo>
                  <a:lnTo>
                    <a:pt x="900" y="10"/>
                  </a:lnTo>
                  <a:lnTo>
                    <a:pt x="897" y="10"/>
                  </a:lnTo>
                  <a:lnTo>
                    <a:pt x="894" y="13"/>
                  </a:lnTo>
                  <a:lnTo>
                    <a:pt x="892" y="18"/>
                  </a:lnTo>
                  <a:lnTo>
                    <a:pt x="886" y="21"/>
                  </a:lnTo>
                  <a:lnTo>
                    <a:pt x="881" y="26"/>
                  </a:lnTo>
                  <a:lnTo>
                    <a:pt x="881" y="29"/>
                  </a:lnTo>
                  <a:lnTo>
                    <a:pt x="878" y="32"/>
                  </a:lnTo>
                  <a:lnTo>
                    <a:pt x="876" y="32"/>
                  </a:lnTo>
                  <a:lnTo>
                    <a:pt x="876" y="34"/>
                  </a:lnTo>
                  <a:lnTo>
                    <a:pt x="873" y="34"/>
                  </a:lnTo>
                  <a:lnTo>
                    <a:pt x="873" y="40"/>
                  </a:lnTo>
                  <a:lnTo>
                    <a:pt x="873" y="40"/>
                  </a:lnTo>
                  <a:lnTo>
                    <a:pt x="876" y="42"/>
                  </a:lnTo>
                  <a:lnTo>
                    <a:pt x="876" y="45"/>
                  </a:lnTo>
                  <a:lnTo>
                    <a:pt x="876" y="48"/>
                  </a:lnTo>
                  <a:lnTo>
                    <a:pt x="876" y="50"/>
                  </a:lnTo>
                  <a:lnTo>
                    <a:pt x="878" y="53"/>
                  </a:lnTo>
                  <a:lnTo>
                    <a:pt x="876" y="53"/>
                  </a:lnTo>
                  <a:lnTo>
                    <a:pt x="876" y="56"/>
                  </a:lnTo>
                  <a:lnTo>
                    <a:pt x="876" y="58"/>
                  </a:lnTo>
                  <a:lnTo>
                    <a:pt x="873" y="58"/>
                  </a:lnTo>
                  <a:lnTo>
                    <a:pt x="870" y="58"/>
                  </a:lnTo>
                  <a:lnTo>
                    <a:pt x="870" y="58"/>
                  </a:lnTo>
                  <a:lnTo>
                    <a:pt x="870" y="61"/>
                  </a:lnTo>
                  <a:lnTo>
                    <a:pt x="870" y="64"/>
                  </a:lnTo>
                  <a:lnTo>
                    <a:pt x="870" y="64"/>
                  </a:lnTo>
                  <a:lnTo>
                    <a:pt x="870" y="66"/>
                  </a:lnTo>
                  <a:lnTo>
                    <a:pt x="873" y="66"/>
                  </a:lnTo>
                  <a:lnTo>
                    <a:pt x="876" y="66"/>
                  </a:lnTo>
                  <a:lnTo>
                    <a:pt x="878" y="66"/>
                  </a:lnTo>
                  <a:lnTo>
                    <a:pt x="881" y="66"/>
                  </a:lnTo>
                  <a:lnTo>
                    <a:pt x="884" y="66"/>
                  </a:lnTo>
                  <a:lnTo>
                    <a:pt x="886" y="66"/>
                  </a:lnTo>
                  <a:lnTo>
                    <a:pt x="886" y="66"/>
                  </a:lnTo>
                  <a:lnTo>
                    <a:pt x="886" y="69"/>
                  </a:lnTo>
                  <a:lnTo>
                    <a:pt x="886" y="72"/>
                  </a:lnTo>
                  <a:lnTo>
                    <a:pt x="886" y="72"/>
                  </a:lnTo>
                  <a:lnTo>
                    <a:pt x="886" y="72"/>
                  </a:lnTo>
                  <a:lnTo>
                    <a:pt x="889" y="74"/>
                  </a:lnTo>
                  <a:lnTo>
                    <a:pt x="892" y="74"/>
                  </a:lnTo>
                  <a:lnTo>
                    <a:pt x="892" y="74"/>
                  </a:lnTo>
                  <a:lnTo>
                    <a:pt x="894" y="77"/>
                  </a:lnTo>
                  <a:lnTo>
                    <a:pt x="894" y="77"/>
                  </a:lnTo>
                  <a:lnTo>
                    <a:pt x="894" y="80"/>
                  </a:lnTo>
                  <a:lnTo>
                    <a:pt x="894" y="80"/>
                  </a:lnTo>
                  <a:lnTo>
                    <a:pt x="894" y="80"/>
                  </a:lnTo>
                  <a:lnTo>
                    <a:pt x="892" y="80"/>
                  </a:lnTo>
                  <a:lnTo>
                    <a:pt x="892" y="80"/>
                  </a:lnTo>
                  <a:lnTo>
                    <a:pt x="892" y="77"/>
                  </a:lnTo>
                  <a:lnTo>
                    <a:pt x="889" y="77"/>
                  </a:lnTo>
                  <a:lnTo>
                    <a:pt x="889" y="80"/>
                  </a:lnTo>
                  <a:lnTo>
                    <a:pt x="889" y="82"/>
                  </a:lnTo>
                  <a:lnTo>
                    <a:pt x="889" y="82"/>
                  </a:lnTo>
                  <a:lnTo>
                    <a:pt x="892" y="85"/>
                  </a:lnTo>
                  <a:lnTo>
                    <a:pt x="892" y="88"/>
                  </a:lnTo>
                  <a:lnTo>
                    <a:pt x="892" y="93"/>
                  </a:lnTo>
                  <a:lnTo>
                    <a:pt x="892" y="93"/>
                  </a:lnTo>
                  <a:lnTo>
                    <a:pt x="894" y="96"/>
                  </a:lnTo>
                  <a:lnTo>
                    <a:pt x="897" y="98"/>
                  </a:lnTo>
                  <a:lnTo>
                    <a:pt x="897" y="98"/>
                  </a:lnTo>
                  <a:lnTo>
                    <a:pt x="900" y="101"/>
                  </a:lnTo>
                  <a:lnTo>
                    <a:pt x="902" y="101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2" y="104"/>
                  </a:lnTo>
                  <a:lnTo>
                    <a:pt x="900" y="104"/>
                  </a:lnTo>
                  <a:lnTo>
                    <a:pt x="900" y="104"/>
                  </a:lnTo>
                  <a:lnTo>
                    <a:pt x="900" y="106"/>
                  </a:lnTo>
                  <a:lnTo>
                    <a:pt x="900" y="109"/>
                  </a:lnTo>
                  <a:lnTo>
                    <a:pt x="902" y="109"/>
                  </a:lnTo>
                  <a:lnTo>
                    <a:pt x="902" y="112"/>
                  </a:lnTo>
                  <a:lnTo>
                    <a:pt x="902" y="112"/>
                  </a:lnTo>
                  <a:lnTo>
                    <a:pt x="902" y="112"/>
                  </a:lnTo>
                  <a:lnTo>
                    <a:pt x="900" y="114"/>
                  </a:lnTo>
                  <a:lnTo>
                    <a:pt x="902" y="114"/>
                  </a:lnTo>
                  <a:lnTo>
                    <a:pt x="905" y="117"/>
                  </a:lnTo>
                  <a:lnTo>
                    <a:pt x="905" y="120"/>
                  </a:lnTo>
                  <a:lnTo>
                    <a:pt x="905" y="122"/>
                  </a:lnTo>
                  <a:lnTo>
                    <a:pt x="908" y="122"/>
                  </a:lnTo>
                  <a:lnTo>
                    <a:pt x="910" y="122"/>
                  </a:lnTo>
                  <a:lnTo>
                    <a:pt x="910" y="125"/>
                  </a:lnTo>
                  <a:lnTo>
                    <a:pt x="910" y="128"/>
                  </a:lnTo>
                  <a:lnTo>
                    <a:pt x="910" y="131"/>
                  </a:lnTo>
                  <a:lnTo>
                    <a:pt x="910" y="131"/>
                  </a:lnTo>
                  <a:lnTo>
                    <a:pt x="908" y="136"/>
                  </a:lnTo>
                  <a:lnTo>
                    <a:pt x="910" y="136"/>
                  </a:lnTo>
                  <a:lnTo>
                    <a:pt x="910" y="139"/>
                  </a:lnTo>
                  <a:lnTo>
                    <a:pt x="910" y="139"/>
                  </a:lnTo>
                  <a:lnTo>
                    <a:pt x="913" y="141"/>
                  </a:lnTo>
                  <a:lnTo>
                    <a:pt x="913" y="141"/>
                  </a:lnTo>
                  <a:lnTo>
                    <a:pt x="913" y="144"/>
                  </a:lnTo>
                  <a:lnTo>
                    <a:pt x="913" y="147"/>
                  </a:lnTo>
                  <a:lnTo>
                    <a:pt x="913" y="149"/>
                  </a:lnTo>
                  <a:lnTo>
                    <a:pt x="913" y="149"/>
                  </a:lnTo>
                  <a:lnTo>
                    <a:pt x="916" y="149"/>
                  </a:lnTo>
                  <a:lnTo>
                    <a:pt x="916" y="152"/>
                  </a:lnTo>
                  <a:lnTo>
                    <a:pt x="916" y="152"/>
                  </a:lnTo>
                  <a:lnTo>
                    <a:pt x="918" y="155"/>
                  </a:lnTo>
                  <a:lnTo>
                    <a:pt x="918" y="157"/>
                  </a:lnTo>
                  <a:lnTo>
                    <a:pt x="918" y="157"/>
                  </a:lnTo>
                  <a:lnTo>
                    <a:pt x="918" y="160"/>
                  </a:lnTo>
                  <a:lnTo>
                    <a:pt x="918" y="163"/>
                  </a:lnTo>
                  <a:lnTo>
                    <a:pt x="918" y="165"/>
                  </a:lnTo>
                  <a:lnTo>
                    <a:pt x="918" y="165"/>
                  </a:lnTo>
                  <a:lnTo>
                    <a:pt x="921" y="168"/>
                  </a:lnTo>
                  <a:lnTo>
                    <a:pt x="924" y="168"/>
                  </a:lnTo>
                  <a:lnTo>
                    <a:pt x="924" y="168"/>
                  </a:lnTo>
                  <a:lnTo>
                    <a:pt x="924" y="171"/>
                  </a:lnTo>
                  <a:lnTo>
                    <a:pt x="924" y="173"/>
                  </a:lnTo>
                  <a:lnTo>
                    <a:pt x="924" y="173"/>
                  </a:lnTo>
                  <a:lnTo>
                    <a:pt x="924" y="173"/>
                  </a:lnTo>
                  <a:lnTo>
                    <a:pt x="926" y="176"/>
                  </a:lnTo>
                  <a:lnTo>
                    <a:pt x="926" y="176"/>
                  </a:lnTo>
                  <a:lnTo>
                    <a:pt x="929" y="176"/>
                  </a:lnTo>
                  <a:lnTo>
                    <a:pt x="929" y="176"/>
                  </a:lnTo>
                  <a:lnTo>
                    <a:pt x="932" y="176"/>
                  </a:lnTo>
                  <a:lnTo>
                    <a:pt x="932" y="176"/>
                  </a:lnTo>
                  <a:lnTo>
                    <a:pt x="934" y="176"/>
                  </a:lnTo>
                  <a:lnTo>
                    <a:pt x="937" y="176"/>
                  </a:lnTo>
                  <a:lnTo>
                    <a:pt x="937" y="176"/>
                  </a:lnTo>
                  <a:lnTo>
                    <a:pt x="940" y="176"/>
                  </a:lnTo>
                  <a:lnTo>
                    <a:pt x="940" y="176"/>
                  </a:lnTo>
                  <a:lnTo>
                    <a:pt x="943" y="176"/>
                  </a:lnTo>
                  <a:lnTo>
                    <a:pt x="943" y="173"/>
                  </a:lnTo>
                  <a:lnTo>
                    <a:pt x="945" y="171"/>
                  </a:lnTo>
                  <a:lnTo>
                    <a:pt x="945" y="171"/>
                  </a:lnTo>
                  <a:lnTo>
                    <a:pt x="948" y="171"/>
                  </a:lnTo>
                  <a:lnTo>
                    <a:pt x="948" y="171"/>
                  </a:lnTo>
                  <a:lnTo>
                    <a:pt x="951" y="171"/>
                  </a:lnTo>
                  <a:lnTo>
                    <a:pt x="951" y="173"/>
                  </a:lnTo>
                  <a:lnTo>
                    <a:pt x="951" y="173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3"/>
                  </a:lnTo>
                  <a:lnTo>
                    <a:pt x="953" y="173"/>
                  </a:lnTo>
                  <a:lnTo>
                    <a:pt x="956" y="173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6"/>
                  </a:lnTo>
                  <a:lnTo>
                    <a:pt x="953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81"/>
                  </a:lnTo>
                  <a:lnTo>
                    <a:pt x="956" y="181"/>
                  </a:lnTo>
                  <a:lnTo>
                    <a:pt x="959" y="184"/>
                  </a:lnTo>
                  <a:lnTo>
                    <a:pt x="961" y="184"/>
                  </a:lnTo>
                  <a:lnTo>
                    <a:pt x="961" y="184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7" y="189"/>
                  </a:lnTo>
                  <a:lnTo>
                    <a:pt x="969" y="189"/>
                  </a:lnTo>
                  <a:lnTo>
                    <a:pt x="969" y="189"/>
                  </a:lnTo>
                  <a:lnTo>
                    <a:pt x="972" y="189"/>
                  </a:lnTo>
                  <a:lnTo>
                    <a:pt x="972" y="189"/>
                  </a:lnTo>
                  <a:lnTo>
                    <a:pt x="972" y="189"/>
                  </a:lnTo>
                  <a:lnTo>
                    <a:pt x="975" y="189"/>
                  </a:lnTo>
                  <a:lnTo>
                    <a:pt x="975" y="189"/>
                  </a:lnTo>
                  <a:lnTo>
                    <a:pt x="975" y="189"/>
                  </a:lnTo>
                  <a:lnTo>
                    <a:pt x="977" y="192"/>
                  </a:lnTo>
                  <a:lnTo>
                    <a:pt x="977" y="192"/>
                  </a:lnTo>
                  <a:lnTo>
                    <a:pt x="977" y="192"/>
                  </a:lnTo>
                  <a:lnTo>
                    <a:pt x="977" y="195"/>
                  </a:lnTo>
                  <a:lnTo>
                    <a:pt x="980" y="195"/>
                  </a:lnTo>
                  <a:lnTo>
                    <a:pt x="980" y="195"/>
                  </a:lnTo>
                  <a:lnTo>
                    <a:pt x="980" y="197"/>
                  </a:lnTo>
                  <a:lnTo>
                    <a:pt x="980" y="197"/>
                  </a:lnTo>
                  <a:lnTo>
                    <a:pt x="980" y="200"/>
                  </a:lnTo>
                  <a:lnTo>
                    <a:pt x="980" y="200"/>
                  </a:lnTo>
                  <a:lnTo>
                    <a:pt x="980" y="200"/>
                  </a:lnTo>
                  <a:lnTo>
                    <a:pt x="983" y="203"/>
                  </a:lnTo>
                  <a:lnTo>
                    <a:pt x="983" y="203"/>
                  </a:lnTo>
                  <a:lnTo>
                    <a:pt x="983" y="200"/>
                  </a:lnTo>
                  <a:lnTo>
                    <a:pt x="983" y="200"/>
                  </a:lnTo>
                  <a:lnTo>
                    <a:pt x="983" y="200"/>
                  </a:lnTo>
                  <a:lnTo>
                    <a:pt x="985" y="200"/>
                  </a:lnTo>
                  <a:lnTo>
                    <a:pt x="985" y="200"/>
                  </a:lnTo>
                  <a:lnTo>
                    <a:pt x="985" y="203"/>
                  </a:lnTo>
                  <a:lnTo>
                    <a:pt x="983" y="203"/>
                  </a:lnTo>
                  <a:lnTo>
                    <a:pt x="983" y="203"/>
                  </a:lnTo>
                  <a:lnTo>
                    <a:pt x="985" y="203"/>
                  </a:lnTo>
                  <a:lnTo>
                    <a:pt x="985" y="203"/>
                  </a:lnTo>
                  <a:lnTo>
                    <a:pt x="985" y="205"/>
                  </a:lnTo>
                  <a:lnTo>
                    <a:pt x="985" y="205"/>
                  </a:lnTo>
                  <a:lnTo>
                    <a:pt x="985" y="205"/>
                  </a:lnTo>
                  <a:lnTo>
                    <a:pt x="985" y="208"/>
                  </a:lnTo>
                  <a:lnTo>
                    <a:pt x="988" y="211"/>
                  </a:lnTo>
                  <a:lnTo>
                    <a:pt x="988" y="211"/>
                  </a:lnTo>
                  <a:lnTo>
                    <a:pt x="988" y="211"/>
                  </a:lnTo>
                  <a:lnTo>
                    <a:pt x="991" y="211"/>
                  </a:lnTo>
                  <a:lnTo>
                    <a:pt x="991" y="213"/>
                  </a:lnTo>
                  <a:lnTo>
                    <a:pt x="991" y="213"/>
                  </a:lnTo>
                  <a:lnTo>
                    <a:pt x="991" y="213"/>
                  </a:lnTo>
                  <a:lnTo>
                    <a:pt x="991" y="216"/>
                  </a:lnTo>
                  <a:lnTo>
                    <a:pt x="991" y="216"/>
                  </a:lnTo>
                  <a:lnTo>
                    <a:pt x="991" y="216"/>
                  </a:lnTo>
                  <a:lnTo>
                    <a:pt x="991" y="219"/>
                  </a:lnTo>
                  <a:lnTo>
                    <a:pt x="991" y="219"/>
                  </a:lnTo>
                  <a:lnTo>
                    <a:pt x="988" y="219"/>
                  </a:lnTo>
                  <a:lnTo>
                    <a:pt x="988" y="221"/>
                  </a:lnTo>
                  <a:lnTo>
                    <a:pt x="988" y="221"/>
                  </a:lnTo>
                  <a:lnTo>
                    <a:pt x="988" y="224"/>
                  </a:lnTo>
                  <a:lnTo>
                    <a:pt x="991" y="224"/>
                  </a:lnTo>
                  <a:lnTo>
                    <a:pt x="991" y="227"/>
                  </a:lnTo>
                  <a:lnTo>
                    <a:pt x="991" y="227"/>
                  </a:lnTo>
                  <a:lnTo>
                    <a:pt x="991" y="227"/>
                  </a:lnTo>
                  <a:lnTo>
                    <a:pt x="988" y="227"/>
                  </a:lnTo>
                  <a:lnTo>
                    <a:pt x="988" y="227"/>
                  </a:lnTo>
                  <a:lnTo>
                    <a:pt x="988" y="227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8" y="229"/>
                  </a:lnTo>
                  <a:lnTo>
                    <a:pt x="985" y="229"/>
                  </a:lnTo>
                  <a:lnTo>
                    <a:pt x="985" y="232"/>
                  </a:lnTo>
                  <a:lnTo>
                    <a:pt x="985" y="232"/>
                  </a:lnTo>
                  <a:lnTo>
                    <a:pt x="985" y="232"/>
                  </a:lnTo>
                  <a:lnTo>
                    <a:pt x="985" y="235"/>
                  </a:lnTo>
                  <a:lnTo>
                    <a:pt x="985" y="235"/>
                  </a:lnTo>
                  <a:lnTo>
                    <a:pt x="985" y="235"/>
                  </a:lnTo>
                  <a:lnTo>
                    <a:pt x="985" y="237"/>
                  </a:lnTo>
                  <a:lnTo>
                    <a:pt x="988" y="237"/>
                  </a:lnTo>
                  <a:lnTo>
                    <a:pt x="988" y="237"/>
                  </a:lnTo>
                  <a:lnTo>
                    <a:pt x="988" y="237"/>
                  </a:lnTo>
                  <a:lnTo>
                    <a:pt x="988" y="240"/>
                  </a:lnTo>
                  <a:lnTo>
                    <a:pt x="985" y="240"/>
                  </a:lnTo>
                  <a:lnTo>
                    <a:pt x="985" y="240"/>
                  </a:lnTo>
                  <a:lnTo>
                    <a:pt x="985" y="240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8" y="245"/>
                  </a:lnTo>
                  <a:lnTo>
                    <a:pt x="985" y="245"/>
                  </a:lnTo>
                  <a:lnTo>
                    <a:pt x="985" y="245"/>
                  </a:lnTo>
                  <a:lnTo>
                    <a:pt x="985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77" y="248"/>
                  </a:lnTo>
                  <a:lnTo>
                    <a:pt x="977" y="248"/>
                  </a:lnTo>
                  <a:lnTo>
                    <a:pt x="977" y="248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7" y="253"/>
                  </a:lnTo>
                  <a:lnTo>
                    <a:pt x="975" y="253"/>
                  </a:lnTo>
                  <a:lnTo>
                    <a:pt x="975" y="253"/>
                  </a:lnTo>
                  <a:lnTo>
                    <a:pt x="975" y="253"/>
                  </a:lnTo>
                  <a:lnTo>
                    <a:pt x="972" y="253"/>
                  </a:lnTo>
                  <a:lnTo>
                    <a:pt x="972" y="253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7" y="251"/>
                  </a:lnTo>
                  <a:lnTo>
                    <a:pt x="967" y="251"/>
                  </a:lnTo>
                  <a:lnTo>
                    <a:pt x="967" y="251"/>
                  </a:lnTo>
                  <a:lnTo>
                    <a:pt x="967" y="253"/>
                  </a:lnTo>
                  <a:lnTo>
                    <a:pt x="967" y="253"/>
                  </a:lnTo>
                  <a:lnTo>
                    <a:pt x="967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4" y="253"/>
                  </a:lnTo>
                  <a:lnTo>
                    <a:pt x="961" y="253"/>
                  </a:lnTo>
                  <a:lnTo>
                    <a:pt x="961" y="256"/>
                  </a:lnTo>
                  <a:lnTo>
                    <a:pt x="959" y="256"/>
                  </a:lnTo>
                  <a:lnTo>
                    <a:pt x="959" y="253"/>
                  </a:lnTo>
                  <a:lnTo>
                    <a:pt x="959" y="253"/>
                  </a:lnTo>
                  <a:lnTo>
                    <a:pt x="959" y="253"/>
                  </a:lnTo>
                  <a:lnTo>
                    <a:pt x="956" y="253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3" y="259"/>
                  </a:lnTo>
                  <a:lnTo>
                    <a:pt x="953" y="259"/>
                  </a:lnTo>
                  <a:lnTo>
                    <a:pt x="951" y="259"/>
                  </a:lnTo>
                  <a:lnTo>
                    <a:pt x="951" y="259"/>
                  </a:lnTo>
                  <a:lnTo>
                    <a:pt x="951" y="259"/>
                  </a:lnTo>
                  <a:lnTo>
                    <a:pt x="948" y="259"/>
                  </a:lnTo>
                  <a:lnTo>
                    <a:pt x="948" y="261"/>
                  </a:lnTo>
                  <a:lnTo>
                    <a:pt x="948" y="261"/>
                  </a:lnTo>
                  <a:lnTo>
                    <a:pt x="945" y="261"/>
                  </a:lnTo>
                  <a:lnTo>
                    <a:pt x="945" y="261"/>
                  </a:lnTo>
                  <a:lnTo>
                    <a:pt x="940" y="264"/>
                  </a:lnTo>
                  <a:lnTo>
                    <a:pt x="940" y="264"/>
                  </a:lnTo>
                  <a:lnTo>
                    <a:pt x="940" y="267"/>
                  </a:lnTo>
                  <a:lnTo>
                    <a:pt x="937" y="267"/>
                  </a:lnTo>
                  <a:lnTo>
                    <a:pt x="937" y="267"/>
                  </a:lnTo>
                  <a:lnTo>
                    <a:pt x="937" y="267"/>
                  </a:lnTo>
                  <a:lnTo>
                    <a:pt x="934" y="267"/>
                  </a:lnTo>
                  <a:lnTo>
                    <a:pt x="934" y="267"/>
                  </a:lnTo>
                  <a:lnTo>
                    <a:pt x="932" y="269"/>
                  </a:lnTo>
                  <a:lnTo>
                    <a:pt x="932" y="269"/>
                  </a:lnTo>
                  <a:lnTo>
                    <a:pt x="929" y="269"/>
                  </a:lnTo>
                  <a:lnTo>
                    <a:pt x="929" y="269"/>
                  </a:lnTo>
                  <a:lnTo>
                    <a:pt x="929" y="272"/>
                  </a:lnTo>
                  <a:lnTo>
                    <a:pt x="929" y="272"/>
                  </a:lnTo>
                  <a:lnTo>
                    <a:pt x="926" y="275"/>
                  </a:lnTo>
                  <a:lnTo>
                    <a:pt x="926" y="275"/>
                  </a:lnTo>
                  <a:lnTo>
                    <a:pt x="926" y="275"/>
                  </a:lnTo>
                  <a:lnTo>
                    <a:pt x="924" y="275"/>
                  </a:lnTo>
                  <a:lnTo>
                    <a:pt x="924" y="275"/>
                  </a:lnTo>
                  <a:lnTo>
                    <a:pt x="924" y="277"/>
                  </a:lnTo>
                  <a:lnTo>
                    <a:pt x="924" y="277"/>
                  </a:lnTo>
                  <a:lnTo>
                    <a:pt x="924" y="277"/>
                  </a:lnTo>
                  <a:lnTo>
                    <a:pt x="924" y="280"/>
                  </a:lnTo>
                  <a:lnTo>
                    <a:pt x="924" y="280"/>
                  </a:lnTo>
                  <a:lnTo>
                    <a:pt x="924" y="283"/>
                  </a:lnTo>
                  <a:lnTo>
                    <a:pt x="924" y="283"/>
                  </a:lnTo>
                  <a:lnTo>
                    <a:pt x="924" y="283"/>
                  </a:lnTo>
                  <a:lnTo>
                    <a:pt x="921" y="286"/>
                  </a:lnTo>
                  <a:lnTo>
                    <a:pt x="921" y="286"/>
                  </a:lnTo>
                  <a:lnTo>
                    <a:pt x="918" y="286"/>
                  </a:lnTo>
                  <a:lnTo>
                    <a:pt x="918" y="288"/>
                  </a:lnTo>
                  <a:lnTo>
                    <a:pt x="918" y="288"/>
                  </a:lnTo>
                  <a:lnTo>
                    <a:pt x="916" y="291"/>
                  </a:lnTo>
                  <a:lnTo>
                    <a:pt x="916" y="291"/>
                  </a:lnTo>
                  <a:lnTo>
                    <a:pt x="916" y="291"/>
                  </a:lnTo>
                  <a:lnTo>
                    <a:pt x="913" y="291"/>
                  </a:lnTo>
                  <a:lnTo>
                    <a:pt x="913" y="294"/>
                  </a:lnTo>
                  <a:lnTo>
                    <a:pt x="913" y="294"/>
                  </a:lnTo>
                  <a:lnTo>
                    <a:pt x="913" y="296"/>
                  </a:lnTo>
                  <a:lnTo>
                    <a:pt x="910" y="296"/>
                  </a:lnTo>
                  <a:lnTo>
                    <a:pt x="910" y="296"/>
                  </a:lnTo>
                  <a:lnTo>
                    <a:pt x="910" y="296"/>
                  </a:lnTo>
                  <a:lnTo>
                    <a:pt x="910" y="299"/>
                  </a:lnTo>
                  <a:lnTo>
                    <a:pt x="910" y="299"/>
                  </a:lnTo>
                  <a:lnTo>
                    <a:pt x="910" y="302"/>
                  </a:lnTo>
                  <a:lnTo>
                    <a:pt x="910" y="302"/>
                  </a:lnTo>
                  <a:lnTo>
                    <a:pt x="910" y="304"/>
                  </a:lnTo>
                  <a:lnTo>
                    <a:pt x="908" y="304"/>
                  </a:lnTo>
                  <a:lnTo>
                    <a:pt x="908" y="307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2"/>
                  </a:lnTo>
                  <a:lnTo>
                    <a:pt x="905" y="312"/>
                  </a:lnTo>
                  <a:lnTo>
                    <a:pt x="905" y="312"/>
                  </a:lnTo>
                  <a:lnTo>
                    <a:pt x="905" y="315"/>
                  </a:lnTo>
                  <a:lnTo>
                    <a:pt x="905" y="315"/>
                  </a:lnTo>
                  <a:lnTo>
                    <a:pt x="905" y="318"/>
                  </a:lnTo>
                  <a:lnTo>
                    <a:pt x="902" y="318"/>
                  </a:lnTo>
                  <a:lnTo>
                    <a:pt x="902" y="318"/>
                  </a:lnTo>
                  <a:lnTo>
                    <a:pt x="902" y="320"/>
                  </a:lnTo>
                  <a:lnTo>
                    <a:pt x="900" y="320"/>
                  </a:lnTo>
                  <a:lnTo>
                    <a:pt x="900" y="320"/>
                  </a:lnTo>
                  <a:lnTo>
                    <a:pt x="900" y="320"/>
                  </a:lnTo>
                  <a:lnTo>
                    <a:pt x="897" y="320"/>
                  </a:lnTo>
                  <a:lnTo>
                    <a:pt x="897" y="323"/>
                  </a:lnTo>
                  <a:lnTo>
                    <a:pt x="897" y="323"/>
                  </a:lnTo>
                  <a:lnTo>
                    <a:pt x="897" y="323"/>
                  </a:lnTo>
                  <a:lnTo>
                    <a:pt x="894" y="323"/>
                  </a:lnTo>
                  <a:lnTo>
                    <a:pt x="894" y="326"/>
                  </a:lnTo>
                  <a:lnTo>
                    <a:pt x="894" y="326"/>
                  </a:lnTo>
                  <a:lnTo>
                    <a:pt x="892" y="326"/>
                  </a:lnTo>
                  <a:lnTo>
                    <a:pt x="892" y="326"/>
                  </a:lnTo>
                  <a:lnTo>
                    <a:pt x="892" y="326"/>
                  </a:lnTo>
                  <a:lnTo>
                    <a:pt x="892" y="328"/>
                  </a:lnTo>
                  <a:lnTo>
                    <a:pt x="892" y="328"/>
                  </a:lnTo>
                  <a:lnTo>
                    <a:pt x="889" y="328"/>
                  </a:lnTo>
                  <a:lnTo>
                    <a:pt x="889" y="328"/>
                  </a:lnTo>
                  <a:lnTo>
                    <a:pt x="886" y="328"/>
                  </a:lnTo>
                  <a:lnTo>
                    <a:pt x="886" y="331"/>
                  </a:lnTo>
                  <a:lnTo>
                    <a:pt x="886" y="331"/>
                  </a:lnTo>
                  <a:lnTo>
                    <a:pt x="884" y="331"/>
                  </a:lnTo>
                  <a:lnTo>
                    <a:pt x="884" y="331"/>
                  </a:lnTo>
                  <a:lnTo>
                    <a:pt x="884" y="331"/>
                  </a:lnTo>
                  <a:lnTo>
                    <a:pt x="884" y="334"/>
                  </a:lnTo>
                  <a:lnTo>
                    <a:pt x="884" y="334"/>
                  </a:lnTo>
                  <a:lnTo>
                    <a:pt x="884" y="336"/>
                  </a:lnTo>
                  <a:lnTo>
                    <a:pt x="881" y="336"/>
                  </a:lnTo>
                  <a:lnTo>
                    <a:pt x="881" y="339"/>
                  </a:lnTo>
                  <a:lnTo>
                    <a:pt x="881" y="339"/>
                  </a:lnTo>
                  <a:lnTo>
                    <a:pt x="881" y="342"/>
                  </a:lnTo>
                  <a:lnTo>
                    <a:pt x="881" y="342"/>
                  </a:lnTo>
                  <a:lnTo>
                    <a:pt x="881" y="342"/>
                  </a:lnTo>
                  <a:lnTo>
                    <a:pt x="878" y="342"/>
                  </a:lnTo>
                  <a:lnTo>
                    <a:pt x="878" y="342"/>
                  </a:lnTo>
                  <a:lnTo>
                    <a:pt x="876" y="342"/>
                  </a:lnTo>
                  <a:lnTo>
                    <a:pt x="876" y="342"/>
                  </a:lnTo>
                  <a:lnTo>
                    <a:pt x="876" y="342"/>
                  </a:lnTo>
                  <a:lnTo>
                    <a:pt x="873" y="342"/>
                  </a:lnTo>
                  <a:lnTo>
                    <a:pt x="873" y="342"/>
                  </a:lnTo>
                  <a:lnTo>
                    <a:pt x="873" y="344"/>
                  </a:lnTo>
                  <a:lnTo>
                    <a:pt x="873" y="344"/>
                  </a:lnTo>
                  <a:lnTo>
                    <a:pt x="873" y="347"/>
                  </a:lnTo>
                  <a:lnTo>
                    <a:pt x="873" y="347"/>
                  </a:lnTo>
                  <a:lnTo>
                    <a:pt x="873" y="347"/>
                  </a:lnTo>
                  <a:lnTo>
                    <a:pt x="870" y="350"/>
                  </a:lnTo>
                  <a:lnTo>
                    <a:pt x="870" y="350"/>
                  </a:lnTo>
                  <a:lnTo>
                    <a:pt x="870" y="350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8" y="352"/>
                  </a:lnTo>
                  <a:lnTo>
                    <a:pt x="865" y="352"/>
                  </a:lnTo>
                  <a:lnTo>
                    <a:pt x="865" y="352"/>
                  </a:lnTo>
                  <a:lnTo>
                    <a:pt x="865" y="352"/>
                  </a:lnTo>
                  <a:lnTo>
                    <a:pt x="865" y="350"/>
                  </a:lnTo>
                  <a:lnTo>
                    <a:pt x="862" y="350"/>
                  </a:lnTo>
                  <a:lnTo>
                    <a:pt x="862" y="350"/>
                  </a:lnTo>
                  <a:lnTo>
                    <a:pt x="862" y="352"/>
                  </a:lnTo>
                  <a:lnTo>
                    <a:pt x="862" y="352"/>
                  </a:lnTo>
                  <a:lnTo>
                    <a:pt x="860" y="352"/>
                  </a:lnTo>
                  <a:lnTo>
                    <a:pt x="860" y="355"/>
                  </a:lnTo>
                  <a:lnTo>
                    <a:pt x="857" y="355"/>
                  </a:lnTo>
                  <a:lnTo>
                    <a:pt x="857" y="355"/>
                  </a:lnTo>
                  <a:lnTo>
                    <a:pt x="854" y="355"/>
                  </a:lnTo>
                  <a:lnTo>
                    <a:pt x="854" y="355"/>
                  </a:lnTo>
                  <a:lnTo>
                    <a:pt x="854" y="358"/>
                  </a:lnTo>
                  <a:lnTo>
                    <a:pt x="854" y="358"/>
                  </a:lnTo>
                  <a:lnTo>
                    <a:pt x="854" y="360"/>
                  </a:lnTo>
                  <a:lnTo>
                    <a:pt x="854" y="360"/>
                  </a:lnTo>
                  <a:lnTo>
                    <a:pt x="854" y="363"/>
                  </a:lnTo>
                  <a:lnTo>
                    <a:pt x="857" y="363"/>
                  </a:lnTo>
                  <a:lnTo>
                    <a:pt x="854" y="363"/>
                  </a:lnTo>
                  <a:lnTo>
                    <a:pt x="854" y="363"/>
                  </a:lnTo>
                  <a:lnTo>
                    <a:pt x="852" y="363"/>
                  </a:lnTo>
                  <a:lnTo>
                    <a:pt x="852" y="366"/>
                  </a:lnTo>
                  <a:lnTo>
                    <a:pt x="852" y="366"/>
                  </a:lnTo>
                  <a:lnTo>
                    <a:pt x="849" y="366"/>
                  </a:lnTo>
                  <a:lnTo>
                    <a:pt x="849" y="366"/>
                  </a:lnTo>
                  <a:lnTo>
                    <a:pt x="849" y="368"/>
                  </a:lnTo>
                  <a:lnTo>
                    <a:pt x="846" y="368"/>
                  </a:lnTo>
                  <a:lnTo>
                    <a:pt x="846" y="368"/>
                  </a:lnTo>
                  <a:lnTo>
                    <a:pt x="846" y="371"/>
                  </a:lnTo>
                  <a:lnTo>
                    <a:pt x="846" y="371"/>
                  </a:lnTo>
                  <a:lnTo>
                    <a:pt x="849" y="371"/>
                  </a:lnTo>
                  <a:lnTo>
                    <a:pt x="849" y="371"/>
                  </a:lnTo>
                  <a:lnTo>
                    <a:pt x="849" y="371"/>
                  </a:lnTo>
                  <a:lnTo>
                    <a:pt x="852" y="371"/>
                  </a:lnTo>
                  <a:lnTo>
                    <a:pt x="854" y="374"/>
                  </a:lnTo>
                  <a:lnTo>
                    <a:pt x="854" y="376"/>
                  </a:lnTo>
                  <a:lnTo>
                    <a:pt x="854" y="379"/>
                  </a:lnTo>
                  <a:lnTo>
                    <a:pt x="854" y="379"/>
                  </a:lnTo>
                  <a:lnTo>
                    <a:pt x="852" y="384"/>
                  </a:lnTo>
                  <a:lnTo>
                    <a:pt x="854" y="384"/>
                  </a:lnTo>
                  <a:lnTo>
                    <a:pt x="854" y="387"/>
                  </a:lnTo>
                  <a:lnTo>
                    <a:pt x="854" y="387"/>
                  </a:lnTo>
                  <a:lnTo>
                    <a:pt x="854" y="390"/>
                  </a:lnTo>
                  <a:lnTo>
                    <a:pt x="857" y="392"/>
                  </a:lnTo>
                  <a:lnTo>
                    <a:pt x="860" y="392"/>
                  </a:lnTo>
                  <a:lnTo>
                    <a:pt x="862" y="392"/>
                  </a:lnTo>
                  <a:lnTo>
                    <a:pt x="862" y="395"/>
                  </a:lnTo>
                  <a:lnTo>
                    <a:pt x="862" y="395"/>
                  </a:lnTo>
                  <a:lnTo>
                    <a:pt x="862" y="398"/>
                  </a:lnTo>
                  <a:lnTo>
                    <a:pt x="862" y="398"/>
                  </a:lnTo>
                  <a:lnTo>
                    <a:pt x="865" y="400"/>
                  </a:lnTo>
                  <a:lnTo>
                    <a:pt x="865" y="403"/>
                  </a:lnTo>
                  <a:lnTo>
                    <a:pt x="865" y="403"/>
                  </a:lnTo>
                  <a:lnTo>
                    <a:pt x="868" y="400"/>
                  </a:lnTo>
                  <a:lnTo>
                    <a:pt x="868" y="400"/>
                  </a:lnTo>
                  <a:lnTo>
                    <a:pt x="870" y="400"/>
                  </a:lnTo>
                  <a:lnTo>
                    <a:pt x="870" y="403"/>
                  </a:lnTo>
                  <a:lnTo>
                    <a:pt x="870" y="403"/>
                  </a:lnTo>
                  <a:lnTo>
                    <a:pt x="873" y="403"/>
                  </a:lnTo>
                  <a:lnTo>
                    <a:pt x="876" y="403"/>
                  </a:lnTo>
                  <a:lnTo>
                    <a:pt x="878" y="403"/>
                  </a:lnTo>
                  <a:lnTo>
                    <a:pt x="878" y="406"/>
                  </a:lnTo>
                  <a:lnTo>
                    <a:pt x="878" y="406"/>
                  </a:lnTo>
                  <a:lnTo>
                    <a:pt x="878" y="408"/>
                  </a:lnTo>
                  <a:lnTo>
                    <a:pt x="878" y="408"/>
                  </a:lnTo>
                  <a:lnTo>
                    <a:pt x="878" y="411"/>
                  </a:lnTo>
                  <a:lnTo>
                    <a:pt x="878" y="411"/>
                  </a:lnTo>
                  <a:lnTo>
                    <a:pt x="876" y="414"/>
                  </a:lnTo>
                  <a:lnTo>
                    <a:pt x="876" y="414"/>
                  </a:lnTo>
                  <a:lnTo>
                    <a:pt x="878" y="416"/>
                  </a:lnTo>
                  <a:lnTo>
                    <a:pt x="878" y="414"/>
                  </a:lnTo>
                  <a:lnTo>
                    <a:pt x="878" y="414"/>
                  </a:lnTo>
                  <a:lnTo>
                    <a:pt x="881" y="414"/>
                  </a:lnTo>
                  <a:lnTo>
                    <a:pt x="881" y="414"/>
                  </a:lnTo>
                  <a:lnTo>
                    <a:pt x="881" y="411"/>
                  </a:lnTo>
                  <a:lnTo>
                    <a:pt x="884" y="411"/>
                  </a:lnTo>
                  <a:lnTo>
                    <a:pt x="884" y="414"/>
                  </a:lnTo>
                  <a:lnTo>
                    <a:pt x="889" y="414"/>
                  </a:lnTo>
                  <a:lnTo>
                    <a:pt x="889" y="416"/>
                  </a:lnTo>
                  <a:lnTo>
                    <a:pt x="886" y="416"/>
                  </a:lnTo>
                  <a:lnTo>
                    <a:pt x="886" y="422"/>
                  </a:lnTo>
                  <a:lnTo>
                    <a:pt x="889" y="422"/>
                  </a:lnTo>
                  <a:lnTo>
                    <a:pt x="889" y="424"/>
                  </a:lnTo>
                  <a:lnTo>
                    <a:pt x="889" y="424"/>
                  </a:lnTo>
                  <a:lnTo>
                    <a:pt x="886" y="427"/>
                  </a:lnTo>
                  <a:lnTo>
                    <a:pt x="886" y="430"/>
                  </a:lnTo>
                  <a:lnTo>
                    <a:pt x="886" y="432"/>
                  </a:lnTo>
                  <a:lnTo>
                    <a:pt x="886" y="432"/>
                  </a:lnTo>
                  <a:lnTo>
                    <a:pt x="886" y="435"/>
                  </a:lnTo>
                  <a:lnTo>
                    <a:pt x="889" y="438"/>
                  </a:lnTo>
                  <a:lnTo>
                    <a:pt x="889" y="438"/>
                  </a:lnTo>
                  <a:lnTo>
                    <a:pt x="889" y="438"/>
                  </a:lnTo>
                  <a:lnTo>
                    <a:pt x="886" y="438"/>
                  </a:lnTo>
                  <a:lnTo>
                    <a:pt x="886" y="443"/>
                  </a:lnTo>
                  <a:lnTo>
                    <a:pt x="884" y="446"/>
                  </a:lnTo>
                  <a:lnTo>
                    <a:pt x="886" y="449"/>
                  </a:lnTo>
                  <a:lnTo>
                    <a:pt x="884" y="449"/>
                  </a:lnTo>
                  <a:lnTo>
                    <a:pt x="884" y="451"/>
                  </a:lnTo>
                  <a:lnTo>
                    <a:pt x="881" y="451"/>
                  </a:lnTo>
                  <a:lnTo>
                    <a:pt x="884" y="454"/>
                  </a:lnTo>
                  <a:lnTo>
                    <a:pt x="881" y="454"/>
                  </a:lnTo>
                  <a:lnTo>
                    <a:pt x="881" y="454"/>
                  </a:lnTo>
                  <a:lnTo>
                    <a:pt x="876" y="459"/>
                  </a:lnTo>
                  <a:lnTo>
                    <a:pt x="873" y="459"/>
                  </a:lnTo>
                  <a:lnTo>
                    <a:pt x="873" y="459"/>
                  </a:lnTo>
                  <a:lnTo>
                    <a:pt x="873" y="462"/>
                  </a:lnTo>
                  <a:lnTo>
                    <a:pt x="870" y="465"/>
                  </a:lnTo>
                  <a:lnTo>
                    <a:pt x="868" y="465"/>
                  </a:lnTo>
                  <a:lnTo>
                    <a:pt x="868" y="467"/>
                  </a:lnTo>
                  <a:lnTo>
                    <a:pt x="865" y="467"/>
                  </a:lnTo>
                  <a:lnTo>
                    <a:pt x="865" y="470"/>
                  </a:lnTo>
                  <a:lnTo>
                    <a:pt x="862" y="470"/>
                  </a:lnTo>
                  <a:lnTo>
                    <a:pt x="862" y="475"/>
                  </a:lnTo>
                  <a:lnTo>
                    <a:pt x="860" y="475"/>
                  </a:lnTo>
                  <a:lnTo>
                    <a:pt x="860" y="481"/>
                  </a:lnTo>
                  <a:lnTo>
                    <a:pt x="857" y="478"/>
                  </a:lnTo>
                  <a:lnTo>
                    <a:pt x="852" y="481"/>
                  </a:lnTo>
                  <a:lnTo>
                    <a:pt x="849" y="481"/>
                  </a:lnTo>
                  <a:lnTo>
                    <a:pt x="846" y="481"/>
                  </a:lnTo>
                  <a:lnTo>
                    <a:pt x="844" y="483"/>
                  </a:lnTo>
                  <a:lnTo>
                    <a:pt x="841" y="483"/>
                  </a:lnTo>
                  <a:lnTo>
                    <a:pt x="841" y="483"/>
                  </a:lnTo>
                  <a:lnTo>
                    <a:pt x="838" y="483"/>
                  </a:lnTo>
                  <a:lnTo>
                    <a:pt x="836" y="486"/>
                  </a:lnTo>
                  <a:lnTo>
                    <a:pt x="836" y="486"/>
                  </a:lnTo>
                  <a:lnTo>
                    <a:pt x="833" y="486"/>
                  </a:lnTo>
                  <a:lnTo>
                    <a:pt x="833" y="489"/>
                  </a:lnTo>
                  <a:lnTo>
                    <a:pt x="833" y="489"/>
                  </a:lnTo>
                  <a:lnTo>
                    <a:pt x="830" y="491"/>
                  </a:lnTo>
                  <a:lnTo>
                    <a:pt x="830" y="491"/>
                  </a:lnTo>
                  <a:lnTo>
                    <a:pt x="828" y="497"/>
                  </a:lnTo>
                  <a:lnTo>
                    <a:pt x="825" y="499"/>
                  </a:lnTo>
                  <a:lnTo>
                    <a:pt x="820" y="499"/>
                  </a:lnTo>
                  <a:lnTo>
                    <a:pt x="820" y="499"/>
                  </a:lnTo>
                  <a:lnTo>
                    <a:pt x="817" y="499"/>
                  </a:lnTo>
                  <a:lnTo>
                    <a:pt x="817" y="502"/>
                  </a:lnTo>
                  <a:lnTo>
                    <a:pt x="814" y="502"/>
                  </a:lnTo>
                  <a:lnTo>
                    <a:pt x="814" y="502"/>
                  </a:lnTo>
                  <a:lnTo>
                    <a:pt x="812" y="502"/>
                  </a:lnTo>
                  <a:lnTo>
                    <a:pt x="809" y="502"/>
                  </a:lnTo>
                  <a:lnTo>
                    <a:pt x="809" y="502"/>
                  </a:lnTo>
                  <a:lnTo>
                    <a:pt x="809" y="502"/>
                  </a:lnTo>
                  <a:lnTo>
                    <a:pt x="806" y="502"/>
                  </a:lnTo>
                  <a:lnTo>
                    <a:pt x="804" y="502"/>
                  </a:lnTo>
                  <a:lnTo>
                    <a:pt x="801" y="507"/>
                  </a:lnTo>
                  <a:lnTo>
                    <a:pt x="798" y="507"/>
                  </a:lnTo>
                  <a:lnTo>
                    <a:pt x="798" y="510"/>
                  </a:lnTo>
                  <a:lnTo>
                    <a:pt x="801" y="510"/>
                  </a:lnTo>
                  <a:lnTo>
                    <a:pt x="801" y="513"/>
                  </a:lnTo>
                  <a:lnTo>
                    <a:pt x="801" y="513"/>
                  </a:lnTo>
                  <a:lnTo>
                    <a:pt x="801" y="513"/>
                  </a:lnTo>
                  <a:lnTo>
                    <a:pt x="798" y="515"/>
                  </a:lnTo>
                  <a:lnTo>
                    <a:pt x="798" y="515"/>
                  </a:lnTo>
                  <a:lnTo>
                    <a:pt x="798" y="515"/>
                  </a:lnTo>
                  <a:lnTo>
                    <a:pt x="796" y="518"/>
                  </a:lnTo>
                  <a:lnTo>
                    <a:pt x="793" y="515"/>
                  </a:lnTo>
                  <a:lnTo>
                    <a:pt x="790" y="515"/>
                  </a:lnTo>
                  <a:lnTo>
                    <a:pt x="790" y="515"/>
                  </a:lnTo>
                  <a:lnTo>
                    <a:pt x="785" y="515"/>
                  </a:lnTo>
                  <a:lnTo>
                    <a:pt x="782" y="510"/>
                  </a:lnTo>
                  <a:lnTo>
                    <a:pt x="780" y="513"/>
                  </a:lnTo>
                  <a:lnTo>
                    <a:pt x="780" y="513"/>
                  </a:lnTo>
                  <a:lnTo>
                    <a:pt x="777" y="513"/>
                  </a:lnTo>
                  <a:lnTo>
                    <a:pt x="777" y="515"/>
                  </a:lnTo>
                  <a:lnTo>
                    <a:pt x="777" y="515"/>
                  </a:lnTo>
                  <a:lnTo>
                    <a:pt x="774" y="518"/>
                  </a:lnTo>
                  <a:lnTo>
                    <a:pt x="774" y="521"/>
                  </a:lnTo>
                  <a:lnTo>
                    <a:pt x="774" y="521"/>
                  </a:lnTo>
                  <a:lnTo>
                    <a:pt x="772" y="523"/>
                  </a:lnTo>
                  <a:lnTo>
                    <a:pt x="772" y="523"/>
                  </a:lnTo>
                  <a:lnTo>
                    <a:pt x="772" y="523"/>
                  </a:lnTo>
                  <a:lnTo>
                    <a:pt x="769" y="523"/>
                  </a:lnTo>
                  <a:lnTo>
                    <a:pt x="772" y="526"/>
                  </a:lnTo>
                  <a:lnTo>
                    <a:pt x="772" y="526"/>
                  </a:lnTo>
                  <a:lnTo>
                    <a:pt x="772" y="526"/>
                  </a:lnTo>
                  <a:lnTo>
                    <a:pt x="772" y="529"/>
                  </a:lnTo>
                  <a:lnTo>
                    <a:pt x="769" y="529"/>
                  </a:lnTo>
                  <a:lnTo>
                    <a:pt x="769" y="529"/>
                  </a:lnTo>
                  <a:lnTo>
                    <a:pt x="769" y="531"/>
                  </a:lnTo>
                  <a:lnTo>
                    <a:pt x="766" y="531"/>
                  </a:lnTo>
                  <a:lnTo>
                    <a:pt x="766" y="534"/>
                  </a:lnTo>
                  <a:lnTo>
                    <a:pt x="766" y="534"/>
                  </a:lnTo>
                  <a:lnTo>
                    <a:pt x="764" y="537"/>
                  </a:lnTo>
                  <a:lnTo>
                    <a:pt x="764" y="537"/>
                  </a:lnTo>
                  <a:lnTo>
                    <a:pt x="764" y="539"/>
                  </a:lnTo>
                  <a:lnTo>
                    <a:pt x="761" y="542"/>
                  </a:lnTo>
                  <a:lnTo>
                    <a:pt x="761" y="542"/>
                  </a:lnTo>
                  <a:lnTo>
                    <a:pt x="761" y="545"/>
                  </a:lnTo>
                  <a:lnTo>
                    <a:pt x="761" y="545"/>
                  </a:lnTo>
                  <a:lnTo>
                    <a:pt x="761" y="547"/>
                  </a:lnTo>
                  <a:lnTo>
                    <a:pt x="758" y="547"/>
                  </a:lnTo>
                  <a:lnTo>
                    <a:pt x="758" y="550"/>
                  </a:lnTo>
                  <a:lnTo>
                    <a:pt x="756" y="550"/>
                  </a:lnTo>
                  <a:lnTo>
                    <a:pt x="756" y="553"/>
                  </a:lnTo>
                  <a:lnTo>
                    <a:pt x="753" y="553"/>
                  </a:lnTo>
                  <a:lnTo>
                    <a:pt x="750" y="555"/>
                  </a:lnTo>
                  <a:lnTo>
                    <a:pt x="750" y="558"/>
                  </a:lnTo>
                  <a:lnTo>
                    <a:pt x="748" y="558"/>
                  </a:lnTo>
                  <a:lnTo>
                    <a:pt x="745" y="561"/>
                  </a:lnTo>
                  <a:lnTo>
                    <a:pt x="742" y="561"/>
                  </a:lnTo>
                  <a:lnTo>
                    <a:pt x="742" y="561"/>
                  </a:lnTo>
                  <a:lnTo>
                    <a:pt x="740" y="561"/>
                  </a:lnTo>
                  <a:lnTo>
                    <a:pt x="740" y="563"/>
                  </a:lnTo>
                  <a:lnTo>
                    <a:pt x="740" y="563"/>
                  </a:lnTo>
                  <a:lnTo>
                    <a:pt x="737" y="563"/>
                  </a:lnTo>
                  <a:lnTo>
                    <a:pt x="734" y="566"/>
                  </a:lnTo>
                  <a:lnTo>
                    <a:pt x="732" y="566"/>
                  </a:lnTo>
                  <a:lnTo>
                    <a:pt x="732" y="566"/>
                  </a:lnTo>
                  <a:lnTo>
                    <a:pt x="729" y="569"/>
                  </a:lnTo>
                  <a:lnTo>
                    <a:pt x="726" y="571"/>
                  </a:lnTo>
                  <a:lnTo>
                    <a:pt x="724" y="571"/>
                  </a:lnTo>
                  <a:lnTo>
                    <a:pt x="724" y="574"/>
                  </a:lnTo>
                  <a:lnTo>
                    <a:pt x="726" y="574"/>
                  </a:lnTo>
                  <a:lnTo>
                    <a:pt x="726" y="579"/>
                  </a:lnTo>
                  <a:lnTo>
                    <a:pt x="721" y="579"/>
                  </a:lnTo>
                  <a:lnTo>
                    <a:pt x="718" y="582"/>
                  </a:lnTo>
                  <a:lnTo>
                    <a:pt x="718" y="582"/>
                  </a:lnTo>
                  <a:lnTo>
                    <a:pt x="718" y="582"/>
                  </a:lnTo>
                  <a:lnTo>
                    <a:pt x="716" y="585"/>
                  </a:lnTo>
                  <a:lnTo>
                    <a:pt x="716" y="587"/>
                  </a:lnTo>
                  <a:lnTo>
                    <a:pt x="718" y="587"/>
                  </a:lnTo>
                  <a:lnTo>
                    <a:pt x="718" y="587"/>
                  </a:lnTo>
                  <a:lnTo>
                    <a:pt x="718" y="587"/>
                  </a:lnTo>
                  <a:lnTo>
                    <a:pt x="718" y="590"/>
                  </a:lnTo>
                  <a:lnTo>
                    <a:pt x="718" y="590"/>
                  </a:lnTo>
                  <a:lnTo>
                    <a:pt x="718" y="593"/>
                  </a:lnTo>
                  <a:lnTo>
                    <a:pt x="716" y="593"/>
                  </a:lnTo>
                  <a:lnTo>
                    <a:pt x="713" y="593"/>
                  </a:lnTo>
                  <a:lnTo>
                    <a:pt x="713" y="598"/>
                  </a:lnTo>
                  <a:lnTo>
                    <a:pt x="713" y="598"/>
                  </a:lnTo>
                  <a:lnTo>
                    <a:pt x="713" y="595"/>
                  </a:lnTo>
                  <a:lnTo>
                    <a:pt x="710" y="598"/>
                  </a:lnTo>
                  <a:lnTo>
                    <a:pt x="710" y="598"/>
                  </a:lnTo>
                  <a:lnTo>
                    <a:pt x="710" y="601"/>
                  </a:lnTo>
                  <a:lnTo>
                    <a:pt x="713" y="601"/>
                  </a:lnTo>
                  <a:lnTo>
                    <a:pt x="710" y="603"/>
                  </a:lnTo>
                  <a:lnTo>
                    <a:pt x="708" y="603"/>
                  </a:lnTo>
                  <a:lnTo>
                    <a:pt x="708" y="603"/>
                  </a:lnTo>
                  <a:lnTo>
                    <a:pt x="705" y="603"/>
                  </a:lnTo>
                  <a:lnTo>
                    <a:pt x="705" y="603"/>
                  </a:lnTo>
                  <a:lnTo>
                    <a:pt x="702" y="603"/>
                  </a:lnTo>
                  <a:lnTo>
                    <a:pt x="700" y="603"/>
                  </a:lnTo>
                  <a:lnTo>
                    <a:pt x="700" y="603"/>
                  </a:lnTo>
                  <a:lnTo>
                    <a:pt x="697" y="603"/>
                  </a:lnTo>
                  <a:lnTo>
                    <a:pt x="694" y="603"/>
                  </a:lnTo>
                  <a:lnTo>
                    <a:pt x="694" y="603"/>
                  </a:lnTo>
                  <a:lnTo>
                    <a:pt x="691" y="601"/>
                  </a:lnTo>
                  <a:lnTo>
                    <a:pt x="691" y="598"/>
                  </a:lnTo>
                  <a:lnTo>
                    <a:pt x="689" y="598"/>
                  </a:lnTo>
                  <a:lnTo>
                    <a:pt x="686" y="598"/>
                  </a:lnTo>
                  <a:lnTo>
                    <a:pt x="683" y="598"/>
                  </a:lnTo>
                  <a:lnTo>
                    <a:pt x="681" y="598"/>
                  </a:lnTo>
                  <a:lnTo>
                    <a:pt x="678" y="598"/>
                  </a:lnTo>
                  <a:lnTo>
                    <a:pt x="678" y="598"/>
                  </a:lnTo>
                  <a:lnTo>
                    <a:pt x="678" y="598"/>
                  </a:lnTo>
                  <a:lnTo>
                    <a:pt x="675" y="598"/>
                  </a:lnTo>
                  <a:lnTo>
                    <a:pt x="675" y="601"/>
                  </a:lnTo>
                  <a:lnTo>
                    <a:pt x="673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70" y="598"/>
                  </a:lnTo>
                  <a:lnTo>
                    <a:pt x="667" y="598"/>
                  </a:lnTo>
                  <a:lnTo>
                    <a:pt x="665" y="601"/>
                  </a:lnTo>
                  <a:lnTo>
                    <a:pt x="665" y="603"/>
                  </a:lnTo>
                  <a:lnTo>
                    <a:pt x="662" y="606"/>
                  </a:lnTo>
                  <a:lnTo>
                    <a:pt x="659" y="606"/>
                  </a:lnTo>
                  <a:lnTo>
                    <a:pt x="659" y="609"/>
                  </a:lnTo>
                  <a:lnTo>
                    <a:pt x="659" y="609"/>
                  </a:lnTo>
                  <a:lnTo>
                    <a:pt x="657" y="612"/>
                  </a:lnTo>
                  <a:lnTo>
                    <a:pt x="657" y="612"/>
                  </a:lnTo>
                  <a:lnTo>
                    <a:pt x="654" y="612"/>
                  </a:lnTo>
                  <a:lnTo>
                    <a:pt x="654" y="614"/>
                  </a:lnTo>
                  <a:lnTo>
                    <a:pt x="651" y="617"/>
                  </a:lnTo>
                  <a:lnTo>
                    <a:pt x="651" y="617"/>
                  </a:lnTo>
                  <a:lnTo>
                    <a:pt x="649" y="620"/>
                  </a:lnTo>
                  <a:lnTo>
                    <a:pt x="649" y="620"/>
                  </a:lnTo>
                  <a:lnTo>
                    <a:pt x="646" y="620"/>
                  </a:lnTo>
                  <a:lnTo>
                    <a:pt x="643" y="620"/>
                  </a:lnTo>
                  <a:lnTo>
                    <a:pt x="643" y="620"/>
                  </a:lnTo>
                  <a:lnTo>
                    <a:pt x="641" y="620"/>
                  </a:lnTo>
                  <a:lnTo>
                    <a:pt x="641" y="620"/>
                  </a:lnTo>
                  <a:lnTo>
                    <a:pt x="641" y="622"/>
                  </a:lnTo>
                  <a:lnTo>
                    <a:pt x="638" y="622"/>
                  </a:lnTo>
                  <a:lnTo>
                    <a:pt x="638" y="622"/>
                  </a:lnTo>
                  <a:lnTo>
                    <a:pt x="638" y="622"/>
                  </a:lnTo>
                  <a:lnTo>
                    <a:pt x="635" y="625"/>
                  </a:lnTo>
                  <a:lnTo>
                    <a:pt x="635" y="625"/>
                  </a:lnTo>
                  <a:lnTo>
                    <a:pt x="635" y="625"/>
                  </a:lnTo>
                  <a:lnTo>
                    <a:pt x="638" y="628"/>
                  </a:lnTo>
                  <a:lnTo>
                    <a:pt x="638" y="628"/>
                  </a:lnTo>
                  <a:lnTo>
                    <a:pt x="635" y="628"/>
                  </a:lnTo>
                  <a:lnTo>
                    <a:pt x="635" y="628"/>
                  </a:lnTo>
                  <a:lnTo>
                    <a:pt x="635" y="628"/>
                  </a:lnTo>
                  <a:lnTo>
                    <a:pt x="633" y="625"/>
                  </a:lnTo>
                  <a:lnTo>
                    <a:pt x="633" y="628"/>
                  </a:lnTo>
                  <a:lnTo>
                    <a:pt x="630" y="630"/>
                  </a:lnTo>
                  <a:lnTo>
                    <a:pt x="630" y="630"/>
                  </a:lnTo>
                  <a:lnTo>
                    <a:pt x="627" y="630"/>
                  </a:lnTo>
                  <a:lnTo>
                    <a:pt x="625" y="628"/>
                  </a:lnTo>
                  <a:lnTo>
                    <a:pt x="625" y="625"/>
                  </a:lnTo>
                  <a:lnTo>
                    <a:pt x="622" y="628"/>
                  </a:lnTo>
                  <a:lnTo>
                    <a:pt x="622" y="625"/>
                  </a:lnTo>
                  <a:lnTo>
                    <a:pt x="619" y="625"/>
                  </a:lnTo>
                  <a:lnTo>
                    <a:pt x="619" y="622"/>
                  </a:lnTo>
                  <a:lnTo>
                    <a:pt x="619" y="622"/>
                  </a:lnTo>
                  <a:lnTo>
                    <a:pt x="619" y="622"/>
                  </a:lnTo>
                  <a:lnTo>
                    <a:pt x="617" y="620"/>
                  </a:lnTo>
                  <a:lnTo>
                    <a:pt x="617" y="620"/>
                  </a:lnTo>
                  <a:lnTo>
                    <a:pt x="617" y="617"/>
                  </a:lnTo>
                  <a:lnTo>
                    <a:pt x="614" y="617"/>
                  </a:lnTo>
                  <a:lnTo>
                    <a:pt x="614" y="622"/>
                  </a:lnTo>
                  <a:lnTo>
                    <a:pt x="614" y="622"/>
                  </a:lnTo>
                  <a:lnTo>
                    <a:pt x="614" y="622"/>
                  </a:lnTo>
                  <a:lnTo>
                    <a:pt x="611" y="622"/>
                  </a:lnTo>
                  <a:lnTo>
                    <a:pt x="611" y="625"/>
                  </a:lnTo>
                  <a:lnTo>
                    <a:pt x="609" y="625"/>
                  </a:lnTo>
                  <a:lnTo>
                    <a:pt x="609" y="625"/>
                  </a:lnTo>
                  <a:lnTo>
                    <a:pt x="609" y="625"/>
                  </a:lnTo>
                  <a:lnTo>
                    <a:pt x="606" y="628"/>
                  </a:lnTo>
                  <a:lnTo>
                    <a:pt x="606" y="628"/>
                  </a:lnTo>
                  <a:lnTo>
                    <a:pt x="606" y="628"/>
                  </a:lnTo>
                  <a:lnTo>
                    <a:pt x="601" y="625"/>
                  </a:lnTo>
                  <a:lnTo>
                    <a:pt x="601" y="628"/>
                  </a:lnTo>
                  <a:lnTo>
                    <a:pt x="598" y="628"/>
                  </a:lnTo>
                  <a:lnTo>
                    <a:pt x="595" y="625"/>
                  </a:lnTo>
                  <a:lnTo>
                    <a:pt x="595" y="625"/>
                  </a:lnTo>
                  <a:lnTo>
                    <a:pt x="593" y="625"/>
                  </a:lnTo>
                  <a:lnTo>
                    <a:pt x="593" y="622"/>
                  </a:lnTo>
                  <a:lnTo>
                    <a:pt x="590" y="622"/>
                  </a:lnTo>
                  <a:lnTo>
                    <a:pt x="590" y="622"/>
                  </a:lnTo>
                  <a:lnTo>
                    <a:pt x="590" y="622"/>
                  </a:lnTo>
                  <a:lnTo>
                    <a:pt x="590" y="625"/>
                  </a:lnTo>
                  <a:lnTo>
                    <a:pt x="590" y="628"/>
                  </a:lnTo>
                  <a:lnTo>
                    <a:pt x="590" y="630"/>
                  </a:lnTo>
                  <a:lnTo>
                    <a:pt x="590" y="630"/>
                  </a:lnTo>
                  <a:lnTo>
                    <a:pt x="587" y="633"/>
                  </a:lnTo>
                  <a:lnTo>
                    <a:pt x="587" y="633"/>
                  </a:lnTo>
                  <a:lnTo>
                    <a:pt x="587" y="630"/>
                  </a:lnTo>
                  <a:lnTo>
                    <a:pt x="585" y="630"/>
                  </a:lnTo>
                  <a:lnTo>
                    <a:pt x="585" y="630"/>
                  </a:lnTo>
                  <a:lnTo>
                    <a:pt x="585" y="633"/>
                  </a:lnTo>
                  <a:lnTo>
                    <a:pt x="582" y="638"/>
                  </a:lnTo>
                  <a:lnTo>
                    <a:pt x="582" y="641"/>
                  </a:lnTo>
                  <a:lnTo>
                    <a:pt x="582" y="641"/>
                  </a:lnTo>
                  <a:lnTo>
                    <a:pt x="582" y="644"/>
                  </a:lnTo>
                  <a:lnTo>
                    <a:pt x="579" y="644"/>
                  </a:lnTo>
                  <a:lnTo>
                    <a:pt x="579" y="646"/>
                  </a:lnTo>
                  <a:lnTo>
                    <a:pt x="579" y="649"/>
                  </a:lnTo>
                  <a:lnTo>
                    <a:pt x="579" y="649"/>
                  </a:lnTo>
                  <a:lnTo>
                    <a:pt x="582" y="649"/>
                  </a:lnTo>
                  <a:lnTo>
                    <a:pt x="585" y="652"/>
                  </a:lnTo>
                  <a:lnTo>
                    <a:pt x="590" y="652"/>
                  </a:lnTo>
                  <a:lnTo>
                    <a:pt x="590" y="654"/>
                  </a:lnTo>
                  <a:lnTo>
                    <a:pt x="593" y="654"/>
                  </a:lnTo>
                  <a:lnTo>
                    <a:pt x="593" y="657"/>
                  </a:lnTo>
                  <a:lnTo>
                    <a:pt x="593" y="657"/>
                  </a:lnTo>
                  <a:lnTo>
                    <a:pt x="590" y="660"/>
                  </a:lnTo>
                  <a:lnTo>
                    <a:pt x="590" y="662"/>
                  </a:lnTo>
                  <a:lnTo>
                    <a:pt x="590" y="662"/>
                  </a:lnTo>
                  <a:lnTo>
                    <a:pt x="587" y="665"/>
                  </a:lnTo>
                  <a:lnTo>
                    <a:pt x="587" y="665"/>
                  </a:lnTo>
                  <a:lnTo>
                    <a:pt x="585" y="665"/>
                  </a:lnTo>
                  <a:lnTo>
                    <a:pt x="579" y="665"/>
                  </a:lnTo>
                  <a:lnTo>
                    <a:pt x="579" y="676"/>
                  </a:lnTo>
                  <a:lnTo>
                    <a:pt x="577" y="681"/>
                  </a:lnTo>
                  <a:lnTo>
                    <a:pt x="577" y="681"/>
                  </a:lnTo>
                  <a:lnTo>
                    <a:pt x="579" y="684"/>
                  </a:lnTo>
                  <a:lnTo>
                    <a:pt x="579" y="686"/>
                  </a:lnTo>
                  <a:lnTo>
                    <a:pt x="579" y="686"/>
                  </a:lnTo>
                  <a:lnTo>
                    <a:pt x="577" y="686"/>
                  </a:lnTo>
                  <a:lnTo>
                    <a:pt x="577" y="689"/>
                  </a:lnTo>
                  <a:lnTo>
                    <a:pt x="569" y="694"/>
                  </a:lnTo>
                  <a:lnTo>
                    <a:pt x="569" y="694"/>
                  </a:lnTo>
                  <a:lnTo>
                    <a:pt x="577" y="705"/>
                  </a:lnTo>
                  <a:lnTo>
                    <a:pt x="579" y="702"/>
                  </a:lnTo>
                  <a:lnTo>
                    <a:pt x="582" y="705"/>
                  </a:lnTo>
                  <a:lnTo>
                    <a:pt x="582" y="705"/>
                  </a:lnTo>
                  <a:lnTo>
                    <a:pt x="582" y="705"/>
                  </a:lnTo>
                  <a:lnTo>
                    <a:pt x="585" y="705"/>
                  </a:lnTo>
                  <a:lnTo>
                    <a:pt x="587" y="705"/>
                  </a:lnTo>
                  <a:lnTo>
                    <a:pt x="587" y="708"/>
                  </a:lnTo>
                  <a:lnTo>
                    <a:pt x="590" y="708"/>
                  </a:lnTo>
                  <a:lnTo>
                    <a:pt x="590" y="705"/>
                  </a:lnTo>
                  <a:lnTo>
                    <a:pt x="593" y="708"/>
                  </a:lnTo>
                  <a:lnTo>
                    <a:pt x="595" y="708"/>
                  </a:lnTo>
                  <a:lnTo>
                    <a:pt x="595" y="710"/>
                  </a:lnTo>
                  <a:lnTo>
                    <a:pt x="598" y="710"/>
                  </a:lnTo>
                  <a:lnTo>
                    <a:pt x="598" y="710"/>
                  </a:lnTo>
                  <a:lnTo>
                    <a:pt x="598" y="710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601" y="713"/>
                  </a:lnTo>
                  <a:lnTo>
                    <a:pt x="603" y="713"/>
                  </a:lnTo>
                  <a:lnTo>
                    <a:pt x="606" y="713"/>
                  </a:lnTo>
                  <a:lnTo>
                    <a:pt x="606" y="710"/>
                  </a:lnTo>
                  <a:lnTo>
                    <a:pt x="609" y="713"/>
                  </a:lnTo>
                  <a:lnTo>
                    <a:pt x="609" y="713"/>
                  </a:lnTo>
                  <a:lnTo>
                    <a:pt x="609" y="716"/>
                  </a:lnTo>
                  <a:lnTo>
                    <a:pt x="609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3" y="718"/>
                  </a:lnTo>
                  <a:lnTo>
                    <a:pt x="601" y="718"/>
                  </a:lnTo>
                  <a:lnTo>
                    <a:pt x="598" y="721"/>
                  </a:lnTo>
                  <a:lnTo>
                    <a:pt x="598" y="721"/>
                  </a:lnTo>
                  <a:lnTo>
                    <a:pt x="595" y="721"/>
                  </a:lnTo>
                  <a:lnTo>
                    <a:pt x="595" y="718"/>
                  </a:lnTo>
                  <a:lnTo>
                    <a:pt x="593" y="721"/>
                  </a:lnTo>
                  <a:lnTo>
                    <a:pt x="593" y="721"/>
                  </a:lnTo>
                  <a:lnTo>
                    <a:pt x="593" y="724"/>
                  </a:lnTo>
                  <a:lnTo>
                    <a:pt x="593" y="726"/>
                  </a:lnTo>
                  <a:lnTo>
                    <a:pt x="590" y="726"/>
                  </a:lnTo>
                  <a:lnTo>
                    <a:pt x="590" y="726"/>
                  </a:lnTo>
                  <a:lnTo>
                    <a:pt x="582" y="726"/>
                  </a:lnTo>
                  <a:lnTo>
                    <a:pt x="582" y="726"/>
                  </a:lnTo>
                  <a:lnTo>
                    <a:pt x="579" y="726"/>
                  </a:lnTo>
                  <a:lnTo>
                    <a:pt x="579" y="729"/>
                  </a:lnTo>
                  <a:lnTo>
                    <a:pt x="579" y="732"/>
                  </a:lnTo>
                  <a:lnTo>
                    <a:pt x="579" y="732"/>
                  </a:lnTo>
                  <a:lnTo>
                    <a:pt x="577" y="737"/>
                  </a:lnTo>
                  <a:lnTo>
                    <a:pt x="574" y="734"/>
                  </a:lnTo>
                  <a:lnTo>
                    <a:pt x="569" y="737"/>
                  </a:lnTo>
                  <a:lnTo>
                    <a:pt x="569" y="740"/>
                  </a:lnTo>
                  <a:lnTo>
                    <a:pt x="566" y="745"/>
                  </a:lnTo>
                  <a:lnTo>
                    <a:pt x="569" y="748"/>
                  </a:lnTo>
                  <a:lnTo>
                    <a:pt x="566" y="748"/>
                  </a:lnTo>
                  <a:lnTo>
                    <a:pt x="563" y="750"/>
                  </a:lnTo>
                  <a:lnTo>
                    <a:pt x="561" y="750"/>
                  </a:lnTo>
                  <a:lnTo>
                    <a:pt x="561" y="756"/>
                  </a:lnTo>
                  <a:lnTo>
                    <a:pt x="558" y="756"/>
                  </a:lnTo>
                  <a:lnTo>
                    <a:pt x="558" y="758"/>
                  </a:lnTo>
                  <a:lnTo>
                    <a:pt x="561" y="761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9"/>
                  </a:lnTo>
                  <a:lnTo>
                    <a:pt x="558" y="775"/>
                  </a:lnTo>
                  <a:lnTo>
                    <a:pt x="558" y="775"/>
                  </a:lnTo>
                  <a:lnTo>
                    <a:pt x="558" y="775"/>
                  </a:lnTo>
                  <a:lnTo>
                    <a:pt x="555" y="775"/>
                  </a:lnTo>
                  <a:lnTo>
                    <a:pt x="555" y="775"/>
                  </a:lnTo>
                  <a:lnTo>
                    <a:pt x="553" y="775"/>
                  </a:lnTo>
                  <a:lnTo>
                    <a:pt x="550" y="775"/>
                  </a:lnTo>
                  <a:lnTo>
                    <a:pt x="550" y="772"/>
                  </a:lnTo>
                  <a:lnTo>
                    <a:pt x="550" y="772"/>
                  </a:lnTo>
                  <a:lnTo>
                    <a:pt x="547" y="775"/>
                  </a:lnTo>
                  <a:lnTo>
                    <a:pt x="547" y="775"/>
                  </a:lnTo>
                  <a:lnTo>
                    <a:pt x="545" y="775"/>
                  </a:lnTo>
                  <a:lnTo>
                    <a:pt x="542" y="775"/>
                  </a:lnTo>
                  <a:lnTo>
                    <a:pt x="542" y="775"/>
                  </a:lnTo>
                  <a:lnTo>
                    <a:pt x="542" y="775"/>
                  </a:lnTo>
                  <a:lnTo>
                    <a:pt x="539" y="775"/>
                  </a:lnTo>
                  <a:lnTo>
                    <a:pt x="539" y="775"/>
                  </a:lnTo>
                  <a:lnTo>
                    <a:pt x="537" y="775"/>
                  </a:lnTo>
                  <a:lnTo>
                    <a:pt x="537" y="775"/>
                  </a:lnTo>
                  <a:lnTo>
                    <a:pt x="534" y="775"/>
                  </a:lnTo>
                  <a:lnTo>
                    <a:pt x="531" y="775"/>
                  </a:lnTo>
                  <a:lnTo>
                    <a:pt x="531" y="775"/>
                  </a:lnTo>
                  <a:lnTo>
                    <a:pt x="529" y="775"/>
                  </a:lnTo>
                  <a:lnTo>
                    <a:pt x="526" y="775"/>
                  </a:lnTo>
                  <a:lnTo>
                    <a:pt x="526" y="775"/>
                  </a:lnTo>
                  <a:lnTo>
                    <a:pt x="526" y="772"/>
                  </a:lnTo>
                  <a:lnTo>
                    <a:pt x="523" y="772"/>
                  </a:lnTo>
                  <a:lnTo>
                    <a:pt x="523" y="772"/>
                  </a:lnTo>
                  <a:lnTo>
                    <a:pt x="521" y="772"/>
                  </a:lnTo>
                  <a:lnTo>
                    <a:pt x="521" y="769"/>
                  </a:lnTo>
                  <a:lnTo>
                    <a:pt x="521" y="769"/>
                  </a:lnTo>
                  <a:lnTo>
                    <a:pt x="518" y="769"/>
                  </a:lnTo>
                  <a:lnTo>
                    <a:pt x="518" y="767"/>
                  </a:lnTo>
                  <a:lnTo>
                    <a:pt x="515" y="767"/>
                  </a:lnTo>
                  <a:lnTo>
                    <a:pt x="515" y="767"/>
                  </a:lnTo>
                  <a:lnTo>
                    <a:pt x="513" y="764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3" y="758"/>
                  </a:lnTo>
                  <a:lnTo>
                    <a:pt x="510" y="758"/>
                  </a:lnTo>
                  <a:lnTo>
                    <a:pt x="510" y="756"/>
                  </a:lnTo>
                  <a:lnTo>
                    <a:pt x="507" y="756"/>
                  </a:lnTo>
                  <a:lnTo>
                    <a:pt x="505" y="756"/>
                  </a:lnTo>
                  <a:lnTo>
                    <a:pt x="505" y="753"/>
                  </a:lnTo>
                  <a:lnTo>
                    <a:pt x="505" y="753"/>
                  </a:lnTo>
                  <a:lnTo>
                    <a:pt x="502" y="753"/>
                  </a:lnTo>
                  <a:lnTo>
                    <a:pt x="502" y="753"/>
                  </a:lnTo>
                  <a:lnTo>
                    <a:pt x="499" y="750"/>
                  </a:lnTo>
                  <a:lnTo>
                    <a:pt x="499" y="750"/>
                  </a:lnTo>
                  <a:lnTo>
                    <a:pt x="499" y="750"/>
                  </a:lnTo>
                  <a:lnTo>
                    <a:pt x="497" y="750"/>
                  </a:lnTo>
                  <a:lnTo>
                    <a:pt x="494" y="748"/>
                  </a:lnTo>
                  <a:lnTo>
                    <a:pt x="491" y="748"/>
                  </a:lnTo>
                  <a:lnTo>
                    <a:pt x="489" y="748"/>
                  </a:lnTo>
                  <a:lnTo>
                    <a:pt x="486" y="748"/>
                  </a:lnTo>
                  <a:lnTo>
                    <a:pt x="486" y="748"/>
                  </a:lnTo>
                  <a:lnTo>
                    <a:pt x="483" y="748"/>
                  </a:lnTo>
                  <a:lnTo>
                    <a:pt x="483" y="748"/>
                  </a:lnTo>
                  <a:lnTo>
                    <a:pt x="481" y="748"/>
                  </a:lnTo>
                  <a:lnTo>
                    <a:pt x="481" y="748"/>
                  </a:lnTo>
                  <a:lnTo>
                    <a:pt x="481" y="750"/>
                  </a:lnTo>
                  <a:lnTo>
                    <a:pt x="478" y="750"/>
                  </a:lnTo>
                  <a:lnTo>
                    <a:pt x="478" y="750"/>
                  </a:lnTo>
                  <a:lnTo>
                    <a:pt x="475" y="750"/>
                  </a:lnTo>
                  <a:lnTo>
                    <a:pt x="475" y="750"/>
                  </a:lnTo>
                  <a:lnTo>
                    <a:pt x="473" y="753"/>
                  </a:lnTo>
                  <a:lnTo>
                    <a:pt x="470" y="753"/>
                  </a:lnTo>
                  <a:lnTo>
                    <a:pt x="467" y="753"/>
                  </a:lnTo>
                  <a:lnTo>
                    <a:pt x="467" y="753"/>
                  </a:lnTo>
                  <a:lnTo>
                    <a:pt x="465" y="750"/>
                  </a:lnTo>
                  <a:lnTo>
                    <a:pt x="462" y="750"/>
                  </a:lnTo>
                  <a:lnTo>
                    <a:pt x="459" y="750"/>
                  </a:lnTo>
                  <a:lnTo>
                    <a:pt x="456" y="753"/>
                  </a:lnTo>
                  <a:lnTo>
                    <a:pt x="456" y="753"/>
                  </a:lnTo>
                  <a:lnTo>
                    <a:pt x="454" y="750"/>
                  </a:lnTo>
                  <a:lnTo>
                    <a:pt x="454" y="750"/>
                  </a:lnTo>
                  <a:lnTo>
                    <a:pt x="451" y="748"/>
                  </a:lnTo>
                  <a:lnTo>
                    <a:pt x="451" y="745"/>
                  </a:lnTo>
                  <a:lnTo>
                    <a:pt x="448" y="745"/>
                  </a:lnTo>
                  <a:lnTo>
                    <a:pt x="446" y="745"/>
                  </a:lnTo>
                  <a:lnTo>
                    <a:pt x="443" y="745"/>
                  </a:lnTo>
                  <a:lnTo>
                    <a:pt x="440" y="745"/>
                  </a:lnTo>
                  <a:lnTo>
                    <a:pt x="440" y="745"/>
                  </a:lnTo>
                  <a:lnTo>
                    <a:pt x="438" y="745"/>
                  </a:lnTo>
                  <a:lnTo>
                    <a:pt x="432" y="745"/>
                  </a:lnTo>
                  <a:lnTo>
                    <a:pt x="432" y="745"/>
                  </a:lnTo>
                  <a:lnTo>
                    <a:pt x="430" y="748"/>
                  </a:lnTo>
                  <a:lnTo>
                    <a:pt x="427" y="745"/>
                  </a:lnTo>
                  <a:lnTo>
                    <a:pt x="424" y="745"/>
                  </a:lnTo>
                  <a:lnTo>
                    <a:pt x="422" y="745"/>
                  </a:lnTo>
                  <a:lnTo>
                    <a:pt x="419" y="745"/>
                  </a:lnTo>
                  <a:lnTo>
                    <a:pt x="419" y="745"/>
                  </a:lnTo>
                  <a:lnTo>
                    <a:pt x="419" y="745"/>
                  </a:lnTo>
                  <a:lnTo>
                    <a:pt x="416" y="745"/>
                  </a:lnTo>
                  <a:lnTo>
                    <a:pt x="416" y="745"/>
                  </a:lnTo>
                  <a:lnTo>
                    <a:pt x="414" y="745"/>
                  </a:lnTo>
                  <a:lnTo>
                    <a:pt x="414" y="745"/>
                  </a:lnTo>
                  <a:lnTo>
                    <a:pt x="411" y="745"/>
                  </a:lnTo>
                  <a:lnTo>
                    <a:pt x="411" y="745"/>
                  </a:lnTo>
                  <a:lnTo>
                    <a:pt x="408" y="745"/>
                  </a:lnTo>
                  <a:lnTo>
                    <a:pt x="406" y="748"/>
                  </a:lnTo>
                  <a:lnTo>
                    <a:pt x="406" y="750"/>
                  </a:lnTo>
                  <a:lnTo>
                    <a:pt x="403" y="750"/>
                  </a:lnTo>
                  <a:lnTo>
                    <a:pt x="403" y="750"/>
                  </a:lnTo>
                  <a:lnTo>
                    <a:pt x="400" y="750"/>
                  </a:lnTo>
                  <a:lnTo>
                    <a:pt x="400" y="753"/>
                  </a:lnTo>
                  <a:lnTo>
                    <a:pt x="398" y="753"/>
                  </a:lnTo>
                  <a:lnTo>
                    <a:pt x="398" y="753"/>
                  </a:lnTo>
                  <a:lnTo>
                    <a:pt x="395" y="753"/>
                  </a:lnTo>
                  <a:lnTo>
                    <a:pt x="392" y="756"/>
                  </a:lnTo>
                  <a:lnTo>
                    <a:pt x="392" y="753"/>
                  </a:lnTo>
                  <a:lnTo>
                    <a:pt x="390" y="756"/>
                  </a:lnTo>
                  <a:lnTo>
                    <a:pt x="390" y="756"/>
                  </a:lnTo>
                  <a:lnTo>
                    <a:pt x="387" y="756"/>
                  </a:lnTo>
                  <a:lnTo>
                    <a:pt x="387" y="756"/>
                  </a:lnTo>
                  <a:lnTo>
                    <a:pt x="384" y="756"/>
                  </a:lnTo>
                  <a:lnTo>
                    <a:pt x="382" y="758"/>
                  </a:lnTo>
                  <a:lnTo>
                    <a:pt x="379" y="758"/>
                  </a:lnTo>
                  <a:lnTo>
                    <a:pt x="376" y="761"/>
                  </a:lnTo>
                  <a:lnTo>
                    <a:pt x="376" y="761"/>
                  </a:lnTo>
                  <a:lnTo>
                    <a:pt x="374" y="761"/>
                  </a:lnTo>
                  <a:lnTo>
                    <a:pt x="374" y="761"/>
                  </a:lnTo>
                  <a:lnTo>
                    <a:pt x="371" y="761"/>
                  </a:lnTo>
                  <a:lnTo>
                    <a:pt x="371" y="761"/>
                  </a:lnTo>
                  <a:lnTo>
                    <a:pt x="368" y="764"/>
                  </a:lnTo>
                  <a:lnTo>
                    <a:pt x="368" y="764"/>
                  </a:lnTo>
                  <a:lnTo>
                    <a:pt x="366" y="764"/>
                  </a:lnTo>
                  <a:lnTo>
                    <a:pt x="363" y="767"/>
                  </a:lnTo>
                  <a:lnTo>
                    <a:pt x="360" y="767"/>
                  </a:lnTo>
                  <a:lnTo>
                    <a:pt x="358" y="767"/>
                  </a:lnTo>
                  <a:lnTo>
                    <a:pt x="358" y="767"/>
                  </a:lnTo>
                  <a:lnTo>
                    <a:pt x="355" y="767"/>
                  </a:lnTo>
                  <a:lnTo>
                    <a:pt x="355" y="769"/>
                  </a:lnTo>
                  <a:lnTo>
                    <a:pt x="352" y="769"/>
                  </a:lnTo>
                  <a:lnTo>
                    <a:pt x="352" y="772"/>
                  </a:lnTo>
                  <a:lnTo>
                    <a:pt x="347" y="775"/>
                  </a:lnTo>
                  <a:lnTo>
                    <a:pt x="347" y="777"/>
                  </a:lnTo>
                  <a:lnTo>
                    <a:pt x="347" y="780"/>
                  </a:lnTo>
                  <a:lnTo>
                    <a:pt x="344" y="780"/>
                  </a:lnTo>
                  <a:lnTo>
                    <a:pt x="344" y="780"/>
                  </a:lnTo>
                  <a:lnTo>
                    <a:pt x="344" y="783"/>
                  </a:lnTo>
                  <a:lnTo>
                    <a:pt x="342" y="785"/>
                  </a:lnTo>
                  <a:lnTo>
                    <a:pt x="339" y="785"/>
                  </a:lnTo>
                  <a:lnTo>
                    <a:pt x="336" y="785"/>
                  </a:lnTo>
                  <a:lnTo>
                    <a:pt x="336" y="785"/>
                  </a:lnTo>
                  <a:lnTo>
                    <a:pt x="334" y="783"/>
                  </a:lnTo>
                  <a:lnTo>
                    <a:pt x="334" y="783"/>
                  </a:lnTo>
                  <a:lnTo>
                    <a:pt x="331" y="783"/>
                  </a:lnTo>
                  <a:lnTo>
                    <a:pt x="328" y="783"/>
                  </a:lnTo>
                  <a:lnTo>
                    <a:pt x="326" y="783"/>
                  </a:lnTo>
                  <a:lnTo>
                    <a:pt x="326" y="783"/>
                  </a:lnTo>
                  <a:lnTo>
                    <a:pt x="323" y="780"/>
                  </a:lnTo>
                  <a:lnTo>
                    <a:pt x="320" y="780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3"/>
                  </a:lnTo>
                  <a:lnTo>
                    <a:pt x="320" y="785"/>
                  </a:lnTo>
                  <a:lnTo>
                    <a:pt x="318" y="785"/>
                  </a:lnTo>
                  <a:lnTo>
                    <a:pt x="318" y="785"/>
                  </a:lnTo>
                  <a:lnTo>
                    <a:pt x="318" y="785"/>
                  </a:lnTo>
                  <a:lnTo>
                    <a:pt x="318" y="788"/>
                  </a:lnTo>
                  <a:lnTo>
                    <a:pt x="315" y="788"/>
                  </a:lnTo>
                  <a:lnTo>
                    <a:pt x="315" y="788"/>
                  </a:lnTo>
                  <a:lnTo>
                    <a:pt x="312" y="785"/>
                  </a:lnTo>
                  <a:lnTo>
                    <a:pt x="310" y="785"/>
                  </a:lnTo>
                  <a:lnTo>
                    <a:pt x="310" y="785"/>
                  </a:lnTo>
                  <a:lnTo>
                    <a:pt x="310" y="785"/>
                  </a:lnTo>
                  <a:lnTo>
                    <a:pt x="307" y="785"/>
                  </a:lnTo>
                  <a:lnTo>
                    <a:pt x="307" y="785"/>
                  </a:lnTo>
                  <a:lnTo>
                    <a:pt x="304" y="783"/>
                  </a:lnTo>
                  <a:lnTo>
                    <a:pt x="304" y="783"/>
                  </a:lnTo>
                  <a:lnTo>
                    <a:pt x="302" y="783"/>
                  </a:lnTo>
                  <a:lnTo>
                    <a:pt x="299" y="783"/>
                  </a:lnTo>
                  <a:lnTo>
                    <a:pt x="299" y="783"/>
                  </a:lnTo>
                  <a:lnTo>
                    <a:pt x="296" y="783"/>
                  </a:lnTo>
                  <a:lnTo>
                    <a:pt x="294" y="783"/>
                  </a:lnTo>
                  <a:lnTo>
                    <a:pt x="291" y="783"/>
                  </a:lnTo>
                  <a:lnTo>
                    <a:pt x="291" y="783"/>
                  </a:lnTo>
                  <a:lnTo>
                    <a:pt x="291" y="783"/>
                  </a:lnTo>
                  <a:lnTo>
                    <a:pt x="288" y="780"/>
                  </a:lnTo>
                  <a:lnTo>
                    <a:pt x="288" y="780"/>
                  </a:lnTo>
                  <a:lnTo>
                    <a:pt x="288" y="777"/>
                  </a:lnTo>
                  <a:lnTo>
                    <a:pt x="288" y="777"/>
                  </a:lnTo>
                  <a:lnTo>
                    <a:pt x="286" y="775"/>
                  </a:lnTo>
                  <a:lnTo>
                    <a:pt x="286" y="772"/>
                  </a:lnTo>
                  <a:lnTo>
                    <a:pt x="283" y="772"/>
                  </a:lnTo>
                  <a:lnTo>
                    <a:pt x="283" y="772"/>
                  </a:lnTo>
                  <a:lnTo>
                    <a:pt x="278" y="772"/>
                  </a:lnTo>
                  <a:lnTo>
                    <a:pt x="278" y="772"/>
                  </a:lnTo>
                  <a:lnTo>
                    <a:pt x="275" y="775"/>
                  </a:lnTo>
                  <a:lnTo>
                    <a:pt x="272" y="775"/>
                  </a:lnTo>
                  <a:lnTo>
                    <a:pt x="267" y="775"/>
                  </a:lnTo>
                  <a:lnTo>
                    <a:pt x="267" y="775"/>
                  </a:lnTo>
                  <a:lnTo>
                    <a:pt x="264" y="775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62" y="772"/>
                  </a:lnTo>
                  <a:lnTo>
                    <a:pt x="259" y="769"/>
                  </a:lnTo>
                  <a:lnTo>
                    <a:pt x="256" y="769"/>
                  </a:lnTo>
                  <a:lnTo>
                    <a:pt x="256" y="769"/>
                  </a:lnTo>
                  <a:lnTo>
                    <a:pt x="254" y="769"/>
                  </a:lnTo>
                  <a:lnTo>
                    <a:pt x="254" y="769"/>
                  </a:lnTo>
                  <a:lnTo>
                    <a:pt x="251" y="769"/>
                  </a:lnTo>
                  <a:lnTo>
                    <a:pt x="248" y="769"/>
                  </a:lnTo>
                  <a:lnTo>
                    <a:pt x="246" y="767"/>
                  </a:lnTo>
                  <a:lnTo>
                    <a:pt x="246" y="767"/>
                  </a:lnTo>
                  <a:lnTo>
                    <a:pt x="246" y="767"/>
                  </a:lnTo>
                  <a:lnTo>
                    <a:pt x="246" y="764"/>
                  </a:lnTo>
                  <a:lnTo>
                    <a:pt x="246" y="764"/>
                  </a:lnTo>
                  <a:lnTo>
                    <a:pt x="243" y="761"/>
                  </a:lnTo>
                  <a:lnTo>
                    <a:pt x="243" y="761"/>
                  </a:lnTo>
                  <a:lnTo>
                    <a:pt x="243" y="761"/>
                  </a:lnTo>
                  <a:lnTo>
                    <a:pt x="240" y="758"/>
                  </a:lnTo>
                  <a:lnTo>
                    <a:pt x="240" y="758"/>
                  </a:lnTo>
                  <a:lnTo>
                    <a:pt x="238" y="758"/>
                  </a:lnTo>
                  <a:lnTo>
                    <a:pt x="238" y="756"/>
                  </a:lnTo>
                  <a:lnTo>
                    <a:pt x="235" y="756"/>
                  </a:lnTo>
                  <a:lnTo>
                    <a:pt x="232" y="756"/>
                  </a:lnTo>
                  <a:lnTo>
                    <a:pt x="232" y="756"/>
                  </a:lnTo>
                  <a:lnTo>
                    <a:pt x="230" y="753"/>
                  </a:lnTo>
                  <a:lnTo>
                    <a:pt x="230" y="750"/>
                  </a:lnTo>
                  <a:lnTo>
                    <a:pt x="227" y="748"/>
                  </a:lnTo>
                  <a:lnTo>
                    <a:pt x="227" y="748"/>
                  </a:lnTo>
                  <a:lnTo>
                    <a:pt x="227" y="745"/>
                  </a:lnTo>
                  <a:lnTo>
                    <a:pt x="227" y="742"/>
                  </a:lnTo>
                  <a:lnTo>
                    <a:pt x="230" y="740"/>
                  </a:lnTo>
                  <a:lnTo>
                    <a:pt x="230" y="740"/>
                  </a:lnTo>
                  <a:lnTo>
                    <a:pt x="227" y="737"/>
                  </a:lnTo>
                  <a:lnTo>
                    <a:pt x="227" y="737"/>
                  </a:lnTo>
                  <a:lnTo>
                    <a:pt x="227" y="734"/>
                  </a:lnTo>
                  <a:lnTo>
                    <a:pt x="224" y="734"/>
                  </a:lnTo>
                  <a:lnTo>
                    <a:pt x="224" y="734"/>
                  </a:lnTo>
                  <a:lnTo>
                    <a:pt x="224" y="732"/>
                  </a:lnTo>
                  <a:lnTo>
                    <a:pt x="222" y="732"/>
                  </a:lnTo>
                  <a:lnTo>
                    <a:pt x="222" y="729"/>
                  </a:lnTo>
                  <a:lnTo>
                    <a:pt x="222" y="729"/>
                  </a:lnTo>
                  <a:lnTo>
                    <a:pt x="222" y="726"/>
                  </a:lnTo>
                  <a:lnTo>
                    <a:pt x="222" y="724"/>
                  </a:lnTo>
                  <a:lnTo>
                    <a:pt x="222" y="724"/>
                  </a:lnTo>
                  <a:lnTo>
                    <a:pt x="222" y="721"/>
                  </a:lnTo>
                  <a:lnTo>
                    <a:pt x="219" y="718"/>
                  </a:lnTo>
                  <a:lnTo>
                    <a:pt x="219" y="718"/>
                  </a:lnTo>
                  <a:lnTo>
                    <a:pt x="222" y="716"/>
                  </a:lnTo>
                  <a:lnTo>
                    <a:pt x="222" y="713"/>
                  </a:lnTo>
                  <a:lnTo>
                    <a:pt x="219" y="710"/>
                  </a:lnTo>
                  <a:lnTo>
                    <a:pt x="216" y="708"/>
                  </a:lnTo>
                  <a:lnTo>
                    <a:pt x="216" y="708"/>
                  </a:lnTo>
                  <a:lnTo>
                    <a:pt x="216" y="708"/>
                  </a:lnTo>
                  <a:lnTo>
                    <a:pt x="216" y="705"/>
                  </a:lnTo>
                  <a:lnTo>
                    <a:pt x="216" y="705"/>
                  </a:lnTo>
                  <a:lnTo>
                    <a:pt x="216" y="705"/>
                  </a:lnTo>
                  <a:lnTo>
                    <a:pt x="213" y="702"/>
                  </a:lnTo>
                  <a:lnTo>
                    <a:pt x="213" y="700"/>
                  </a:lnTo>
                  <a:lnTo>
                    <a:pt x="213" y="700"/>
                  </a:lnTo>
                  <a:lnTo>
                    <a:pt x="213" y="697"/>
                  </a:lnTo>
                  <a:lnTo>
                    <a:pt x="213" y="694"/>
                  </a:lnTo>
                  <a:lnTo>
                    <a:pt x="213" y="694"/>
                  </a:lnTo>
                  <a:lnTo>
                    <a:pt x="211" y="692"/>
                  </a:lnTo>
                  <a:lnTo>
                    <a:pt x="211" y="689"/>
                  </a:lnTo>
                  <a:lnTo>
                    <a:pt x="213" y="686"/>
                  </a:lnTo>
                  <a:lnTo>
                    <a:pt x="213" y="686"/>
                  </a:lnTo>
                  <a:lnTo>
                    <a:pt x="213" y="684"/>
                  </a:lnTo>
                  <a:lnTo>
                    <a:pt x="211" y="681"/>
                  </a:lnTo>
                  <a:lnTo>
                    <a:pt x="211" y="681"/>
                  </a:lnTo>
                  <a:lnTo>
                    <a:pt x="208" y="678"/>
                  </a:lnTo>
                  <a:lnTo>
                    <a:pt x="205" y="678"/>
                  </a:lnTo>
                  <a:lnTo>
                    <a:pt x="205" y="678"/>
                  </a:lnTo>
                  <a:lnTo>
                    <a:pt x="203" y="678"/>
                  </a:lnTo>
                  <a:lnTo>
                    <a:pt x="203" y="678"/>
                  </a:lnTo>
                  <a:lnTo>
                    <a:pt x="200" y="676"/>
                  </a:lnTo>
                  <a:lnTo>
                    <a:pt x="200" y="676"/>
                  </a:lnTo>
                  <a:lnTo>
                    <a:pt x="197" y="676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95" y="676"/>
                  </a:lnTo>
                  <a:lnTo>
                    <a:pt x="189" y="673"/>
                  </a:lnTo>
                  <a:lnTo>
                    <a:pt x="189" y="673"/>
                  </a:lnTo>
                  <a:lnTo>
                    <a:pt x="187" y="673"/>
                  </a:lnTo>
                  <a:lnTo>
                    <a:pt x="184" y="676"/>
                  </a:lnTo>
                  <a:lnTo>
                    <a:pt x="184" y="676"/>
                  </a:lnTo>
                  <a:lnTo>
                    <a:pt x="181" y="676"/>
                  </a:lnTo>
                  <a:lnTo>
                    <a:pt x="181" y="673"/>
                  </a:lnTo>
                  <a:lnTo>
                    <a:pt x="179" y="673"/>
                  </a:lnTo>
                  <a:lnTo>
                    <a:pt x="179" y="673"/>
                  </a:lnTo>
                  <a:lnTo>
                    <a:pt x="176" y="670"/>
                  </a:lnTo>
                  <a:lnTo>
                    <a:pt x="173" y="670"/>
                  </a:lnTo>
                  <a:lnTo>
                    <a:pt x="171" y="673"/>
                  </a:lnTo>
                  <a:lnTo>
                    <a:pt x="171" y="673"/>
                  </a:lnTo>
                  <a:lnTo>
                    <a:pt x="168" y="676"/>
                  </a:lnTo>
                  <a:lnTo>
                    <a:pt x="165" y="673"/>
                  </a:lnTo>
                  <a:lnTo>
                    <a:pt x="165" y="673"/>
                  </a:lnTo>
                  <a:lnTo>
                    <a:pt x="163" y="670"/>
                  </a:lnTo>
                  <a:lnTo>
                    <a:pt x="160" y="668"/>
                  </a:lnTo>
                  <a:lnTo>
                    <a:pt x="157" y="668"/>
                  </a:lnTo>
                  <a:lnTo>
                    <a:pt x="155" y="668"/>
                  </a:lnTo>
                  <a:lnTo>
                    <a:pt x="155" y="668"/>
                  </a:lnTo>
                  <a:lnTo>
                    <a:pt x="155" y="668"/>
                  </a:lnTo>
                  <a:lnTo>
                    <a:pt x="152" y="668"/>
                  </a:lnTo>
                  <a:lnTo>
                    <a:pt x="152" y="665"/>
                  </a:lnTo>
                  <a:lnTo>
                    <a:pt x="149" y="665"/>
                  </a:lnTo>
                  <a:lnTo>
                    <a:pt x="149" y="665"/>
                  </a:lnTo>
                  <a:lnTo>
                    <a:pt x="147" y="665"/>
                  </a:lnTo>
                  <a:lnTo>
                    <a:pt x="147" y="665"/>
                  </a:lnTo>
                  <a:lnTo>
                    <a:pt x="147" y="665"/>
                  </a:lnTo>
                  <a:lnTo>
                    <a:pt x="144" y="665"/>
                  </a:lnTo>
                  <a:lnTo>
                    <a:pt x="144" y="665"/>
                  </a:lnTo>
                  <a:lnTo>
                    <a:pt x="144" y="665"/>
                  </a:lnTo>
                  <a:lnTo>
                    <a:pt x="144" y="662"/>
                  </a:lnTo>
                  <a:lnTo>
                    <a:pt x="141" y="662"/>
                  </a:lnTo>
                  <a:lnTo>
                    <a:pt x="141" y="662"/>
                  </a:lnTo>
                  <a:lnTo>
                    <a:pt x="141" y="662"/>
                  </a:lnTo>
                  <a:lnTo>
                    <a:pt x="139" y="662"/>
                  </a:lnTo>
                  <a:lnTo>
                    <a:pt x="139" y="662"/>
                  </a:lnTo>
                  <a:lnTo>
                    <a:pt x="139" y="662"/>
                  </a:lnTo>
                  <a:lnTo>
                    <a:pt x="136" y="662"/>
                  </a:lnTo>
                  <a:lnTo>
                    <a:pt x="136" y="662"/>
                  </a:lnTo>
                  <a:lnTo>
                    <a:pt x="136" y="662"/>
                  </a:lnTo>
                  <a:lnTo>
                    <a:pt x="133" y="662"/>
                  </a:lnTo>
                  <a:lnTo>
                    <a:pt x="133" y="662"/>
                  </a:lnTo>
                  <a:lnTo>
                    <a:pt x="133" y="660"/>
                  </a:lnTo>
                  <a:lnTo>
                    <a:pt x="131" y="660"/>
                  </a:lnTo>
                  <a:lnTo>
                    <a:pt x="131" y="657"/>
                  </a:lnTo>
                  <a:lnTo>
                    <a:pt x="131" y="657"/>
                  </a:lnTo>
                  <a:lnTo>
                    <a:pt x="128" y="657"/>
                  </a:lnTo>
                  <a:lnTo>
                    <a:pt x="128" y="657"/>
                  </a:lnTo>
                  <a:lnTo>
                    <a:pt x="128" y="657"/>
                  </a:lnTo>
                  <a:lnTo>
                    <a:pt x="128" y="654"/>
                  </a:lnTo>
                  <a:lnTo>
                    <a:pt x="125" y="654"/>
                  </a:lnTo>
                  <a:lnTo>
                    <a:pt x="125" y="654"/>
                  </a:lnTo>
                  <a:lnTo>
                    <a:pt x="125" y="654"/>
                  </a:lnTo>
                  <a:lnTo>
                    <a:pt x="123" y="652"/>
                  </a:lnTo>
                  <a:lnTo>
                    <a:pt x="123" y="652"/>
                  </a:lnTo>
                  <a:lnTo>
                    <a:pt x="120" y="652"/>
                  </a:lnTo>
                  <a:lnTo>
                    <a:pt x="120" y="652"/>
                  </a:lnTo>
                  <a:lnTo>
                    <a:pt x="120" y="652"/>
                  </a:lnTo>
                  <a:lnTo>
                    <a:pt x="117" y="652"/>
                  </a:lnTo>
                  <a:lnTo>
                    <a:pt x="117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5" y="652"/>
                  </a:lnTo>
                  <a:lnTo>
                    <a:pt x="112" y="652"/>
                  </a:lnTo>
                  <a:lnTo>
                    <a:pt x="112" y="652"/>
                  </a:lnTo>
                  <a:lnTo>
                    <a:pt x="112" y="652"/>
                  </a:lnTo>
                  <a:lnTo>
                    <a:pt x="109" y="652"/>
                  </a:lnTo>
                  <a:lnTo>
                    <a:pt x="109" y="652"/>
                  </a:lnTo>
                  <a:lnTo>
                    <a:pt x="109" y="652"/>
                  </a:lnTo>
                  <a:lnTo>
                    <a:pt x="107" y="652"/>
                  </a:lnTo>
                  <a:lnTo>
                    <a:pt x="107" y="652"/>
                  </a:lnTo>
                  <a:lnTo>
                    <a:pt x="104" y="652"/>
                  </a:lnTo>
                  <a:lnTo>
                    <a:pt x="104" y="652"/>
                  </a:lnTo>
                  <a:lnTo>
                    <a:pt x="101" y="652"/>
                  </a:lnTo>
                  <a:lnTo>
                    <a:pt x="101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96" y="652"/>
                  </a:lnTo>
                  <a:lnTo>
                    <a:pt x="96" y="652"/>
                  </a:lnTo>
                  <a:lnTo>
                    <a:pt x="93" y="652"/>
                  </a:lnTo>
                  <a:lnTo>
                    <a:pt x="93" y="652"/>
                  </a:lnTo>
                  <a:lnTo>
                    <a:pt x="93" y="649"/>
                  </a:lnTo>
                  <a:lnTo>
                    <a:pt x="91" y="652"/>
                  </a:lnTo>
                  <a:lnTo>
                    <a:pt x="91" y="652"/>
                  </a:lnTo>
                  <a:lnTo>
                    <a:pt x="91" y="652"/>
                  </a:lnTo>
                  <a:lnTo>
                    <a:pt x="88" y="652"/>
                  </a:lnTo>
                  <a:lnTo>
                    <a:pt x="88" y="654"/>
                  </a:lnTo>
                  <a:lnTo>
                    <a:pt x="85" y="654"/>
                  </a:lnTo>
                  <a:lnTo>
                    <a:pt x="85" y="654"/>
                  </a:lnTo>
                  <a:lnTo>
                    <a:pt x="85" y="654"/>
                  </a:lnTo>
                  <a:lnTo>
                    <a:pt x="85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83" y="652"/>
                  </a:lnTo>
                  <a:lnTo>
                    <a:pt x="77" y="649"/>
                  </a:lnTo>
                  <a:lnTo>
                    <a:pt x="77" y="649"/>
                  </a:lnTo>
                  <a:lnTo>
                    <a:pt x="75" y="646"/>
                  </a:lnTo>
                  <a:lnTo>
                    <a:pt x="72" y="644"/>
                  </a:lnTo>
                  <a:lnTo>
                    <a:pt x="72" y="641"/>
                  </a:lnTo>
                  <a:lnTo>
                    <a:pt x="69" y="638"/>
                  </a:lnTo>
                  <a:lnTo>
                    <a:pt x="69" y="638"/>
                  </a:lnTo>
                  <a:lnTo>
                    <a:pt x="61" y="636"/>
                  </a:lnTo>
                  <a:lnTo>
                    <a:pt x="56" y="636"/>
                  </a:lnTo>
                  <a:lnTo>
                    <a:pt x="53" y="636"/>
                  </a:lnTo>
                  <a:lnTo>
                    <a:pt x="53" y="636"/>
                  </a:lnTo>
                  <a:lnTo>
                    <a:pt x="51" y="636"/>
                  </a:lnTo>
                  <a:lnTo>
                    <a:pt x="51" y="633"/>
                  </a:lnTo>
                  <a:lnTo>
                    <a:pt x="48" y="636"/>
                  </a:lnTo>
                  <a:lnTo>
                    <a:pt x="48" y="636"/>
                  </a:lnTo>
                  <a:lnTo>
                    <a:pt x="48" y="636"/>
                  </a:lnTo>
                  <a:lnTo>
                    <a:pt x="45" y="636"/>
                  </a:lnTo>
                  <a:lnTo>
                    <a:pt x="45" y="633"/>
                  </a:lnTo>
                  <a:lnTo>
                    <a:pt x="43" y="633"/>
                  </a:lnTo>
                  <a:lnTo>
                    <a:pt x="40" y="633"/>
                  </a:lnTo>
                  <a:lnTo>
                    <a:pt x="40" y="630"/>
                  </a:lnTo>
                  <a:lnTo>
                    <a:pt x="40" y="628"/>
                  </a:lnTo>
                  <a:lnTo>
                    <a:pt x="40" y="628"/>
                  </a:lnTo>
                  <a:lnTo>
                    <a:pt x="40" y="628"/>
                  </a:lnTo>
                  <a:lnTo>
                    <a:pt x="37" y="630"/>
                  </a:lnTo>
                  <a:lnTo>
                    <a:pt x="37" y="628"/>
                  </a:lnTo>
                  <a:lnTo>
                    <a:pt x="37" y="628"/>
                  </a:lnTo>
                  <a:lnTo>
                    <a:pt x="35" y="628"/>
                  </a:lnTo>
                  <a:lnTo>
                    <a:pt x="32" y="628"/>
                  </a:lnTo>
                  <a:lnTo>
                    <a:pt x="32" y="628"/>
                  </a:lnTo>
                  <a:lnTo>
                    <a:pt x="29" y="625"/>
                  </a:lnTo>
                  <a:lnTo>
                    <a:pt x="29" y="625"/>
                  </a:lnTo>
                  <a:lnTo>
                    <a:pt x="27" y="625"/>
                  </a:lnTo>
                  <a:lnTo>
                    <a:pt x="24" y="625"/>
                  </a:lnTo>
                  <a:lnTo>
                    <a:pt x="21" y="617"/>
                  </a:lnTo>
                  <a:lnTo>
                    <a:pt x="24" y="617"/>
                  </a:lnTo>
                  <a:lnTo>
                    <a:pt x="16" y="612"/>
                  </a:lnTo>
                  <a:lnTo>
                    <a:pt x="13" y="614"/>
                  </a:lnTo>
                  <a:lnTo>
                    <a:pt x="13" y="612"/>
                  </a:lnTo>
                  <a:lnTo>
                    <a:pt x="13" y="612"/>
                  </a:lnTo>
                  <a:lnTo>
                    <a:pt x="13" y="609"/>
                  </a:lnTo>
                  <a:lnTo>
                    <a:pt x="13" y="609"/>
                  </a:lnTo>
                  <a:lnTo>
                    <a:pt x="13" y="606"/>
                  </a:lnTo>
                  <a:lnTo>
                    <a:pt x="11" y="606"/>
                  </a:lnTo>
                  <a:lnTo>
                    <a:pt x="8" y="606"/>
                  </a:lnTo>
                  <a:lnTo>
                    <a:pt x="8" y="603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3" y="606"/>
                  </a:lnTo>
                  <a:lnTo>
                    <a:pt x="3" y="606"/>
                  </a:lnTo>
                  <a:lnTo>
                    <a:pt x="3" y="606"/>
                  </a:lnTo>
                  <a:lnTo>
                    <a:pt x="3" y="603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595"/>
                  </a:lnTo>
                  <a:lnTo>
                    <a:pt x="0" y="593"/>
                  </a:lnTo>
                  <a:lnTo>
                    <a:pt x="0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5"/>
                  </a:lnTo>
                  <a:lnTo>
                    <a:pt x="8" y="585"/>
                  </a:lnTo>
                  <a:lnTo>
                    <a:pt x="8" y="582"/>
                  </a:lnTo>
                  <a:lnTo>
                    <a:pt x="11" y="582"/>
                  </a:lnTo>
                  <a:lnTo>
                    <a:pt x="11" y="582"/>
                  </a:lnTo>
                  <a:lnTo>
                    <a:pt x="11" y="579"/>
                  </a:lnTo>
                  <a:lnTo>
                    <a:pt x="8" y="577"/>
                  </a:lnTo>
                  <a:lnTo>
                    <a:pt x="11" y="574"/>
                  </a:lnTo>
                  <a:lnTo>
                    <a:pt x="11" y="574"/>
                  </a:lnTo>
                  <a:lnTo>
                    <a:pt x="13" y="571"/>
                  </a:lnTo>
                  <a:lnTo>
                    <a:pt x="13" y="571"/>
                  </a:lnTo>
                  <a:lnTo>
                    <a:pt x="13" y="569"/>
                  </a:lnTo>
                  <a:lnTo>
                    <a:pt x="13" y="569"/>
                  </a:lnTo>
                  <a:lnTo>
                    <a:pt x="16" y="569"/>
                  </a:lnTo>
                  <a:lnTo>
                    <a:pt x="16" y="569"/>
                  </a:lnTo>
                  <a:lnTo>
                    <a:pt x="19" y="569"/>
                  </a:lnTo>
                  <a:lnTo>
                    <a:pt x="16" y="566"/>
                  </a:lnTo>
                  <a:lnTo>
                    <a:pt x="16" y="566"/>
                  </a:lnTo>
                  <a:lnTo>
                    <a:pt x="16" y="563"/>
                  </a:lnTo>
                  <a:lnTo>
                    <a:pt x="16" y="561"/>
                  </a:lnTo>
                  <a:lnTo>
                    <a:pt x="16" y="561"/>
                  </a:lnTo>
                  <a:lnTo>
                    <a:pt x="16" y="558"/>
                  </a:lnTo>
                  <a:lnTo>
                    <a:pt x="16" y="558"/>
                  </a:lnTo>
                  <a:lnTo>
                    <a:pt x="19" y="555"/>
                  </a:lnTo>
                  <a:lnTo>
                    <a:pt x="19" y="555"/>
                  </a:lnTo>
                  <a:lnTo>
                    <a:pt x="16" y="555"/>
                  </a:lnTo>
                  <a:lnTo>
                    <a:pt x="13" y="555"/>
                  </a:lnTo>
                  <a:lnTo>
                    <a:pt x="11" y="555"/>
                  </a:lnTo>
                  <a:lnTo>
                    <a:pt x="13" y="555"/>
                  </a:lnTo>
                  <a:lnTo>
                    <a:pt x="13" y="555"/>
                  </a:lnTo>
                  <a:lnTo>
                    <a:pt x="13" y="553"/>
                  </a:lnTo>
                  <a:lnTo>
                    <a:pt x="11" y="553"/>
                  </a:lnTo>
                  <a:lnTo>
                    <a:pt x="11" y="553"/>
                  </a:lnTo>
                  <a:lnTo>
                    <a:pt x="13" y="550"/>
                  </a:lnTo>
                  <a:lnTo>
                    <a:pt x="13" y="550"/>
                  </a:lnTo>
                  <a:lnTo>
                    <a:pt x="13" y="547"/>
                  </a:lnTo>
                  <a:lnTo>
                    <a:pt x="13" y="545"/>
                  </a:lnTo>
                  <a:lnTo>
                    <a:pt x="13" y="545"/>
                  </a:lnTo>
                  <a:lnTo>
                    <a:pt x="13" y="545"/>
                  </a:lnTo>
                  <a:lnTo>
                    <a:pt x="16" y="545"/>
                  </a:lnTo>
                  <a:lnTo>
                    <a:pt x="16" y="542"/>
                  </a:lnTo>
                  <a:lnTo>
                    <a:pt x="16" y="542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21" y="545"/>
                  </a:lnTo>
                  <a:lnTo>
                    <a:pt x="24" y="545"/>
                  </a:lnTo>
                  <a:lnTo>
                    <a:pt x="24" y="547"/>
                  </a:lnTo>
                  <a:lnTo>
                    <a:pt x="27" y="547"/>
                  </a:lnTo>
                  <a:lnTo>
                    <a:pt x="27" y="547"/>
                  </a:lnTo>
                  <a:lnTo>
                    <a:pt x="29" y="547"/>
                  </a:lnTo>
                  <a:lnTo>
                    <a:pt x="32" y="547"/>
                  </a:lnTo>
                  <a:lnTo>
                    <a:pt x="35" y="547"/>
                  </a:lnTo>
                  <a:lnTo>
                    <a:pt x="32" y="542"/>
                  </a:lnTo>
                  <a:lnTo>
                    <a:pt x="35" y="542"/>
                  </a:lnTo>
                  <a:lnTo>
                    <a:pt x="35" y="539"/>
                  </a:lnTo>
                  <a:lnTo>
                    <a:pt x="35" y="53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2" name="Freeform 8878">
              <a:extLst>
                <a:ext uri="{FF2B5EF4-FFF2-40B4-BE49-F238E27FC236}">
                  <a16:creationId xmlns:a16="http://schemas.microsoft.com/office/drawing/2014/main" id="{1E60C49D-4422-C049-A1BC-CC27E1476423}"/>
                </a:ext>
              </a:extLst>
            </p:cNvPr>
            <p:cNvSpPr/>
            <p:nvPr/>
          </p:nvSpPr>
          <p:spPr bwMode="auto">
            <a:xfrm>
              <a:off x="7023890" y="5440364"/>
              <a:ext cx="360362" cy="250826"/>
            </a:xfrm>
            <a:custGeom>
              <a:avLst/>
              <a:gdLst>
                <a:gd name="T0" fmla="*/ 195 w 227"/>
                <a:gd name="T1" fmla="*/ 43 h 158"/>
                <a:gd name="T2" fmla="*/ 185 w 227"/>
                <a:gd name="T3" fmla="*/ 48 h 158"/>
                <a:gd name="T4" fmla="*/ 171 w 227"/>
                <a:gd name="T5" fmla="*/ 54 h 158"/>
                <a:gd name="T6" fmla="*/ 158 w 227"/>
                <a:gd name="T7" fmla="*/ 59 h 158"/>
                <a:gd name="T8" fmla="*/ 147 w 227"/>
                <a:gd name="T9" fmla="*/ 59 h 158"/>
                <a:gd name="T10" fmla="*/ 145 w 227"/>
                <a:gd name="T11" fmla="*/ 54 h 158"/>
                <a:gd name="T12" fmla="*/ 131 w 227"/>
                <a:gd name="T13" fmla="*/ 46 h 158"/>
                <a:gd name="T14" fmla="*/ 123 w 227"/>
                <a:gd name="T15" fmla="*/ 35 h 158"/>
                <a:gd name="T16" fmla="*/ 118 w 227"/>
                <a:gd name="T17" fmla="*/ 16 h 158"/>
                <a:gd name="T18" fmla="*/ 110 w 227"/>
                <a:gd name="T19" fmla="*/ 3 h 158"/>
                <a:gd name="T20" fmla="*/ 102 w 227"/>
                <a:gd name="T21" fmla="*/ 13 h 158"/>
                <a:gd name="T22" fmla="*/ 91 w 227"/>
                <a:gd name="T23" fmla="*/ 24 h 158"/>
                <a:gd name="T24" fmla="*/ 81 w 227"/>
                <a:gd name="T25" fmla="*/ 29 h 158"/>
                <a:gd name="T26" fmla="*/ 70 w 227"/>
                <a:gd name="T27" fmla="*/ 35 h 158"/>
                <a:gd name="T28" fmla="*/ 73 w 227"/>
                <a:gd name="T29" fmla="*/ 46 h 158"/>
                <a:gd name="T30" fmla="*/ 59 w 227"/>
                <a:gd name="T31" fmla="*/ 32 h 158"/>
                <a:gd name="T32" fmla="*/ 35 w 227"/>
                <a:gd name="T33" fmla="*/ 21 h 158"/>
                <a:gd name="T34" fmla="*/ 22 w 227"/>
                <a:gd name="T35" fmla="*/ 16 h 158"/>
                <a:gd name="T36" fmla="*/ 11 w 227"/>
                <a:gd name="T37" fmla="*/ 24 h 158"/>
                <a:gd name="T38" fmla="*/ 8 w 227"/>
                <a:gd name="T39" fmla="*/ 32 h 158"/>
                <a:gd name="T40" fmla="*/ 16 w 227"/>
                <a:gd name="T41" fmla="*/ 38 h 158"/>
                <a:gd name="T42" fmla="*/ 33 w 227"/>
                <a:gd name="T43" fmla="*/ 56 h 158"/>
                <a:gd name="T44" fmla="*/ 25 w 227"/>
                <a:gd name="T45" fmla="*/ 75 h 158"/>
                <a:gd name="T46" fmla="*/ 0 w 227"/>
                <a:gd name="T47" fmla="*/ 83 h 158"/>
                <a:gd name="T48" fmla="*/ 8 w 227"/>
                <a:gd name="T49" fmla="*/ 96 h 158"/>
                <a:gd name="T50" fmla="*/ 19 w 227"/>
                <a:gd name="T51" fmla="*/ 104 h 158"/>
                <a:gd name="T52" fmla="*/ 30 w 227"/>
                <a:gd name="T53" fmla="*/ 110 h 158"/>
                <a:gd name="T54" fmla="*/ 41 w 227"/>
                <a:gd name="T55" fmla="*/ 91 h 158"/>
                <a:gd name="T56" fmla="*/ 43 w 227"/>
                <a:gd name="T57" fmla="*/ 83 h 158"/>
                <a:gd name="T58" fmla="*/ 46 w 227"/>
                <a:gd name="T59" fmla="*/ 83 h 158"/>
                <a:gd name="T60" fmla="*/ 57 w 227"/>
                <a:gd name="T61" fmla="*/ 83 h 158"/>
                <a:gd name="T62" fmla="*/ 73 w 227"/>
                <a:gd name="T63" fmla="*/ 86 h 158"/>
                <a:gd name="T64" fmla="*/ 73 w 227"/>
                <a:gd name="T65" fmla="*/ 102 h 158"/>
                <a:gd name="T66" fmla="*/ 86 w 227"/>
                <a:gd name="T67" fmla="*/ 110 h 158"/>
                <a:gd name="T68" fmla="*/ 94 w 227"/>
                <a:gd name="T69" fmla="*/ 123 h 158"/>
                <a:gd name="T70" fmla="*/ 102 w 227"/>
                <a:gd name="T71" fmla="*/ 131 h 158"/>
                <a:gd name="T72" fmla="*/ 107 w 227"/>
                <a:gd name="T73" fmla="*/ 128 h 158"/>
                <a:gd name="T74" fmla="*/ 102 w 227"/>
                <a:gd name="T75" fmla="*/ 118 h 158"/>
                <a:gd name="T76" fmla="*/ 107 w 227"/>
                <a:gd name="T77" fmla="*/ 104 h 158"/>
                <a:gd name="T78" fmla="*/ 121 w 227"/>
                <a:gd name="T79" fmla="*/ 99 h 158"/>
                <a:gd name="T80" fmla="*/ 131 w 227"/>
                <a:gd name="T81" fmla="*/ 99 h 158"/>
                <a:gd name="T82" fmla="*/ 134 w 227"/>
                <a:gd name="T83" fmla="*/ 104 h 158"/>
                <a:gd name="T84" fmla="*/ 126 w 227"/>
                <a:gd name="T85" fmla="*/ 112 h 158"/>
                <a:gd name="T86" fmla="*/ 137 w 227"/>
                <a:gd name="T87" fmla="*/ 118 h 158"/>
                <a:gd name="T88" fmla="*/ 142 w 227"/>
                <a:gd name="T89" fmla="*/ 126 h 158"/>
                <a:gd name="T90" fmla="*/ 161 w 227"/>
                <a:gd name="T91" fmla="*/ 152 h 158"/>
                <a:gd name="T92" fmla="*/ 171 w 227"/>
                <a:gd name="T93" fmla="*/ 155 h 158"/>
                <a:gd name="T94" fmla="*/ 182 w 227"/>
                <a:gd name="T95" fmla="*/ 144 h 158"/>
                <a:gd name="T96" fmla="*/ 195 w 227"/>
                <a:gd name="T97" fmla="*/ 128 h 158"/>
                <a:gd name="T98" fmla="*/ 198 w 227"/>
                <a:gd name="T99" fmla="*/ 120 h 158"/>
                <a:gd name="T100" fmla="*/ 209 w 227"/>
                <a:gd name="T101" fmla="*/ 112 h 158"/>
                <a:gd name="T102" fmla="*/ 209 w 227"/>
                <a:gd name="T103" fmla="*/ 96 h 158"/>
                <a:gd name="T104" fmla="*/ 217 w 227"/>
                <a:gd name="T105" fmla="*/ 83 h 158"/>
                <a:gd name="T106" fmla="*/ 227 w 227"/>
                <a:gd name="T107" fmla="*/ 72 h 158"/>
                <a:gd name="T108" fmla="*/ 219 w 227"/>
                <a:gd name="T109" fmla="*/ 56 h 158"/>
                <a:gd name="T110" fmla="*/ 217 w 227"/>
                <a:gd name="T111" fmla="*/ 54 h 158"/>
                <a:gd name="T112" fmla="*/ 203 w 227"/>
                <a:gd name="T113" fmla="*/ 51 h 158"/>
                <a:gd name="T114" fmla="*/ 203 w 227"/>
                <a:gd name="T115" fmla="*/ 3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7" h="158" extrusionOk="0">
                  <a:moveTo>
                    <a:pt x="195" y="35"/>
                  </a:moveTo>
                  <a:lnTo>
                    <a:pt x="195" y="38"/>
                  </a:lnTo>
                  <a:lnTo>
                    <a:pt x="193" y="38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5" y="43"/>
                  </a:lnTo>
                  <a:lnTo>
                    <a:pt x="195" y="43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8"/>
                  </a:lnTo>
                  <a:lnTo>
                    <a:pt x="193" y="51"/>
                  </a:lnTo>
                  <a:lnTo>
                    <a:pt x="190" y="54"/>
                  </a:lnTo>
                  <a:lnTo>
                    <a:pt x="190" y="54"/>
                  </a:lnTo>
                  <a:lnTo>
                    <a:pt x="185" y="48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79" y="54"/>
                  </a:lnTo>
                  <a:lnTo>
                    <a:pt x="177" y="51"/>
                  </a:lnTo>
                  <a:lnTo>
                    <a:pt x="177" y="51"/>
                  </a:lnTo>
                  <a:lnTo>
                    <a:pt x="174" y="51"/>
                  </a:lnTo>
                  <a:lnTo>
                    <a:pt x="174" y="54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6" y="56"/>
                  </a:lnTo>
                  <a:lnTo>
                    <a:pt x="166" y="54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9"/>
                  </a:lnTo>
                  <a:lnTo>
                    <a:pt x="158" y="59"/>
                  </a:lnTo>
                  <a:lnTo>
                    <a:pt x="158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3" y="59"/>
                  </a:lnTo>
                  <a:lnTo>
                    <a:pt x="153" y="59"/>
                  </a:lnTo>
                  <a:lnTo>
                    <a:pt x="150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5" y="59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5" y="54"/>
                  </a:lnTo>
                  <a:lnTo>
                    <a:pt x="145" y="54"/>
                  </a:lnTo>
                  <a:lnTo>
                    <a:pt x="145" y="54"/>
                  </a:lnTo>
                  <a:lnTo>
                    <a:pt x="145" y="51"/>
                  </a:lnTo>
                  <a:lnTo>
                    <a:pt x="145" y="51"/>
                  </a:lnTo>
                  <a:lnTo>
                    <a:pt x="142" y="51"/>
                  </a:lnTo>
                  <a:lnTo>
                    <a:pt x="145" y="48"/>
                  </a:lnTo>
                  <a:lnTo>
                    <a:pt x="139" y="46"/>
                  </a:lnTo>
                  <a:lnTo>
                    <a:pt x="139" y="48"/>
                  </a:lnTo>
                  <a:lnTo>
                    <a:pt x="134" y="46"/>
                  </a:lnTo>
                  <a:lnTo>
                    <a:pt x="131" y="46"/>
                  </a:lnTo>
                  <a:lnTo>
                    <a:pt x="131" y="43"/>
                  </a:lnTo>
                  <a:lnTo>
                    <a:pt x="129" y="43"/>
                  </a:lnTo>
                  <a:lnTo>
                    <a:pt x="129" y="40"/>
                  </a:lnTo>
                  <a:lnTo>
                    <a:pt x="129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2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1" y="24"/>
                  </a:lnTo>
                  <a:lnTo>
                    <a:pt x="118" y="21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1" y="16"/>
                  </a:lnTo>
                  <a:lnTo>
                    <a:pt x="121" y="13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8"/>
                  </a:lnTo>
                  <a:lnTo>
                    <a:pt x="118" y="5"/>
                  </a:lnTo>
                  <a:lnTo>
                    <a:pt x="113" y="0"/>
                  </a:lnTo>
                  <a:lnTo>
                    <a:pt x="110" y="3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5" y="11"/>
                  </a:lnTo>
                  <a:lnTo>
                    <a:pt x="105" y="13"/>
                  </a:lnTo>
                  <a:lnTo>
                    <a:pt x="102" y="16"/>
                  </a:lnTo>
                  <a:lnTo>
                    <a:pt x="102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7" y="13"/>
                  </a:lnTo>
                  <a:lnTo>
                    <a:pt x="94" y="13"/>
                  </a:lnTo>
                  <a:lnTo>
                    <a:pt x="94" y="16"/>
                  </a:lnTo>
                  <a:lnTo>
                    <a:pt x="91" y="16"/>
                  </a:lnTo>
                  <a:lnTo>
                    <a:pt x="91" y="19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9" y="27"/>
                  </a:lnTo>
                  <a:lnTo>
                    <a:pt x="86" y="27"/>
                  </a:lnTo>
                  <a:lnTo>
                    <a:pt x="86" y="24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32"/>
                  </a:lnTo>
                  <a:lnTo>
                    <a:pt x="78" y="32"/>
                  </a:lnTo>
                  <a:lnTo>
                    <a:pt x="75" y="32"/>
                  </a:lnTo>
                  <a:lnTo>
                    <a:pt x="75" y="29"/>
                  </a:lnTo>
                  <a:lnTo>
                    <a:pt x="73" y="29"/>
                  </a:lnTo>
                  <a:lnTo>
                    <a:pt x="70" y="29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3" y="38"/>
                  </a:lnTo>
                  <a:lnTo>
                    <a:pt x="75" y="40"/>
                  </a:lnTo>
                  <a:lnTo>
                    <a:pt x="73" y="43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0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5" y="43"/>
                  </a:lnTo>
                  <a:lnTo>
                    <a:pt x="65" y="38"/>
                  </a:lnTo>
                  <a:lnTo>
                    <a:pt x="62" y="35"/>
                  </a:lnTo>
                  <a:lnTo>
                    <a:pt x="59" y="32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1" y="29"/>
                  </a:lnTo>
                  <a:lnTo>
                    <a:pt x="43" y="27"/>
                  </a:lnTo>
                  <a:lnTo>
                    <a:pt x="43" y="24"/>
                  </a:lnTo>
                  <a:lnTo>
                    <a:pt x="41" y="24"/>
                  </a:lnTo>
                  <a:lnTo>
                    <a:pt x="38" y="24"/>
                  </a:lnTo>
                  <a:lnTo>
                    <a:pt x="35" y="21"/>
                  </a:lnTo>
                  <a:lnTo>
                    <a:pt x="38" y="13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2" y="19"/>
                  </a:lnTo>
                  <a:lnTo>
                    <a:pt x="22" y="16"/>
                  </a:lnTo>
                  <a:lnTo>
                    <a:pt x="16" y="19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4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4" y="35"/>
                  </a:lnTo>
                  <a:lnTo>
                    <a:pt x="14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8"/>
                  </a:lnTo>
                  <a:lnTo>
                    <a:pt x="22" y="43"/>
                  </a:lnTo>
                  <a:lnTo>
                    <a:pt x="16" y="46"/>
                  </a:lnTo>
                  <a:lnTo>
                    <a:pt x="22" y="51"/>
                  </a:lnTo>
                  <a:lnTo>
                    <a:pt x="27" y="51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3" y="54"/>
                  </a:lnTo>
                  <a:lnTo>
                    <a:pt x="33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7" y="62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27" y="67"/>
                  </a:lnTo>
                  <a:lnTo>
                    <a:pt x="22" y="70"/>
                  </a:lnTo>
                  <a:lnTo>
                    <a:pt x="25" y="75"/>
                  </a:lnTo>
                  <a:lnTo>
                    <a:pt x="19" y="78"/>
                  </a:lnTo>
                  <a:lnTo>
                    <a:pt x="19" y="75"/>
                  </a:lnTo>
                  <a:lnTo>
                    <a:pt x="14" y="75"/>
                  </a:lnTo>
                  <a:lnTo>
                    <a:pt x="11" y="80"/>
                  </a:lnTo>
                  <a:lnTo>
                    <a:pt x="11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0" y="83"/>
                  </a:lnTo>
                  <a:lnTo>
                    <a:pt x="0" y="88"/>
                  </a:lnTo>
                  <a:lnTo>
                    <a:pt x="0" y="91"/>
                  </a:lnTo>
                  <a:lnTo>
                    <a:pt x="3" y="94"/>
                  </a:lnTo>
                  <a:lnTo>
                    <a:pt x="3" y="96"/>
                  </a:lnTo>
                  <a:lnTo>
                    <a:pt x="6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1" y="96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22" y="107"/>
                  </a:lnTo>
                  <a:lnTo>
                    <a:pt x="22" y="107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7" y="110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3" y="110"/>
                  </a:lnTo>
                  <a:lnTo>
                    <a:pt x="35" y="112"/>
                  </a:lnTo>
                  <a:lnTo>
                    <a:pt x="35" y="104"/>
                  </a:lnTo>
                  <a:lnTo>
                    <a:pt x="38" y="104"/>
                  </a:lnTo>
                  <a:lnTo>
                    <a:pt x="38" y="96"/>
                  </a:lnTo>
                  <a:lnTo>
                    <a:pt x="41" y="94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3"/>
                  </a:lnTo>
                  <a:lnTo>
                    <a:pt x="46" y="86"/>
                  </a:lnTo>
                  <a:lnTo>
                    <a:pt x="46" y="83"/>
                  </a:lnTo>
                  <a:lnTo>
                    <a:pt x="46" y="83"/>
                  </a:lnTo>
                  <a:lnTo>
                    <a:pt x="46" y="80"/>
                  </a:lnTo>
                  <a:lnTo>
                    <a:pt x="49" y="80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7" y="83"/>
                  </a:lnTo>
                  <a:lnTo>
                    <a:pt x="57" y="80"/>
                  </a:lnTo>
                  <a:lnTo>
                    <a:pt x="59" y="80"/>
                  </a:lnTo>
                  <a:lnTo>
                    <a:pt x="59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70" y="99"/>
                  </a:lnTo>
                  <a:lnTo>
                    <a:pt x="73" y="102"/>
                  </a:lnTo>
                  <a:lnTo>
                    <a:pt x="73" y="104"/>
                  </a:lnTo>
                  <a:lnTo>
                    <a:pt x="73" y="107"/>
                  </a:lnTo>
                  <a:lnTo>
                    <a:pt x="75" y="107"/>
                  </a:lnTo>
                  <a:lnTo>
                    <a:pt x="78" y="107"/>
                  </a:lnTo>
                  <a:lnTo>
                    <a:pt x="81" y="107"/>
                  </a:lnTo>
                  <a:lnTo>
                    <a:pt x="81" y="107"/>
                  </a:lnTo>
                  <a:lnTo>
                    <a:pt x="83" y="110"/>
                  </a:lnTo>
                  <a:lnTo>
                    <a:pt x="86" y="110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2"/>
                  </a:lnTo>
                  <a:lnTo>
                    <a:pt x="91" y="115"/>
                  </a:lnTo>
                  <a:lnTo>
                    <a:pt x="91" y="115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2" y="131"/>
                  </a:lnTo>
                  <a:lnTo>
                    <a:pt x="105" y="131"/>
                  </a:lnTo>
                  <a:lnTo>
                    <a:pt x="107" y="134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6"/>
                  </a:lnTo>
                  <a:lnTo>
                    <a:pt x="107" y="126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2" y="118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102" y="112"/>
                  </a:lnTo>
                  <a:lnTo>
                    <a:pt x="105" y="107"/>
                  </a:lnTo>
                  <a:lnTo>
                    <a:pt x="107" y="104"/>
                  </a:lnTo>
                  <a:lnTo>
                    <a:pt x="107" y="102"/>
                  </a:lnTo>
                  <a:lnTo>
                    <a:pt x="113" y="99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8" y="102"/>
                  </a:lnTo>
                  <a:lnTo>
                    <a:pt x="121" y="102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9" y="99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1" y="99"/>
                  </a:lnTo>
                  <a:lnTo>
                    <a:pt x="134" y="99"/>
                  </a:lnTo>
                  <a:lnTo>
                    <a:pt x="134" y="99"/>
                  </a:lnTo>
                  <a:lnTo>
                    <a:pt x="137" y="99"/>
                  </a:lnTo>
                  <a:lnTo>
                    <a:pt x="137" y="102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1" y="104"/>
                  </a:lnTo>
                  <a:lnTo>
                    <a:pt x="131" y="107"/>
                  </a:lnTo>
                  <a:lnTo>
                    <a:pt x="129" y="110"/>
                  </a:lnTo>
                  <a:lnTo>
                    <a:pt x="129" y="107"/>
                  </a:lnTo>
                  <a:lnTo>
                    <a:pt x="126" y="110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9" y="115"/>
                  </a:lnTo>
                  <a:lnTo>
                    <a:pt x="129" y="115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4" y="118"/>
                  </a:lnTo>
                  <a:lnTo>
                    <a:pt x="134" y="115"/>
                  </a:lnTo>
                  <a:lnTo>
                    <a:pt x="137" y="118"/>
                  </a:lnTo>
                  <a:lnTo>
                    <a:pt x="137" y="118"/>
                  </a:lnTo>
                  <a:lnTo>
                    <a:pt x="139" y="118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2" y="126"/>
                  </a:lnTo>
                  <a:lnTo>
                    <a:pt x="142" y="131"/>
                  </a:lnTo>
                  <a:lnTo>
                    <a:pt x="158" y="144"/>
                  </a:lnTo>
                  <a:lnTo>
                    <a:pt x="155" y="147"/>
                  </a:lnTo>
                  <a:lnTo>
                    <a:pt x="155" y="147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61" y="150"/>
                  </a:lnTo>
                  <a:lnTo>
                    <a:pt x="161" y="152"/>
                  </a:lnTo>
                  <a:lnTo>
                    <a:pt x="163" y="152"/>
                  </a:lnTo>
                  <a:lnTo>
                    <a:pt x="166" y="155"/>
                  </a:lnTo>
                  <a:lnTo>
                    <a:pt x="169" y="155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9" y="150"/>
                  </a:lnTo>
                  <a:lnTo>
                    <a:pt x="179" y="147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39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7" y="134"/>
                  </a:lnTo>
                  <a:lnTo>
                    <a:pt x="187" y="134"/>
                  </a:lnTo>
                  <a:lnTo>
                    <a:pt x="190" y="131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8" y="123"/>
                  </a:lnTo>
                  <a:lnTo>
                    <a:pt x="195" y="120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198" y="120"/>
                  </a:lnTo>
                  <a:lnTo>
                    <a:pt x="201" y="118"/>
                  </a:lnTo>
                  <a:lnTo>
                    <a:pt x="203" y="118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9" y="115"/>
                  </a:lnTo>
                  <a:lnTo>
                    <a:pt x="209" y="115"/>
                  </a:lnTo>
                  <a:lnTo>
                    <a:pt x="206" y="112"/>
                  </a:lnTo>
                  <a:lnTo>
                    <a:pt x="209" y="112"/>
                  </a:lnTo>
                  <a:lnTo>
                    <a:pt x="209" y="110"/>
                  </a:lnTo>
                  <a:lnTo>
                    <a:pt x="209" y="110"/>
                  </a:lnTo>
                  <a:lnTo>
                    <a:pt x="209" y="107"/>
                  </a:lnTo>
                  <a:lnTo>
                    <a:pt x="211" y="107"/>
                  </a:lnTo>
                  <a:lnTo>
                    <a:pt x="211" y="104"/>
                  </a:lnTo>
                  <a:lnTo>
                    <a:pt x="209" y="102"/>
                  </a:lnTo>
                  <a:lnTo>
                    <a:pt x="209" y="99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4" y="94"/>
                  </a:lnTo>
                  <a:lnTo>
                    <a:pt x="214" y="94"/>
                  </a:lnTo>
                  <a:lnTo>
                    <a:pt x="214" y="91"/>
                  </a:lnTo>
                  <a:lnTo>
                    <a:pt x="214" y="88"/>
                  </a:lnTo>
                  <a:lnTo>
                    <a:pt x="217" y="86"/>
                  </a:lnTo>
                  <a:lnTo>
                    <a:pt x="217" y="83"/>
                  </a:lnTo>
                  <a:lnTo>
                    <a:pt x="217" y="83"/>
                  </a:lnTo>
                  <a:lnTo>
                    <a:pt x="214" y="80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2" y="72"/>
                  </a:lnTo>
                  <a:lnTo>
                    <a:pt x="225" y="75"/>
                  </a:lnTo>
                  <a:lnTo>
                    <a:pt x="225" y="72"/>
                  </a:lnTo>
                  <a:lnTo>
                    <a:pt x="227" y="72"/>
                  </a:lnTo>
                  <a:lnTo>
                    <a:pt x="227" y="70"/>
                  </a:lnTo>
                  <a:lnTo>
                    <a:pt x="227" y="67"/>
                  </a:lnTo>
                  <a:lnTo>
                    <a:pt x="227" y="64"/>
                  </a:lnTo>
                  <a:lnTo>
                    <a:pt x="227" y="62"/>
                  </a:lnTo>
                  <a:lnTo>
                    <a:pt x="227" y="62"/>
                  </a:lnTo>
                  <a:lnTo>
                    <a:pt x="225" y="64"/>
                  </a:lnTo>
                  <a:lnTo>
                    <a:pt x="222" y="62"/>
                  </a:lnTo>
                  <a:lnTo>
                    <a:pt x="219" y="56"/>
                  </a:lnTo>
                  <a:lnTo>
                    <a:pt x="219" y="56"/>
                  </a:lnTo>
                  <a:lnTo>
                    <a:pt x="219" y="54"/>
                  </a:lnTo>
                  <a:lnTo>
                    <a:pt x="219" y="51"/>
                  </a:lnTo>
                  <a:lnTo>
                    <a:pt x="219" y="51"/>
                  </a:lnTo>
                  <a:lnTo>
                    <a:pt x="219" y="51"/>
                  </a:lnTo>
                  <a:lnTo>
                    <a:pt x="217" y="51"/>
                  </a:lnTo>
                  <a:lnTo>
                    <a:pt x="217" y="51"/>
                  </a:lnTo>
                  <a:lnTo>
                    <a:pt x="217" y="54"/>
                  </a:lnTo>
                  <a:lnTo>
                    <a:pt x="214" y="56"/>
                  </a:lnTo>
                  <a:lnTo>
                    <a:pt x="211" y="59"/>
                  </a:lnTo>
                  <a:lnTo>
                    <a:pt x="209" y="59"/>
                  </a:lnTo>
                  <a:lnTo>
                    <a:pt x="206" y="59"/>
                  </a:lnTo>
                  <a:lnTo>
                    <a:pt x="206" y="56"/>
                  </a:lnTo>
                  <a:lnTo>
                    <a:pt x="203" y="56"/>
                  </a:lnTo>
                  <a:lnTo>
                    <a:pt x="203" y="51"/>
                  </a:lnTo>
                  <a:lnTo>
                    <a:pt x="203" y="51"/>
                  </a:lnTo>
                  <a:lnTo>
                    <a:pt x="203" y="51"/>
                  </a:lnTo>
                  <a:lnTo>
                    <a:pt x="206" y="48"/>
                  </a:lnTo>
                  <a:lnTo>
                    <a:pt x="206" y="46"/>
                  </a:lnTo>
                  <a:lnTo>
                    <a:pt x="206" y="46"/>
                  </a:lnTo>
                  <a:lnTo>
                    <a:pt x="203" y="43"/>
                  </a:lnTo>
                  <a:lnTo>
                    <a:pt x="203" y="40"/>
                  </a:lnTo>
                  <a:lnTo>
                    <a:pt x="203" y="38"/>
                  </a:lnTo>
                  <a:lnTo>
                    <a:pt x="203" y="35"/>
                  </a:lnTo>
                  <a:lnTo>
                    <a:pt x="201" y="32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195" y="35"/>
                  </a:lnTo>
                  <a:close/>
                </a:path>
              </a:pathLst>
            </a:custGeom>
            <a:grpFill/>
            <a:ln w="7938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3" name="Freeform 8879">
              <a:extLst>
                <a:ext uri="{FF2B5EF4-FFF2-40B4-BE49-F238E27FC236}">
                  <a16:creationId xmlns:a16="http://schemas.microsoft.com/office/drawing/2014/main" id="{0F3847A9-C113-8142-96F8-B4C59A0B6D9E}"/>
                </a:ext>
              </a:extLst>
            </p:cNvPr>
            <p:cNvSpPr/>
            <p:nvPr/>
          </p:nvSpPr>
          <p:spPr bwMode="auto">
            <a:xfrm>
              <a:off x="8432003" y="4549775"/>
              <a:ext cx="1471613" cy="1035050"/>
            </a:xfrm>
            <a:custGeom>
              <a:avLst/>
              <a:gdLst>
                <a:gd name="T0" fmla="*/ 670 w 927"/>
                <a:gd name="T1" fmla="*/ 155 h 652"/>
                <a:gd name="T2" fmla="*/ 670 w 927"/>
                <a:gd name="T3" fmla="*/ 208 h 652"/>
                <a:gd name="T4" fmla="*/ 750 w 927"/>
                <a:gd name="T5" fmla="*/ 235 h 652"/>
                <a:gd name="T6" fmla="*/ 815 w 927"/>
                <a:gd name="T7" fmla="*/ 195 h 652"/>
                <a:gd name="T8" fmla="*/ 865 w 927"/>
                <a:gd name="T9" fmla="*/ 150 h 652"/>
                <a:gd name="T10" fmla="*/ 911 w 927"/>
                <a:gd name="T11" fmla="*/ 176 h 652"/>
                <a:gd name="T12" fmla="*/ 903 w 927"/>
                <a:gd name="T13" fmla="*/ 243 h 652"/>
                <a:gd name="T14" fmla="*/ 860 w 927"/>
                <a:gd name="T15" fmla="*/ 275 h 652"/>
                <a:gd name="T16" fmla="*/ 833 w 927"/>
                <a:gd name="T17" fmla="*/ 329 h 652"/>
                <a:gd name="T18" fmla="*/ 798 w 927"/>
                <a:gd name="T19" fmla="*/ 374 h 652"/>
                <a:gd name="T20" fmla="*/ 782 w 927"/>
                <a:gd name="T21" fmla="*/ 452 h 652"/>
                <a:gd name="T22" fmla="*/ 806 w 927"/>
                <a:gd name="T23" fmla="*/ 494 h 652"/>
                <a:gd name="T24" fmla="*/ 863 w 927"/>
                <a:gd name="T25" fmla="*/ 540 h 652"/>
                <a:gd name="T26" fmla="*/ 863 w 927"/>
                <a:gd name="T27" fmla="*/ 615 h 652"/>
                <a:gd name="T28" fmla="*/ 815 w 927"/>
                <a:gd name="T29" fmla="*/ 649 h 652"/>
                <a:gd name="T30" fmla="*/ 758 w 927"/>
                <a:gd name="T31" fmla="*/ 628 h 652"/>
                <a:gd name="T32" fmla="*/ 708 w 927"/>
                <a:gd name="T33" fmla="*/ 625 h 652"/>
                <a:gd name="T34" fmla="*/ 652 w 927"/>
                <a:gd name="T35" fmla="*/ 641 h 652"/>
                <a:gd name="T36" fmla="*/ 609 w 927"/>
                <a:gd name="T37" fmla="*/ 582 h 652"/>
                <a:gd name="T38" fmla="*/ 563 w 927"/>
                <a:gd name="T39" fmla="*/ 537 h 652"/>
                <a:gd name="T40" fmla="*/ 553 w 927"/>
                <a:gd name="T41" fmla="*/ 510 h 652"/>
                <a:gd name="T42" fmla="*/ 515 w 927"/>
                <a:gd name="T43" fmla="*/ 473 h 652"/>
                <a:gd name="T44" fmla="*/ 483 w 927"/>
                <a:gd name="T45" fmla="*/ 425 h 652"/>
                <a:gd name="T46" fmla="*/ 457 w 927"/>
                <a:gd name="T47" fmla="*/ 403 h 652"/>
                <a:gd name="T48" fmla="*/ 427 w 927"/>
                <a:gd name="T49" fmla="*/ 385 h 652"/>
                <a:gd name="T50" fmla="*/ 379 w 927"/>
                <a:gd name="T51" fmla="*/ 390 h 652"/>
                <a:gd name="T52" fmla="*/ 304 w 927"/>
                <a:gd name="T53" fmla="*/ 379 h 652"/>
                <a:gd name="T54" fmla="*/ 262 w 927"/>
                <a:gd name="T55" fmla="*/ 398 h 652"/>
                <a:gd name="T56" fmla="*/ 208 w 927"/>
                <a:gd name="T57" fmla="*/ 398 h 652"/>
                <a:gd name="T58" fmla="*/ 184 w 927"/>
                <a:gd name="T59" fmla="*/ 369 h 652"/>
                <a:gd name="T60" fmla="*/ 179 w 927"/>
                <a:gd name="T61" fmla="*/ 345 h 652"/>
                <a:gd name="T62" fmla="*/ 182 w 927"/>
                <a:gd name="T63" fmla="*/ 326 h 652"/>
                <a:gd name="T64" fmla="*/ 187 w 927"/>
                <a:gd name="T65" fmla="*/ 315 h 652"/>
                <a:gd name="T66" fmla="*/ 174 w 927"/>
                <a:gd name="T67" fmla="*/ 291 h 652"/>
                <a:gd name="T68" fmla="*/ 160 w 927"/>
                <a:gd name="T69" fmla="*/ 291 h 652"/>
                <a:gd name="T70" fmla="*/ 166 w 927"/>
                <a:gd name="T71" fmla="*/ 264 h 652"/>
                <a:gd name="T72" fmla="*/ 160 w 927"/>
                <a:gd name="T73" fmla="*/ 248 h 652"/>
                <a:gd name="T74" fmla="*/ 152 w 927"/>
                <a:gd name="T75" fmla="*/ 222 h 652"/>
                <a:gd name="T76" fmla="*/ 131 w 927"/>
                <a:gd name="T77" fmla="*/ 232 h 652"/>
                <a:gd name="T78" fmla="*/ 115 w 927"/>
                <a:gd name="T79" fmla="*/ 211 h 652"/>
                <a:gd name="T80" fmla="*/ 93 w 927"/>
                <a:gd name="T81" fmla="*/ 192 h 652"/>
                <a:gd name="T82" fmla="*/ 72 w 927"/>
                <a:gd name="T83" fmla="*/ 206 h 652"/>
                <a:gd name="T84" fmla="*/ 53 w 927"/>
                <a:gd name="T85" fmla="*/ 216 h 652"/>
                <a:gd name="T86" fmla="*/ 48 w 927"/>
                <a:gd name="T87" fmla="*/ 187 h 652"/>
                <a:gd name="T88" fmla="*/ 40 w 927"/>
                <a:gd name="T89" fmla="*/ 168 h 652"/>
                <a:gd name="T90" fmla="*/ 11 w 927"/>
                <a:gd name="T91" fmla="*/ 155 h 652"/>
                <a:gd name="T92" fmla="*/ 13 w 927"/>
                <a:gd name="T93" fmla="*/ 126 h 652"/>
                <a:gd name="T94" fmla="*/ 69 w 927"/>
                <a:gd name="T95" fmla="*/ 99 h 652"/>
                <a:gd name="T96" fmla="*/ 102 w 927"/>
                <a:gd name="T97" fmla="*/ 118 h 652"/>
                <a:gd name="T98" fmla="*/ 134 w 927"/>
                <a:gd name="T99" fmla="*/ 109 h 652"/>
                <a:gd name="T100" fmla="*/ 166 w 927"/>
                <a:gd name="T101" fmla="*/ 120 h 652"/>
                <a:gd name="T102" fmla="*/ 192 w 927"/>
                <a:gd name="T103" fmla="*/ 118 h 652"/>
                <a:gd name="T104" fmla="*/ 230 w 927"/>
                <a:gd name="T105" fmla="*/ 109 h 652"/>
                <a:gd name="T106" fmla="*/ 264 w 927"/>
                <a:gd name="T107" fmla="*/ 136 h 652"/>
                <a:gd name="T108" fmla="*/ 299 w 927"/>
                <a:gd name="T109" fmla="*/ 142 h 652"/>
                <a:gd name="T110" fmla="*/ 342 w 927"/>
                <a:gd name="T111" fmla="*/ 131 h 652"/>
                <a:gd name="T112" fmla="*/ 371 w 927"/>
                <a:gd name="T113" fmla="*/ 142 h 652"/>
                <a:gd name="T114" fmla="*/ 401 w 927"/>
                <a:gd name="T115" fmla="*/ 128 h 652"/>
                <a:gd name="T116" fmla="*/ 470 w 927"/>
                <a:gd name="T117" fmla="*/ 99 h 652"/>
                <a:gd name="T118" fmla="*/ 542 w 927"/>
                <a:gd name="T119" fmla="*/ 59 h 652"/>
                <a:gd name="T120" fmla="*/ 644 w 927"/>
                <a:gd name="T121" fmla="*/ 24 h 652"/>
                <a:gd name="T122" fmla="*/ 705 w 927"/>
                <a:gd name="T123" fmla="*/ 16 h 652"/>
                <a:gd name="T124" fmla="*/ 708 w 927"/>
                <a:gd name="T125" fmla="*/ 56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27" h="652" extrusionOk="0">
                  <a:moveTo>
                    <a:pt x="689" y="85"/>
                  </a:moveTo>
                  <a:lnTo>
                    <a:pt x="689" y="85"/>
                  </a:lnTo>
                  <a:lnTo>
                    <a:pt x="689" y="88"/>
                  </a:lnTo>
                  <a:lnTo>
                    <a:pt x="689" y="91"/>
                  </a:lnTo>
                  <a:lnTo>
                    <a:pt x="686" y="91"/>
                  </a:lnTo>
                  <a:lnTo>
                    <a:pt x="686" y="91"/>
                  </a:lnTo>
                  <a:lnTo>
                    <a:pt x="684" y="91"/>
                  </a:lnTo>
                  <a:lnTo>
                    <a:pt x="684" y="93"/>
                  </a:lnTo>
                  <a:lnTo>
                    <a:pt x="684" y="96"/>
                  </a:lnTo>
                  <a:lnTo>
                    <a:pt x="684" y="99"/>
                  </a:lnTo>
                  <a:lnTo>
                    <a:pt x="681" y="101"/>
                  </a:lnTo>
                  <a:lnTo>
                    <a:pt x="681" y="101"/>
                  </a:lnTo>
                  <a:lnTo>
                    <a:pt x="681" y="101"/>
                  </a:lnTo>
                  <a:lnTo>
                    <a:pt x="678" y="101"/>
                  </a:lnTo>
                  <a:lnTo>
                    <a:pt x="678" y="104"/>
                  </a:lnTo>
                  <a:lnTo>
                    <a:pt x="676" y="104"/>
                  </a:lnTo>
                  <a:lnTo>
                    <a:pt x="676" y="107"/>
                  </a:lnTo>
                  <a:lnTo>
                    <a:pt x="676" y="107"/>
                  </a:lnTo>
                  <a:lnTo>
                    <a:pt x="676" y="109"/>
                  </a:lnTo>
                  <a:lnTo>
                    <a:pt x="676" y="109"/>
                  </a:lnTo>
                  <a:lnTo>
                    <a:pt x="673" y="109"/>
                  </a:lnTo>
                  <a:lnTo>
                    <a:pt x="673" y="112"/>
                  </a:lnTo>
                  <a:lnTo>
                    <a:pt x="670" y="112"/>
                  </a:lnTo>
                  <a:lnTo>
                    <a:pt x="670" y="112"/>
                  </a:lnTo>
                  <a:lnTo>
                    <a:pt x="668" y="115"/>
                  </a:lnTo>
                  <a:lnTo>
                    <a:pt x="668" y="118"/>
                  </a:lnTo>
                  <a:lnTo>
                    <a:pt x="668" y="120"/>
                  </a:lnTo>
                  <a:lnTo>
                    <a:pt x="665" y="120"/>
                  </a:lnTo>
                  <a:lnTo>
                    <a:pt x="665" y="123"/>
                  </a:lnTo>
                  <a:lnTo>
                    <a:pt x="662" y="126"/>
                  </a:lnTo>
                  <a:lnTo>
                    <a:pt x="662" y="128"/>
                  </a:lnTo>
                  <a:lnTo>
                    <a:pt x="665" y="131"/>
                  </a:lnTo>
                  <a:lnTo>
                    <a:pt x="668" y="134"/>
                  </a:lnTo>
                  <a:lnTo>
                    <a:pt x="668" y="136"/>
                  </a:lnTo>
                  <a:lnTo>
                    <a:pt x="668" y="142"/>
                  </a:lnTo>
                  <a:lnTo>
                    <a:pt x="668" y="144"/>
                  </a:lnTo>
                  <a:lnTo>
                    <a:pt x="668" y="147"/>
                  </a:lnTo>
                  <a:lnTo>
                    <a:pt x="668" y="152"/>
                  </a:lnTo>
                  <a:lnTo>
                    <a:pt x="670" y="155"/>
                  </a:lnTo>
                  <a:lnTo>
                    <a:pt x="670" y="155"/>
                  </a:lnTo>
                  <a:lnTo>
                    <a:pt x="668" y="155"/>
                  </a:lnTo>
                  <a:lnTo>
                    <a:pt x="668" y="158"/>
                  </a:lnTo>
                  <a:lnTo>
                    <a:pt x="668" y="158"/>
                  </a:lnTo>
                  <a:lnTo>
                    <a:pt x="665" y="160"/>
                  </a:lnTo>
                  <a:lnTo>
                    <a:pt x="662" y="160"/>
                  </a:lnTo>
                  <a:lnTo>
                    <a:pt x="662" y="158"/>
                  </a:lnTo>
                  <a:lnTo>
                    <a:pt x="660" y="158"/>
                  </a:lnTo>
                  <a:lnTo>
                    <a:pt x="660" y="160"/>
                  </a:lnTo>
                  <a:lnTo>
                    <a:pt x="660" y="160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54" y="163"/>
                  </a:lnTo>
                  <a:lnTo>
                    <a:pt x="652" y="166"/>
                  </a:lnTo>
                  <a:lnTo>
                    <a:pt x="652" y="171"/>
                  </a:lnTo>
                  <a:lnTo>
                    <a:pt x="649" y="174"/>
                  </a:lnTo>
                  <a:lnTo>
                    <a:pt x="652" y="176"/>
                  </a:lnTo>
                  <a:lnTo>
                    <a:pt x="649" y="179"/>
                  </a:lnTo>
                  <a:lnTo>
                    <a:pt x="649" y="182"/>
                  </a:lnTo>
                  <a:lnTo>
                    <a:pt x="646" y="184"/>
                  </a:lnTo>
                  <a:lnTo>
                    <a:pt x="646" y="187"/>
                  </a:lnTo>
                  <a:lnTo>
                    <a:pt x="646" y="190"/>
                  </a:lnTo>
                  <a:lnTo>
                    <a:pt x="646" y="192"/>
                  </a:lnTo>
                  <a:lnTo>
                    <a:pt x="649" y="195"/>
                  </a:lnTo>
                  <a:lnTo>
                    <a:pt x="649" y="198"/>
                  </a:lnTo>
                  <a:lnTo>
                    <a:pt x="649" y="200"/>
                  </a:lnTo>
                  <a:lnTo>
                    <a:pt x="649" y="200"/>
                  </a:lnTo>
                  <a:lnTo>
                    <a:pt x="649" y="203"/>
                  </a:lnTo>
                  <a:lnTo>
                    <a:pt x="646" y="206"/>
                  </a:lnTo>
                  <a:lnTo>
                    <a:pt x="649" y="208"/>
                  </a:lnTo>
                  <a:lnTo>
                    <a:pt x="652" y="208"/>
                  </a:lnTo>
                  <a:lnTo>
                    <a:pt x="652" y="208"/>
                  </a:lnTo>
                  <a:lnTo>
                    <a:pt x="654" y="206"/>
                  </a:lnTo>
                  <a:lnTo>
                    <a:pt x="657" y="208"/>
                  </a:lnTo>
                  <a:lnTo>
                    <a:pt x="660" y="206"/>
                  </a:lnTo>
                  <a:lnTo>
                    <a:pt x="662" y="203"/>
                  </a:lnTo>
                  <a:lnTo>
                    <a:pt x="662" y="203"/>
                  </a:lnTo>
                  <a:lnTo>
                    <a:pt x="665" y="206"/>
                  </a:lnTo>
                  <a:lnTo>
                    <a:pt x="668" y="206"/>
                  </a:lnTo>
                  <a:lnTo>
                    <a:pt x="670" y="208"/>
                  </a:lnTo>
                  <a:lnTo>
                    <a:pt x="673" y="206"/>
                  </a:lnTo>
                  <a:lnTo>
                    <a:pt x="673" y="206"/>
                  </a:lnTo>
                  <a:lnTo>
                    <a:pt x="676" y="206"/>
                  </a:lnTo>
                  <a:lnTo>
                    <a:pt x="678" y="208"/>
                  </a:lnTo>
                  <a:lnTo>
                    <a:pt x="681" y="208"/>
                  </a:lnTo>
                  <a:lnTo>
                    <a:pt x="681" y="208"/>
                  </a:lnTo>
                  <a:lnTo>
                    <a:pt x="681" y="206"/>
                  </a:lnTo>
                  <a:lnTo>
                    <a:pt x="681" y="206"/>
                  </a:lnTo>
                  <a:lnTo>
                    <a:pt x="684" y="203"/>
                  </a:lnTo>
                  <a:lnTo>
                    <a:pt x="689" y="200"/>
                  </a:lnTo>
                  <a:lnTo>
                    <a:pt x="692" y="200"/>
                  </a:lnTo>
                  <a:lnTo>
                    <a:pt x="694" y="200"/>
                  </a:lnTo>
                  <a:lnTo>
                    <a:pt x="697" y="200"/>
                  </a:lnTo>
                  <a:lnTo>
                    <a:pt x="700" y="200"/>
                  </a:lnTo>
                  <a:lnTo>
                    <a:pt x="700" y="198"/>
                  </a:lnTo>
                  <a:lnTo>
                    <a:pt x="702" y="198"/>
                  </a:lnTo>
                  <a:lnTo>
                    <a:pt x="705" y="200"/>
                  </a:lnTo>
                  <a:lnTo>
                    <a:pt x="710" y="200"/>
                  </a:lnTo>
                  <a:lnTo>
                    <a:pt x="710" y="203"/>
                  </a:lnTo>
                  <a:lnTo>
                    <a:pt x="713" y="208"/>
                  </a:lnTo>
                  <a:lnTo>
                    <a:pt x="713" y="208"/>
                  </a:lnTo>
                  <a:lnTo>
                    <a:pt x="716" y="214"/>
                  </a:lnTo>
                  <a:lnTo>
                    <a:pt x="721" y="219"/>
                  </a:lnTo>
                  <a:lnTo>
                    <a:pt x="724" y="224"/>
                  </a:lnTo>
                  <a:lnTo>
                    <a:pt x="726" y="227"/>
                  </a:lnTo>
                  <a:lnTo>
                    <a:pt x="729" y="230"/>
                  </a:lnTo>
                  <a:lnTo>
                    <a:pt x="729" y="232"/>
                  </a:lnTo>
                  <a:lnTo>
                    <a:pt x="732" y="235"/>
                  </a:lnTo>
                  <a:lnTo>
                    <a:pt x="732" y="238"/>
                  </a:lnTo>
                  <a:lnTo>
                    <a:pt x="726" y="243"/>
                  </a:lnTo>
                  <a:lnTo>
                    <a:pt x="729" y="246"/>
                  </a:lnTo>
                  <a:lnTo>
                    <a:pt x="732" y="246"/>
                  </a:lnTo>
                  <a:lnTo>
                    <a:pt x="734" y="243"/>
                  </a:lnTo>
                  <a:lnTo>
                    <a:pt x="740" y="240"/>
                  </a:lnTo>
                  <a:lnTo>
                    <a:pt x="742" y="235"/>
                  </a:lnTo>
                  <a:lnTo>
                    <a:pt x="745" y="235"/>
                  </a:lnTo>
                  <a:lnTo>
                    <a:pt x="748" y="232"/>
                  </a:lnTo>
                  <a:lnTo>
                    <a:pt x="748" y="232"/>
                  </a:lnTo>
                  <a:lnTo>
                    <a:pt x="750" y="232"/>
                  </a:lnTo>
                  <a:lnTo>
                    <a:pt x="750" y="235"/>
                  </a:lnTo>
                  <a:lnTo>
                    <a:pt x="753" y="238"/>
                  </a:lnTo>
                  <a:lnTo>
                    <a:pt x="756" y="240"/>
                  </a:lnTo>
                  <a:lnTo>
                    <a:pt x="756" y="243"/>
                  </a:lnTo>
                  <a:lnTo>
                    <a:pt x="758" y="240"/>
                  </a:lnTo>
                  <a:lnTo>
                    <a:pt x="761" y="240"/>
                  </a:lnTo>
                  <a:lnTo>
                    <a:pt x="764" y="238"/>
                  </a:lnTo>
                  <a:lnTo>
                    <a:pt x="764" y="235"/>
                  </a:lnTo>
                  <a:lnTo>
                    <a:pt x="761" y="235"/>
                  </a:lnTo>
                  <a:lnTo>
                    <a:pt x="761" y="232"/>
                  </a:lnTo>
                  <a:lnTo>
                    <a:pt x="761" y="230"/>
                  </a:lnTo>
                  <a:lnTo>
                    <a:pt x="764" y="230"/>
                  </a:lnTo>
                  <a:lnTo>
                    <a:pt x="769" y="227"/>
                  </a:lnTo>
                  <a:lnTo>
                    <a:pt x="769" y="227"/>
                  </a:lnTo>
                  <a:lnTo>
                    <a:pt x="769" y="224"/>
                  </a:lnTo>
                  <a:lnTo>
                    <a:pt x="772" y="224"/>
                  </a:lnTo>
                  <a:lnTo>
                    <a:pt x="772" y="224"/>
                  </a:lnTo>
                  <a:lnTo>
                    <a:pt x="774" y="224"/>
                  </a:lnTo>
                  <a:lnTo>
                    <a:pt x="774" y="222"/>
                  </a:lnTo>
                  <a:lnTo>
                    <a:pt x="777" y="222"/>
                  </a:lnTo>
                  <a:lnTo>
                    <a:pt x="777" y="222"/>
                  </a:lnTo>
                  <a:lnTo>
                    <a:pt x="780" y="222"/>
                  </a:lnTo>
                  <a:lnTo>
                    <a:pt x="780" y="219"/>
                  </a:lnTo>
                  <a:lnTo>
                    <a:pt x="785" y="219"/>
                  </a:lnTo>
                  <a:lnTo>
                    <a:pt x="788" y="219"/>
                  </a:lnTo>
                  <a:lnTo>
                    <a:pt x="790" y="216"/>
                  </a:lnTo>
                  <a:lnTo>
                    <a:pt x="793" y="214"/>
                  </a:lnTo>
                  <a:lnTo>
                    <a:pt x="796" y="214"/>
                  </a:lnTo>
                  <a:lnTo>
                    <a:pt x="798" y="211"/>
                  </a:lnTo>
                  <a:lnTo>
                    <a:pt x="801" y="211"/>
                  </a:lnTo>
                  <a:lnTo>
                    <a:pt x="804" y="208"/>
                  </a:lnTo>
                  <a:lnTo>
                    <a:pt x="804" y="208"/>
                  </a:lnTo>
                  <a:lnTo>
                    <a:pt x="804" y="208"/>
                  </a:lnTo>
                  <a:lnTo>
                    <a:pt x="804" y="203"/>
                  </a:lnTo>
                  <a:lnTo>
                    <a:pt x="806" y="203"/>
                  </a:lnTo>
                  <a:lnTo>
                    <a:pt x="809" y="200"/>
                  </a:lnTo>
                  <a:lnTo>
                    <a:pt x="812" y="200"/>
                  </a:lnTo>
                  <a:lnTo>
                    <a:pt x="815" y="198"/>
                  </a:lnTo>
                  <a:lnTo>
                    <a:pt x="815" y="198"/>
                  </a:lnTo>
                  <a:lnTo>
                    <a:pt x="815" y="195"/>
                  </a:lnTo>
                  <a:lnTo>
                    <a:pt x="815" y="195"/>
                  </a:lnTo>
                  <a:lnTo>
                    <a:pt x="812" y="192"/>
                  </a:lnTo>
                  <a:lnTo>
                    <a:pt x="812" y="190"/>
                  </a:lnTo>
                  <a:lnTo>
                    <a:pt x="815" y="187"/>
                  </a:lnTo>
                  <a:lnTo>
                    <a:pt x="815" y="184"/>
                  </a:lnTo>
                  <a:lnTo>
                    <a:pt x="815" y="182"/>
                  </a:lnTo>
                  <a:lnTo>
                    <a:pt x="817" y="179"/>
                  </a:lnTo>
                  <a:lnTo>
                    <a:pt x="820" y="176"/>
                  </a:lnTo>
                  <a:lnTo>
                    <a:pt x="820" y="174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8" y="168"/>
                  </a:lnTo>
                  <a:lnTo>
                    <a:pt x="828" y="166"/>
                  </a:lnTo>
                  <a:lnTo>
                    <a:pt x="831" y="166"/>
                  </a:lnTo>
                  <a:lnTo>
                    <a:pt x="833" y="168"/>
                  </a:lnTo>
                  <a:lnTo>
                    <a:pt x="836" y="171"/>
                  </a:lnTo>
                  <a:lnTo>
                    <a:pt x="839" y="171"/>
                  </a:lnTo>
                  <a:lnTo>
                    <a:pt x="839" y="171"/>
                  </a:lnTo>
                  <a:lnTo>
                    <a:pt x="839" y="168"/>
                  </a:lnTo>
                  <a:lnTo>
                    <a:pt x="841" y="168"/>
                  </a:lnTo>
                  <a:lnTo>
                    <a:pt x="841" y="168"/>
                  </a:lnTo>
                  <a:lnTo>
                    <a:pt x="844" y="166"/>
                  </a:lnTo>
                  <a:lnTo>
                    <a:pt x="847" y="166"/>
                  </a:lnTo>
                  <a:lnTo>
                    <a:pt x="849" y="166"/>
                  </a:lnTo>
                  <a:lnTo>
                    <a:pt x="852" y="166"/>
                  </a:lnTo>
                  <a:lnTo>
                    <a:pt x="855" y="166"/>
                  </a:lnTo>
                  <a:lnTo>
                    <a:pt x="855" y="163"/>
                  </a:lnTo>
                  <a:lnTo>
                    <a:pt x="855" y="163"/>
                  </a:lnTo>
                  <a:lnTo>
                    <a:pt x="857" y="160"/>
                  </a:lnTo>
                  <a:lnTo>
                    <a:pt x="860" y="160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5"/>
                  </a:lnTo>
                  <a:lnTo>
                    <a:pt x="863" y="155"/>
                  </a:lnTo>
                  <a:lnTo>
                    <a:pt x="863" y="152"/>
                  </a:lnTo>
                  <a:lnTo>
                    <a:pt x="863" y="152"/>
                  </a:lnTo>
                  <a:lnTo>
                    <a:pt x="865" y="150"/>
                  </a:lnTo>
                  <a:lnTo>
                    <a:pt x="865" y="147"/>
                  </a:lnTo>
                  <a:lnTo>
                    <a:pt x="868" y="147"/>
                  </a:lnTo>
                  <a:lnTo>
                    <a:pt x="871" y="147"/>
                  </a:lnTo>
                  <a:lnTo>
                    <a:pt x="873" y="144"/>
                  </a:lnTo>
                  <a:lnTo>
                    <a:pt x="871" y="142"/>
                  </a:lnTo>
                  <a:lnTo>
                    <a:pt x="871" y="139"/>
                  </a:lnTo>
                  <a:lnTo>
                    <a:pt x="873" y="136"/>
                  </a:lnTo>
                  <a:lnTo>
                    <a:pt x="876" y="136"/>
                  </a:lnTo>
                  <a:lnTo>
                    <a:pt x="879" y="139"/>
                  </a:lnTo>
                  <a:lnTo>
                    <a:pt x="881" y="139"/>
                  </a:lnTo>
                  <a:lnTo>
                    <a:pt x="884" y="139"/>
                  </a:lnTo>
                  <a:lnTo>
                    <a:pt x="884" y="139"/>
                  </a:lnTo>
                  <a:lnTo>
                    <a:pt x="887" y="142"/>
                  </a:lnTo>
                  <a:lnTo>
                    <a:pt x="889" y="144"/>
                  </a:lnTo>
                  <a:lnTo>
                    <a:pt x="892" y="142"/>
                  </a:lnTo>
                  <a:lnTo>
                    <a:pt x="892" y="142"/>
                  </a:lnTo>
                  <a:lnTo>
                    <a:pt x="895" y="142"/>
                  </a:lnTo>
                  <a:lnTo>
                    <a:pt x="895" y="144"/>
                  </a:lnTo>
                  <a:lnTo>
                    <a:pt x="897" y="144"/>
                  </a:lnTo>
                  <a:lnTo>
                    <a:pt x="900" y="144"/>
                  </a:lnTo>
                  <a:lnTo>
                    <a:pt x="903" y="147"/>
                  </a:lnTo>
                  <a:lnTo>
                    <a:pt x="903" y="150"/>
                  </a:lnTo>
                  <a:lnTo>
                    <a:pt x="903" y="150"/>
                  </a:lnTo>
                  <a:lnTo>
                    <a:pt x="900" y="150"/>
                  </a:lnTo>
                  <a:lnTo>
                    <a:pt x="897" y="150"/>
                  </a:lnTo>
                  <a:lnTo>
                    <a:pt x="897" y="150"/>
                  </a:lnTo>
                  <a:lnTo>
                    <a:pt x="897" y="152"/>
                  </a:lnTo>
                  <a:lnTo>
                    <a:pt x="897" y="155"/>
                  </a:lnTo>
                  <a:lnTo>
                    <a:pt x="900" y="155"/>
                  </a:lnTo>
                  <a:lnTo>
                    <a:pt x="903" y="155"/>
                  </a:lnTo>
                  <a:lnTo>
                    <a:pt x="903" y="158"/>
                  </a:lnTo>
                  <a:lnTo>
                    <a:pt x="905" y="158"/>
                  </a:lnTo>
                  <a:lnTo>
                    <a:pt x="908" y="160"/>
                  </a:lnTo>
                  <a:lnTo>
                    <a:pt x="908" y="163"/>
                  </a:lnTo>
                  <a:lnTo>
                    <a:pt x="908" y="166"/>
                  </a:lnTo>
                  <a:lnTo>
                    <a:pt x="908" y="168"/>
                  </a:lnTo>
                  <a:lnTo>
                    <a:pt x="908" y="168"/>
                  </a:lnTo>
                  <a:lnTo>
                    <a:pt x="908" y="171"/>
                  </a:lnTo>
                  <a:lnTo>
                    <a:pt x="911" y="174"/>
                  </a:lnTo>
                  <a:lnTo>
                    <a:pt x="911" y="176"/>
                  </a:lnTo>
                  <a:lnTo>
                    <a:pt x="908" y="179"/>
                  </a:lnTo>
                  <a:lnTo>
                    <a:pt x="908" y="182"/>
                  </a:lnTo>
                  <a:lnTo>
                    <a:pt x="908" y="187"/>
                  </a:lnTo>
                  <a:lnTo>
                    <a:pt x="908" y="190"/>
                  </a:lnTo>
                  <a:lnTo>
                    <a:pt x="908" y="192"/>
                  </a:lnTo>
                  <a:lnTo>
                    <a:pt x="908" y="195"/>
                  </a:lnTo>
                  <a:lnTo>
                    <a:pt x="908" y="195"/>
                  </a:lnTo>
                  <a:lnTo>
                    <a:pt x="908" y="195"/>
                  </a:lnTo>
                  <a:lnTo>
                    <a:pt x="908" y="198"/>
                  </a:lnTo>
                  <a:lnTo>
                    <a:pt x="908" y="200"/>
                  </a:lnTo>
                  <a:lnTo>
                    <a:pt x="911" y="203"/>
                  </a:lnTo>
                  <a:lnTo>
                    <a:pt x="911" y="206"/>
                  </a:lnTo>
                  <a:lnTo>
                    <a:pt x="913" y="206"/>
                  </a:lnTo>
                  <a:lnTo>
                    <a:pt x="916" y="206"/>
                  </a:lnTo>
                  <a:lnTo>
                    <a:pt x="916" y="208"/>
                  </a:lnTo>
                  <a:lnTo>
                    <a:pt x="916" y="208"/>
                  </a:lnTo>
                  <a:lnTo>
                    <a:pt x="916" y="211"/>
                  </a:lnTo>
                  <a:lnTo>
                    <a:pt x="919" y="211"/>
                  </a:lnTo>
                  <a:lnTo>
                    <a:pt x="919" y="211"/>
                  </a:lnTo>
                  <a:lnTo>
                    <a:pt x="921" y="211"/>
                  </a:lnTo>
                  <a:lnTo>
                    <a:pt x="921" y="211"/>
                  </a:lnTo>
                  <a:lnTo>
                    <a:pt x="924" y="214"/>
                  </a:lnTo>
                  <a:lnTo>
                    <a:pt x="924" y="214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1" y="224"/>
                  </a:lnTo>
                  <a:lnTo>
                    <a:pt x="921" y="227"/>
                  </a:lnTo>
                  <a:lnTo>
                    <a:pt x="924" y="230"/>
                  </a:lnTo>
                  <a:lnTo>
                    <a:pt x="927" y="232"/>
                  </a:lnTo>
                  <a:lnTo>
                    <a:pt x="927" y="235"/>
                  </a:lnTo>
                  <a:lnTo>
                    <a:pt x="927" y="238"/>
                  </a:lnTo>
                  <a:lnTo>
                    <a:pt x="924" y="238"/>
                  </a:lnTo>
                  <a:lnTo>
                    <a:pt x="924" y="240"/>
                  </a:lnTo>
                  <a:lnTo>
                    <a:pt x="921" y="240"/>
                  </a:lnTo>
                  <a:lnTo>
                    <a:pt x="919" y="240"/>
                  </a:lnTo>
                  <a:lnTo>
                    <a:pt x="919" y="240"/>
                  </a:lnTo>
                  <a:lnTo>
                    <a:pt x="913" y="240"/>
                  </a:lnTo>
                  <a:lnTo>
                    <a:pt x="911" y="240"/>
                  </a:lnTo>
                  <a:lnTo>
                    <a:pt x="911" y="243"/>
                  </a:lnTo>
                  <a:lnTo>
                    <a:pt x="903" y="243"/>
                  </a:lnTo>
                  <a:lnTo>
                    <a:pt x="903" y="243"/>
                  </a:lnTo>
                  <a:lnTo>
                    <a:pt x="900" y="243"/>
                  </a:lnTo>
                  <a:lnTo>
                    <a:pt x="900" y="246"/>
                  </a:lnTo>
                  <a:lnTo>
                    <a:pt x="897" y="246"/>
                  </a:lnTo>
                  <a:lnTo>
                    <a:pt x="895" y="246"/>
                  </a:lnTo>
                  <a:lnTo>
                    <a:pt x="892" y="246"/>
                  </a:lnTo>
                  <a:lnTo>
                    <a:pt x="892" y="246"/>
                  </a:lnTo>
                  <a:lnTo>
                    <a:pt x="889" y="243"/>
                  </a:lnTo>
                  <a:lnTo>
                    <a:pt x="887" y="246"/>
                  </a:lnTo>
                  <a:lnTo>
                    <a:pt x="884" y="246"/>
                  </a:lnTo>
                  <a:lnTo>
                    <a:pt x="884" y="248"/>
                  </a:lnTo>
                  <a:lnTo>
                    <a:pt x="881" y="246"/>
                  </a:lnTo>
                  <a:lnTo>
                    <a:pt x="881" y="246"/>
                  </a:lnTo>
                  <a:lnTo>
                    <a:pt x="879" y="246"/>
                  </a:lnTo>
                  <a:lnTo>
                    <a:pt x="876" y="248"/>
                  </a:lnTo>
                  <a:lnTo>
                    <a:pt x="873" y="248"/>
                  </a:lnTo>
                  <a:lnTo>
                    <a:pt x="873" y="248"/>
                  </a:lnTo>
                  <a:lnTo>
                    <a:pt x="871" y="248"/>
                  </a:lnTo>
                  <a:lnTo>
                    <a:pt x="871" y="248"/>
                  </a:lnTo>
                  <a:lnTo>
                    <a:pt x="868" y="248"/>
                  </a:lnTo>
                  <a:lnTo>
                    <a:pt x="863" y="246"/>
                  </a:lnTo>
                  <a:lnTo>
                    <a:pt x="860" y="246"/>
                  </a:lnTo>
                  <a:lnTo>
                    <a:pt x="855" y="246"/>
                  </a:lnTo>
                  <a:lnTo>
                    <a:pt x="855" y="246"/>
                  </a:lnTo>
                  <a:lnTo>
                    <a:pt x="852" y="246"/>
                  </a:lnTo>
                  <a:lnTo>
                    <a:pt x="849" y="246"/>
                  </a:lnTo>
                  <a:lnTo>
                    <a:pt x="847" y="248"/>
                  </a:lnTo>
                  <a:lnTo>
                    <a:pt x="847" y="251"/>
                  </a:lnTo>
                  <a:lnTo>
                    <a:pt x="847" y="254"/>
                  </a:lnTo>
                  <a:lnTo>
                    <a:pt x="847" y="256"/>
                  </a:lnTo>
                  <a:lnTo>
                    <a:pt x="849" y="259"/>
                  </a:lnTo>
                  <a:lnTo>
                    <a:pt x="849" y="262"/>
                  </a:lnTo>
                  <a:lnTo>
                    <a:pt x="852" y="262"/>
                  </a:lnTo>
                  <a:lnTo>
                    <a:pt x="852" y="262"/>
                  </a:lnTo>
                  <a:lnTo>
                    <a:pt x="852" y="267"/>
                  </a:lnTo>
                  <a:lnTo>
                    <a:pt x="852" y="267"/>
                  </a:lnTo>
                  <a:lnTo>
                    <a:pt x="855" y="270"/>
                  </a:lnTo>
                  <a:lnTo>
                    <a:pt x="855" y="272"/>
                  </a:lnTo>
                  <a:lnTo>
                    <a:pt x="857" y="272"/>
                  </a:lnTo>
                  <a:lnTo>
                    <a:pt x="860" y="275"/>
                  </a:lnTo>
                  <a:lnTo>
                    <a:pt x="865" y="278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71" y="281"/>
                  </a:lnTo>
                  <a:lnTo>
                    <a:pt x="871" y="283"/>
                  </a:lnTo>
                  <a:lnTo>
                    <a:pt x="871" y="283"/>
                  </a:lnTo>
                  <a:lnTo>
                    <a:pt x="871" y="286"/>
                  </a:lnTo>
                  <a:lnTo>
                    <a:pt x="868" y="289"/>
                  </a:lnTo>
                  <a:lnTo>
                    <a:pt x="868" y="289"/>
                  </a:lnTo>
                  <a:lnTo>
                    <a:pt x="868" y="291"/>
                  </a:lnTo>
                  <a:lnTo>
                    <a:pt x="865" y="294"/>
                  </a:lnTo>
                  <a:lnTo>
                    <a:pt x="863" y="294"/>
                  </a:lnTo>
                  <a:lnTo>
                    <a:pt x="860" y="297"/>
                  </a:lnTo>
                  <a:lnTo>
                    <a:pt x="860" y="297"/>
                  </a:lnTo>
                  <a:lnTo>
                    <a:pt x="857" y="297"/>
                  </a:lnTo>
                  <a:lnTo>
                    <a:pt x="857" y="299"/>
                  </a:lnTo>
                  <a:lnTo>
                    <a:pt x="855" y="299"/>
                  </a:lnTo>
                  <a:lnTo>
                    <a:pt x="852" y="299"/>
                  </a:lnTo>
                  <a:lnTo>
                    <a:pt x="852" y="302"/>
                  </a:lnTo>
                  <a:lnTo>
                    <a:pt x="849" y="302"/>
                  </a:lnTo>
                  <a:lnTo>
                    <a:pt x="847" y="302"/>
                  </a:lnTo>
                  <a:lnTo>
                    <a:pt x="844" y="302"/>
                  </a:lnTo>
                  <a:lnTo>
                    <a:pt x="841" y="305"/>
                  </a:lnTo>
                  <a:lnTo>
                    <a:pt x="841" y="305"/>
                  </a:lnTo>
                  <a:lnTo>
                    <a:pt x="841" y="305"/>
                  </a:lnTo>
                  <a:lnTo>
                    <a:pt x="841" y="307"/>
                  </a:lnTo>
                  <a:lnTo>
                    <a:pt x="839" y="310"/>
                  </a:lnTo>
                  <a:lnTo>
                    <a:pt x="839" y="313"/>
                  </a:lnTo>
                  <a:lnTo>
                    <a:pt x="836" y="313"/>
                  </a:lnTo>
                  <a:lnTo>
                    <a:pt x="836" y="315"/>
                  </a:lnTo>
                  <a:lnTo>
                    <a:pt x="836" y="315"/>
                  </a:lnTo>
                  <a:lnTo>
                    <a:pt x="833" y="315"/>
                  </a:lnTo>
                  <a:lnTo>
                    <a:pt x="833" y="318"/>
                  </a:lnTo>
                  <a:lnTo>
                    <a:pt x="833" y="318"/>
                  </a:lnTo>
                  <a:lnTo>
                    <a:pt x="833" y="321"/>
                  </a:lnTo>
                  <a:lnTo>
                    <a:pt x="833" y="323"/>
                  </a:lnTo>
                  <a:lnTo>
                    <a:pt x="833" y="326"/>
                  </a:lnTo>
                  <a:lnTo>
                    <a:pt x="833" y="326"/>
                  </a:lnTo>
                  <a:lnTo>
                    <a:pt x="833" y="329"/>
                  </a:lnTo>
                  <a:lnTo>
                    <a:pt x="833" y="329"/>
                  </a:lnTo>
                  <a:lnTo>
                    <a:pt x="833" y="329"/>
                  </a:lnTo>
                  <a:lnTo>
                    <a:pt x="831" y="329"/>
                  </a:lnTo>
                  <a:lnTo>
                    <a:pt x="831" y="329"/>
                  </a:lnTo>
                  <a:lnTo>
                    <a:pt x="828" y="331"/>
                  </a:lnTo>
                  <a:lnTo>
                    <a:pt x="828" y="331"/>
                  </a:lnTo>
                  <a:lnTo>
                    <a:pt x="828" y="334"/>
                  </a:lnTo>
                  <a:lnTo>
                    <a:pt x="828" y="337"/>
                  </a:lnTo>
                  <a:lnTo>
                    <a:pt x="831" y="339"/>
                  </a:lnTo>
                  <a:lnTo>
                    <a:pt x="831" y="339"/>
                  </a:lnTo>
                  <a:lnTo>
                    <a:pt x="833" y="342"/>
                  </a:lnTo>
                  <a:lnTo>
                    <a:pt x="833" y="342"/>
                  </a:lnTo>
                  <a:lnTo>
                    <a:pt x="833" y="345"/>
                  </a:lnTo>
                  <a:lnTo>
                    <a:pt x="831" y="347"/>
                  </a:lnTo>
                  <a:lnTo>
                    <a:pt x="828" y="347"/>
                  </a:lnTo>
                  <a:lnTo>
                    <a:pt x="828" y="350"/>
                  </a:lnTo>
                  <a:lnTo>
                    <a:pt x="825" y="350"/>
                  </a:lnTo>
                  <a:lnTo>
                    <a:pt x="825" y="350"/>
                  </a:lnTo>
                  <a:lnTo>
                    <a:pt x="823" y="350"/>
                  </a:lnTo>
                  <a:lnTo>
                    <a:pt x="823" y="350"/>
                  </a:lnTo>
                  <a:lnTo>
                    <a:pt x="823" y="353"/>
                  </a:lnTo>
                  <a:lnTo>
                    <a:pt x="820" y="353"/>
                  </a:lnTo>
                  <a:lnTo>
                    <a:pt x="820" y="355"/>
                  </a:lnTo>
                  <a:lnTo>
                    <a:pt x="817" y="358"/>
                  </a:lnTo>
                  <a:lnTo>
                    <a:pt x="817" y="355"/>
                  </a:lnTo>
                  <a:lnTo>
                    <a:pt x="815" y="358"/>
                  </a:lnTo>
                  <a:lnTo>
                    <a:pt x="815" y="358"/>
                  </a:lnTo>
                  <a:lnTo>
                    <a:pt x="812" y="361"/>
                  </a:lnTo>
                  <a:lnTo>
                    <a:pt x="815" y="363"/>
                  </a:lnTo>
                  <a:lnTo>
                    <a:pt x="812" y="363"/>
                  </a:lnTo>
                  <a:lnTo>
                    <a:pt x="812" y="363"/>
                  </a:lnTo>
                  <a:lnTo>
                    <a:pt x="809" y="363"/>
                  </a:lnTo>
                  <a:lnTo>
                    <a:pt x="809" y="363"/>
                  </a:lnTo>
                  <a:lnTo>
                    <a:pt x="809" y="363"/>
                  </a:lnTo>
                  <a:lnTo>
                    <a:pt x="806" y="366"/>
                  </a:lnTo>
                  <a:lnTo>
                    <a:pt x="806" y="369"/>
                  </a:lnTo>
                  <a:lnTo>
                    <a:pt x="804" y="371"/>
                  </a:lnTo>
                  <a:lnTo>
                    <a:pt x="804" y="374"/>
                  </a:lnTo>
                  <a:lnTo>
                    <a:pt x="801" y="374"/>
                  </a:lnTo>
                  <a:lnTo>
                    <a:pt x="801" y="374"/>
                  </a:lnTo>
                  <a:lnTo>
                    <a:pt x="798" y="374"/>
                  </a:lnTo>
                  <a:lnTo>
                    <a:pt x="798" y="374"/>
                  </a:lnTo>
                  <a:lnTo>
                    <a:pt x="796" y="377"/>
                  </a:lnTo>
                  <a:lnTo>
                    <a:pt x="796" y="377"/>
                  </a:lnTo>
                  <a:lnTo>
                    <a:pt x="793" y="379"/>
                  </a:lnTo>
                  <a:lnTo>
                    <a:pt x="790" y="379"/>
                  </a:lnTo>
                  <a:lnTo>
                    <a:pt x="788" y="379"/>
                  </a:lnTo>
                  <a:lnTo>
                    <a:pt x="788" y="382"/>
                  </a:lnTo>
                  <a:lnTo>
                    <a:pt x="788" y="382"/>
                  </a:lnTo>
                  <a:lnTo>
                    <a:pt x="788" y="385"/>
                  </a:lnTo>
                  <a:lnTo>
                    <a:pt x="788" y="385"/>
                  </a:lnTo>
                  <a:lnTo>
                    <a:pt x="788" y="387"/>
                  </a:lnTo>
                  <a:lnTo>
                    <a:pt x="790" y="390"/>
                  </a:lnTo>
                  <a:lnTo>
                    <a:pt x="793" y="393"/>
                  </a:lnTo>
                  <a:lnTo>
                    <a:pt x="796" y="395"/>
                  </a:lnTo>
                  <a:lnTo>
                    <a:pt x="798" y="398"/>
                  </a:lnTo>
                  <a:lnTo>
                    <a:pt x="801" y="401"/>
                  </a:lnTo>
                  <a:lnTo>
                    <a:pt x="804" y="403"/>
                  </a:lnTo>
                  <a:lnTo>
                    <a:pt x="804" y="406"/>
                  </a:lnTo>
                  <a:lnTo>
                    <a:pt x="804" y="409"/>
                  </a:lnTo>
                  <a:lnTo>
                    <a:pt x="798" y="409"/>
                  </a:lnTo>
                  <a:lnTo>
                    <a:pt x="796" y="409"/>
                  </a:lnTo>
                  <a:lnTo>
                    <a:pt x="796" y="409"/>
                  </a:lnTo>
                  <a:lnTo>
                    <a:pt x="793" y="409"/>
                  </a:lnTo>
                  <a:lnTo>
                    <a:pt x="790" y="414"/>
                  </a:lnTo>
                  <a:lnTo>
                    <a:pt x="790" y="417"/>
                  </a:lnTo>
                  <a:lnTo>
                    <a:pt x="790" y="422"/>
                  </a:lnTo>
                  <a:lnTo>
                    <a:pt x="790" y="422"/>
                  </a:lnTo>
                  <a:lnTo>
                    <a:pt x="788" y="425"/>
                  </a:lnTo>
                  <a:lnTo>
                    <a:pt x="785" y="425"/>
                  </a:lnTo>
                  <a:lnTo>
                    <a:pt x="785" y="427"/>
                  </a:lnTo>
                  <a:lnTo>
                    <a:pt x="785" y="430"/>
                  </a:lnTo>
                  <a:lnTo>
                    <a:pt x="785" y="436"/>
                  </a:lnTo>
                  <a:lnTo>
                    <a:pt x="785" y="438"/>
                  </a:lnTo>
                  <a:lnTo>
                    <a:pt x="785" y="441"/>
                  </a:lnTo>
                  <a:lnTo>
                    <a:pt x="785" y="446"/>
                  </a:lnTo>
                  <a:lnTo>
                    <a:pt x="785" y="449"/>
                  </a:lnTo>
                  <a:lnTo>
                    <a:pt x="785" y="452"/>
                  </a:lnTo>
                  <a:lnTo>
                    <a:pt x="785" y="452"/>
                  </a:lnTo>
                  <a:lnTo>
                    <a:pt x="782" y="452"/>
                  </a:lnTo>
                  <a:lnTo>
                    <a:pt x="782" y="452"/>
                  </a:lnTo>
                  <a:lnTo>
                    <a:pt x="780" y="452"/>
                  </a:lnTo>
                  <a:lnTo>
                    <a:pt x="777" y="454"/>
                  </a:lnTo>
                  <a:lnTo>
                    <a:pt x="777" y="457"/>
                  </a:lnTo>
                  <a:lnTo>
                    <a:pt x="777" y="460"/>
                  </a:lnTo>
                  <a:lnTo>
                    <a:pt x="780" y="460"/>
                  </a:lnTo>
                  <a:lnTo>
                    <a:pt x="782" y="460"/>
                  </a:lnTo>
                  <a:lnTo>
                    <a:pt x="785" y="462"/>
                  </a:lnTo>
                  <a:lnTo>
                    <a:pt x="788" y="462"/>
                  </a:lnTo>
                  <a:lnTo>
                    <a:pt x="788" y="465"/>
                  </a:lnTo>
                  <a:lnTo>
                    <a:pt x="785" y="468"/>
                  </a:lnTo>
                  <a:lnTo>
                    <a:pt x="785" y="470"/>
                  </a:lnTo>
                  <a:lnTo>
                    <a:pt x="785" y="473"/>
                  </a:lnTo>
                  <a:lnTo>
                    <a:pt x="785" y="476"/>
                  </a:lnTo>
                  <a:lnTo>
                    <a:pt x="782" y="476"/>
                  </a:lnTo>
                  <a:lnTo>
                    <a:pt x="782" y="478"/>
                  </a:lnTo>
                  <a:lnTo>
                    <a:pt x="785" y="481"/>
                  </a:lnTo>
                  <a:lnTo>
                    <a:pt x="785" y="481"/>
                  </a:lnTo>
                  <a:lnTo>
                    <a:pt x="785" y="484"/>
                  </a:lnTo>
                  <a:lnTo>
                    <a:pt x="782" y="486"/>
                  </a:lnTo>
                  <a:lnTo>
                    <a:pt x="785" y="486"/>
                  </a:lnTo>
                  <a:lnTo>
                    <a:pt x="785" y="489"/>
                  </a:lnTo>
                  <a:lnTo>
                    <a:pt x="790" y="489"/>
                  </a:lnTo>
                  <a:lnTo>
                    <a:pt x="790" y="489"/>
                  </a:lnTo>
                  <a:lnTo>
                    <a:pt x="790" y="486"/>
                  </a:lnTo>
                  <a:lnTo>
                    <a:pt x="790" y="486"/>
                  </a:lnTo>
                  <a:lnTo>
                    <a:pt x="790" y="484"/>
                  </a:lnTo>
                  <a:lnTo>
                    <a:pt x="790" y="484"/>
                  </a:lnTo>
                  <a:lnTo>
                    <a:pt x="793" y="484"/>
                  </a:lnTo>
                  <a:lnTo>
                    <a:pt x="796" y="481"/>
                  </a:lnTo>
                  <a:lnTo>
                    <a:pt x="798" y="481"/>
                  </a:lnTo>
                  <a:lnTo>
                    <a:pt x="801" y="481"/>
                  </a:lnTo>
                  <a:lnTo>
                    <a:pt x="801" y="481"/>
                  </a:lnTo>
                  <a:lnTo>
                    <a:pt x="804" y="484"/>
                  </a:lnTo>
                  <a:lnTo>
                    <a:pt x="806" y="486"/>
                  </a:lnTo>
                  <a:lnTo>
                    <a:pt x="806" y="486"/>
                  </a:lnTo>
                  <a:lnTo>
                    <a:pt x="806" y="489"/>
                  </a:lnTo>
                  <a:lnTo>
                    <a:pt x="806" y="489"/>
                  </a:lnTo>
                  <a:lnTo>
                    <a:pt x="806" y="492"/>
                  </a:lnTo>
                  <a:lnTo>
                    <a:pt x="806" y="492"/>
                  </a:lnTo>
                  <a:lnTo>
                    <a:pt x="806" y="494"/>
                  </a:lnTo>
                  <a:lnTo>
                    <a:pt x="806" y="497"/>
                  </a:lnTo>
                  <a:lnTo>
                    <a:pt x="804" y="497"/>
                  </a:lnTo>
                  <a:lnTo>
                    <a:pt x="804" y="500"/>
                  </a:lnTo>
                  <a:lnTo>
                    <a:pt x="804" y="502"/>
                  </a:lnTo>
                  <a:lnTo>
                    <a:pt x="806" y="505"/>
                  </a:lnTo>
                  <a:lnTo>
                    <a:pt x="809" y="505"/>
                  </a:lnTo>
                  <a:lnTo>
                    <a:pt x="812" y="502"/>
                  </a:lnTo>
                  <a:lnTo>
                    <a:pt x="812" y="500"/>
                  </a:lnTo>
                  <a:lnTo>
                    <a:pt x="815" y="497"/>
                  </a:lnTo>
                  <a:lnTo>
                    <a:pt x="817" y="497"/>
                  </a:lnTo>
                  <a:lnTo>
                    <a:pt x="820" y="500"/>
                  </a:lnTo>
                  <a:lnTo>
                    <a:pt x="823" y="500"/>
                  </a:lnTo>
                  <a:lnTo>
                    <a:pt x="828" y="500"/>
                  </a:lnTo>
                  <a:lnTo>
                    <a:pt x="828" y="497"/>
                  </a:lnTo>
                  <a:lnTo>
                    <a:pt x="828" y="497"/>
                  </a:lnTo>
                  <a:lnTo>
                    <a:pt x="831" y="500"/>
                  </a:lnTo>
                  <a:lnTo>
                    <a:pt x="833" y="500"/>
                  </a:lnTo>
                  <a:lnTo>
                    <a:pt x="833" y="502"/>
                  </a:lnTo>
                  <a:lnTo>
                    <a:pt x="836" y="505"/>
                  </a:lnTo>
                  <a:lnTo>
                    <a:pt x="839" y="505"/>
                  </a:lnTo>
                  <a:lnTo>
                    <a:pt x="839" y="502"/>
                  </a:lnTo>
                  <a:lnTo>
                    <a:pt x="841" y="505"/>
                  </a:lnTo>
                  <a:lnTo>
                    <a:pt x="841" y="508"/>
                  </a:lnTo>
                  <a:lnTo>
                    <a:pt x="844" y="510"/>
                  </a:lnTo>
                  <a:lnTo>
                    <a:pt x="847" y="510"/>
                  </a:lnTo>
                  <a:lnTo>
                    <a:pt x="847" y="510"/>
                  </a:lnTo>
                  <a:lnTo>
                    <a:pt x="847" y="513"/>
                  </a:lnTo>
                  <a:lnTo>
                    <a:pt x="847" y="516"/>
                  </a:lnTo>
                  <a:lnTo>
                    <a:pt x="847" y="518"/>
                  </a:lnTo>
                  <a:lnTo>
                    <a:pt x="844" y="518"/>
                  </a:lnTo>
                  <a:lnTo>
                    <a:pt x="844" y="521"/>
                  </a:lnTo>
                  <a:lnTo>
                    <a:pt x="847" y="521"/>
                  </a:lnTo>
                  <a:lnTo>
                    <a:pt x="849" y="521"/>
                  </a:lnTo>
                  <a:lnTo>
                    <a:pt x="852" y="524"/>
                  </a:lnTo>
                  <a:lnTo>
                    <a:pt x="852" y="526"/>
                  </a:lnTo>
                  <a:lnTo>
                    <a:pt x="855" y="529"/>
                  </a:lnTo>
                  <a:lnTo>
                    <a:pt x="857" y="532"/>
                  </a:lnTo>
                  <a:lnTo>
                    <a:pt x="860" y="534"/>
                  </a:lnTo>
                  <a:lnTo>
                    <a:pt x="860" y="537"/>
                  </a:lnTo>
                  <a:lnTo>
                    <a:pt x="863" y="540"/>
                  </a:lnTo>
                  <a:lnTo>
                    <a:pt x="863" y="542"/>
                  </a:lnTo>
                  <a:lnTo>
                    <a:pt x="863" y="542"/>
                  </a:lnTo>
                  <a:lnTo>
                    <a:pt x="865" y="545"/>
                  </a:lnTo>
                  <a:lnTo>
                    <a:pt x="863" y="548"/>
                  </a:lnTo>
                  <a:lnTo>
                    <a:pt x="860" y="550"/>
                  </a:lnTo>
                  <a:lnTo>
                    <a:pt x="857" y="553"/>
                  </a:lnTo>
                  <a:lnTo>
                    <a:pt x="857" y="553"/>
                  </a:lnTo>
                  <a:lnTo>
                    <a:pt x="860" y="556"/>
                  </a:lnTo>
                  <a:lnTo>
                    <a:pt x="860" y="558"/>
                  </a:lnTo>
                  <a:lnTo>
                    <a:pt x="863" y="558"/>
                  </a:lnTo>
                  <a:lnTo>
                    <a:pt x="865" y="558"/>
                  </a:lnTo>
                  <a:lnTo>
                    <a:pt x="868" y="558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3" y="564"/>
                  </a:lnTo>
                  <a:lnTo>
                    <a:pt x="873" y="566"/>
                  </a:lnTo>
                  <a:lnTo>
                    <a:pt x="876" y="572"/>
                  </a:lnTo>
                  <a:lnTo>
                    <a:pt x="876" y="572"/>
                  </a:lnTo>
                  <a:lnTo>
                    <a:pt x="879" y="574"/>
                  </a:lnTo>
                  <a:lnTo>
                    <a:pt x="879" y="577"/>
                  </a:lnTo>
                  <a:lnTo>
                    <a:pt x="879" y="580"/>
                  </a:lnTo>
                  <a:lnTo>
                    <a:pt x="879" y="582"/>
                  </a:lnTo>
                  <a:lnTo>
                    <a:pt x="879" y="585"/>
                  </a:lnTo>
                  <a:lnTo>
                    <a:pt x="879" y="588"/>
                  </a:lnTo>
                  <a:lnTo>
                    <a:pt x="876" y="593"/>
                  </a:lnTo>
                  <a:lnTo>
                    <a:pt x="876" y="590"/>
                  </a:lnTo>
                  <a:lnTo>
                    <a:pt x="873" y="593"/>
                  </a:lnTo>
                  <a:lnTo>
                    <a:pt x="873" y="596"/>
                  </a:lnTo>
                  <a:lnTo>
                    <a:pt x="871" y="596"/>
                  </a:lnTo>
                  <a:lnTo>
                    <a:pt x="868" y="596"/>
                  </a:lnTo>
                  <a:lnTo>
                    <a:pt x="868" y="596"/>
                  </a:lnTo>
                  <a:lnTo>
                    <a:pt x="865" y="599"/>
                  </a:lnTo>
                  <a:lnTo>
                    <a:pt x="865" y="599"/>
                  </a:lnTo>
                  <a:lnTo>
                    <a:pt x="863" y="601"/>
                  </a:lnTo>
                  <a:lnTo>
                    <a:pt x="863" y="604"/>
                  </a:lnTo>
                  <a:lnTo>
                    <a:pt x="863" y="607"/>
                  </a:lnTo>
                  <a:lnTo>
                    <a:pt x="863" y="612"/>
                  </a:lnTo>
                  <a:lnTo>
                    <a:pt x="863" y="612"/>
                  </a:lnTo>
                  <a:lnTo>
                    <a:pt x="863" y="615"/>
                  </a:lnTo>
                  <a:lnTo>
                    <a:pt x="863" y="615"/>
                  </a:lnTo>
                  <a:lnTo>
                    <a:pt x="863" y="617"/>
                  </a:lnTo>
                  <a:lnTo>
                    <a:pt x="863" y="617"/>
                  </a:lnTo>
                  <a:lnTo>
                    <a:pt x="860" y="620"/>
                  </a:lnTo>
                  <a:lnTo>
                    <a:pt x="863" y="623"/>
                  </a:lnTo>
                  <a:lnTo>
                    <a:pt x="863" y="625"/>
                  </a:lnTo>
                  <a:lnTo>
                    <a:pt x="863" y="625"/>
                  </a:lnTo>
                  <a:lnTo>
                    <a:pt x="863" y="628"/>
                  </a:lnTo>
                  <a:lnTo>
                    <a:pt x="860" y="628"/>
                  </a:lnTo>
                  <a:lnTo>
                    <a:pt x="857" y="628"/>
                  </a:lnTo>
                  <a:lnTo>
                    <a:pt x="855" y="628"/>
                  </a:lnTo>
                  <a:lnTo>
                    <a:pt x="855" y="631"/>
                  </a:lnTo>
                  <a:lnTo>
                    <a:pt x="855" y="631"/>
                  </a:lnTo>
                  <a:lnTo>
                    <a:pt x="852" y="631"/>
                  </a:lnTo>
                  <a:lnTo>
                    <a:pt x="852" y="633"/>
                  </a:lnTo>
                  <a:lnTo>
                    <a:pt x="849" y="633"/>
                  </a:lnTo>
                  <a:lnTo>
                    <a:pt x="849" y="636"/>
                  </a:lnTo>
                  <a:lnTo>
                    <a:pt x="847" y="639"/>
                  </a:lnTo>
                  <a:lnTo>
                    <a:pt x="847" y="639"/>
                  </a:lnTo>
                  <a:lnTo>
                    <a:pt x="847" y="641"/>
                  </a:lnTo>
                  <a:lnTo>
                    <a:pt x="847" y="644"/>
                  </a:lnTo>
                  <a:lnTo>
                    <a:pt x="847" y="644"/>
                  </a:lnTo>
                  <a:lnTo>
                    <a:pt x="844" y="644"/>
                  </a:lnTo>
                  <a:lnTo>
                    <a:pt x="841" y="647"/>
                  </a:lnTo>
                  <a:lnTo>
                    <a:pt x="841" y="647"/>
                  </a:lnTo>
                  <a:lnTo>
                    <a:pt x="839" y="647"/>
                  </a:lnTo>
                  <a:lnTo>
                    <a:pt x="839" y="647"/>
                  </a:lnTo>
                  <a:lnTo>
                    <a:pt x="836" y="647"/>
                  </a:lnTo>
                  <a:lnTo>
                    <a:pt x="836" y="647"/>
                  </a:lnTo>
                  <a:lnTo>
                    <a:pt x="833" y="647"/>
                  </a:lnTo>
                  <a:lnTo>
                    <a:pt x="831" y="647"/>
                  </a:lnTo>
                  <a:lnTo>
                    <a:pt x="831" y="649"/>
                  </a:lnTo>
                  <a:lnTo>
                    <a:pt x="828" y="649"/>
                  </a:lnTo>
                  <a:lnTo>
                    <a:pt x="828" y="652"/>
                  </a:lnTo>
                  <a:lnTo>
                    <a:pt x="825" y="652"/>
                  </a:lnTo>
                  <a:lnTo>
                    <a:pt x="823" y="652"/>
                  </a:lnTo>
                  <a:lnTo>
                    <a:pt x="820" y="652"/>
                  </a:lnTo>
                  <a:lnTo>
                    <a:pt x="820" y="652"/>
                  </a:lnTo>
                  <a:lnTo>
                    <a:pt x="815" y="649"/>
                  </a:lnTo>
                  <a:lnTo>
                    <a:pt x="815" y="649"/>
                  </a:lnTo>
                  <a:lnTo>
                    <a:pt x="815" y="649"/>
                  </a:lnTo>
                  <a:lnTo>
                    <a:pt x="812" y="649"/>
                  </a:lnTo>
                  <a:lnTo>
                    <a:pt x="809" y="649"/>
                  </a:lnTo>
                  <a:lnTo>
                    <a:pt x="806" y="647"/>
                  </a:lnTo>
                  <a:lnTo>
                    <a:pt x="806" y="647"/>
                  </a:lnTo>
                  <a:lnTo>
                    <a:pt x="804" y="647"/>
                  </a:lnTo>
                  <a:lnTo>
                    <a:pt x="801" y="647"/>
                  </a:lnTo>
                  <a:lnTo>
                    <a:pt x="801" y="647"/>
                  </a:lnTo>
                  <a:lnTo>
                    <a:pt x="801" y="644"/>
                  </a:lnTo>
                  <a:lnTo>
                    <a:pt x="798" y="644"/>
                  </a:lnTo>
                  <a:lnTo>
                    <a:pt x="798" y="641"/>
                  </a:lnTo>
                  <a:lnTo>
                    <a:pt x="796" y="641"/>
                  </a:lnTo>
                  <a:lnTo>
                    <a:pt x="793" y="641"/>
                  </a:lnTo>
                  <a:lnTo>
                    <a:pt x="793" y="639"/>
                  </a:lnTo>
                  <a:lnTo>
                    <a:pt x="790" y="636"/>
                  </a:lnTo>
                  <a:lnTo>
                    <a:pt x="790" y="636"/>
                  </a:lnTo>
                  <a:lnTo>
                    <a:pt x="788" y="636"/>
                  </a:lnTo>
                  <a:lnTo>
                    <a:pt x="788" y="636"/>
                  </a:lnTo>
                  <a:lnTo>
                    <a:pt x="785" y="633"/>
                  </a:lnTo>
                  <a:lnTo>
                    <a:pt x="785" y="633"/>
                  </a:lnTo>
                  <a:lnTo>
                    <a:pt x="782" y="631"/>
                  </a:lnTo>
                  <a:lnTo>
                    <a:pt x="780" y="631"/>
                  </a:lnTo>
                  <a:lnTo>
                    <a:pt x="777" y="631"/>
                  </a:lnTo>
                  <a:lnTo>
                    <a:pt x="777" y="631"/>
                  </a:lnTo>
                  <a:lnTo>
                    <a:pt x="774" y="631"/>
                  </a:lnTo>
                  <a:lnTo>
                    <a:pt x="772" y="631"/>
                  </a:lnTo>
                  <a:lnTo>
                    <a:pt x="769" y="631"/>
                  </a:lnTo>
                  <a:lnTo>
                    <a:pt x="769" y="628"/>
                  </a:lnTo>
                  <a:lnTo>
                    <a:pt x="766" y="625"/>
                  </a:lnTo>
                  <a:lnTo>
                    <a:pt x="766" y="625"/>
                  </a:lnTo>
                  <a:lnTo>
                    <a:pt x="764" y="623"/>
                  </a:lnTo>
                  <a:lnTo>
                    <a:pt x="761" y="623"/>
                  </a:lnTo>
                  <a:lnTo>
                    <a:pt x="761" y="623"/>
                  </a:lnTo>
                  <a:lnTo>
                    <a:pt x="758" y="623"/>
                  </a:lnTo>
                  <a:lnTo>
                    <a:pt x="758" y="623"/>
                  </a:lnTo>
                  <a:lnTo>
                    <a:pt x="756" y="625"/>
                  </a:lnTo>
                  <a:lnTo>
                    <a:pt x="756" y="625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28"/>
                  </a:lnTo>
                  <a:lnTo>
                    <a:pt x="758" y="631"/>
                  </a:lnTo>
                  <a:lnTo>
                    <a:pt x="758" y="631"/>
                  </a:lnTo>
                  <a:lnTo>
                    <a:pt x="758" y="631"/>
                  </a:lnTo>
                  <a:lnTo>
                    <a:pt x="756" y="633"/>
                  </a:lnTo>
                  <a:lnTo>
                    <a:pt x="753" y="633"/>
                  </a:lnTo>
                  <a:lnTo>
                    <a:pt x="753" y="631"/>
                  </a:lnTo>
                  <a:lnTo>
                    <a:pt x="750" y="631"/>
                  </a:lnTo>
                  <a:lnTo>
                    <a:pt x="748" y="631"/>
                  </a:lnTo>
                  <a:lnTo>
                    <a:pt x="748" y="633"/>
                  </a:lnTo>
                  <a:lnTo>
                    <a:pt x="748" y="633"/>
                  </a:lnTo>
                  <a:lnTo>
                    <a:pt x="745" y="636"/>
                  </a:lnTo>
                  <a:lnTo>
                    <a:pt x="745" y="636"/>
                  </a:lnTo>
                  <a:lnTo>
                    <a:pt x="745" y="636"/>
                  </a:lnTo>
                  <a:lnTo>
                    <a:pt x="742" y="636"/>
                  </a:lnTo>
                  <a:lnTo>
                    <a:pt x="742" y="636"/>
                  </a:lnTo>
                  <a:lnTo>
                    <a:pt x="742" y="636"/>
                  </a:lnTo>
                  <a:lnTo>
                    <a:pt x="740" y="636"/>
                  </a:lnTo>
                  <a:lnTo>
                    <a:pt x="737" y="633"/>
                  </a:lnTo>
                  <a:lnTo>
                    <a:pt x="737" y="633"/>
                  </a:lnTo>
                  <a:lnTo>
                    <a:pt x="737" y="633"/>
                  </a:lnTo>
                  <a:lnTo>
                    <a:pt x="734" y="633"/>
                  </a:lnTo>
                  <a:lnTo>
                    <a:pt x="734" y="633"/>
                  </a:lnTo>
                  <a:lnTo>
                    <a:pt x="732" y="633"/>
                  </a:lnTo>
                  <a:lnTo>
                    <a:pt x="732" y="633"/>
                  </a:lnTo>
                  <a:lnTo>
                    <a:pt x="729" y="633"/>
                  </a:lnTo>
                  <a:lnTo>
                    <a:pt x="726" y="633"/>
                  </a:lnTo>
                  <a:lnTo>
                    <a:pt x="724" y="633"/>
                  </a:lnTo>
                  <a:lnTo>
                    <a:pt x="718" y="633"/>
                  </a:lnTo>
                  <a:lnTo>
                    <a:pt x="718" y="633"/>
                  </a:lnTo>
                  <a:lnTo>
                    <a:pt x="718" y="633"/>
                  </a:lnTo>
                  <a:lnTo>
                    <a:pt x="718" y="631"/>
                  </a:lnTo>
                  <a:lnTo>
                    <a:pt x="718" y="631"/>
                  </a:lnTo>
                  <a:lnTo>
                    <a:pt x="718" y="628"/>
                  </a:lnTo>
                  <a:lnTo>
                    <a:pt x="718" y="625"/>
                  </a:lnTo>
                  <a:lnTo>
                    <a:pt x="718" y="625"/>
                  </a:lnTo>
                  <a:lnTo>
                    <a:pt x="716" y="625"/>
                  </a:lnTo>
                  <a:lnTo>
                    <a:pt x="716" y="625"/>
                  </a:lnTo>
                  <a:lnTo>
                    <a:pt x="713" y="625"/>
                  </a:lnTo>
                  <a:lnTo>
                    <a:pt x="710" y="625"/>
                  </a:lnTo>
                  <a:lnTo>
                    <a:pt x="708" y="625"/>
                  </a:lnTo>
                  <a:lnTo>
                    <a:pt x="708" y="628"/>
                  </a:lnTo>
                  <a:lnTo>
                    <a:pt x="708" y="628"/>
                  </a:lnTo>
                  <a:lnTo>
                    <a:pt x="705" y="628"/>
                  </a:lnTo>
                  <a:lnTo>
                    <a:pt x="705" y="628"/>
                  </a:lnTo>
                  <a:lnTo>
                    <a:pt x="705" y="628"/>
                  </a:lnTo>
                  <a:lnTo>
                    <a:pt x="702" y="631"/>
                  </a:lnTo>
                  <a:lnTo>
                    <a:pt x="700" y="631"/>
                  </a:lnTo>
                  <a:lnTo>
                    <a:pt x="700" y="631"/>
                  </a:lnTo>
                  <a:lnTo>
                    <a:pt x="700" y="633"/>
                  </a:lnTo>
                  <a:lnTo>
                    <a:pt x="697" y="633"/>
                  </a:lnTo>
                  <a:lnTo>
                    <a:pt x="697" y="633"/>
                  </a:lnTo>
                  <a:lnTo>
                    <a:pt x="694" y="633"/>
                  </a:lnTo>
                  <a:lnTo>
                    <a:pt x="694" y="636"/>
                  </a:lnTo>
                  <a:lnTo>
                    <a:pt x="694" y="636"/>
                  </a:lnTo>
                  <a:lnTo>
                    <a:pt x="694" y="639"/>
                  </a:lnTo>
                  <a:lnTo>
                    <a:pt x="692" y="639"/>
                  </a:lnTo>
                  <a:lnTo>
                    <a:pt x="689" y="641"/>
                  </a:lnTo>
                  <a:lnTo>
                    <a:pt x="689" y="641"/>
                  </a:lnTo>
                  <a:lnTo>
                    <a:pt x="686" y="641"/>
                  </a:lnTo>
                  <a:lnTo>
                    <a:pt x="686" y="641"/>
                  </a:lnTo>
                  <a:lnTo>
                    <a:pt x="686" y="641"/>
                  </a:lnTo>
                  <a:lnTo>
                    <a:pt x="684" y="644"/>
                  </a:lnTo>
                  <a:lnTo>
                    <a:pt x="681" y="644"/>
                  </a:lnTo>
                  <a:lnTo>
                    <a:pt x="681" y="644"/>
                  </a:lnTo>
                  <a:lnTo>
                    <a:pt x="678" y="644"/>
                  </a:lnTo>
                  <a:lnTo>
                    <a:pt x="678" y="644"/>
                  </a:lnTo>
                  <a:lnTo>
                    <a:pt x="676" y="644"/>
                  </a:lnTo>
                  <a:lnTo>
                    <a:pt x="676" y="644"/>
                  </a:lnTo>
                  <a:lnTo>
                    <a:pt x="673" y="644"/>
                  </a:lnTo>
                  <a:lnTo>
                    <a:pt x="670" y="644"/>
                  </a:lnTo>
                  <a:lnTo>
                    <a:pt x="670" y="644"/>
                  </a:lnTo>
                  <a:lnTo>
                    <a:pt x="668" y="644"/>
                  </a:lnTo>
                  <a:lnTo>
                    <a:pt x="668" y="644"/>
                  </a:lnTo>
                  <a:lnTo>
                    <a:pt x="665" y="647"/>
                  </a:lnTo>
                  <a:lnTo>
                    <a:pt x="665" y="647"/>
                  </a:lnTo>
                  <a:lnTo>
                    <a:pt x="662" y="647"/>
                  </a:lnTo>
                  <a:lnTo>
                    <a:pt x="660" y="647"/>
                  </a:lnTo>
                  <a:lnTo>
                    <a:pt x="657" y="644"/>
                  </a:lnTo>
                  <a:lnTo>
                    <a:pt x="654" y="644"/>
                  </a:lnTo>
                  <a:lnTo>
                    <a:pt x="652" y="641"/>
                  </a:lnTo>
                  <a:lnTo>
                    <a:pt x="652" y="641"/>
                  </a:lnTo>
                  <a:lnTo>
                    <a:pt x="652" y="639"/>
                  </a:lnTo>
                  <a:lnTo>
                    <a:pt x="649" y="639"/>
                  </a:lnTo>
                  <a:lnTo>
                    <a:pt x="649" y="636"/>
                  </a:lnTo>
                  <a:lnTo>
                    <a:pt x="646" y="633"/>
                  </a:lnTo>
                  <a:lnTo>
                    <a:pt x="644" y="633"/>
                  </a:lnTo>
                  <a:lnTo>
                    <a:pt x="644" y="633"/>
                  </a:lnTo>
                  <a:lnTo>
                    <a:pt x="641" y="633"/>
                  </a:lnTo>
                  <a:lnTo>
                    <a:pt x="638" y="633"/>
                  </a:lnTo>
                  <a:lnTo>
                    <a:pt x="638" y="631"/>
                  </a:lnTo>
                  <a:lnTo>
                    <a:pt x="636" y="631"/>
                  </a:lnTo>
                  <a:lnTo>
                    <a:pt x="636" y="628"/>
                  </a:lnTo>
                  <a:lnTo>
                    <a:pt x="636" y="625"/>
                  </a:lnTo>
                  <a:lnTo>
                    <a:pt x="636" y="623"/>
                  </a:lnTo>
                  <a:lnTo>
                    <a:pt x="633" y="623"/>
                  </a:lnTo>
                  <a:lnTo>
                    <a:pt x="633" y="620"/>
                  </a:lnTo>
                  <a:lnTo>
                    <a:pt x="633" y="620"/>
                  </a:lnTo>
                  <a:lnTo>
                    <a:pt x="630" y="617"/>
                  </a:lnTo>
                  <a:lnTo>
                    <a:pt x="630" y="615"/>
                  </a:lnTo>
                  <a:lnTo>
                    <a:pt x="630" y="615"/>
                  </a:lnTo>
                  <a:lnTo>
                    <a:pt x="630" y="612"/>
                  </a:lnTo>
                  <a:lnTo>
                    <a:pt x="628" y="607"/>
                  </a:lnTo>
                  <a:lnTo>
                    <a:pt x="630" y="604"/>
                  </a:lnTo>
                  <a:lnTo>
                    <a:pt x="630" y="601"/>
                  </a:lnTo>
                  <a:lnTo>
                    <a:pt x="630" y="599"/>
                  </a:lnTo>
                  <a:lnTo>
                    <a:pt x="630" y="596"/>
                  </a:lnTo>
                  <a:lnTo>
                    <a:pt x="628" y="596"/>
                  </a:lnTo>
                  <a:lnTo>
                    <a:pt x="628" y="596"/>
                  </a:lnTo>
                  <a:lnTo>
                    <a:pt x="628" y="596"/>
                  </a:lnTo>
                  <a:lnTo>
                    <a:pt x="625" y="596"/>
                  </a:lnTo>
                  <a:lnTo>
                    <a:pt x="622" y="596"/>
                  </a:lnTo>
                  <a:lnTo>
                    <a:pt x="620" y="593"/>
                  </a:lnTo>
                  <a:lnTo>
                    <a:pt x="617" y="593"/>
                  </a:lnTo>
                  <a:lnTo>
                    <a:pt x="614" y="593"/>
                  </a:lnTo>
                  <a:lnTo>
                    <a:pt x="612" y="593"/>
                  </a:lnTo>
                  <a:lnTo>
                    <a:pt x="609" y="588"/>
                  </a:lnTo>
                  <a:lnTo>
                    <a:pt x="609" y="588"/>
                  </a:lnTo>
                  <a:lnTo>
                    <a:pt x="609" y="585"/>
                  </a:lnTo>
                  <a:lnTo>
                    <a:pt x="609" y="582"/>
                  </a:lnTo>
                  <a:lnTo>
                    <a:pt x="609" y="582"/>
                  </a:lnTo>
                  <a:lnTo>
                    <a:pt x="609" y="582"/>
                  </a:lnTo>
                  <a:lnTo>
                    <a:pt x="606" y="582"/>
                  </a:lnTo>
                  <a:lnTo>
                    <a:pt x="604" y="580"/>
                  </a:lnTo>
                  <a:lnTo>
                    <a:pt x="604" y="580"/>
                  </a:lnTo>
                  <a:lnTo>
                    <a:pt x="604" y="580"/>
                  </a:lnTo>
                  <a:lnTo>
                    <a:pt x="604" y="574"/>
                  </a:lnTo>
                  <a:lnTo>
                    <a:pt x="604" y="574"/>
                  </a:lnTo>
                  <a:lnTo>
                    <a:pt x="604" y="572"/>
                  </a:lnTo>
                  <a:lnTo>
                    <a:pt x="604" y="572"/>
                  </a:lnTo>
                  <a:lnTo>
                    <a:pt x="604" y="569"/>
                  </a:lnTo>
                  <a:lnTo>
                    <a:pt x="604" y="566"/>
                  </a:lnTo>
                  <a:lnTo>
                    <a:pt x="601" y="566"/>
                  </a:lnTo>
                  <a:lnTo>
                    <a:pt x="601" y="566"/>
                  </a:lnTo>
                  <a:lnTo>
                    <a:pt x="598" y="564"/>
                  </a:lnTo>
                  <a:lnTo>
                    <a:pt x="596" y="564"/>
                  </a:lnTo>
                  <a:lnTo>
                    <a:pt x="596" y="564"/>
                  </a:lnTo>
                  <a:lnTo>
                    <a:pt x="596" y="564"/>
                  </a:lnTo>
                  <a:lnTo>
                    <a:pt x="596" y="561"/>
                  </a:lnTo>
                  <a:lnTo>
                    <a:pt x="596" y="558"/>
                  </a:lnTo>
                  <a:lnTo>
                    <a:pt x="596" y="558"/>
                  </a:lnTo>
                  <a:lnTo>
                    <a:pt x="593" y="558"/>
                  </a:lnTo>
                  <a:lnTo>
                    <a:pt x="593" y="556"/>
                  </a:lnTo>
                  <a:lnTo>
                    <a:pt x="590" y="556"/>
                  </a:lnTo>
                  <a:lnTo>
                    <a:pt x="588" y="553"/>
                  </a:lnTo>
                  <a:lnTo>
                    <a:pt x="585" y="550"/>
                  </a:lnTo>
                  <a:lnTo>
                    <a:pt x="582" y="548"/>
                  </a:lnTo>
                  <a:lnTo>
                    <a:pt x="580" y="545"/>
                  </a:lnTo>
                  <a:lnTo>
                    <a:pt x="580" y="545"/>
                  </a:lnTo>
                  <a:lnTo>
                    <a:pt x="577" y="545"/>
                  </a:lnTo>
                  <a:lnTo>
                    <a:pt x="574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0"/>
                  </a:lnTo>
                  <a:lnTo>
                    <a:pt x="569" y="540"/>
                  </a:lnTo>
                  <a:lnTo>
                    <a:pt x="569" y="540"/>
                  </a:lnTo>
                  <a:lnTo>
                    <a:pt x="569" y="540"/>
                  </a:lnTo>
                  <a:lnTo>
                    <a:pt x="566" y="537"/>
                  </a:lnTo>
                  <a:lnTo>
                    <a:pt x="566" y="537"/>
                  </a:lnTo>
                  <a:lnTo>
                    <a:pt x="566" y="537"/>
                  </a:lnTo>
                  <a:lnTo>
                    <a:pt x="563" y="537"/>
                  </a:lnTo>
                  <a:lnTo>
                    <a:pt x="563" y="537"/>
                  </a:lnTo>
                  <a:lnTo>
                    <a:pt x="563" y="534"/>
                  </a:lnTo>
                  <a:lnTo>
                    <a:pt x="561" y="534"/>
                  </a:lnTo>
                  <a:lnTo>
                    <a:pt x="561" y="532"/>
                  </a:lnTo>
                  <a:lnTo>
                    <a:pt x="561" y="529"/>
                  </a:lnTo>
                  <a:lnTo>
                    <a:pt x="558" y="529"/>
                  </a:lnTo>
                  <a:lnTo>
                    <a:pt x="558" y="526"/>
                  </a:lnTo>
                  <a:lnTo>
                    <a:pt x="558" y="524"/>
                  </a:lnTo>
                  <a:lnTo>
                    <a:pt x="555" y="524"/>
                  </a:lnTo>
                  <a:lnTo>
                    <a:pt x="558" y="521"/>
                  </a:lnTo>
                  <a:lnTo>
                    <a:pt x="558" y="518"/>
                  </a:lnTo>
                  <a:lnTo>
                    <a:pt x="558" y="516"/>
                  </a:lnTo>
                  <a:lnTo>
                    <a:pt x="558" y="516"/>
                  </a:lnTo>
                  <a:lnTo>
                    <a:pt x="555" y="513"/>
                  </a:lnTo>
                  <a:lnTo>
                    <a:pt x="555" y="513"/>
                  </a:lnTo>
                  <a:lnTo>
                    <a:pt x="555" y="513"/>
                  </a:lnTo>
                  <a:lnTo>
                    <a:pt x="553" y="513"/>
                  </a:lnTo>
                  <a:lnTo>
                    <a:pt x="553" y="513"/>
                  </a:lnTo>
                  <a:lnTo>
                    <a:pt x="553" y="516"/>
                  </a:lnTo>
                  <a:lnTo>
                    <a:pt x="553" y="516"/>
                  </a:lnTo>
                  <a:lnTo>
                    <a:pt x="550" y="516"/>
                  </a:lnTo>
                  <a:lnTo>
                    <a:pt x="553" y="516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18"/>
                  </a:lnTo>
                  <a:lnTo>
                    <a:pt x="553" y="521"/>
                  </a:lnTo>
                  <a:lnTo>
                    <a:pt x="553" y="521"/>
                  </a:lnTo>
                  <a:lnTo>
                    <a:pt x="550" y="518"/>
                  </a:lnTo>
                  <a:lnTo>
                    <a:pt x="550" y="518"/>
                  </a:lnTo>
                  <a:lnTo>
                    <a:pt x="547" y="516"/>
                  </a:lnTo>
                  <a:lnTo>
                    <a:pt x="547" y="516"/>
                  </a:lnTo>
                  <a:lnTo>
                    <a:pt x="547" y="513"/>
                  </a:lnTo>
                  <a:lnTo>
                    <a:pt x="547" y="513"/>
                  </a:lnTo>
                  <a:lnTo>
                    <a:pt x="550" y="513"/>
                  </a:lnTo>
                  <a:lnTo>
                    <a:pt x="550" y="513"/>
                  </a:lnTo>
                  <a:lnTo>
                    <a:pt x="553" y="513"/>
                  </a:lnTo>
                  <a:lnTo>
                    <a:pt x="553" y="513"/>
                  </a:lnTo>
                  <a:lnTo>
                    <a:pt x="553" y="510"/>
                  </a:lnTo>
                  <a:lnTo>
                    <a:pt x="553" y="510"/>
                  </a:lnTo>
                  <a:lnTo>
                    <a:pt x="553" y="510"/>
                  </a:lnTo>
                  <a:lnTo>
                    <a:pt x="550" y="508"/>
                  </a:lnTo>
                  <a:lnTo>
                    <a:pt x="550" y="508"/>
                  </a:lnTo>
                  <a:lnTo>
                    <a:pt x="550" y="508"/>
                  </a:lnTo>
                  <a:lnTo>
                    <a:pt x="547" y="508"/>
                  </a:lnTo>
                  <a:lnTo>
                    <a:pt x="547" y="508"/>
                  </a:lnTo>
                  <a:lnTo>
                    <a:pt x="545" y="508"/>
                  </a:lnTo>
                  <a:lnTo>
                    <a:pt x="545" y="508"/>
                  </a:lnTo>
                  <a:lnTo>
                    <a:pt x="542" y="505"/>
                  </a:lnTo>
                  <a:lnTo>
                    <a:pt x="542" y="505"/>
                  </a:lnTo>
                  <a:lnTo>
                    <a:pt x="542" y="502"/>
                  </a:lnTo>
                  <a:lnTo>
                    <a:pt x="542" y="502"/>
                  </a:lnTo>
                  <a:lnTo>
                    <a:pt x="542" y="500"/>
                  </a:lnTo>
                  <a:lnTo>
                    <a:pt x="542" y="497"/>
                  </a:lnTo>
                  <a:lnTo>
                    <a:pt x="539" y="497"/>
                  </a:lnTo>
                  <a:lnTo>
                    <a:pt x="539" y="497"/>
                  </a:lnTo>
                  <a:lnTo>
                    <a:pt x="539" y="497"/>
                  </a:lnTo>
                  <a:lnTo>
                    <a:pt x="537" y="497"/>
                  </a:lnTo>
                  <a:lnTo>
                    <a:pt x="534" y="497"/>
                  </a:lnTo>
                  <a:lnTo>
                    <a:pt x="534" y="497"/>
                  </a:lnTo>
                  <a:lnTo>
                    <a:pt x="531" y="494"/>
                  </a:lnTo>
                  <a:lnTo>
                    <a:pt x="529" y="494"/>
                  </a:lnTo>
                  <a:lnTo>
                    <a:pt x="531" y="492"/>
                  </a:lnTo>
                  <a:lnTo>
                    <a:pt x="531" y="492"/>
                  </a:lnTo>
                  <a:lnTo>
                    <a:pt x="531" y="489"/>
                  </a:lnTo>
                  <a:lnTo>
                    <a:pt x="531" y="489"/>
                  </a:lnTo>
                  <a:lnTo>
                    <a:pt x="531" y="486"/>
                  </a:lnTo>
                  <a:lnTo>
                    <a:pt x="531" y="486"/>
                  </a:lnTo>
                  <a:lnTo>
                    <a:pt x="531" y="481"/>
                  </a:lnTo>
                  <a:lnTo>
                    <a:pt x="529" y="481"/>
                  </a:lnTo>
                  <a:lnTo>
                    <a:pt x="529" y="481"/>
                  </a:lnTo>
                  <a:lnTo>
                    <a:pt x="529" y="481"/>
                  </a:lnTo>
                  <a:lnTo>
                    <a:pt x="526" y="481"/>
                  </a:lnTo>
                  <a:lnTo>
                    <a:pt x="526" y="481"/>
                  </a:lnTo>
                  <a:lnTo>
                    <a:pt x="526" y="481"/>
                  </a:lnTo>
                  <a:lnTo>
                    <a:pt x="523" y="478"/>
                  </a:lnTo>
                  <a:lnTo>
                    <a:pt x="521" y="478"/>
                  </a:lnTo>
                  <a:lnTo>
                    <a:pt x="521" y="478"/>
                  </a:lnTo>
                  <a:lnTo>
                    <a:pt x="518" y="476"/>
                  </a:lnTo>
                  <a:lnTo>
                    <a:pt x="515" y="473"/>
                  </a:lnTo>
                  <a:lnTo>
                    <a:pt x="515" y="470"/>
                  </a:lnTo>
                  <a:lnTo>
                    <a:pt x="513" y="470"/>
                  </a:lnTo>
                  <a:lnTo>
                    <a:pt x="513" y="470"/>
                  </a:lnTo>
                  <a:lnTo>
                    <a:pt x="510" y="470"/>
                  </a:lnTo>
                  <a:lnTo>
                    <a:pt x="507" y="468"/>
                  </a:lnTo>
                  <a:lnTo>
                    <a:pt x="507" y="465"/>
                  </a:lnTo>
                  <a:lnTo>
                    <a:pt x="505" y="462"/>
                  </a:lnTo>
                  <a:lnTo>
                    <a:pt x="505" y="462"/>
                  </a:lnTo>
                  <a:lnTo>
                    <a:pt x="505" y="460"/>
                  </a:lnTo>
                  <a:lnTo>
                    <a:pt x="505" y="460"/>
                  </a:lnTo>
                  <a:lnTo>
                    <a:pt x="505" y="457"/>
                  </a:lnTo>
                  <a:lnTo>
                    <a:pt x="505" y="457"/>
                  </a:lnTo>
                  <a:lnTo>
                    <a:pt x="507" y="454"/>
                  </a:lnTo>
                  <a:lnTo>
                    <a:pt x="507" y="454"/>
                  </a:lnTo>
                  <a:lnTo>
                    <a:pt x="507" y="452"/>
                  </a:lnTo>
                  <a:lnTo>
                    <a:pt x="507" y="449"/>
                  </a:lnTo>
                  <a:lnTo>
                    <a:pt x="507" y="449"/>
                  </a:lnTo>
                  <a:lnTo>
                    <a:pt x="505" y="446"/>
                  </a:lnTo>
                  <a:lnTo>
                    <a:pt x="505" y="446"/>
                  </a:lnTo>
                  <a:lnTo>
                    <a:pt x="502" y="446"/>
                  </a:lnTo>
                  <a:lnTo>
                    <a:pt x="502" y="446"/>
                  </a:lnTo>
                  <a:lnTo>
                    <a:pt x="499" y="446"/>
                  </a:lnTo>
                  <a:lnTo>
                    <a:pt x="494" y="446"/>
                  </a:lnTo>
                  <a:lnTo>
                    <a:pt x="491" y="446"/>
                  </a:lnTo>
                  <a:lnTo>
                    <a:pt x="491" y="446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91" y="441"/>
                  </a:lnTo>
                  <a:lnTo>
                    <a:pt x="491" y="438"/>
                  </a:lnTo>
                  <a:lnTo>
                    <a:pt x="491" y="438"/>
                  </a:lnTo>
                  <a:lnTo>
                    <a:pt x="494" y="436"/>
                  </a:lnTo>
                  <a:lnTo>
                    <a:pt x="494" y="436"/>
                  </a:lnTo>
                  <a:lnTo>
                    <a:pt x="491" y="436"/>
                  </a:lnTo>
                  <a:lnTo>
                    <a:pt x="491" y="436"/>
                  </a:lnTo>
                  <a:lnTo>
                    <a:pt x="486" y="436"/>
                  </a:lnTo>
                  <a:lnTo>
                    <a:pt x="486" y="436"/>
                  </a:lnTo>
                  <a:lnTo>
                    <a:pt x="486" y="433"/>
                  </a:lnTo>
                  <a:lnTo>
                    <a:pt x="486" y="430"/>
                  </a:lnTo>
                  <a:lnTo>
                    <a:pt x="483" y="427"/>
                  </a:lnTo>
                  <a:lnTo>
                    <a:pt x="483" y="425"/>
                  </a:lnTo>
                  <a:lnTo>
                    <a:pt x="481" y="425"/>
                  </a:lnTo>
                  <a:lnTo>
                    <a:pt x="481" y="425"/>
                  </a:lnTo>
                  <a:lnTo>
                    <a:pt x="478" y="425"/>
                  </a:lnTo>
                  <a:lnTo>
                    <a:pt x="478" y="425"/>
                  </a:lnTo>
                  <a:lnTo>
                    <a:pt x="475" y="425"/>
                  </a:lnTo>
                  <a:lnTo>
                    <a:pt x="473" y="422"/>
                  </a:lnTo>
                  <a:lnTo>
                    <a:pt x="473" y="419"/>
                  </a:lnTo>
                  <a:lnTo>
                    <a:pt x="473" y="419"/>
                  </a:lnTo>
                  <a:lnTo>
                    <a:pt x="473" y="419"/>
                  </a:lnTo>
                  <a:lnTo>
                    <a:pt x="473" y="417"/>
                  </a:lnTo>
                  <a:lnTo>
                    <a:pt x="467" y="417"/>
                  </a:lnTo>
                  <a:lnTo>
                    <a:pt x="467" y="417"/>
                  </a:lnTo>
                  <a:lnTo>
                    <a:pt x="465" y="417"/>
                  </a:lnTo>
                  <a:lnTo>
                    <a:pt x="465" y="417"/>
                  </a:lnTo>
                  <a:lnTo>
                    <a:pt x="462" y="417"/>
                  </a:lnTo>
                  <a:lnTo>
                    <a:pt x="459" y="419"/>
                  </a:lnTo>
                  <a:lnTo>
                    <a:pt x="459" y="419"/>
                  </a:lnTo>
                  <a:lnTo>
                    <a:pt x="459" y="417"/>
                  </a:lnTo>
                  <a:lnTo>
                    <a:pt x="457" y="417"/>
                  </a:lnTo>
                  <a:lnTo>
                    <a:pt x="457" y="414"/>
                  </a:lnTo>
                  <a:lnTo>
                    <a:pt x="459" y="414"/>
                  </a:lnTo>
                  <a:lnTo>
                    <a:pt x="459" y="414"/>
                  </a:lnTo>
                  <a:lnTo>
                    <a:pt x="459" y="411"/>
                  </a:lnTo>
                  <a:lnTo>
                    <a:pt x="459" y="411"/>
                  </a:lnTo>
                  <a:lnTo>
                    <a:pt x="462" y="411"/>
                  </a:lnTo>
                  <a:lnTo>
                    <a:pt x="462" y="409"/>
                  </a:lnTo>
                  <a:lnTo>
                    <a:pt x="462" y="409"/>
                  </a:lnTo>
                  <a:lnTo>
                    <a:pt x="459" y="406"/>
                  </a:lnTo>
                  <a:lnTo>
                    <a:pt x="459" y="406"/>
                  </a:lnTo>
                  <a:lnTo>
                    <a:pt x="459" y="403"/>
                  </a:lnTo>
                  <a:lnTo>
                    <a:pt x="459" y="403"/>
                  </a:lnTo>
                  <a:lnTo>
                    <a:pt x="459" y="403"/>
                  </a:lnTo>
                  <a:lnTo>
                    <a:pt x="462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9" y="401"/>
                  </a:lnTo>
                  <a:lnTo>
                    <a:pt x="457" y="401"/>
                  </a:lnTo>
                  <a:lnTo>
                    <a:pt x="457" y="401"/>
                  </a:lnTo>
                  <a:lnTo>
                    <a:pt x="457" y="403"/>
                  </a:lnTo>
                  <a:lnTo>
                    <a:pt x="454" y="403"/>
                  </a:lnTo>
                  <a:lnTo>
                    <a:pt x="454" y="403"/>
                  </a:lnTo>
                  <a:lnTo>
                    <a:pt x="454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49" y="403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46" y="401"/>
                  </a:lnTo>
                  <a:lnTo>
                    <a:pt x="446" y="398"/>
                  </a:lnTo>
                  <a:lnTo>
                    <a:pt x="446" y="398"/>
                  </a:lnTo>
                  <a:lnTo>
                    <a:pt x="443" y="398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3" y="395"/>
                  </a:lnTo>
                  <a:lnTo>
                    <a:pt x="441" y="395"/>
                  </a:lnTo>
                  <a:lnTo>
                    <a:pt x="438" y="398"/>
                  </a:lnTo>
                  <a:lnTo>
                    <a:pt x="438" y="398"/>
                  </a:lnTo>
                  <a:lnTo>
                    <a:pt x="438" y="401"/>
                  </a:lnTo>
                  <a:lnTo>
                    <a:pt x="435" y="401"/>
                  </a:lnTo>
                  <a:lnTo>
                    <a:pt x="435" y="401"/>
                  </a:lnTo>
                  <a:lnTo>
                    <a:pt x="435" y="398"/>
                  </a:lnTo>
                  <a:lnTo>
                    <a:pt x="435" y="398"/>
                  </a:lnTo>
                  <a:lnTo>
                    <a:pt x="435" y="395"/>
                  </a:lnTo>
                  <a:lnTo>
                    <a:pt x="435" y="395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3"/>
                  </a:lnTo>
                  <a:lnTo>
                    <a:pt x="435" y="390"/>
                  </a:lnTo>
                  <a:lnTo>
                    <a:pt x="435" y="390"/>
                  </a:lnTo>
                  <a:lnTo>
                    <a:pt x="433" y="387"/>
                  </a:lnTo>
                  <a:lnTo>
                    <a:pt x="433" y="387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27" y="387"/>
                  </a:lnTo>
                  <a:lnTo>
                    <a:pt x="427" y="385"/>
                  </a:lnTo>
                  <a:lnTo>
                    <a:pt x="427" y="385"/>
                  </a:lnTo>
                  <a:lnTo>
                    <a:pt x="425" y="385"/>
                  </a:lnTo>
                  <a:lnTo>
                    <a:pt x="422" y="385"/>
                  </a:lnTo>
                  <a:lnTo>
                    <a:pt x="422" y="385"/>
                  </a:lnTo>
                  <a:lnTo>
                    <a:pt x="422" y="385"/>
                  </a:lnTo>
                  <a:lnTo>
                    <a:pt x="419" y="387"/>
                  </a:lnTo>
                  <a:lnTo>
                    <a:pt x="419" y="387"/>
                  </a:lnTo>
                  <a:lnTo>
                    <a:pt x="419" y="385"/>
                  </a:lnTo>
                  <a:lnTo>
                    <a:pt x="419" y="385"/>
                  </a:lnTo>
                  <a:lnTo>
                    <a:pt x="417" y="385"/>
                  </a:lnTo>
                  <a:lnTo>
                    <a:pt x="417" y="382"/>
                  </a:lnTo>
                  <a:lnTo>
                    <a:pt x="417" y="382"/>
                  </a:lnTo>
                  <a:lnTo>
                    <a:pt x="414" y="382"/>
                  </a:lnTo>
                  <a:lnTo>
                    <a:pt x="414" y="382"/>
                  </a:lnTo>
                  <a:lnTo>
                    <a:pt x="411" y="382"/>
                  </a:lnTo>
                  <a:lnTo>
                    <a:pt x="409" y="382"/>
                  </a:lnTo>
                  <a:lnTo>
                    <a:pt x="406" y="382"/>
                  </a:lnTo>
                  <a:lnTo>
                    <a:pt x="406" y="382"/>
                  </a:lnTo>
                  <a:lnTo>
                    <a:pt x="403" y="382"/>
                  </a:lnTo>
                  <a:lnTo>
                    <a:pt x="403" y="382"/>
                  </a:lnTo>
                  <a:lnTo>
                    <a:pt x="403" y="382"/>
                  </a:lnTo>
                  <a:lnTo>
                    <a:pt x="398" y="379"/>
                  </a:lnTo>
                  <a:lnTo>
                    <a:pt x="398" y="379"/>
                  </a:lnTo>
                  <a:lnTo>
                    <a:pt x="395" y="379"/>
                  </a:lnTo>
                  <a:lnTo>
                    <a:pt x="395" y="379"/>
                  </a:lnTo>
                  <a:lnTo>
                    <a:pt x="393" y="379"/>
                  </a:lnTo>
                  <a:lnTo>
                    <a:pt x="390" y="379"/>
                  </a:lnTo>
                  <a:lnTo>
                    <a:pt x="387" y="382"/>
                  </a:lnTo>
                  <a:lnTo>
                    <a:pt x="385" y="385"/>
                  </a:lnTo>
                  <a:lnTo>
                    <a:pt x="385" y="385"/>
                  </a:lnTo>
                  <a:lnTo>
                    <a:pt x="382" y="387"/>
                  </a:lnTo>
                  <a:lnTo>
                    <a:pt x="382" y="387"/>
                  </a:lnTo>
                  <a:lnTo>
                    <a:pt x="385" y="390"/>
                  </a:lnTo>
                  <a:lnTo>
                    <a:pt x="385" y="393"/>
                  </a:lnTo>
                  <a:lnTo>
                    <a:pt x="385" y="393"/>
                  </a:lnTo>
                  <a:lnTo>
                    <a:pt x="385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79" y="390"/>
                  </a:lnTo>
                  <a:lnTo>
                    <a:pt x="379" y="390"/>
                  </a:lnTo>
                  <a:lnTo>
                    <a:pt x="377" y="390"/>
                  </a:lnTo>
                  <a:lnTo>
                    <a:pt x="377" y="393"/>
                  </a:lnTo>
                  <a:lnTo>
                    <a:pt x="374" y="390"/>
                  </a:lnTo>
                  <a:lnTo>
                    <a:pt x="374" y="390"/>
                  </a:lnTo>
                  <a:lnTo>
                    <a:pt x="371" y="390"/>
                  </a:lnTo>
                  <a:lnTo>
                    <a:pt x="369" y="387"/>
                  </a:lnTo>
                  <a:lnTo>
                    <a:pt x="369" y="387"/>
                  </a:lnTo>
                  <a:lnTo>
                    <a:pt x="366" y="390"/>
                  </a:lnTo>
                  <a:lnTo>
                    <a:pt x="363" y="390"/>
                  </a:lnTo>
                  <a:lnTo>
                    <a:pt x="361" y="390"/>
                  </a:lnTo>
                  <a:lnTo>
                    <a:pt x="361" y="390"/>
                  </a:lnTo>
                  <a:lnTo>
                    <a:pt x="358" y="390"/>
                  </a:lnTo>
                  <a:lnTo>
                    <a:pt x="355" y="390"/>
                  </a:lnTo>
                  <a:lnTo>
                    <a:pt x="353" y="390"/>
                  </a:lnTo>
                  <a:lnTo>
                    <a:pt x="353" y="390"/>
                  </a:lnTo>
                  <a:lnTo>
                    <a:pt x="350" y="387"/>
                  </a:lnTo>
                  <a:lnTo>
                    <a:pt x="350" y="385"/>
                  </a:lnTo>
                  <a:lnTo>
                    <a:pt x="347" y="385"/>
                  </a:lnTo>
                  <a:lnTo>
                    <a:pt x="347" y="382"/>
                  </a:lnTo>
                  <a:lnTo>
                    <a:pt x="345" y="382"/>
                  </a:lnTo>
                  <a:lnTo>
                    <a:pt x="342" y="379"/>
                  </a:lnTo>
                  <a:lnTo>
                    <a:pt x="339" y="379"/>
                  </a:lnTo>
                  <a:lnTo>
                    <a:pt x="339" y="379"/>
                  </a:lnTo>
                  <a:lnTo>
                    <a:pt x="337" y="382"/>
                  </a:lnTo>
                  <a:lnTo>
                    <a:pt x="337" y="382"/>
                  </a:lnTo>
                  <a:lnTo>
                    <a:pt x="337" y="385"/>
                  </a:lnTo>
                  <a:lnTo>
                    <a:pt x="334" y="385"/>
                  </a:lnTo>
                  <a:lnTo>
                    <a:pt x="331" y="385"/>
                  </a:lnTo>
                  <a:lnTo>
                    <a:pt x="331" y="385"/>
                  </a:lnTo>
                  <a:lnTo>
                    <a:pt x="328" y="382"/>
                  </a:lnTo>
                  <a:lnTo>
                    <a:pt x="326" y="379"/>
                  </a:lnTo>
                  <a:lnTo>
                    <a:pt x="323" y="379"/>
                  </a:lnTo>
                  <a:lnTo>
                    <a:pt x="320" y="377"/>
                  </a:lnTo>
                  <a:lnTo>
                    <a:pt x="318" y="377"/>
                  </a:lnTo>
                  <a:lnTo>
                    <a:pt x="315" y="377"/>
                  </a:lnTo>
                  <a:lnTo>
                    <a:pt x="312" y="377"/>
                  </a:lnTo>
                  <a:lnTo>
                    <a:pt x="310" y="379"/>
                  </a:lnTo>
                  <a:lnTo>
                    <a:pt x="310" y="379"/>
                  </a:lnTo>
                  <a:lnTo>
                    <a:pt x="307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2" y="377"/>
                  </a:lnTo>
                  <a:lnTo>
                    <a:pt x="299" y="377"/>
                  </a:lnTo>
                  <a:lnTo>
                    <a:pt x="299" y="377"/>
                  </a:lnTo>
                  <a:lnTo>
                    <a:pt x="299" y="379"/>
                  </a:lnTo>
                  <a:lnTo>
                    <a:pt x="302" y="379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6" y="379"/>
                  </a:lnTo>
                  <a:lnTo>
                    <a:pt x="296" y="379"/>
                  </a:lnTo>
                  <a:lnTo>
                    <a:pt x="296" y="377"/>
                  </a:lnTo>
                  <a:lnTo>
                    <a:pt x="296" y="377"/>
                  </a:lnTo>
                  <a:lnTo>
                    <a:pt x="294" y="379"/>
                  </a:lnTo>
                  <a:lnTo>
                    <a:pt x="294" y="379"/>
                  </a:lnTo>
                  <a:lnTo>
                    <a:pt x="296" y="382"/>
                  </a:lnTo>
                  <a:lnTo>
                    <a:pt x="296" y="382"/>
                  </a:lnTo>
                  <a:lnTo>
                    <a:pt x="296" y="385"/>
                  </a:lnTo>
                  <a:lnTo>
                    <a:pt x="294" y="382"/>
                  </a:lnTo>
                  <a:lnTo>
                    <a:pt x="294" y="382"/>
                  </a:lnTo>
                  <a:lnTo>
                    <a:pt x="291" y="382"/>
                  </a:lnTo>
                  <a:lnTo>
                    <a:pt x="291" y="382"/>
                  </a:lnTo>
                  <a:lnTo>
                    <a:pt x="288" y="382"/>
                  </a:lnTo>
                  <a:lnTo>
                    <a:pt x="286" y="382"/>
                  </a:lnTo>
                  <a:lnTo>
                    <a:pt x="286" y="382"/>
                  </a:lnTo>
                  <a:lnTo>
                    <a:pt x="283" y="382"/>
                  </a:lnTo>
                  <a:lnTo>
                    <a:pt x="280" y="382"/>
                  </a:lnTo>
                  <a:lnTo>
                    <a:pt x="280" y="382"/>
                  </a:lnTo>
                  <a:lnTo>
                    <a:pt x="280" y="387"/>
                  </a:lnTo>
                  <a:lnTo>
                    <a:pt x="280" y="387"/>
                  </a:lnTo>
                  <a:lnTo>
                    <a:pt x="278" y="390"/>
                  </a:lnTo>
                  <a:lnTo>
                    <a:pt x="275" y="390"/>
                  </a:lnTo>
                  <a:lnTo>
                    <a:pt x="275" y="390"/>
                  </a:lnTo>
                  <a:lnTo>
                    <a:pt x="272" y="390"/>
                  </a:lnTo>
                  <a:lnTo>
                    <a:pt x="270" y="393"/>
                  </a:lnTo>
                  <a:lnTo>
                    <a:pt x="270" y="393"/>
                  </a:lnTo>
                  <a:lnTo>
                    <a:pt x="267" y="395"/>
                  </a:lnTo>
                  <a:lnTo>
                    <a:pt x="264" y="395"/>
                  </a:lnTo>
                  <a:lnTo>
                    <a:pt x="262" y="398"/>
                  </a:lnTo>
                  <a:lnTo>
                    <a:pt x="259" y="398"/>
                  </a:lnTo>
                  <a:lnTo>
                    <a:pt x="259" y="398"/>
                  </a:lnTo>
                  <a:lnTo>
                    <a:pt x="254" y="401"/>
                  </a:lnTo>
                  <a:lnTo>
                    <a:pt x="254" y="401"/>
                  </a:lnTo>
                  <a:lnTo>
                    <a:pt x="251" y="401"/>
                  </a:lnTo>
                  <a:lnTo>
                    <a:pt x="248" y="403"/>
                  </a:lnTo>
                  <a:lnTo>
                    <a:pt x="246" y="403"/>
                  </a:lnTo>
                  <a:lnTo>
                    <a:pt x="246" y="403"/>
                  </a:lnTo>
                  <a:lnTo>
                    <a:pt x="243" y="406"/>
                  </a:lnTo>
                  <a:lnTo>
                    <a:pt x="240" y="406"/>
                  </a:lnTo>
                  <a:lnTo>
                    <a:pt x="240" y="406"/>
                  </a:lnTo>
                  <a:lnTo>
                    <a:pt x="238" y="406"/>
                  </a:lnTo>
                  <a:lnTo>
                    <a:pt x="238" y="406"/>
                  </a:lnTo>
                  <a:lnTo>
                    <a:pt x="235" y="403"/>
                  </a:lnTo>
                  <a:lnTo>
                    <a:pt x="235" y="403"/>
                  </a:lnTo>
                  <a:lnTo>
                    <a:pt x="235" y="403"/>
                  </a:lnTo>
                  <a:lnTo>
                    <a:pt x="232" y="403"/>
                  </a:lnTo>
                  <a:lnTo>
                    <a:pt x="232" y="403"/>
                  </a:lnTo>
                  <a:lnTo>
                    <a:pt x="232" y="406"/>
                  </a:lnTo>
                  <a:lnTo>
                    <a:pt x="230" y="409"/>
                  </a:lnTo>
                  <a:lnTo>
                    <a:pt x="227" y="409"/>
                  </a:lnTo>
                  <a:lnTo>
                    <a:pt x="227" y="409"/>
                  </a:lnTo>
                  <a:lnTo>
                    <a:pt x="224" y="411"/>
                  </a:lnTo>
                  <a:lnTo>
                    <a:pt x="224" y="411"/>
                  </a:lnTo>
                  <a:lnTo>
                    <a:pt x="222" y="411"/>
                  </a:lnTo>
                  <a:lnTo>
                    <a:pt x="222" y="409"/>
                  </a:lnTo>
                  <a:lnTo>
                    <a:pt x="219" y="409"/>
                  </a:lnTo>
                  <a:lnTo>
                    <a:pt x="219" y="409"/>
                  </a:lnTo>
                  <a:lnTo>
                    <a:pt x="216" y="406"/>
                  </a:lnTo>
                  <a:lnTo>
                    <a:pt x="216" y="406"/>
                  </a:lnTo>
                  <a:lnTo>
                    <a:pt x="214" y="406"/>
                  </a:lnTo>
                  <a:lnTo>
                    <a:pt x="214" y="406"/>
                  </a:lnTo>
                  <a:lnTo>
                    <a:pt x="214" y="403"/>
                  </a:lnTo>
                  <a:lnTo>
                    <a:pt x="214" y="403"/>
                  </a:lnTo>
                  <a:lnTo>
                    <a:pt x="211" y="403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11" y="401"/>
                  </a:lnTo>
                  <a:lnTo>
                    <a:pt x="208" y="398"/>
                  </a:lnTo>
                  <a:lnTo>
                    <a:pt x="208" y="398"/>
                  </a:lnTo>
                  <a:lnTo>
                    <a:pt x="208" y="398"/>
                  </a:lnTo>
                  <a:lnTo>
                    <a:pt x="208" y="395"/>
                  </a:lnTo>
                  <a:lnTo>
                    <a:pt x="208" y="395"/>
                  </a:lnTo>
                  <a:lnTo>
                    <a:pt x="208" y="393"/>
                  </a:lnTo>
                  <a:lnTo>
                    <a:pt x="208" y="393"/>
                  </a:lnTo>
                  <a:lnTo>
                    <a:pt x="208" y="393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8" y="390"/>
                  </a:lnTo>
                  <a:lnTo>
                    <a:pt x="206" y="390"/>
                  </a:lnTo>
                  <a:lnTo>
                    <a:pt x="206" y="390"/>
                  </a:lnTo>
                  <a:lnTo>
                    <a:pt x="206" y="387"/>
                  </a:lnTo>
                  <a:lnTo>
                    <a:pt x="206" y="387"/>
                  </a:lnTo>
                  <a:lnTo>
                    <a:pt x="206" y="387"/>
                  </a:lnTo>
                  <a:lnTo>
                    <a:pt x="206" y="385"/>
                  </a:lnTo>
                  <a:lnTo>
                    <a:pt x="203" y="385"/>
                  </a:lnTo>
                  <a:lnTo>
                    <a:pt x="203" y="385"/>
                  </a:lnTo>
                  <a:lnTo>
                    <a:pt x="203" y="385"/>
                  </a:lnTo>
                  <a:lnTo>
                    <a:pt x="203" y="382"/>
                  </a:lnTo>
                  <a:lnTo>
                    <a:pt x="206" y="382"/>
                  </a:lnTo>
                  <a:lnTo>
                    <a:pt x="206" y="382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0" y="377"/>
                  </a:lnTo>
                  <a:lnTo>
                    <a:pt x="200" y="377"/>
                  </a:lnTo>
                  <a:lnTo>
                    <a:pt x="198" y="374"/>
                  </a:lnTo>
                  <a:lnTo>
                    <a:pt x="195" y="374"/>
                  </a:lnTo>
                  <a:lnTo>
                    <a:pt x="195" y="371"/>
                  </a:lnTo>
                  <a:lnTo>
                    <a:pt x="192" y="369"/>
                  </a:lnTo>
                  <a:lnTo>
                    <a:pt x="192" y="369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90" y="371"/>
                  </a:lnTo>
                  <a:lnTo>
                    <a:pt x="190" y="371"/>
                  </a:lnTo>
                  <a:lnTo>
                    <a:pt x="187" y="369"/>
                  </a:lnTo>
                  <a:lnTo>
                    <a:pt x="187" y="369"/>
                  </a:lnTo>
                  <a:lnTo>
                    <a:pt x="184" y="369"/>
                  </a:lnTo>
                  <a:lnTo>
                    <a:pt x="182" y="366"/>
                  </a:lnTo>
                  <a:lnTo>
                    <a:pt x="182" y="366"/>
                  </a:lnTo>
                  <a:lnTo>
                    <a:pt x="182" y="366"/>
                  </a:lnTo>
                  <a:lnTo>
                    <a:pt x="179" y="366"/>
                  </a:lnTo>
                  <a:lnTo>
                    <a:pt x="179" y="366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3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61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3"/>
                  </a:lnTo>
                  <a:lnTo>
                    <a:pt x="184" y="353"/>
                  </a:lnTo>
                  <a:lnTo>
                    <a:pt x="184" y="353"/>
                  </a:lnTo>
                  <a:lnTo>
                    <a:pt x="184" y="353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4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47"/>
                  </a:lnTo>
                  <a:lnTo>
                    <a:pt x="179" y="347"/>
                  </a:lnTo>
                  <a:lnTo>
                    <a:pt x="179" y="347"/>
                  </a:lnTo>
                  <a:lnTo>
                    <a:pt x="179" y="347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9" y="342"/>
                  </a:lnTo>
                  <a:lnTo>
                    <a:pt x="176" y="342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9"/>
                  </a:lnTo>
                  <a:lnTo>
                    <a:pt x="176" y="337"/>
                  </a:lnTo>
                  <a:lnTo>
                    <a:pt x="176" y="337"/>
                  </a:lnTo>
                  <a:lnTo>
                    <a:pt x="174" y="337"/>
                  </a:lnTo>
                  <a:lnTo>
                    <a:pt x="174" y="337"/>
                  </a:lnTo>
                  <a:lnTo>
                    <a:pt x="174" y="337"/>
                  </a:lnTo>
                  <a:lnTo>
                    <a:pt x="174" y="334"/>
                  </a:lnTo>
                  <a:lnTo>
                    <a:pt x="174" y="334"/>
                  </a:lnTo>
                  <a:lnTo>
                    <a:pt x="174" y="334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29"/>
                  </a:lnTo>
                  <a:lnTo>
                    <a:pt x="174" y="329"/>
                  </a:lnTo>
                  <a:lnTo>
                    <a:pt x="174" y="329"/>
                  </a:lnTo>
                  <a:lnTo>
                    <a:pt x="174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6" y="323"/>
                  </a:lnTo>
                  <a:lnTo>
                    <a:pt x="176" y="323"/>
                  </a:lnTo>
                  <a:lnTo>
                    <a:pt x="179" y="323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29"/>
                  </a:lnTo>
                  <a:lnTo>
                    <a:pt x="182" y="331"/>
                  </a:lnTo>
                  <a:lnTo>
                    <a:pt x="182" y="331"/>
                  </a:lnTo>
                  <a:lnTo>
                    <a:pt x="184" y="331"/>
                  </a:lnTo>
                  <a:lnTo>
                    <a:pt x="184" y="331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6"/>
                  </a:lnTo>
                  <a:lnTo>
                    <a:pt x="192" y="323"/>
                  </a:lnTo>
                  <a:lnTo>
                    <a:pt x="192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3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2" y="318"/>
                  </a:lnTo>
                  <a:lnTo>
                    <a:pt x="192" y="318"/>
                  </a:lnTo>
                  <a:lnTo>
                    <a:pt x="190" y="315"/>
                  </a:lnTo>
                  <a:lnTo>
                    <a:pt x="190" y="315"/>
                  </a:lnTo>
                  <a:lnTo>
                    <a:pt x="187" y="315"/>
                  </a:lnTo>
                  <a:lnTo>
                    <a:pt x="187" y="315"/>
                  </a:lnTo>
                  <a:lnTo>
                    <a:pt x="187" y="315"/>
                  </a:lnTo>
                  <a:lnTo>
                    <a:pt x="187" y="313"/>
                  </a:lnTo>
                  <a:lnTo>
                    <a:pt x="187" y="313"/>
                  </a:lnTo>
                  <a:lnTo>
                    <a:pt x="184" y="313"/>
                  </a:lnTo>
                  <a:lnTo>
                    <a:pt x="184" y="313"/>
                  </a:lnTo>
                  <a:lnTo>
                    <a:pt x="184" y="313"/>
                  </a:lnTo>
                  <a:lnTo>
                    <a:pt x="182" y="313"/>
                  </a:lnTo>
                  <a:lnTo>
                    <a:pt x="182" y="310"/>
                  </a:lnTo>
                  <a:lnTo>
                    <a:pt x="182" y="310"/>
                  </a:lnTo>
                  <a:lnTo>
                    <a:pt x="179" y="310"/>
                  </a:lnTo>
                  <a:lnTo>
                    <a:pt x="179" y="310"/>
                  </a:lnTo>
                  <a:lnTo>
                    <a:pt x="179" y="307"/>
                  </a:lnTo>
                  <a:lnTo>
                    <a:pt x="179" y="307"/>
                  </a:lnTo>
                  <a:lnTo>
                    <a:pt x="179" y="307"/>
                  </a:lnTo>
                  <a:lnTo>
                    <a:pt x="179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5"/>
                  </a:lnTo>
                  <a:lnTo>
                    <a:pt x="176" y="302"/>
                  </a:lnTo>
                  <a:lnTo>
                    <a:pt x="176" y="302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9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6" y="297"/>
                  </a:lnTo>
                  <a:lnTo>
                    <a:pt x="174" y="297"/>
                  </a:lnTo>
                  <a:lnTo>
                    <a:pt x="174" y="297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4"/>
                  </a:lnTo>
                  <a:lnTo>
                    <a:pt x="174" y="291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71" y="291"/>
                  </a:lnTo>
                  <a:lnTo>
                    <a:pt x="171" y="291"/>
                  </a:lnTo>
                  <a:lnTo>
                    <a:pt x="171" y="294"/>
                  </a:lnTo>
                  <a:lnTo>
                    <a:pt x="171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7"/>
                  </a:lnTo>
                  <a:lnTo>
                    <a:pt x="168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3" y="299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3" y="302"/>
                  </a:lnTo>
                  <a:lnTo>
                    <a:pt x="160" y="302"/>
                  </a:lnTo>
                  <a:lnTo>
                    <a:pt x="160" y="302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7"/>
                  </a:lnTo>
                  <a:lnTo>
                    <a:pt x="160" y="297"/>
                  </a:lnTo>
                  <a:lnTo>
                    <a:pt x="160" y="297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94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60" y="289"/>
                  </a:lnTo>
                  <a:lnTo>
                    <a:pt x="160" y="289"/>
                  </a:lnTo>
                  <a:lnTo>
                    <a:pt x="163" y="289"/>
                  </a:lnTo>
                  <a:lnTo>
                    <a:pt x="163" y="289"/>
                  </a:lnTo>
                  <a:lnTo>
                    <a:pt x="163" y="289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6" y="281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5"/>
                  </a:lnTo>
                  <a:lnTo>
                    <a:pt x="168" y="272"/>
                  </a:lnTo>
                  <a:lnTo>
                    <a:pt x="168" y="272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8" y="267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4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1"/>
                  </a:lnTo>
                  <a:lnTo>
                    <a:pt x="168" y="251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8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5"/>
                  </a:lnTo>
                  <a:lnTo>
                    <a:pt x="160" y="232"/>
                  </a:lnTo>
                  <a:lnTo>
                    <a:pt x="160" y="232"/>
                  </a:lnTo>
                  <a:lnTo>
                    <a:pt x="158" y="232"/>
                  </a:lnTo>
                  <a:lnTo>
                    <a:pt x="158" y="232"/>
                  </a:lnTo>
                  <a:lnTo>
                    <a:pt x="158" y="230"/>
                  </a:lnTo>
                  <a:lnTo>
                    <a:pt x="158" y="230"/>
                  </a:lnTo>
                  <a:lnTo>
                    <a:pt x="158" y="230"/>
                  </a:lnTo>
                  <a:lnTo>
                    <a:pt x="158" y="227"/>
                  </a:lnTo>
                  <a:lnTo>
                    <a:pt x="158" y="227"/>
                  </a:lnTo>
                  <a:lnTo>
                    <a:pt x="158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4"/>
                  </a:lnTo>
                  <a:lnTo>
                    <a:pt x="155" y="224"/>
                  </a:lnTo>
                  <a:lnTo>
                    <a:pt x="155" y="224"/>
                  </a:lnTo>
                  <a:lnTo>
                    <a:pt x="152" y="224"/>
                  </a:lnTo>
                  <a:lnTo>
                    <a:pt x="152" y="224"/>
                  </a:lnTo>
                  <a:lnTo>
                    <a:pt x="152" y="222"/>
                  </a:lnTo>
                  <a:lnTo>
                    <a:pt x="152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50" y="219"/>
                  </a:lnTo>
                  <a:lnTo>
                    <a:pt x="150" y="219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7" y="216"/>
                  </a:lnTo>
                  <a:lnTo>
                    <a:pt x="147" y="219"/>
                  </a:lnTo>
                  <a:lnTo>
                    <a:pt x="147" y="219"/>
                  </a:lnTo>
                  <a:lnTo>
                    <a:pt x="144" y="219"/>
                  </a:lnTo>
                  <a:lnTo>
                    <a:pt x="144" y="219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42" y="219"/>
                  </a:lnTo>
                  <a:lnTo>
                    <a:pt x="139" y="219"/>
                  </a:lnTo>
                  <a:lnTo>
                    <a:pt x="139" y="219"/>
                  </a:lnTo>
                  <a:lnTo>
                    <a:pt x="139" y="219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4"/>
                  </a:lnTo>
                  <a:lnTo>
                    <a:pt x="136" y="224"/>
                  </a:lnTo>
                  <a:lnTo>
                    <a:pt x="136" y="227"/>
                  </a:lnTo>
                  <a:lnTo>
                    <a:pt x="136" y="227"/>
                  </a:lnTo>
                  <a:lnTo>
                    <a:pt x="136" y="227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4" y="230"/>
                  </a:lnTo>
                  <a:lnTo>
                    <a:pt x="134" y="230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4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31" y="232"/>
                  </a:lnTo>
                  <a:lnTo>
                    <a:pt x="128" y="232"/>
                  </a:lnTo>
                  <a:lnTo>
                    <a:pt x="128" y="232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3" y="232"/>
                  </a:lnTo>
                  <a:lnTo>
                    <a:pt x="120" y="235"/>
                  </a:lnTo>
                  <a:lnTo>
                    <a:pt x="120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0"/>
                  </a:lnTo>
                  <a:lnTo>
                    <a:pt x="120" y="230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0" y="227"/>
                  </a:lnTo>
                  <a:lnTo>
                    <a:pt x="120" y="224"/>
                  </a:lnTo>
                  <a:lnTo>
                    <a:pt x="120" y="224"/>
                  </a:lnTo>
                  <a:lnTo>
                    <a:pt x="120" y="224"/>
                  </a:lnTo>
                  <a:lnTo>
                    <a:pt x="118" y="224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5" y="216"/>
                  </a:lnTo>
                  <a:lnTo>
                    <a:pt x="115" y="216"/>
                  </a:lnTo>
                  <a:lnTo>
                    <a:pt x="112" y="216"/>
                  </a:lnTo>
                  <a:lnTo>
                    <a:pt x="115" y="216"/>
                  </a:lnTo>
                  <a:lnTo>
                    <a:pt x="112" y="216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1"/>
                  </a:lnTo>
                  <a:lnTo>
                    <a:pt x="115" y="211"/>
                  </a:lnTo>
                  <a:lnTo>
                    <a:pt x="115" y="211"/>
                  </a:lnTo>
                  <a:lnTo>
                    <a:pt x="115" y="211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5" y="208"/>
                  </a:lnTo>
                  <a:lnTo>
                    <a:pt x="112" y="208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0" y="206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5"/>
                  </a:lnTo>
                  <a:lnTo>
                    <a:pt x="104" y="195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2" y="192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99" y="190"/>
                  </a:lnTo>
                  <a:lnTo>
                    <a:pt x="99" y="190"/>
                  </a:lnTo>
                  <a:lnTo>
                    <a:pt x="99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91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8" y="192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77" y="200"/>
                  </a:lnTo>
                  <a:lnTo>
                    <a:pt x="77" y="203"/>
                  </a:lnTo>
                  <a:lnTo>
                    <a:pt x="77" y="203"/>
                  </a:lnTo>
                  <a:lnTo>
                    <a:pt x="77" y="203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5" y="203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6"/>
                  </a:lnTo>
                  <a:lnTo>
                    <a:pt x="75" y="208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2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7" y="208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7" y="214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6" y="214"/>
                  </a:lnTo>
                  <a:lnTo>
                    <a:pt x="53" y="214"/>
                  </a:lnTo>
                  <a:lnTo>
                    <a:pt x="56" y="214"/>
                  </a:lnTo>
                  <a:lnTo>
                    <a:pt x="53" y="214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6"/>
                  </a:lnTo>
                  <a:lnTo>
                    <a:pt x="53" y="219"/>
                  </a:lnTo>
                  <a:lnTo>
                    <a:pt x="51" y="219"/>
                  </a:lnTo>
                  <a:lnTo>
                    <a:pt x="51" y="219"/>
                  </a:lnTo>
                  <a:lnTo>
                    <a:pt x="51" y="222"/>
                  </a:lnTo>
                  <a:lnTo>
                    <a:pt x="51" y="222"/>
                  </a:lnTo>
                  <a:lnTo>
                    <a:pt x="51" y="219"/>
                  </a:lnTo>
                  <a:lnTo>
                    <a:pt x="48" y="219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4"/>
                  </a:lnTo>
                  <a:lnTo>
                    <a:pt x="48" y="214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5" y="208"/>
                  </a:lnTo>
                  <a:lnTo>
                    <a:pt x="43" y="206"/>
                  </a:lnTo>
                  <a:lnTo>
                    <a:pt x="43" y="206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0"/>
                  </a:lnTo>
                  <a:lnTo>
                    <a:pt x="37" y="200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5"/>
                  </a:lnTo>
                  <a:lnTo>
                    <a:pt x="37" y="195"/>
                  </a:lnTo>
                  <a:lnTo>
                    <a:pt x="37" y="195"/>
                  </a:lnTo>
                  <a:lnTo>
                    <a:pt x="40" y="192"/>
                  </a:lnTo>
                  <a:lnTo>
                    <a:pt x="40" y="192"/>
                  </a:lnTo>
                  <a:lnTo>
                    <a:pt x="43" y="192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5" y="187"/>
                  </a:lnTo>
                  <a:lnTo>
                    <a:pt x="45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3" y="184"/>
                  </a:lnTo>
                  <a:lnTo>
                    <a:pt x="53" y="184"/>
                  </a:lnTo>
                  <a:lnTo>
                    <a:pt x="53" y="184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9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6"/>
                  </a:lnTo>
                  <a:lnTo>
                    <a:pt x="59" y="174"/>
                  </a:lnTo>
                  <a:lnTo>
                    <a:pt x="56" y="174"/>
                  </a:lnTo>
                  <a:lnTo>
                    <a:pt x="56" y="176"/>
                  </a:lnTo>
                  <a:lnTo>
                    <a:pt x="53" y="176"/>
                  </a:lnTo>
                  <a:lnTo>
                    <a:pt x="53" y="174"/>
                  </a:lnTo>
                  <a:lnTo>
                    <a:pt x="53" y="174"/>
                  </a:lnTo>
                  <a:lnTo>
                    <a:pt x="51" y="174"/>
                  </a:lnTo>
                  <a:lnTo>
                    <a:pt x="51" y="174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51" y="174"/>
                  </a:lnTo>
                  <a:lnTo>
                    <a:pt x="51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3" y="168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5" y="166"/>
                  </a:lnTo>
                  <a:lnTo>
                    <a:pt x="32" y="166"/>
                  </a:lnTo>
                  <a:lnTo>
                    <a:pt x="32" y="163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27" y="166"/>
                  </a:lnTo>
                  <a:lnTo>
                    <a:pt x="27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0"/>
                  </a:lnTo>
                  <a:lnTo>
                    <a:pt x="19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3" y="158"/>
                  </a:lnTo>
                  <a:lnTo>
                    <a:pt x="13" y="158"/>
                  </a:lnTo>
                  <a:lnTo>
                    <a:pt x="11" y="158"/>
                  </a:lnTo>
                  <a:lnTo>
                    <a:pt x="11" y="155"/>
                  </a:lnTo>
                  <a:lnTo>
                    <a:pt x="13" y="155"/>
                  </a:lnTo>
                  <a:lnTo>
                    <a:pt x="13" y="152"/>
                  </a:lnTo>
                  <a:lnTo>
                    <a:pt x="13" y="152"/>
                  </a:lnTo>
                  <a:lnTo>
                    <a:pt x="13" y="152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3" y="150"/>
                  </a:lnTo>
                  <a:lnTo>
                    <a:pt x="11" y="150"/>
                  </a:lnTo>
                  <a:lnTo>
                    <a:pt x="11" y="150"/>
                  </a:lnTo>
                  <a:lnTo>
                    <a:pt x="11" y="150"/>
                  </a:lnTo>
                  <a:lnTo>
                    <a:pt x="11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5" y="144"/>
                  </a:lnTo>
                  <a:lnTo>
                    <a:pt x="5" y="147"/>
                  </a:lnTo>
                  <a:lnTo>
                    <a:pt x="3" y="147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0" y="144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9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8" y="134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11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6" y="126"/>
                  </a:lnTo>
                  <a:lnTo>
                    <a:pt x="16" y="123"/>
                  </a:lnTo>
                  <a:lnTo>
                    <a:pt x="19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24" y="118"/>
                  </a:lnTo>
                  <a:lnTo>
                    <a:pt x="24" y="115"/>
                  </a:lnTo>
                  <a:lnTo>
                    <a:pt x="24" y="112"/>
                  </a:lnTo>
                  <a:lnTo>
                    <a:pt x="27" y="109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2" y="109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7" y="107"/>
                  </a:lnTo>
                  <a:lnTo>
                    <a:pt x="40" y="107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5" y="101"/>
                  </a:lnTo>
                  <a:lnTo>
                    <a:pt x="45" y="104"/>
                  </a:lnTo>
                  <a:lnTo>
                    <a:pt x="48" y="104"/>
                  </a:lnTo>
                  <a:lnTo>
                    <a:pt x="51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99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9" y="96"/>
                  </a:lnTo>
                  <a:lnTo>
                    <a:pt x="59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2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7" y="99"/>
                  </a:lnTo>
                  <a:lnTo>
                    <a:pt x="80" y="99"/>
                  </a:lnTo>
                  <a:lnTo>
                    <a:pt x="80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8" y="96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1" y="99"/>
                  </a:lnTo>
                  <a:lnTo>
                    <a:pt x="91" y="101"/>
                  </a:lnTo>
                  <a:lnTo>
                    <a:pt x="91" y="101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9" y="107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8" y="112"/>
                  </a:lnTo>
                  <a:lnTo>
                    <a:pt x="118" y="112"/>
                  </a:lnTo>
                  <a:lnTo>
                    <a:pt x="118" y="109"/>
                  </a:lnTo>
                  <a:lnTo>
                    <a:pt x="118" y="109"/>
                  </a:lnTo>
                  <a:lnTo>
                    <a:pt x="120" y="109"/>
                  </a:lnTo>
                  <a:lnTo>
                    <a:pt x="120" y="109"/>
                  </a:lnTo>
                  <a:lnTo>
                    <a:pt x="120" y="109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8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9" y="112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2" y="118"/>
                  </a:lnTo>
                  <a:lnTo>
                    <a:pt x="152" y="120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23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6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68" y="118"/>
                  </a:lnTo>
                  <a:lnTo>
                    <a:pt x="168" y="118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5"/>
                  </a:lnTo>
                  <a:lnTo>
                    <a:pt x="168" y="112"/>
                  </a:lnTo>
                  <a:lnTo>
                    <a:pt x="168" y="112"/>
                  </a:lnTo>
                  <a:lnTo>
                    <a:pt x="168" y="112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68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12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4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82" y="115"/>
                  </a:lnTo>
                  <a:lnTo>
                    <a:pt x="182" y="115"/>
                  </a:lnTo>
                  <a:lnTo>
                    <a:pt x="182" y="118"/>
                  </a:lnTo>
                  <a:lnTo>
                    <a:pt x="182" y="118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84" y="118"/>
                  </a:lnTo>
                  <a:lnTo>
                    <a:pt x="187" y="118"/>
                  </a:lnTo>
                  <a:lnTo>
                    <a:pt x="187" y="118"/>
                  </a:lnTo>
                  <a:lnTo>
                    <a:pt x="187" y="118"/>
                  </a:lnTo>
                  <a:lnTo>
                    <a:pt x="190" y="118"/>
                  </a:lnTo>
                  <a:lnTo>
                    <a:pt x="190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2" y="118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198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3" y="118"/>
                  </a:lnTo>
                  <a:lnTo>
                    <a:pt x="203" y="118"/>
                  </a:lnTo>
                  <a:lnTo>
                    <a:pt x="206" y="118"/>
                  </a:lnTo>
                  <a:lnTo>
                    <a:pt x="206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4" y="115"/>
                  </a:lnTo>
                  <a:lnTo>
                    <a:pt x="214" y="115"/>
                  </a:lnTo>
                  <a:lnTo>
                    <a:pt x="214" y="112"/>
                  </a:lnTo>
                  <a:lnTo>
                    <a:pt x="214" y="112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9" y="112"/>
                  </a:lnTo>
                  <a:lnTo>
                    <a:pt x="219" y="112"/>
                  </a:lnTo>
                  <a:lnTo>
                    <a:pt x="219" y="109"/>
                  </a:lnTo>
                  <a:lnTo>
                    <a:pt x="219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4" y="109"/>
                  </a:lnTo>
                  <a:lnTo>
                    <a:pt x="224" y="109"/>
                  </a:lnTo>
                  <a:lnTo>
                    <a:pt x="224" y="109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30" y="109"/>
                  </a:lnTo>
                  <a:lnTo>
                    <a:pt x="230" y="112"/>
                  </a:lnTo>
                  <a:lnTo>
                    <a:pt x="230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5"/>
                  </a:lnTo>
                  <a:lnTo>
                    <a:pt x="232" y="115"/>
                  </a:lnTo>
                  <a:lnTo>
                    <a:pt x="235" y="115"/>
                  </a:lnTo>
                  <a:lnTo>
                    <a:pt x="235" y="115"/>
                  </a:lnTo>
                  <a:lnTo>
                    <a:pt x="235" y="118"/>
                  </a:lnTo>
                  <a:lnTo>
                    <a:pt x="235" y="118"/>
                  </a:lnTo>
                  <a:lnTo>
                    <a:pt x="238" y="118"/>
                  </a:lnTo>
                  <a:lnTo>
                    <a:pt x="238" y="118"/>
                  </a:lnTo>
                  <a:lnTo>
                    <a:pt x="238" y="118"/>
                  </a:lnTo>
                  <a:lnTo>
                    <a:pt x="240" y="120"/>
                  </a:lnTo>
                  <a:lnTo>
                    <a:pt x="240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6" y="123"/>
                  </a:lnTo>
                  <a:lnTo>
                    <a:pt x="246" y="123"/>
                  </a:lnTo>
                  <a:lnTo>
                    <a:pt x="248" y="123"/>
                  </a:lnTo>
                  <a:lnTo>
                    <a:pt x="248" y="126"/>
                  </a:lnTo>
                  <a:lnTo>
                    <a:pt x="251" y="128"/>
                  </a:lnTo>
                  <a:lnTo>
                    <a:pt x="251" y="128"/>
                  </a:lnTo>
                  <a:lnTo>
                    <a:pt x="254" y="131"/>
                  </a:lnTo>
                  <a:lnTo>
                    <a:pt x="254" y="131"/>
                  </a:lnTo>
                  <a:lnTo>
                    <a:pt x="254" y="134"/>
                  </a:lnTo>
                  <a:lnTo>
                    <a:pt x="254" y="134"/>
                  </a:lnTo>
                  <a:lnTo>
                    <a:pt x="254" y="134"/>
                  </a:lnTo>
                  <a:lnTo>
                    <a:pt x="256" y="134"/>
                  </a:lnTo>
                  <a:lnTo>
                    <a:pt x="256" y="134"/>
                  </a:lnTo>
                  <a:lnTo>
                    <a:pt x="259" y="134"/>
                  </a:lnTo>
                  <a:lnTo>
                    <a:pt x="259" y="134"/>
                  </a:lnTo>
                  <a:lnTo>
                    <a:pt x="262" y="134"/>
                  </a:lnTo>
                  <a:lnTo>
                    <a:pt x="262" y="134"/>
                  </a:lnTo>
                  <a:lnTo>
                    <a:pt x="264" y="134"/>
                  </a:lnTo>
                  <a:lnTo>
                    <a:pt x="264" y="134"/>
                  </a:lnTo>
                  <a:lnTo>
                    <a:pt x="264" y="136"/>
                  </a:lnTo>
                  <a:lnTo>
                    <a:pt x="264" y="136"/>
                  </a:lnTo>
                  <a:lnTo>
                    <a:pt x="264" y="136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70" y="142"/>
                  </a:lnTo>
                  <a:lnTo>
                    <a:pt x="270" y="142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2" y="144"/>
                  </a:lnTo>
                  <a:lnTo>
                    <a:pt x="272" y="147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5" y="147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80" y="142"/>
                  </a:lnTo>
                  <a:lnTo>
                    <a:pt x="280" y="142"/>
                  </a:lnTo>
                  <a:lnTo>
                    <a:pt x="280" y="142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6" y="142"/>
                  </a:lnTo>
                  <a:lnTo>
                    <a:pt x="286" y="142"/>
                  </a:lnTo>
                  <a:lnTo>
                    <a:pt x="288" y="142"/>
                  </a:lnTo>
                  <a:lnTo>
                    <a:pt x="288" y="144"/>
                  </a:lnTo>
                  <a:lnTo>
                    <a:pt x="288" y="14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4" y="142"/>
                  </a:lnTo>
                  <a:lnTo>
                    <a:pt x="294" y="142"/>
                  </a:lnTo>
                  <a:lnTo>
                    <a:pt x="294" y="142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299" y="142"/>
                  </a:lnTo>
                  <a:lnTo>
                    <a:pt x="299" y="142"/>
                  </a:lnTo>
                  <a:lnTo>
                    <a:pt x="302" y="139"/>
                  </a:lnTo>
                  <a:lnTo>
                    <a:pt x="302" y="139"/>
                  </a:lnTo>
                  <a:lnTo>
                    <a:pt x="304" y="139"/>
                  </a:lnTo>
                  <a:lnTo>
                    <a:pt x="307" y="136"/>
                  </a:lnTo>
                  <a:lnTo>
                    <a:pt x="307" y="136"/>
                  </a:lnTo>
                  <a:lnTo>
                    <a:pt x="307" y="134"/>
                  </a:lnTo>
                  <a:lnTo>
                    <a:pt x="310" y="134"/>
                  </a:lnTo>
                  <a:lnTo>
                    <a:pt x="310" y="134"/>
                  </a:lnTo>
                  <a:lnTo>
                    <a:pt x="310" y="134"/>
                  </a:lnTo>
                  <a:lnTo>
                    <a:pt x="312" y="131"/>
                  </a:lnTo>
                  <a:lnTo>
                    <a:pt x="315" y="131"/>
                  </a:lnTo>
                  <a:lnTo>
                    <a:pt x="315" y="131"/>
                  </a:lnTo>
                  <a:lnTo>
                    <a:pt x="318" y="134"/>
                  </a:lnTo>
                  <a:lnTo>
                    <a:pt x="320" y="134"/>
                  </a:lnTo>
                  <a:lnTo>
                    <a:pt x="320" y="134"/>
                  </a:lnTo>
                  <a:lnTo>
                    <a:pt x="323" y="131"/>
                  </a:lnTo>
                  <a:lnTo>
                    <a:pt x="323" y="134"/>
                  </a:lnTo>
                  <a:lnTo>
                    <a:pt x="326" y="134"/>
                  </a:lnTo>
                  <a:lnTo>
                    <a:pt x="326" y="134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6" y="136"/>
                  </a:lnTo>
                  <a:lnTo>
                    <a:pt x="328" y="136"/>
                  </a:lnTo>
                  <a:lnTo>
                    <a:pt x="328" y="139"/>
                  </a:lnTo>
                  <a:lnTo>
                    <a:pt x="331" y="139"/>
                  </a:lnTo>
                  <a:lnTo>
                    <a:pt x="331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9"/>
                  </a:lnTo>
                  <a:lnTo>
                    <a:pt x="334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39" y="134"/>
                  </a:lnTo>
                  <a:lnTo>
                    <a:pt x="339" y="134"/>
                  </a:lnTo>
                  <a:lnTo>
                    <a:pt x="342" y="131"/>
                  </a:lnTo>
                  <a:lnTo>
                    <a:pt x="342" y="131"/>
                  </a:lnTo>
                  <a:lnTo>
                    <a:pt x="342" y="131"/>
                  </a:lnTo>
                  <a:lnTo>
                    <a:pt x="345" y="131"/>
                  </a:lnTo>
                  <a:lnTo>
                    <a:pt x="345" y="131"/>
                  </a:lnTo>
                  <a:lnTo>
                    <a:pt x="347" y="131"/>
                  </a:lnTo>
                  <a:lnTo>
                    <a:pt x="347" y="131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50" y="131"/>
                  </a:lnTo>
                  <a:lnTo>
                    <a:pt x="353" y="131"/>
                  </a:lnTo>
                  <a:lnTo>
                    <a:pt x="353" y="131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5" y="134"/>
                  </a:lnTo>
                  <a:lnTo>
                    <a:pt x="355" y="134"/>
                  </a:lnTo>
                  <a:lnTo>
                    <a:pt x="358" y="134"/>
                  </a:lnTo>
                  <a:lnTo>
                    <a:pt x="358" y="134"/>
                  </a:lnTo>
                  <a:lnTo>
                    <a:pt x="358" y="134"/>
                  </a:lnTo>
                  <a:lnTo>
                    <a:pt x="361" y="134"/>
                  </a:lnTo>
                  <a:lnTo>
                    <a:pt x="361" y="134"/>
                  </a:lnTo>
                  <a:lnTo>
                    <a:pt x="361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63" y="142"/>
                  </a:lnTo>
                  <a:lnTo>
                    <a:pt x="363" y="142"/>
                  </a:lnTo>
                  <a:lnTo>
                    <a:pt x="363" y="144"/>
                  </a:lnTo>
                  <a:lnTo>
                    <a:pt x="363" y="144"/>
                  </a:lnTo>
                  <a:lnTo>
                    <a:pt x="366" y="144"/>
                  </a:lnTo>
                  <a:lnTo>
                    <a:pt x="366" y="144"/>
                  </a:lnTo>
                  <a:lnTo>
                    <a:pt x="369" y="144"/>
                  </a:lnTo>
                  <a:lnTo>
                    <a:pt x="369" y="144"/>
                  </a:lnTo>
                  <a:lnTo>
                    <a:pt x="371" y="142"/>
                  </a:lnTo>
                  <a:lnTo>
                    <a:pt x="371" y="142"/>
                  </a:lnTo>
                  <a:lnTo>
                    <a:pt x="374" y="142"/>
                  </a:lnTo>
                  <a:lnTo>
                    <a:pt x="374" y="139"/>
                  </a:lnTo>
                  <a:lnTo>
                    <a:pt x="377" y="139"/>
                  </a:lnTo>
                  <a:lnTo>
                    <a:pt x="377" y="142"/>
                  </a:lnTo>
                  <a:lnTo>
                    <a:pt x="379" y="139"/>
                  </a:lnTo>
                  <a:lnTo>
                    <a:pt x="379" y="139"/>
                  </a:lnTo>
                  <a:lnTo>
                    <a:pt x="379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42"/>
                  </a:lnTo>
                  <a:lnTo>
                    <a:pt x="385" y="142"/>
                  </a:lnTo>
                  <a:lnTo>
                    <a:pt x="385" y="142"/>
                  </a:lnTo>
                  <a:lnTo>
                    <a:pt x="385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9"/>
                  </a:lnTo>
                  <a:lnTo>
                    <a:pt x="387" y="136"/>
                  </a:lnTo>
                  <a:lnTo>
                    <a:pt x="387" y="136"/>
                  </a:lnTo>
                  <a:lnTo>
                    <a:pt x="387" y="134"/>
                  </a:lnTo>
                  <a:lnTo>
                    <a:pt x="387" y="134"/>
                  </a:lnTo>
                  <a:lnTo>
                    <a:pt x="387" y="134"/>
                  </a:lnTo>
                  <a:lnTo>
                    <a:pt x="387" y="131"/>
                  </a:lnTo>
                  <a:lnTo>
                    <a:pt x="387" y="131"/>
                  </a:lnTo>
                  <a:lnTo>
                    <a:pt x="390" y="131"/>
                  </a:lnTo>
                  <a:lnTo>
                    <a:pt x="390" y="131"/>
                  </a:lnTo>
                  <a:lnTo>
                    <a:pt x="390" y="128"/>
                  </a:lnTo>
                  <a:lnTo>
                    <a:pt x="393" y="128"/>
                  </a:lnTo>
                  <a:lnTo>
                    <a:pt x="393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28"/>
                  </a:lnTo>
                  <a:lnTo>
                    <a:pt x="395" y="131"/>
                  </a:lnTo>
                  <a:lnTo>
                    <a:pt x="395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398" y="131"/>
                  </a:lnTo>
                  <a:lnTo>
                    <a:pt x="401" y="128"/>
                  </a:lnTo>
                  <a:lnTo>
                    <a:pt x="401" y="128"/>
                  </a:lnTo>
                  <a:lnTo>
                    <a:pt x="401" y="128"/>
                  </a:lnTo>
                  <a:lnTo>
                    <a:pt x="403" y="128"/>
                  </a:lnTo>
                  <a:lnTo>
                    <a:pt x="403" y="128"/>
                  </a:lnTo>
                  <a:lnTo>
                    <a:pt x="406" y="128"/>
                  </a:lnTo>
                  <a:lnTo>
                    <a:pt x="406" y="126"/>
                  </a:lnTo>
                  <a:lnTo>
                    <a:pt x="406" y="126"/>
                  </a:lnTo>
                  <a:lnTo>
                    <a:pt x="406" y="123"/>
                  </a:lnTo>
                  <a:lnTo>
                    <a:pt x="406" y="123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7" y="118"/>
                  </a:lnTo>
                  <a:lnTo>
                    <a:pt x="419" y="115"/>
                  </a:lnTo>
                  <a:lnTo>
                    <a:pt x="422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7" y="115"/>
                  </a:lnTo>
                  <a:lnTo>
                    <a:pt x="427" y="115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3" y="118"/>
                  </a:lnTo>
                  <a:lnTo>
                    <a:pt x="433" y="120"/>
                  </a:lnTo>
                  <a:lnTo>
                    <a:pt x="435" y="120"/>
                  </a:lnTo>
                  <a:lnTo>
                    <a:pt x="438" y="120"/>
                  </a:lnTo>
                  <a:lnTo>
                    <a:pt x="438" y="118"/>
                  </a:lnTo>
                  <a:lnTo>
                    <a:pt x="443" y="118"/>
                  </a:lnTo>
                  <a:lnTo>
                    <a:pt x="443" y="115"/>
                  </a:lnTo>
                  <a:lnTo>
                    <a:pt x="443" y="112"/>
                  </a:lnTo>
                  <a:lnTo>
                    <a:pt x="441" y="112"/>
                  </a:lnTo>
                  <a:lnTo>
                    <a:pt x="441" y="109"/>
                  </a:lnTo>
                  <a:lnTo>
                    <a:pt x="441" y="107"/>
                  </a:lnTo>
                  <a:lnTo>
                    <a:pt x="446" y="101"/>
                  </a:lnTo>
                  <a:lnTo>
                    <a:pt x="449" y="101"/>
                  </a:lnTo>
                  <a:lnTo>
                    <a:pt x="449" y="104"/>
                  </a:lnTo>
                  <a:lnTo>
                    <a:pt x="454" y="107"/>
                  </a:lnTo>
                  <a:lnTo>
                    <a:pt x="457" y="104"/>
                  </a:lnTo>
                  <a:lnTo>
                    <a:pt x="462" y="101"/>
                  </a:lnTo>
                  <a:lnTo>
                    <a:pt x="465" y="101"/>
                  </a:lnTo>
                  <a:lnTo>
                    <a:pt x="465" y="99"/>
                  </a:lnTo>
                  <a:lnTo>
                    <a:pt x="470" y="99"/>
                  </a:lnTo>
                  <a:lnTo>
                    <a:pt x="470" y="96"/>
                  </a:lnTo>
                  <a:lnTo>
                    <a:pt x="473" y="96"/>
                  </a:lnTo>
                  <a:lnTo>
                    <a:pt x="473" y="96"/>
                  </a:lnTo>
                  <a:lnTo>
                    <a:pt x="475" y="93"/>
                  </a:lnTo>
                  <a:lnTo>
                    <a:pt x="478" y="96"/>
                  </a:lnTo>
                  <a:lnTo>
                    <a:pt x="481" y="96"/>
                  </a:lnTo>
                  <a:lnTo>
                    <a:pt x="483" y="96"/>
                  </a:lnTo>
                  <a:lnTo>
                    <a:pt x="486" y="99"/>
                  </a:lnTo>
                  <a:lnTo>
                    <a:pt x="489" y="101"/>
                  </a:lnTo>
                  <a:lnTo>
                    <a:pt x="491" y="101"/>
                  </a:lnTo>
                  <a:lnTo>
                    <a:pt x="497" y="99"/>
                  </a:lnTo>
                  <a:lnTo>
                    <a:pt x="499" y="99"/>
                  </a:lnTo>
                  <a:lnTo>
                    <a:pt x="499" y="99"/>
                  </a:lnTo>
                  <a:lnTo>
                    <a:pt x="502" y="99"/>
                  </a:lnTo>
                  <a:lnTo>
                    <a:pt x="505" y="101"/>
                  </a:lnTo>
                  <a:lnTo>
                    <a:pt x="507" y="101"/>
                  </a:lnTo>
                  <a:lnTo>
                    <a:pt x="507" y="101"/>
                  </a:lnTo>
                  <a:lnTo>
                    <a:pt x="510" y="101"/>
                  </a:lnTo>
                  <a:lnTo>
                    <a:pt x="510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5" y="96"/>
                  </a:lnTo>
                  <a:lnTo>
                    <a:pt x="521" y="93"/>
                  </a:lnTo>
                  <a:lnTo>
                    <a:pt x="521" y="88"/>
                  </a:lnTo>
                  <a:lnTo>
                    <a:pt x="521" y="85"/>
                  </a:lnTo>
                  <a:lnTo>
                    <a:pt x="518" y="83"/>
                  </a:lnTo>
                  <a:lnTo>
                    <a:pt x="515" y="80"/>
                  </a:lnTo>
                  <a:lnTo>
                    <a:pt x="513" y="77"/>
                  </a:lnTo>
                  <a:lnTo>
                    <a:pt x="515" y="75"/>
                  </a:lnTo>
                  <a:lnTo>
                    <a:pt x="521" y="72"/>
                  </a:lnTo>
                  <a:lnTo>
                    <a:pt x="523" y="69"/>
                  </a:lnTo>
                  <a:lnTo>
                    <a:pt x="526" y="69"/>
                  </a:lnTo>
                  <a:lnTo>
                    <a:pt x="526" y="69"/>
                  </a:lnTo>
                  <a:lnTo>
                    <a:pt x="529" y="69"/>
                  </a:lnTo>
                  <a:lnTo>
                    <a:pt x="531" y="67"/>
                  </a:lnTo>
                  <a:lnTo>
                    <a:pt x="531" y="64"/>
                  </a:lnTo>
                  <a:lnTo>
                    <a:pt x="534" y="64"/>
                  </a:lnTo>
                  <a:lnTo>
                    <a:pt x="537" y="61"/>
                  </a:lnTo>
                  <a:lnTo>
                    <a:pt x="539" y="59"/>
                  </a:lnTo>
                  <a:lnTo>
                    <a:pt x="542" y="59"/>
                  </a:lnTo>
                  <a:lnTo>
                    <a:pt x="547" y="56"/>
                  </a:lnTo>
                  <a:lnTo>
                    <a:pt x="550" y="56"/>
                  </a:lnTo>
                  <a:lnTo>
                    <a:pt x="550" y="56"/>
                  </a:lnTo>
                  <a:lnTo>
                    <a:pt x="553" y="56"/>
                  </a:lnTo>
                  <a:lnTo>
                    <a:pt x="555" y="53"/>
                  </a:lnTo>
                  <a:lnTo>
                    <a:pt x="558" y="53"/>
                  </a:lnTo>
                  <a:lnTo>
                    <a:pt x="561" y="53"/>
                  </a:lnTo>
                  <a:lnTo>
                    <a:pt x="563" y="56"/>
                  </a:lnTo>
                  <a:lnTo>
                    <a:pt x="566" y="53"/>
                  </a:lnTo>
                  <a:lnTo>
                    <a:pt x="566" y="51"/>
                  </a:lnTo>
                  <a:lnTo>
                    <a:pt x="569" y="51"/>
                  </a:lnTo>
                  <a:lnTo>
                    <a:pt x="571" y="51"/>
                  </a:lnTo>
                  <a:lnTo>
                    <a:pt x="577" y="48"/>
                  </a:lnTo>
                  <a:lnTo>
                    <a:pt x="580" y="45"/>
                  </a:lnTo>
                  <a:lnTo>
                    <a:pt x="582" y="45"/>
                  </a:lnTo>
                  <a:lnTo>
                    <a:pt x="588" y="43"/>
                  </a:lnTo>
                  <a:lnTo>
                    <a:pt x="588" y="40"/>
                  </a:lnTo>
                  <a:lnTo>
                    <a:pt x="593" y="37"/>
                  </a:lnTo>
                  <a:lnTo>
                    <a:pt x="596" y="37"/>
                  </a:lnTo>
                  <a:lnTo>
                    <a:pt x="598" y="37"/>
                  </a:lnTo>
                  <a:lnTo>
                    <a:pt x="604" y="37"/>
                  </a:lnTo>
                  <a:lnTo>
                    <a:pt x="609" y="37"/>
                  </a:lnTo>
                  <a:lnTo>
                    <a:pt x="612" y="37"/>
                  </a:lnTo>
                  <a:lnTo>
                    <a:pt x="614" y="37"/>
                  </a:lnTo>
                  <a:lnTo>
                    <a:pt x="620" y="37"/>
                  </a:lnTo>
                  <a:lnTo>
                    <a:pt x="622" y="37"/>
                  </a:lnTo>
                  <a:lnTo>
                    <a:pt x="622" y="35"/>
                  </a:lnTo>
                  <a:lnTo>
                    <a:pt x="625" y="35"/>
                  </a:lnTo>
                  <a:lnTo>
                    <a:pt x="625" y="35"/>
                  </a:lnTo>
                  <a:lnTo>
                    <a:pt x="630" y="35"/>
                  </a:lnTo>
                  <a:lnTo>
                    <a:pt x="633" y="32"/>
                  </a:lnTo>
                  <a:lnTo>
                    <a:pt x="636" y="29"/>
                  </a:lnTo>
                  <a:lnTo>
                    <a:pt x="636" y="27"/>
                  </a:lnTo>
                  <a:lnTo>
                    <a:pt x="638" y="27"/>
                  </a:lnTo>
                  <a:lnTo>
                    <a:pt x="641" y="27"/>
                  </a:lnTo>
                  <a:lnTo>
                    <a:pt x="641" y="27"/>
                  </a:lnTo>
                  <a:lnTo>
                    <a:pt x="641" y="27"/>
                  </a:lnTo>
                  <a:lnTo>
                    <a:pt x="641" y="24"/>
                  </a:lnTo>
                  <a:lnTo>
                    <a:pt x="644" y="24"/>
                  </a:lnTo>
                  <a:lnTo>
                    <a:pt x="644" y="24"/>
                  </a:lnTo>
                  <a:lnTo>
                    <a:pt x="646" y="21"/>
                  </a:lnTo>
                  <a:lnTo>
                    <a:pt x="649" y="21"/>
                  </a:lnTo>
                  <a:lnTo>
                    <a:pt x="652" y="21"/>
                  </a:lnTo>
                  <a:lnTo>
                    <a:pt x="652" y="21"/>
                  </a:lnTo>
                  <a:lnTo>
                    <a:pt x="654" y="24"/>
                  </a:lnTo>
                  <a:lnTo>
                    <a:pt x="657" y="21"/>
                  </a:lnTo>
                  <a:lnTo>
                    <a:pt x="657" y="19"/>
                  </a:lnTo>
                  <a:lnTo>
                    <a:pt x="660" y="19"/>
                  </a:lnTo>
                  <a:lnTo>
                    <a:pt x="660" y="16"/>
                  </a:lnTo>
                  <a:lnTo>
                    <a:pt x="660" y="16"/>
                  </a:lnTo>
                  <a:lnTo>
                    <a:pt x="662" y="13"/>
                  </a:lnTo>
                  <a:lnTo>
                    <a:pt x="665" y="13"/>
                  </a:lnTo>
                  <a:lnTo>
                    <a:pt x="668" y="13"/>
                  </a:lnTo>
                  <a:lnTo>
                    <a:pt x="668" y="13"/>
                  </a:lnTo>
                  <a:lnTo>
                    <a:pt x="670" y="11"/>
                  </a:lnTo>
                  <a:lnTo>
                    <a:pt x="670" y="8"/>
                  </a:lnTo>
                  <a:lnTo>
                    <a:pt x="670" y="8"/>
                  </a:lnTo>
                  <a:lnTo>
                    <a:pt x="673" y="5"/>
                  </a:lnTo>
                  <a:lnTo>
                    <a:pt x="673" y="3"/>
                  </a:lnTo>
                  <a:lnTo>
                    <a:pt x="676" y="3"/>
                  </a:lnTo>
                  <a:lnTo>
                    <a:pt x="678" y="3"/>
                  </a:lnTo>
                  <a:lnTo>
                    <a:pt x="678" y="3"/>
                  </a:lnTo>
                  <a:lnTo>
                    <a:pt x="681" y="3"/>
                  </a:lnTo>
                  <a:lnTo>
                    <a:pt x="684" y="3"/>
                  </a:lnTo>
                  <a:lnTo>
                    <a:pt x="684" y="3"/>
                  </a:lnTo>
                  <a:lnTo>
                    <a:pt x="686" y="3"/>
                  </a:lnTo>
                  <a:lnTo>
                    <a:pt x="686" y="0"/>
                  </a:lnTo>
                  <a:lnTo>
                    <a:pt x="689" y="0"/>
                  </a:lnTo>
                  <a:lnTo>
                    <a:pt x="692" y="3"/>
                  </a:lnTo>
                  <a:lnTo>
                    <a:pt x="692" y="3"/>
                  </a:lnTo>
                  <a:lnTo>
                    <a:pt x="694" y="5"/>
                  </a:lnTo>
                  <a:lnTo>
                    <a:pt x="697" y="5"/>
                  </a:lnTo>
                  <a:lnTo>
                    <a:pt x="700" y="8"/>
                  </a:lnTo>
                  <a:lnTo>
                    <a:pt x="700" y="11"/>
                  </a:lnTo>
                  <a:lnTo>
                    <a:pt x="700" y="13"/>
                  </a:lnTo>
                  <a:lnTo>
                    <a:pt x="697" y="13"/>
                  </a:lnTo>
                  <a:lnTo>
                    <a:pt x="700" y="16"/>
                  </a:lnTo>
                  <a:lnTo>
                    <a:pt x="702" y="16"/>
                  </a:lnTo>
                  <a:lnTo>
                    <a:pt x="705" y="16"/>
                  </a:lnTo>
                  <a:lnTo>
                    <a:pt x="705" y="16"/>
                  </a:lnTo>
                  <a:lnTo>
                    <a:pt x="708" y="19"/>
                  </a:lnTo>
                  <a:lnTo>
                    <a:pt x="710" y="19"/>
                  </a:lnTo>
                  <a:lnTo>
                    <a:pt x="710" y="16"/>
                  </a:lnTo>
                  <a:lnTo>
                    <a:pt x="716" y="16"/>
                  </a:lnTo>
                  <a:lnTo>
                    <a:pt x="718" y="16"/>
                  </a:lnTo>
                  <a:lnTo>
                    <a:pt x="724" y="19"/>
                  </a:lnTo>
                  <a:lnTo>
                    <a:pt x="721" y="21"/>
                  </a:lnTo>
                  <a:lnTo>
                    <a:pt x="718" y="21"/>
                  </a:lnTo>
                  <a:lnTo>
                    <a:pt x="716" y="24"/>
                  </a:lnTo>
                  <a:lnTo>
                    <a:pt x="716" y="24"/>
                  </a:lnTo>
                  <a:lnTo>
                    <a:pt x="713" y="24"/>
                  </a:lnTo>
                  <a:lnTo>
                    <a:pt x="710" y="27"/>
                  </a:lnTo>
                  <a:lnTo>
                    <a:pt x="708" y="27"/>
                  </a:lnTo>
                  <a:lnTo>
                    <a:pt x="708" y="27"/>
                  </a:lnTo>
                  <a:lnTo>
                    <a:pt x="708" y="29"/>
                  </a:lnTo>
                  <a:lnTo>
                    <a:pt x="710" y="32"/>
                  </a:lnTo>
                  <a:lnTo>
                    <a:pt x="710" y="32"/>
                  </a:lnTo>
                  <a:lnTo>
                    <a:pt x="710" y="35"/>
                  </a:lnTo>
                  <a:lnTo>
                    <a:pt x="710" y="35"/>
                  </a:lnTo>
                  <a:lnTo>
                    <a:pt x="713" y="40"/>
                  </a:lnTo>
                  <a:lnTo>
                    <a:pt x="697" y="45"/>
                  </a:lnTo>
                  <a:lnTo>
                    <a:pt x="697" y="45"/>
                  </a:lnTo>
                  <a:lnTo>
                    <a:pt x="697" y="48"/>
                  </a:lnTo>
                  <a:lnTo>
                    <a:pt x="697" y="48"/>
                  </a:lnTo>
                  <a:lnTo>
                    <a:pt x="697" y="51"/>
                  </a:lnTo>
                  <a:lnTo>
                    <a:pt x="700" y="51"/>
                  </a:lnTo>
                  <a:lnTo>
                    <a:pt x="700" y="51"/>
                  </a:lnTo>
                  <a:lnTo>
                    <a:pt x="700" y="53"/>
                  </a:lnTo>
                  <a:lnTo>
                    <a:pt x="700" y="53"/>
                  </a:lnTo>
                  <a:lnTo>
                    <a:pt x="700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3"/>
                  </a:lnTo>
                  <a:lnTo>
                    <a:pt x="702" y="56"/>
                  </a:lnTo>
                  <a:lnTo>
                    <a:pt x="702" y="56"/>
                  </a:lnTo>
                  <a:lnTo>
                    <a:pt x="705" y="56"/>
                  </a:lnTo>
                  <a:lnTo>
                    <a:pt x="705" y="56"/>
                  </a:lnTo>
                  <a:lnTo>
                    <a:pt x="705" y="56"/>
                  </a:lnTo>
                  <a:lnTo>
                    <a:pt x="708" y="56"/>
                  </a:lnTo>
                  <a:lnTo>
                    <a:pt x="708" y="59"/>
                  </a:lnTo>
                  <a:lnTo>
                    <a:pt x="708" y="59"/>
                  </a:lnTo>
                  <a:lnTo>
                    <a:pt x="708" y="59"/>
                  </a:lnTo>
                  <a:lnTo>
                    <a:pt x="710" y="59"/>
                  </a:lnTo>
                  <a:lnTo>
                    <a:pt x="692" y="75"/>
                  </a:lnTo>
                  <a:lnTo>
                    <a:pt x="689" y="80"/>
                  </a:lnTo>
                  <a:lnTo>
                    <a:pt x="689" y="85"/>
                  </a:lnTo>
                  <a:lnTo>
                    <a:pt x="689" y="8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4" name="Freeform 8880">
              <a:extLst>
                <a:ext uri="{FF2B5EF4-FFF2-40B4-BE49-F238E27FC236}">
                  <a16:creationId xmlns:a16="http://schemas.microsoft.com/office/drawing/2014/main" id="{96951995-8E54-3E4C-8F2E-6CFC0F2D97F1}"/>
                </a:ext>
              </a:extLst>
            </p:cNvPr>
            <p:cNvSpPr/>
            <p:nvPr/>
          </p:nvSpPr>
          <p:spPr bwMode="auto">
            <a:xfrm>
              <a:off x="5795166" y="5534025"/>
              <a:ext cx="971550" cy="598488"/>
            </a:xfrm>
            <a:custGeom>
              <a:avLst/>
              <a:gdLst>
                <a:gd name="T0" fmla="*/ 588 w 612"/>
                <a:gd name="T1" fmla="*/ 168 h 377"/>
                <a:gd name="T2" fmla="*/ 564 w 612"/>
                <a:gd name="T3" fmla="*/ 190 h 377"/>
                <a:gd name="T4" fmla="*/ 558 w 612"/>
                <a:gd name="T5" fmla="*/ 214 h 377"/>
                <a:gd name="T6" fmla="*/ 542 w 612"/>
                <a:gd name="T7" fmla="*/ 235 h 377"/>
                <a:gd name="T8" fmla="*/ 539 w 612"/>
                <a:gd name="T9" fmla="*/ 264 h 377"/>
                <a:gd name="T10" fmla="*/ 545 w 612"/>
                <a:gd name="T11" fmla="*/ 280 h 377"/>
                <a:gd name="T12" fmla="*/ 561 w 612"/>
                <a:gd name="T13" fmla="*/ 302 h 377"/>
                <a:gd name="T14" fmla="*/ 561 w 612"/>
                <a:gd name="T15" fmla="*/ 331 h 377"/>
                <a:gd name="T16" fmla="*/ 547 w 612"/>
                <a:gd name="T17" fmla="*/ 353 h 377"/>
                <a:gd name="T18" fmla="*/ 523 w 612"/>
                <a:gd name="T19" fmla="*/ 361 h 377"/>
                <a:gd name="T20" fmla="*/ 502 w 612"/>
                <a:gd name="T21" fmla="*/ 377 h 377"/>
                <a:gd name="T22" fmla="*/ 470 w 612"/>
                <a:gd name="T23" fmla="*/ 363 h 377"/>
                <a:gd name="T24" fmla="*/ 433 w 612"/>
                <a:gd name="T25" fmla="*/ 355 h 377"/>
                <a:gd name="T26" fmla="*/ 403 w 612"/>
                <a:gd name="T27" fmla="*/ 363 h 377"/>
                <a:gd name="T28" fmla="*/ 350 w 612"/>
                <a:gd name="T29" fmla="*/ 353 h 377"/>
                <a:gd name="T30" fmla="*/ 331 w 612"/>
                <a:gd name="T31" fmla="*/ 329 h 377"/>
                <a:gd name="T32" fmla="*/ 310 w 612"/>
                <a:gd name="T33" fmla="*/ 299 h 377"/>
                <a:gd name="T34" fmla="*/ 286 w 612"/>
                <a:gd name="T35" fmla="*/ 299 h 377"/>
                <a:gd name="T36" fmla="*/ 254 w 612"/>
                <a:gd name="T37" fmla="*/ 299 h 377"/>
                <a:gd name="T38" fmla="*/ 243 w 612"/>
                <a:gd name="T39" fmla="*/ 280 h 377"/>
                <a:gd name="T40" fmla="*/ 224 w 612"/>
                <a:gd name="T41" fmla="*/ 283 h 377"/>
                <a:gd name="T42" fmla="*/ 208 w 612"/>
                <a:gd name="T43" fmla="*/ 275 h 377"/>
                <a:gd name="T44" fmla="*/ 179 w 612"/>
                <a:gd name="T45" fmla="*/ 288 h 377"/>
                <a:gd name="T46" fmla="*/ 152 w 612"/>
                <a:gd name="T47" fmla="*/ 313 h 377"/>
                <a:gd name="T48" fmla="*/ 110 w 612"/>
                <a:gd name="T49" fmla="*/ 326 h 377"/>
                <a:gd name="T50" fmla="*/ 83 w 612"/>
                <a:gd name="T51" fmla="*/ 339 h 377"/>
                <a:gd name="T52" fmla="*/ 40 w 612"/>
                <a:gd name="T53" fmla="*/ 358 h 377"/>
                <a:gd name="T54" fmla="*/ 35 w 612"/>
                <a:gd name="T55" fmla="*/ 334 h 377"/>
                <a:gd name="T56" fmla="*/ 29 w 612"/>
                <a:gd name="T57" fmla="*/ 315 h 377"/>
                <a:gd name="T58" fmla="*/ 48 w 612"/>
                <a:gd name="T59" fmla="*/ 313 h 377"/>
                <a:gd name="T60" fmla="*/ 43 w 612"/>
                <a:gd name="T61" fmla="*/ 288 h 377"/>
                <a:gd name="T62" fmla="*/ 21 w 612"/>
                <a:gd name="T63" fmla="*/ 259 h 377"/>
                <a:gd name="T64" fmla="*/ 8 w 612"/>
                <a:gd name="T65" fmla="*/ 227 h 377"/>
                <a:gd name="T66" fmla="*/ 0 w 612"/>
                <a:gd name="T67" fmla="*/ 195 h 377"/>
                <a:gd name="T68" fmla="*/ 29 w 612"/>
                <a:gd name="T69" fmla="*/ 195 h 377"/>
                <a:gd name="T70" fmla="*/ 67 w 612"/>
                <a:gd name="T71" fmla="*/ 184 h 377"/>
                <a:gd name="T72" fmla="*/ 77 w 612"/>
                <a:gd name="T73" fmla="*/ 158 h 377"/>
                <a:gd name="T74" fmla="*/ 102 w 612"/>
                <a:gd name="T75" fmla="*/ 142 h 377"/>
                <a:gd name="T76" fmla="*/ 139 w 612"/>
                <a:gd name="T77" fmla="*/ 166 h 377"/>
                <a:gd name="T78" fmla="*/ 176 w 612"/>
                <a:gd name="T79" fmla="*/ 176 h 377"/>
                <a:gd name="T80" fmla="*/ 208 w 612"/>
                <a:gd name="T81" fmla="*/ 184 h 377"/>
                <a:gd name="T82" fmla="*/ 240 w 612"/>
                <a:gd name="T83" fmla="*/ 179 h 377"/>
                <a:gd name="T84" fmla="*/ 270 w 612"/>
                <a:gd name="T85" fmla="*/ 155 h 377"/>
                <a:gd name="T86" fmla="*/ 294 w 612"/>
                <a:gd name="T87" fmla="*/ 131 h 377"/>
                <a:gd name="T88" fmla="*/ 315 w 612"/>
                <a:gd name="T89" fmla="*/ 101 h 377"/>
                <a:gd name="T90" fmla="*/ 334 w 612"/>
                <a:gd name="T91" fmla="*/ 80 h 377"/>
                <a:gd name="T92" fmla="*/ 345 w 612"/>
                <a:gd name="T93" fmla="*/ 56 h 377"/>
                <a:gd name="T94" fmla="*/ 377 w 612"/>
                <a:gd name="T95" fmla="*/ 29 h 377"/>
                <a:gd name="T96" fmla="*/ 409 w 612"/>
                <a:gd name="T97" fmla="*/ 24 h 377"/>
                <a:gd name="T98" fmla="*/ 435 w 612"/>
                <a:gd name="T99" fmla="*/ 19 h 377"/>
                <a:gd name="T100" fmla="*/ 454 w 612"/>
                <a:gd name="T101" fmla="*/ 19 h 377"/>
                <a:gd name="T102" fmla="*/ 478 w 612"/>
                <a:gd name="T103" fmla="*/ 5 h 377"/>
                <a:gd name="T104" fmla="*/ 505 w 612"/>
                <a:gd name="T105" fmla="*/ 27 h 377"/>
                <a:gd name="T106" fmla="*/ 537 w 612"/>
                <a:gd name="T107" fmla="*/ 40 h 377"/>
                <a:gd name="T108" fmla="*/ 558 w 612"/>
                <a:gd name="T109" fmla="*/ 59 h 377"/>
                <a:gd name="T110" fmla="*/ 588 w 612"/>
                <a:gd name="T111" fmla="*/ 53 h 377"/>
                <a:gd name="T112" fmla="*/ 604 w 612"/>
                <a:gd name="T113" fmla="*/ 67 h 377"/>
                <a:gd name="T114" fmla="*/ 590 w 612"/>
                <a:gd name="T115" fmla="*/ 75 h 377"/>
                <a:gd name="T116" fmla="*/ 593 w 612"/>
                <a:gd name="T117" fmla="*/ 96 h 377"/>
                <a:gd name="T118" fmla="*/ 580 w 612"/>
                <a:gd name="T119" fmla="*/ 120 h 377"/>
                <a:gd name="T120" fmla="*/ 590 w 612"/>
                <a:gd name="T121" fmla="*/ 14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12" h="377" extrusionOk="0">
                  <a:moveTo>
                    <a:pt x="598" y="147"/>
                  </a:moveTo>
                  <a:lnTo>
                    <a:pt x="596" y="147"/>
                  </a:lnTo>
                  <a:lnTo>
                    <a:pt x="593" y="147"/>
                  </a:lnTo>
                  <a:lnTo>
                    <a:pt x="593" y="147"/>
                  </a:lnTo>
                  <a:lnTo>
                    <a:pt x="590" y="150"/>
                  </a:lnTo>
                  <a:lnTo>
                    <a:pt x="590" y="150"/>
                  </a:lnTo>
                  <a:lnTo>
                    <a:pt x="590" y="150"/>
                  </a:lnTo>
                  <a:lnTo>
                    <a:pt x="593" y="152"/>
                  </a:lnTo>
                  <a:lnTo>
                    <a:pt x="593" y="152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0" y="155"/>
                  </a:lnTo>
                  <a:lnTo>
                    <a:pt x="590" y="155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90" y="163"/>
                  </a:lnTo>
                  <a:lnTo>
                    <a:pt x="590" y="166"/>
                  </a:lnTo>
                  <a:lnTo>
                    <a:pt x="588" y="168"/>
                  </a:lnTo>
                  <a:lnTo>
                    <a:pt x="588" y="168"/>
                  </a:lnTo>
                  <a:lnTo>
                    <a:pt x="588" y="171"/>
                  </a:lnTo>
                  <a:lnTo>
                    <a:pt x="588" y="174"/>
                  </a:lnTo>
                  <a:lnTo>
                    <a:pt x="585" y="176"/>
                  </a:lnTo>
                  <a:lnTo>
                    <a:pt x="585" y="179"/>
                  </a:lnTo>
                  <a:lnTo>
                    <a:pt x="582" y="182"/>
                  </a:lnTo>
                  <a:lnTo>
                    <a:pt x="582" y="182"/>
                  </a:lnTo>
                  <a:lnTo>
                    <a:pt x="580" y="182"/>
                  </a:lnTo>
                  <a:lnTo>
                    <a:pt x="580" y="179"/>
                  </a:lnTo>
                  <a:lnTo>
                    <a:pt x="574" y="182"/>
                  </a:lnTo>
                  <a:lnTo>
                    <a:pt x="574" y="182"/>
                  </a:lnTo>
                  <a:lnTo>
                    <a:pt x="574" y="182"/>
                  </a:lnTo>
                  <a:lnTo>
                    <a:pt x="572" y="184"/>
                  </a:lnTo>
                  <a:lnTo>
                    <a:pt x="572" y="184"/>
                  </a:lnTo>
                  <a:lnTo>
                    <a:pt x="572" y="187"/>
                  </a:lnTo>
                  <a:lnTo>
                    <a:pt x="572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6" y="187"/>
                  </a:lnTo>
                  <a:lnTo>
                    <a:pt x="566" y="190"/>
                  </a:lnTo>
                  <a:lnTo>
                    <a:pt x="564" y="190"/>
                  </a:lnTo>
                  <a:lnTo>
                    <a:pt x="564" y="190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1" y="195"/>
                  </a:lnTo>
                  <a:lnTo>
                    <a:pt x="561" y="195"/>
                  </a:lnTo>
                  <a:lnTo>
                    <a:pt x="561" y="195"/>
                  </a:lnTo>
                  <a:lnTo>
                    <a:pt x="561" y="198"/>
                  </a:lnTo>
                  <a:lnTo>
                    <a:pt x="561" y="200"/>
                  </a:lnTo>
                  <a:lnTo>
                    <a:pt x="561" y="200"/>
                  </a:lnTo>
                  <a:lnTo>
                    <a:pt x="558" y="200"/>
                  </a:lnTo>
                  <a:lnTo>
                    <a:pt x="558" y="200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8" y="211"/>
                  </a:lnTo>
                  <a:lnTo>
                    <a:pt x="558" y="214"/>
                  </a:lnTo>
                  <a:lnTo>
                    <a:pt x="558" y="214"/>
                  </a:lnTo>
                  <a:lnTo>
                    <a:pt x="555" y="214"/>
                  </a:lnTo>
                  <a:lnTo>
                    <a:pt x="555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0" y="216"/>
                  </a:lnTo>
                  <a:lnTo>
                    <a:pt x="547" y="216"/>
                  </a:lnTo>
                  <a:lnTo>
                    <a:pt x="545" y="219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2" y="224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2" y="232"/>
                  </a:lnTo>
                  <a:lnTo>
                    <a:pt x="542" y="235"/>
                  </a:lnTo>
                  <a:lnTo>
                    <a:pt x="542" y="235"/>
                  </a:lnTo>
                  <a:lnTo>
                    <a:pt x="542" y="238"/>
                  </a:lnTo>
                  <a:lnTo>
                    <a:pt x="542" y="238"/>
                  </a:lnTo>
                  <a:lnTo>
                    <a:pt x="542" y="240"/>
                  </a:lnTo>
                  <a:lnTo>
                    <a:pt x="539" y="240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39" y="246"/>
                  </a:lnTo>
                  <a:lnTo>
                    <a:pt x="539" y="248"/>
                  </a:lnTo>
                  <a:lnTo>
                    <a:pt x="539" y="248"/>
                  </a:lnTo>
                  <a:lnTo>
                    <a:pt x="539" y="251"/>
                  </a:lnTo>
                  <a:lnTo>
                    <a:pt x="539" y="251"/>
                  </a:lnTo>
                  <a:lnTo>
                    <a:pt x="537" y="254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9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7" y="262"/>
                  </a:lnTo>
                  <a:lnTo>
                    <a:pt x="539" y="264"/>
                  </a:lnTo>
                  <a:lnTo>
                    <a:pt x="539" y="264"/>
                  </a:lnTo>
                  <a:lnTo>
                    <a:pt x="539" y="264"/>
                  </a:lnTo>
                  <a:lnTo>
                    <a:pt x="542" y="264"/>
                  </a:lnTo>
                  <a:lnTo>
                    <a:pt x="542" y="267"/>
                  </a:lnTo>
                  <a:lnTo>
                    <a:pt x="545" y="267"/>
                  </a:lnTo>
                  <a:lnTo>
                    <a:pt x="545" y="267"/>
                  </a:lnTo>
                  <a:lnTo>
                    <a:pt x="545" y="270"/>
                  </a:lnTo>
                  <a:lnTo>
                    <a:pt x="547" y="270"/>
                  </a:lnTo>
                  <a:lnTo>
                    <a:pt x="547" y="270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2"/>
                  </a:lnTo>
                  <a:lnTo>
                    <a:pt x="547" y="275"/>
                  </a:lnTo>
                  <a:lnTo>
                    <a:pt x="545" y="275"/>
                  </a:lnTo>
                  <a:lnTo>
                    <a:pt x="545" y="275"/>
                  </a:lnTo>
                  <a:lnTo>
                    <a:pt x="545" y="275"/>
                  </a:lnTo>
                  <a:lnTo>
                    <a:pt x="545" y="278"/>
                  </a:lnTo>
                  <a:lnTo>
                    <a:pt x="545" y="278"/>
                  </a:lnTo>
                  <a:lnTo>
                    <a:pt x="545" y="280"/>
                  </a:lnTo>
                  <a:lnTo>
                    <a:pt x="545" y="280"/>
                  </a:lnTo>
                  <a:lnTo>
                    <a:pt x="545" y="283"/>
                  </a:lnTo>
                  <a:lnTo>
                    <a:pt x="545" y="283"/>
                  </a:lnTo>
                  <a:lnTo>
                    <a:pt x="547" y="283"/>
                  </a:lnTo>
                  <a:lnTo>
                    <a:pt x="545" y="286"/>
                  </a:lnTo>
                  <a:lnTo>
                    <a:pt x="545" y="286"/>
                  </a:lnTo>
                  <a:lnTo>
                    <a:pt x="545" y="286"/>
                  </a:lnTo>
                  <a:lnTo>
                    <a:pt x="547" y="286"/>
                  </a:lnTo>
                  <a:lnTo>
                    <a:pt x="547" y="288"/>
                  </a:lnTo>
                  <a:lnTo>
                    <a:pt x="547" y="288"/>
                  </a:lnTo>
                  <a:lnTo>
                    <a:pt x="547" y="288"/>
                  </a:lnTo>
                  <a:lnTo>
                    <a:pt x="547" y="291"/>
                  </a:lnTo>
                  <a:lnTo>
                    <a:pt x="547" y="291"/>
                  </a:lnTo>
                  <a:lnTo>
                    <a:pt x="550" y="291"/>
                  </a:lnTo>
                  <a:lnTo>
                    <a:pt x="553" y="294"/>
                  </a:lnTo>
                  <a:lnTo>
                    <a:pt x="553" y="294"/>
                  </a:lnTo>
                  <a:lnTo>
                    <a:pt x="555" y="297"/>
                  </a:lnTo>
                  <a:lnTo>
                    <a:pt x="555" y="297"/>
                  </a:lnTo>
                  <a:lnTo>
                    <a:pt x="558" y="299"/>
                  </a:lnTo>
                  <a:lnTo>
                    <a:pt x="558" y="299"/>
                  </a:lnTo>
                  <a:lnTo>
                    <a:pt x="561" y="299"/>
                  </a:lnTo>
                  <a:lnTo>
                    <a:pt x="561" y="302"/>
                  </a:lnTo>
                  <a:lnTo>
                    <a:pt x="564" y="302"/>
                  </a:lnTo>
                  <a:lnTo>
                    <a:pt x="566" y="305"/>
                  </a:lnTo>
                  <a:lnTo>
                    <a:pt x="566" y="305"/>
                  </a:lnTo>
                  <a:lnTo>
                    <a:pt x="566" y="307"/>
                  </a:lnTo>
                  <a:lnTo>
                    <a:pt x="566" y="307"/>
                  </a:lnTo>
                  <a:lnTo>
                    <a:pt x="566" y="310"/>
                  </a:lnTo>
                  <a:lnTo>
                    <a:pt x="566" y="310"/>
                  </a:lnTo>
                  <a:lnTo>
                    <a:pt x="566" y="313"/>
                  </a:lnTo>
                  <a:lnTo>
                    <a:pt x="566" y="313"/>
                  </a:lnTo>
                  <a:lnTo>
                    <a:pt x="566" y="315"/>
                  </a:lnTo>
                  <a:lnTo>
                    <a:pt x="566" y="315"/>
                  </a:lnTo>
                  <a:lnTo>
                    <a:pt x="569" y="318"/>
                  </a:lnTo>
                  <a:lnTo>
                    <a:pt x="566" y="321"/>
                  </a:lnTo>
                  <a:lnTo>
                    <a:pt x="566" y="323"/>
                  </a:lnTo>
                  <a:lnTo>
                    <a:pt x="566" y="323"/>
                  </a:lnTo>
                  <a:lnTo>
                    <a:pt x="564" y="326"/>
                  </a:lnTo>
                  <a:lnTo>
                    <a:pt x="564" y="329"/>
                  </a:lnTo>
                  <a:lnTo>
                    <a:pt x="564" y="329"/>
                  </a:lnTo>
                  <a:lnTo>
                    <a:pt x="561" y="331"/>
                  </a:lnTo>
                  <a:lnTo>
                    <a:pt x="561" y="331"/>
                  </a:lnTo>
                  <a:lnTo>
                    <a:pt x="561" y="331"/>
                  </a:lnTo>
                  <a:lnTo>
                    <a:pt x="561" y="334"/>
                  </a:lnTo>
                  <a:lnTo>
                    <a:pt x="561" y="337"/>
                  </a:lnTo>
                  <a:lnTo>
                    <a:pt x="561" y="337"/>
                  </a:lnTo>
                  <a:lnTo>
                    <a:pt x="558" y="337"/>
                  </a:lnTo>
                  <a:lnTo>
                    <a:pt x="558" y="339"/>
                  </a:lnTo>
                  <a:lnTo>
                    <a:pt x="558" y="339"/>
                  </a:lnTo>
                  <a:lnTo>
                    <a:pt x="555" y="339"/>
                  </a:lnTo>
                  <a:lnTo>
                    <a:pt x="555" y="339"/>
                  </a:lnTo>
                  <a:lnTo>
                    <a:pt x="555" y="342"/>
                  </a:lnTo>
                  <a:lnTo>
                    <a:pt x="555" y="342"/>
                  </a:lnTo>
                  <a:lnTo>
                    <a:pt x="555" y="345"/>
                  </a:lnTo>
                  <a:lnTo>
                    <a:pt x="555" y="345"/>
                  </a:lnTo>
                  <a:lnTo>
                    <a:pt x="553" y="347"/>
                  </a:lnTo>
                  <a:lnTo>
                    <a:pt x="553" y="347"/>
                  </a:lnTo>
                  <a:lnTo>
                    <a:pt x="553" y="350"/>
                  </a:lnTo>
                  <a:lnTo>
                    <a:pt x="553" y="350"/>
                  </a:lnTo>
                  <a:lnTo>
                    <a:pt x="550" y="350"/>
                  </a:lnTo>
                  <a:lnTo>
                    <a:pt x="550" y="350"/>
                  </a:lnTo>
                  <a:lnTo>
                    <a:pt x="547" y="353"/>
                  </a:lnTo>
                  <a:lnTo>
                    <a:pt x="547" y="353"/>
                  </a:lnTo>
                  <a:lnTo>
                    <a:pt x="547" y="353"/>
                  </a:lnTo>
                  <a:lnTo>
                    <a:pt x="547" y="355"/>
                  </a:lnTo>
                  <a:lnTo>
                    <a:pt x="545" y="353"/>
                  </a:lnTo>
                  <a:lnTo>
                    <a:pt x="545" y="355"/>
                  </a:lnTo>
                  <a:lnTo>
                    <a:pt x="545" y="358"/>
                  </a:lnTo>
                  <a:lnTo>
                    <a:pt x="542" y="358"/>
                  </a:lnTo>
                  <a:lnTo>
                    <a:pt x="542" y="358"/>
                  </a:lnTo>
                  <a:lnTo>
                    <a:pt x="542" y="358"/>
                  </a:lnTo>
                  <a:lnTo>
                    <a:pt x="539" y="358"/>
                  </a:lnTo>
                  <a:lnTo>
                    <a:pt x="539" y="355"/>
                  </a:lnTo>
                  <a:lnTo>
                    <a:pt x="539" y="355"/>
                  </a:lnTo>
                  <a:lnTo>
                    <a:pt x="537" y="355"/>
                  </a:lnTo>
                  <a:lnTo>
                    <a:pt x="534" y="355"/>
                  </a:lnTo>
                  <a:lnTo>
                    <a:pt x="534" y="355"/>
                  </a:lnTo>
                  <a:lnTo>
                    <a:pt x="531" y="358"/>
                  </a:lnTo>
                  <a:lnTo>
                    <a:pt x="531" y="358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29" y="358"/>
                  </a:lnTo>
                  <a:lnTo>
                    <a:pt x="526" y="358"/>
                  </a:lnTo>
                  <a:lnTo>
                    <a:pt x="526" y="361"/>
                  </a:lnTo>
                  <a:lnTo>
                    <a:pt x="523" y="361"/>
                  </a:lnTo>
                  <a:lnTo>
                    <a:pt x="523" y="361"/>
                  </a:lnTo>
                  <a:lnTo>
                    <a:pt x="523" y="361"/>
                  </a:lnTo>
                  <a:lnTo>
                    <a:pt x="523" y="363"/>
                  </a:lnTo>
                  <a:lnTo>
                    <a:pt x="526" y="363"/>
                  </a:lnTo>
                  <a:lnTo>
                    <a:pt x="526" y="366"/>
                  </a:lnTo>
                  <a:lnTo>
                    <a:pt x="523" y="366"/>
                  </a:lnTo>
                  <a:lnTo>
                    <a:pt x="523" y="369"/>
                  </a:lnTo>
                  <a:lnTo>
                    <a:pt x="523" y="369"/>
                  </a:lnTo>
                  <a:lnTo>
                    <a:pt x="521" y="369"/>
                  </a:lnTo>
                  <a:lnTo>
                    <a:pt x="521" y="371"/>
                  </a:lnTo>
                  <a:lnTo>
                    <a:pt x="518" y="371"/>
                  </a:lnTo>
                  <a:lnTo>
                    <a:pt x="518" y="371"/>
                  </a:lnTo>
                  <a:lnTo>
                    <a:pt x="518" y="374"/>
                  </a:lnTo>
                  <a:lnTo>
                    <a:pt x="513" y="374"/>
                  </a:lnTo>
                  <a:lnTo>
                    <a:pt x="510" y="374"/>
                  </a:lnTo>
                  <a:lnTo>
                    <a:pt x="507" y="377"/>
                  </a:lnTo>
                  <a:lnTo>
                    <a:pt x="507" y="377"/>
                  </a:lnTo>
                  <a:lnTo>
                    <a:pt x="505" y="377"/>
                  </a:lnTo>
                  <a:lnTo>
                    <a:pt x="505" y="377"/>
                  </a:lnTo>
                  <a:lnTo>
                    <a:pt x="505" y="377"/>
                  </a:lnTo>
                  <a:lnTo>
                    <a:pt x="502" y="377"/>
                  </a:lnTo>
                  <a:lnTo>
                    <a:pt x="499" y="377"/>
                  </a:lnTo>
                  <a:lnTo>
                    <a:pt x="497" y="374"/>
                  </a:lnTo>
                  <a:lnTo>
                    <a:pt x="497" y="374"/>
                  </a:lnTo>
                  <a:lnTo>
                    <a:pt x="497" y="371"/>
                  </a:lnTo>
                  <a:lnTo>
                    <a:pt x="497" y="371"/>
                  </a:lnTo>
                  <a:lnTo>
                    <a:pt x="494" y="371"/>
                  </a:lnTo>
                  <a:lnTo>
                    <a:pt x="491" y="369"/>
                  </a:lnTo>
                  <a:lnTo>
                    <a:pt x="491" y="366"/>
                  </a:lnTo>
                  <a:lnTo>
                    <a:pt x="491" y="366"/>
                  </a:lnTo>
                  <a:lnTo>
                    <a:pt x="489" y="363"/>
                  </a:lnTo>
                  <a:lnTo>
                    <a:pt x="489" y="363"/>
                  </a:lnTo>
                  <a:lnTo>
                    <a:pt x="486" y="363"/>
                  </a:lnTo>
                  <a:lnTo>
                    <a:pt x="483" y="363"/>
                  </a:lnTo>
                  <a:lnTo>
                    <a:pt x="483" y="363"/>
                  </a:lnTo>
                  <a:lnTo>
                    <a:pt x="481" y="363"/>
                  </a:lnTo>
                  <a:lnTo>
                    <a:pt x="481" y="363"/>
                  </a:lnTo>
                  <a:lnTo>
                    <a:pt x="478" y="363"/>
                  </a:lnTo>
                  <a:lnTo>
                    <a:pt x="475" y="361"/>
                  </a:lnTo>
                  <a:lnTo>
                    <a:pt x="473" y="361"/>
                  </a:lnTo>
                  <a:lnTo>
                    <a:pt x="473" y="361"/>
                  </a:lnTo>
                  <a:lnTo>
                    <a:pt x="470" y="363"/>
                  </a:lnTo>
                  <a:lnTo>
                    <a:pt x="470" y="363"/>
                  </a:lnTo>
                  <a:lnTo>
                    <a:pt x="467" y="366"/>
                  </a:lnTo>
                  <a:lnTo>
                    <a:pt x="465" y="366"/>
                  </a:lnTo>
                  <a:lnTo>
                    <a:pt x="465" y="363"/>
                  </a:lnTo>
                  <a:lnTo>
                    <a:pt x="462" y="361"/>
                  </a:lnTo>
                  <a:lnTo>
                    <a:pt x="462" y="361"/>
                  </a:lnTo>
                  <a:lnTo>
                    <a:pt x="459" y="363"/>
                  </a:lnTo>
                  <a:lnTo>
                    <a:pt x="457" y="366"/>
                  </a:lnTo>
                  <a:lnTo>
                    <a:pt x="457" y="366"/>
                  </a:lnTo>
                  <a:lnTo>
                    <a:pt x="454" y="369"/>
                  </a:lnTo>
                  <a:lnTo>
                    <a:pt x="454" y="369"/>
                  </a:lnTo>
                  <a:lnTo>
                    <a:pt x="451" y="366"/>
                  </a:lnTo>
                  <a:lnTo>
                    <a:pt x="449" y="363"/>
                  </a:lnTo>
                  <a:lnTo>
                    <a:pt x="449" y="363"/>
                  </a:lnTo>
                  <a:lnTo>
                    <a:pt x="449" y="361"/>
                  </a:lnTo>
                  <a:lnTo>
                    <a:pt x="446" y="358"/>
                  </a:lnTo>
                  <a:lnTo>
                    <a:pt x="443" y="358"/>
                  </a:lnTo>
                  <a:lnTo>
                    <a:pt x="441" y="358"/>
                  </a:lnTo>
                  <a:lnTo>
                    <a:pt x="438" y="358"/>
                  </a:lnTo>
                  <a:lnTo>
                    <a:pt x="435" y="355"/>
                  </a:lnTo>
                  <a:lnTo>
                    <a:pt x="433" y="355"/>
                  </a:lnTo>
                  <a:lnTo>
                    <a:pt x="430" y="353"/>
                  </a:lnTo>
                  <a:lnTo>
                    <a:pt x="430" y="355"/>
                  </a:lnTo>
                  <a:lnTo>
                    <a:pt x="427" y="355"/>
                  </a:lnTo>
                  <a:lnTo>
                    <a:pt x="427" y="358"/>
                  </a:lnTo>
                  <a:lnTo>
                    <a:pt x="425" y="358"/>
                  </a:lnTo>
                  <a:lnTo>
                    <a:pt x="422" y="355"/>
                  </a:lnTo>
                  <a:lnTo>
                    <a:pt x="422" y="355"/>
                  </a:lnTo>
                  <a:lnTo>
                    <a:pt x="419" y="353"/>
                  </a:lnTo>
                  <a:lnTo>
                    <a:pt x="417" y="353"/>
                  </a:lnTo>
                  <a:lnTo>
                    <a:pt x="414" y="355"/>
                  </a:lnTo>
                  <a:lnTo>
                    <a:pt x="414" y="355"/>
                  </a:lnTo>
                  <a:lnTo>
                    <a:pt x="414" y="358"/>
                  </a:lnTo>
                  <a:lnTo>
                    <a:pt x="414" y="358"/>
                  </a:lnTo>
                  <a:lnTo>
                    <a:pt x="414" y="358"/>
                  </a:lnTo>
                  <a:lnTo>
                    <a:pt x="411" y="358"/>
                  </a:lnTo>
                  <a:lnTo>
                    <a:pt x="409" y="358"/>
                  </a:lnTo>
                  <a:lnTo>
                    <a:pt x="409" y="358"/>
                  </a:lnTo>
                  <a:lnTo>
                    <a:pt x="409" y="361"/>
                  </a:lnTo>
                  <a:lnTo>
                    <a:pt x="406" y="361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1" y="366"/>
                  </a:lnTo>
                  <a:lnTo>
                    <a:pt x="398" y="363"/>
                  </a:lnTo>
                  <a:lnTo>
                    <a:pt x="398" y="363"/>
                  </a:lnTo>
                  <a:lnTo>
                    <a:pt x="398" y="363"/>
                  </a:lnTo>
                  <a:lnTo>
                    <a:pt x="395" y="361"/>
                  </a:lnTo>
                  <a:lnTo>
                    <a:pt x="393" y="361"/>
                  </a:lnTo>
                  <a:lnTo>
                    <a:pt x="379" y="361"/>
                  </a:lnTo>
                  <a:lnTo>
                    <a:pt x="374" y="361"/>
                  </a:lnTo>
                  <a:lnTo>
                    <a:pt x="371" y="358"/>
                  </a:lnTo>
                  <a:lnTo>
                    <a:pt x="371" y="358"/>
                  </a:lnTo>
                  <a:lnTo>
                    <a:pt x="369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69" y="353"/>
                  </a:lnTo>
                  <a:lnTo>
                    <a:pt x="366" y="353"/>
                  </a:lnTo>
                  <a:lnTo>
                    <a:pt x="363" y="350"/>
                  </a:lnTo>
                  <a:lnTo>
                    <a:pt x="361" y="350"/>
                  </a:lnTo>
                  <a:lnTo>
                    <a:pt x="358" y="350"/>
                  </a:lnTo>
                  <a:lnTo>
                    <a:pt x="355" y="350"/>
                  </a:lnTo>
                  <a:lnTo>
                    <a:pt x="353" y="350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47" y="353"/>
                  </a:lnTo>
                  <a:lnTo>
                    <a:pt x="347" y="353"/>
                  </a:lnTo>
                  <a:lnTo>
                    <a:pt x="345" y="353"/>
                  </a:lnTo>
                  <a:lnTo>
                    <a:pt x="345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39" y="347"/>
                  </a:lnTo>
                  <a:lnTo>
                    <a:pt x="339" y="347"/>
                  </a:lnTo>
                  <a:lnTo>
                    <a:pt x="339" y="345"/>
                  </a:lnTo>
                  <a:lnTo>
                    <a:pt x="337" y="342"/>
                  </a:lnTo>
                  <a:lnTo>
                    <a:pt x="337" y="342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7" y="337"/>
                  </a:lnTo>
                  <a:lnTo>
                    <a:pt x="334" y="337"/>
                  </a:lnTo>
                  <a:lnTo>
                    <a:pt x="334" y="337"/>
                  </a:lnTo>
                  <a:lnTo>
                    <a:pt x="331" y="337"/>
                  </a:lnTo>
                  <a:lnTo>
                    <a:pt x="331" y="329"/>
                  </a:lnTo>
                  <a:lnTo>
                    <a:pt x="331" y="323"/>
                  </a:lnTo>
                  <a:lnTo>
                    <a:pt x="331" y="321"/>
                  </a:lnTo>
                  <a:lnTo>
                    <a:pt x="331" y="313"/>
                  </a:lnTo>
                  <a:lnTo>
                    <a:pt x="331" y="310"/>
                  </a:lnTo>
                  <a:lnTo>
                    <a:pt x="329" y="310"/>
                  </a:lnTo>
                  <a:lnTo>
                    <a:pt x="329" y="307"/>
                  </a:lnTo>
                  <a:lnTo>
                    <a:pt x="329" y="307"/>
                  </a:lnTo>
                  <a:lnTo>
                    <a:pt x="329" y="305"/>
                  </a:lnTo>
                  <a:lnTo>
                    <a:pt x="329" y="305"/>
                  </a:lnTo>
                  <a:lnTo>
                    <a:pt x="326" y="302"/>
                  </a:lnTo>
                  <a:lnTo>
                    <a:pt x="326" y="302"/>
                  </a:lnTo>
                  <a:lnTo>
                    <a:pt x="323" y="302"/>
                  </a:lnTo>
                  <a:lnTo>
                    <a:pt x="323" y="302"/>
                  </a:lnTo>
                  <a:lnTo>
                    <a:pt x="321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5" y="302"/>
                  </a:lnTo>
                  <a:lnTo>
                    <a:pt x="312" y="302"/>
                  </a:lnTo>
                  <a:lnTo>
                    <a:pt x="312" y="302"/>
                  </a:lnTo>
                  <a:lnTo>
                    <a:pt x="310" y="299"/>
                  </a:lnTo>
                  <a:lnTo>
                    <a:pt x="310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7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4" y="299"/>
                  </a:lnTo>
                  <a:lnTo>
                    <a:pt x="302" y="299"/>
                  </a:lnTo>
                  <a:lnTo>
                    <a:pt x="302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6" y="299"/>
                  </a:lnTo>
                  <a:lnTo>
                    <a:pt x="294" y="299"/>
                  </a:lnTo>
                  <a:lnTo>
                    <a:pt x="294" y="302"/>
                  </a:lnTo>
                  <a:lnTo>
                    <a:pt x="294" y="302"/>
                  </a:lnTo>
                  <a:lnTo>
                    <a:pt x="291" y="302"/>
                  </a:lnTo>
                  <a:lnTo>
                    <a:pt x="291" y="302"/>
                  </a:lnTo>
                  <a:lnTo>
                    <a:pt x="288" y="299"/>
                  </a:lnTo>
                  <a:lnTo>
                    <a:pt x="286" y="299"/>
                  </a:lnTo>
                  <a:lnTo>
                    <a:pt x="286" y="299"/>
                  </a:lnTo>
                  <a:lnTo>
                    <a:pt x="286" y="299"/>
                  </a:lnTo>
                  <a:lnTo>
                    <a:pt x="283" y="299"/>
                  </a:lnTo>
                  <a:lnTo>
                    <a:pt x="280" y="299"/>
                  </a:lnTo>
                  <a:lnTo>
                    <a:pt x="280" y="299"/>
                  </a:lnTo>
                  <a:lnTo>
                    <a:pt x="278" y="299"/>
                  </a:lnTo>
                  <a:lnTo>
                    <a:pt x="278" y="299"/>
                  </a:lnTo>
                  <a:lnTo>
                    <a:pt x="275" y="297"/>
                  </a:lnTo>
                  <a:lnTo>
                    <a:pt x="272" y="297"/>
                  </a:lnTo>
                  <a:lnTo>
                    <a:pt x="270" y="297"/>
                  </a:lnTo>
                  <a:lnTo>
                    <a:pt x="267" y="297"/>
                  </a:lnTo>
                  <a:lnTo>
                    <a:pt x="267" y="299"/>
                  </a:lnTo>
                  <a:lnTo>
                    <a:pt x="264" y="299"/>
                  </a:lnTo>
                  <a:lnTo>
                    <a:pt x="264" y="302"/>
                  </a:lnTo>
                  <a:lnTo>
                    <a:pt x="262" y="302"/>
                  </a:lnTo>
                  <a:lnTo>
                    <a:pt x="259" y="302"/>
                  </a:lnTo>
                  <a:lnTo>
                    <a:pt x="259" y="302"/>
                  </a:lnTo>
                  <a:lnTo>
                    <a:pt x="256" y="302"/>
                  </a:lnTo>
                  <a:lnTo>
                    <a:pt x="256" y="302"/>
                  </a:lnTo>
                  <a:lnTo>
                    <a:pt x="256" y="299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48" y="299"/>
                  </a:lnTo>
                  <a:lnTo>
                    <a:pt x="248" y="299"/>
                  </a:lnTo>
                  <a:lnTo>
                    <a:pt x="248" y="297"/>
                  </a:lnTo>
                  <a:lnTo>
                    <a:pt x="248" y="297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1"/>
                  </a:lnTo>
                  <a:lnTo>
                    <a:pt x="248" y="288"/>
                  </a:lnTo>
                  <a:lnTo>
                    <a:pt x="248" y="288"/>
                  </a:lnTo>
                  <a:lnTo>
                    <a:pt x="248" y="286"/>
                  </a:lnTo>
                  <a:lnTo>
                    <a:pt x="248" y="283"/>
                  </a:lnTo>
                  <a:lnTo>
                    <a:pt x="248" y="280"/>
                  </a:lnTo>
                  <a:lnTo>
                    <a:pt x="248" y="280"/>
                  </a:lnTo>
                  <a:lnTo>
                    <a:pt x="248" y="280"/>
                  </a:lnTo>
                  <a:lnTo>
                    <a:pt x="246" y="280"/>
                  </a:lnTo>
                  <a:lnTo>
                    <a:pt x="246" y="280"/>
                  </a:lnTo>
                  <a:lnTo>
                    <a:pt x="243" y="280"/>
                  </a:lnTo>
                  <a:lnTo>
                    <a:pt x="243" y="280"/>
                  </a:lnTo>
                  <a:lnTo>
                    <a:pt x="240" y="278"/>
                  </a:lnTo>
                  <a:lnTo>
                    <a:pt x="238" y="278"/>
                  </a:lnTo>
                  <a:lnTo>
                    <a:pt x="238" y="280"/>
                  </a:lnTo>
                  <a:lnTo>
                    <a:pt x="235" y="280"/>
                  </a:lnTo>
                  <a:lnTo>
                    <a:pt x="235" y="280"/>
                  </a:lnTo>
                  <a:lnTo>
                    <a:pt x="232" y="283"/>
                  </a:lnTo>
                  <a:lnTo>
                    <a:pt x="232" y="283"/>
                  </a:lnTo>
                  <a:lnTo>
                    <a:pt x="232" y="283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32" y="286"/>
                  </a:lnTo>
                  <a:lnTo>
                    <a:pt x="230" y="288"/>
                  </a:lnTo>
                  <a:lnTo>
                    <a:pt x="230" y="288"/>
                  </a:lnTo>
                  <a:lnTo>
                    <a:pt x="230" y="288"/>
                  </a:lnTo>
                  <a:lnTo>
                    <a:pt x="227" y="288"/>
                  </a:lnTo>
                  <a:lnTo>
                    <a:pt x="227" y="288"/>
                  </a:lnTo>
                  <a:lnTo>
                    <a:pt x="227" y="286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4" y="286"/>
                  </a:lnTo>
                  <a:lnTo>
                    <a:pt x="224" y="283"/>
                  </a:lnTo>
                  <a:lnTo>
                    <a:pt x="224" y="283"/>
                  </a:lnTo>
                  <a:lnTo>
                    <a:pt x="224" y="283"/>
                  </a:lnTo>
                  <a:lnTo>
                    <a:pt x="224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22" y="280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9" y="283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4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0"/>
                  </a:lnTo>
                  <a:lnTo>
                    <a:pt x="211" y="280"/>
                  </a:lnTo>
                  <a:lnTo>
                    <a:pt x="208" y="278"/>
                  </a:lnTo>
                  <a:lnTo>
                    <a:pt x="208" y="278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8"/>
                  </a:lnTo>
                  <a:lnTo>
                    <a:pt x="206" y="278"/>
                  </a:lnTo>
                  <a:lnTo>
                    <a:pt x="206" y="278"/>
                  </a:lnTo>
                  <a:lnTo>
                    <a:pt x="206" y="280"/>
                  </a:lnTo>
                  <a:lnTo>
                    <a:pt x="206" y="283"/>
                  </a:lnTo>
                  <a:lnTo>
                    <a:pt x="206" y="286"/>
                  </a:lnTo>
                  <a:lnTo>
                    <a:pt x="206" y="286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3" y="288"/>
                  </a:lnTo>
                  <a:lnTo>
                    <a:pt x="200" y="291"/>
                  </a:lnTo>
                  <a:lnTo>
                    <a:pt x="198" y="291"/>
                  </a:lnTo>
                  <a:lnTo>
                    <a:pt x="195" y="291"/>
                  </a:lnTo>
                  <a:lnTo>
                    <a:pt x="192" y="291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184" y="291"/>
                  </a:lnTo>
                  <a:lnTo>
                    <a:pt x="182" y="288"/>
                  </a:lnTo>
                  <a:lnTo>
                    <a:pt x="179" y="288"/>
                  </a:lnTo>
                  <a:lnTo>
                    <a:pt x="179" y="288"/>
                  </a:lnTo>
                  <a:lnTo>
                    <a:pt x="179" y="288"/>
                  </a:lnTo>
                  <a:lnTo>
                    <a:pt x="176" y="288"/>
                  </a:lnTo>
                  <a:lnTo>
                    <a:pt x="174" y="291"/>
                  </a:lnTo>
                  <a:lnTo>
                    <a:pt x="171" y="291"/>
                  </a:lnTo>
                  <a:lnTo>
                    <a:pt x="168" y="294"/>
                  </a:lnTo>
                  <a:lnTo>
                    <a:pt x="168" y="297"/>
                  </a:lnTo>
                  <a:lnTo>
                    <a:pt x="166" y="297"/>
                  </a:lnTo>
                  <a:lnTo>
                    <a:pt x="166" y="302"/>
                  </a:lnTo>
                  <a:lnTo>
                    <a:pt x="163" y="302"/>
                  </a:lnTo>
                  <a:lnTo>
                    <a:pt x="160" y="302"/>
                  </a:lnTo>
                  <a:lnTo>
                    <a:pt x="158" y="305"/>
                  </a:lnTo>
                  <a:lnTo>
                    <a:pt x="155" y="305"/>
                  </a:lnTo>
                  <a:lnTo>
                    <a:pt x="155" y="307"/>
                  </a:lnTo>
                  <a:lnTo>
                    <a:pt x="155" y="307"/>
                  </a:lnTo>
                  <a:lnTo>
                    <a:pt x="155" y="307"/>
                  </a:lnTo>
                  <a:lnTo>
                    <a:pt x="152" y="310"/>
                  </a:lnTo>
                  <a:lnTo>
                    <a:pt x="152" y="310"/>
                  </a:lnTo>
                  <a:lnTo>
                    <a:pt x="150" y="310"/>
                  </a:lnTo>
                  <a:lnTo>
                    <a:pt x="150" y="313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47" y="313"/>
                  </a:lnTo>
                  <a:lnTo>
                    <a:pt x="147" y="313"/>
                  </a:lnTo>
                  <a:lnTo>
                    <a:pt x="144" y="313"/>
                  </a:lnTo>
                  <a:lnTo>
                    <a:pt x="144" y="310"/>
                  </a:lnTo>
                  <a:lnTo>
                    <a:pt x="142" y="313"/>
                  </a:lnTo>
                  <a:lnTo>
                    <a:pt x="139" y="313"/>
                  </a:lnTo>
                  <a:lnTo>
                    <a:pt x="136" y="315"/>
                  </a:lnTo>
                  <a:lnTo>
                    <a:pt x="134" y="315"/>
                  </a:lnTo>
                  <a:lnTo>
                    <a:pt x="131" y="315"/>
                  </a:lnTo>
                  <a:lnTo>
                    <a:pt x="128" y="315"/>
                  </a:lnTo>
                  <a:lnTo>
                    <a:pt x="126" y="315"/>
                  </a:lnTo>
                  <a:lnTo>
                    <a:pt x="123" y="318"/>
                  </a:lnTo>
                  <a:lnTo>
                    <a:pt x="120" y="318"/>
                  </a:lnTo>
                  <a:lnTo>
                    <a:pt x="120" y="321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18" y="323"/>
                  </a:lnTo>
                  <a:lnTo>
                    <a:pt x="115" y="323"/>
                  </a:lnTo>
                  <a:lnTo>
                    <a:pt x="112" y="323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9"/>
                  </a:lnTo>
                  <a:lnTo>
                    <a:pt x="110" y="331"/>
                  </a:lnTo>
                  <a:lnTo>
                    <a:pt x="110" y="334"/>
                  </a:lnTo>
                  <a:lnTo>
                    <a:pt x="107" y="334"/>
                  </a:lnTo>
                  <a:lnTo>
                    <a:pt x="104" y="334"/>
                  </a:lnTo>
                  <a:lnTo>
                    <a:pt x="104" y="334"/>
                  </a:lnTo>
                  <a:lnTo>
                    <a:pt x="102" y="331"/>
                  </a:lnTo>
                  <a:lnTo>
                    <a:pt x="99" y="331"/>
                  </a:lnTo>
                  <a:lnTo>
                    <a:pt x="96" y="331"/>
                  </a:lnTo>
                  <a:lnTo>
                    <a:pt x="94" y="331"/>
                  </a:lnTo>
                  <a:lnTo>
                    <a:pt x="94" y="331"/>
                  </a:lnTo>
                  <a:lnTo>
                    <a:pt x="91" y="334"/>
                  </a:lnTo>
                  <a:lnTo>
                    <a:pt x="91" y="334"/>
                  </a:lnTo>
                  <a:lnTo>
                    <a:pt x="91" y="334"/>
                  </a:lnTo>
                  <a:lnTo>
                    <a:pt x="91" y="337"/>
                  </a:lnTo>
                  <a:lnTo>
                    <a:pt x="91" y="337"/>
                  </a:lnTo>
                  <a:lnTo>
                    <a:pt x="88" y="337"/>
                  </a:lnTo>
                  <a:lnTo>
                    <a:pt x="86" y="337"/>
                  </a:lnTo>
                  <a:lnTo>
                    <a:pt x="86" y="339"/>
                  </a:lnTo>
                  <a:lnTo>
                    <a:pt x="83" y="339"/>
                  </a:lnTo>
                  <a:lnTo>
                    <a:pt x="83" y="339"/>
                  </a:lnTo>
                  <a:lnTo>
                    <a:pt x="80" y="342"/>
                  </a:lnTo>
                  <a:lnTo>
                    <a:pt x="80" y="342"/>
                  </a:lnTo>
                  <a:lnTo>
                    <a:pt x="77" y="342"/>
                  </a:lnTo>
                  <a:lnTo>
                    <a:pt x="72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4" y="345"/>
                  </a:lnTo>
                  <a:lnTo>
                    <a:pt x="64" y="347"/>
                  </a:lnTo>
                  <a:lnTo>
                    <a:pt x="64" y="350"/>
                  </a:lnTo>
                  <a:lnTo>
                    <a:pt x="64" y="350"/>
                  </a:lnTo>
                  <a:lnTo>
                    <a:pt x="64" y="353"/>
                  </a:lnTo>
                  <a:lnTo>
                    <a:pt x="64" y="353"/>
                  </a:lnTo>
                  <a:lnTo>
                    <a:pt x="61" y="353"/>
                  </a:lnTo>
                  <a:lnTo>
                    <a:pt x="59" y="353"/>
                  </a:lnTo>
                  <a:lnTo>
                    <a:pt x="53" y="355"/>
                  </a:lnTo>
                  <a:lnTo>
                    <a:pt x="51" y="355"/>
                  </a:lnTo>
                  <a:lnTo>
                    <a:pt x="48" y="355"/>
                  </a:lnTo>
                  <a:lnTo>
                    <a:pt x="45" y="355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37" y="353"/>
                  </a:lnTo>
                  <a:lnTo>
                    <a:pt x="40" y="353"/>
                  </a:lnTo>
                  <a:lnTo>
                    <a:pt x="40" y="353"/>
                  </a:lnTo>
                  <a:lnTo>
                    <a:pt x="40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47"/>
                  </a:lnTo>
                  <a:lnTo>
                    <a:pt x="37" y="347"/>
                  </a:lnTo>
                  <a:lnTo>
                    <a:pt x="35" y="347"/>
                  </a:lnTo>
                  <a:lnTo>
                    <a:pt x="35" y="345"/>
                  </a:lnTo>
                  <a:lnTo>
                    <a:pt x="35" y="345"/>
                  </a:lnTo>
                  <a:lnTo>
                    <a:pt x="35" y="342"/>
                  </a:lnTo>
                  <a:lnTo>
                    <a:pt x="35" y="342"/>
                  </a:lnTo>
                  <a:lnTo>
                    <a:pt x="37" y="342"/>
                  </a:lnTo>
                  <a:lnTo>
                    <a:pt x="40" y="342"/>
                  </a:lnTo>
                  <a:lnTo>
                    <a:pt x="40" y="339"/>
                  </a:lnTo>
                  <a:lnTo>
                    <a:pt x="37" y="339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4"/>
                  </a:lnTo>
                  <a:lnTo>
                    <a:pt x="35" y="334"/>
                  </a:lnTo>
                  <a:lnTo>
                    <a:pt x="35" y="331"/>
                  </a:lnTo>
                  <a:lnTo>
                    <a:pt x="35" y="331"/>
                  </a:lnTo>
                  <a:lnTo>
                    <a:pt x="32" y="329"/>
                  </a:lnTo>
                  <a:lnTo>
                    <a:pt x="32" y="329"/>
                  </a:lnTo>
                  <a:lnTo>
                    <a:pt x="29" y="329"/>
                  </a:lnTo>
                  <a:lnTo>
                    <a:pt x="29" y="331"/>
                  </a:lnTo>
                  <a:lnTo>
                    <a:pt x="27" y="331"/>
                  </a:lnTo>
                  <a:lnTo>
                    <a:pt x="27" y="331"/>
                  </a:lnTo>
                  <a:lnTo>
                    <a:pt x="24" y="329"/>
                  </a:lnTo>
                  <a:lnTo>
                    <a:pt x="24" y="329"/>
                  </a:lnTo>
                  <a:lnTo>
                    <a:pt x="24" y="326"/>
                  </a:lnTo>
                  <a:lnTo>
                    <a:pt x="24" y="326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7" y="321"/>
                  </a:lnTo>
                  <a:lnTo>
                    <a:pt x="27" y="321"/>
                  </a:lnTo>
                  <a:lnTo>
                    <a:pt x="29" y="321"/>
                  </a:lnTo>
                  <a:lnTo>
                    <a:pt x="29" y="318"/>
                  </a:lnTo>
                  <a:lnTo>
                    <a:pt x="27" y="318"/>
                  </a:lnTo>
                  <a:lnTo>
                    <a:pt x="29" y="315"/>
                  </a:lnTo>
                  <a:lnTo>
                    <a:pt x="29" y="315"/>
                  </a:lnTo>
                  <a:lnTo>
                    <a:pt x="32" y="315"/>
                  </a:lnTo>
                  <a:lnTo>
                    <a:pt x="32" y="315"/>
                  </a:lnTo>
                  <a:lnTo>
                    <a:pt x="35" y="315"/>
                  </a:lnTo>
                  <a:lnTo>
                    <a:pt x="35" y="313"/>
                  </a:lnTo>
                  <a:lnTo>
                    <a:pt x="35" y="313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07"/>
                  </a:lnTo>
                  <a:lnTo>
                    <a:pt x="35" y="307"/>
                  </a:lnTo>
                  <a:lnTo>
                    <a:pt x="37" y="305"/>
                  </a:lnTo>
                  <a:lnTo>
                    <a:pt x="37" y="305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10"/>
                  </a:lnTo>
                  <a:lnTo>
                    <a:pt x="43" y="313"/>
                  </a:lnTo>
                  <a:lnTo>
                    <a:pt x="43" y="313"/>
                  </a:lnTo>
                  <a:lnTo>
                    <a:pt x="45" y="313"/>
                  </a:lnTo>
                  <a:lnTo>
                    <a:pt x="45" y="313"/>
                  </a:lnTo>
                  <a:lnTo>
                    <a:pt x="48" y="313"/>
                  </a:lnTo>
                  <a:lnTo>
                    <a:pt x="48" y="313"/>
                  </a:lnTo>
                  <a:lnTo>
                    <a:pt x="51" y="310"/>
                  </a:lnTo>
                  <a:lnTo>
                    <a:pt x="51" y="310"/>
                  </a:lnTo>
                  <a:lnTo>
                    <a:pt x="53" y="310"/>
                  </a:lnTo>
                  <a:lnTo>
                    <a:pt x="56" y="310"/>
                  </a:lnTo>
                  <a:lnTo>
                    <a:pt x="56" y="310"/>
                  </a:lnTo>
                  <a:lnTo>
                    <a:pt x="59" y="310"/>
                  </a:lnTo>
                  <a:lnTo>
                    <a:pt x="59" y="307"/>
                  </a:lnTo>
                  <a:lnTo>
                    <a:pt x="56" y="305"/>
                  </a:lnTo>
                  <a:lnTo>
                    <a:pt x="56" y="302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3" y="299"/>
                  </a:lnTo>
                  <a:lnTo>
                    <a:pt x="51" y="297"/>
                  </a:lnTo>
                  <a:lnTo>
                    <a:pt x="48" y="294"/>
                  </a:lnTo>
                  <a:lnTo>
                    <a:pt x="48" y="297"/>
                  </a:lnTo>
                  <a:lnTo>
                    <a:pt x="45" y="297"/>
                  </a:lnTo>
                  <a:lnTo>
                    <a:pt x="45" y="294"/>
                  </a:lnTo>
                  <a:lnTo>
                    <a:pt x="45" y="294"/>
                  </a:lnTo>
                  <a:lnTo>
                    <a:pt x="45" y="291"/>
                  </a:lnTo>
                  <a:lnTo>
                    <a:pt x="45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0" y="286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37" y="280"/>
                  </a:lnTo>
                  <a:lnTo>
                    <a:pt x="37" y="278"/>
                  </a:lnTo>
                  <a:lnTo>
                    <a:pt x="35" y="275"/>
                  </a:lnTo>
                  <a:lnTo>
                    <a:pt x="35" y="272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2" y="270"/>
                  </a:lnTo>
                  <a:lnTo>
                    <a:pt x="32" y="267"/>
                  </a:lnTo>
                  <a:lnTo>
                    <a:pt x="29" y="267"/>
                  </a:lnTo>
                  <a:lnTo>
                    <a:pt x="29" y="264"/>
                  </a:lnTo>
                  <a:lnTo>
                    <a:pt x="27" y="267"/>
                  </a:lnTo>
                  <a:lnTo>
                    <a:pt x="27" y="267"/>
                  </a:lnTo>
                  <a:lnTo>
                    <a:pt x="24" y="264"/>
                  </a:lnTo>
                  <a:lnTo>
                    <a:pt x="24" y="262"/>
                  </a:lnTo>
                  <a:lnTo>
                    <a:pt x="24" y="262"/>
                  </a:lnTo>
                  <a:lnTo>
                    <a:pt x="21" y="259"/>
                  </a:lnTo>
                  <a:lnTo>
                    <a:pt x="21" y="259"/>
                  </a:lnTo>
                  <a:lnTo>
                    <a:pt x="21" y="256"/>
                  </a:lnTo>
                  <a:lnTo>
                    <a:pt x="21" y="254"/>
                  </a:lnTo>
                  <a:lnTo>
                    <a:pt x="19" y="254"/>
                  </a:lnTo>
                  <a:lnTo>
                    <a:pt x="16" y="251"/>
                  </a:lnTo>
                  <a:lnTo>
                    <a:pt x="16" y="251"/>
                  </a:lnTo>
                  <a:lnTo>
                    <a:pt x="13" y="248"/>
                  </a:lnTo>
                  <a:lnTo>
                    <a:pt x="13" y="248"/>
                  </a:lnTo>
                  <a:lnTo>
                    <a:pt x="13" y="246"/>
                  </a:lnTo>
                  <a:lnTo>
                    <a:pt x="13" y="243"/>
                  </a:lnTo>
                  <a:lnTo>
                    <a:pt x="11" y="243"/>
                  </a:lnTo>
                  <a:lnTo>
                    <a:pt x="13" y="240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5"/>
                  </a:lnTo>
                  <a:lnTo>
                    <a:pt x="13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8" y="230"/>
                  </a:lnTo>
                  <a:lnTo>
                    <a:pt x="8" y="230"/>
                  </a:lnTo>
                  <a:lnTo>
                    <a:pt x="8" y="230"/>
                  </a:lnTo>
                  <a:lnTo>
                    <a:pt x="8" y="227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8" y="224"/>
                  </a:lnTo>
                  <a:lnTo>
                    <a:pt x="8" y="222"/>
                  </a:lnTo>
                  <a:lnTo>
                    <a:pt x="8" y="219"/>
                  </a:lnTo>
                  <a:lnTo>
                    <a:pt x="11" y="216"/>
                  </a:lnTo>
                  <a:lnTo>
                    <a:pt x="11" y="214"/>
                  </a:lnTo>
                  <a:lnTo>
                    <a:pt x="13" y="214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1" y="208"/>
                  </a:lnTo>
                  <a:lnTo>
                    <a:pt x="8" y="208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5" y="203"/>
                  </a:lnTo>
                  <a:lnTo>
                    <a:pt x="3" y="203"/>
                  </a:lnTo>
                  <a:lnTo>
                    <a:pt x="3" y="203"/>
                  </a:lnTo>
                  <a:lnTo>
                    <a:pt x="3" y="200"/>
                  </a:lnTo>
                  <a:lnTo>
                    <a:pt x="3" y="198"/>
                  </a:lnTo>
                  <a:lnTo>
                    <a:pt x="0" y="198"/>
                  </a:lnTo>
                  <a:lnTo>
                    <a:pt x="0" y="195"/>
                  </a:lnTo>
                  <a:lnTo>
                    <a:pt x="3" y="195"/>
                  </a:lnTo>
                  <a:lnTo>
                    <a:pt x="5" y="195"/>
                  </a:lnTo>
                  <a:lnTo>
                    <a:pt x="8" y="195"/>
                  </a:lnTo>
                  <a:lnTo>
                    <a:pt x="11" y="195"/>
                  </a:lnTo>
                  <a:lnTo>
                    <a:pt x="13" y="192"/>
                  </a:lnTo>
                  <a:lnTo>
                    <a:pt x="16" y="192"/>
                  </a:lnTo>
                  <a:lnTo>
                    <a:pt x="16" y="192"/>
                  </a:lnTo>
                  <a:lnTo>
                    <a:pt x="19" y="190"/>
                  </a:lnTo>
                  <a:lnTo>
                    <a:pt x="19" y="190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4" y="187"/>
                  </a:lnTo>
                  <a:lnTo>
                    <a:pt x="27" y="187"/>
                  </a:lnTo>
                  <a:lnTo>
                    <a:pt x="27" y="190"/>
                  </a:lnTo>
                  <a:lnTo>
                    <a:pt x="27" y="190"/>
                  </a:lnTo>
                  <a:lnTo>
                    <a:pt x="27" y="192"/>
                  </a:lnTo>
                  <a:lnTo>
                    <a:pt x="27" y="195"/>
                  </a:lnTo>
                  <a:lnTo>
                    <a:pt x="27" y="198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29" y="195"/>
                  </a:lnTo>
                  <a:lnTo>
                    <a:pt x="32" y="195"/>
                  </a:lnTo>
                  <a:lnTo>
                    <a:pt x="35" y="195"/>
                  </a:lnTo>
                  <a:lnTo>
                    <a:pt x="37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3" y="198"/>
                  </a:lnTo>
                  <a:lnTo>
                    <a:pt x="45" y="198"/>
                  </a:lnTo>
                  <a:lnTo>
                    <a:pt x="45" y="200"/>
                  </a:lnTo>
                  <a:lnTo>
                    <a:pt x="48" y="200"/>
                  </a:lnTo>
                  <a:lnTo>
                    <a:pt x="48" y="200"/>
                  </a:lnTo>
                  <a:lnTo>
                    <a:pt x="51" y="200"/>
                  </a:lnTo>
                  <a:lnTo>
                    <a:pt x="53" y="198"/>
                  </a:lnTo>
                  <a:lnTo>
                    <a:pt x="59" y="195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1" y="190"/>
                  </a:lnTo>
                  <a:lnTo>
                    <a:pt x="64" y="190"/>
                  </a:lnTo>
                  <a:lnTo>
                    <a:pt x="64" y="187"/>
                  </a:lnTo>
                  <a:lnTo>
                    <a:pt x="67" y="187"/>
                  </a:lnTo>
                  <a:lnTo>
                    <a:pt x="67" y="184"/>
                  </a:lnTo>
                  <a:lnTo>
                    <a:pt x="67" y="184"/>
                  </a:lnTo>
                  <a:lnTo>
                    <a:pt x="69" y="184"/>
                  </a:lnTo>
                  <a:lnTo>
                    <a:pt x="69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80" y="182"/>
                  </a:lnTo>
                  <a:lnTo>
                    <a:pt x="80" y="179"/>
                  </a:lnTo>
                  <a:lnTo>
                    <a:pt x="77" y="176"/>
                  </a:lnTo>
                  <a:lnTo>
                    <a:pt x="77" y="171"/>
                  </a:lnTo>
                  <a:lnTo>
                    <a:pt x="77" y="168"/>
                  </a:lnTo>
                  <a:lnTo>
                    <a:pt x="77" y="166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75" y="163"/>
                  </a:lnTo>
                  <a:lnTo>
                    <a:pt x="75" y="160"/>
                  </a:lnTo>
                  <a:lnTo>
                    <a:pt x="75" y="160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91" y="144"/>
                  </a:lnTo>
                  <a:lnTo>
                    <a:pt x="91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39"/>
                  </a:lnTo>
                  <a:lnTo>
                    <a:pt x="96" y="142"/>
                  </a:lnTo>
                  <a:lnTo>
                    <a:pt x="99" y="142"/>
                  </a:lnTo>
                  <a:lnTo>
                    <a:pt x="102" y="144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4" y="142"/>
                  </a:lnTo>
                  <a:lnTo>
                    <a:pt x="107" y="142"/>
                  </a:lnTo>
                  <a:lnTo>
                    <a:pt x="107" y="147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2"/>
                  </a:lnTo>
                  <a:lnTo>
                    <a:pt x="115" y="152"/>
                  </a:lnTo>
                  <a:lnTo>
                    <a:pt x="118" y="152"/>
                  </a:lnTo>
                  <a:lnTo>
                    <a:pt x="118" y="158"/>
                  </a:lnTo>
                  <a:lnTo>
                    <a:pt x="118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71"/>
                  </a:lnTo>
                  <a:lnTo>
                    <a:pt x="126" y="171"/>
                  </a:lnTo>
                  <a:lnTo>
                    <a:pt x="128" y="168"/>
                  </a:lnTo>
                  <a:lnTo>
                    <a:pt x="134" y="168"/>
                  </a:lnTo>
                  <a:lnTo>
                    <a:pt x="136" y="166"/>
                  </a:lnTo>
                  <a:lnTo>
                    <a:pt x="139" y="166"/>
                  </a:lnTo>
                  <a:lnTo>
                    <a:pt x="139" y="168"/>
                  </a:lnTo>
                  <a:lnTo>
                    <a:pt x="142" y="171"/>
                  </a:lnTo>
                  <a:lnTo>
                    <a:pt x="142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7" y="174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5" y="171"/>
                  </a:lnTo>
                  <a:lnTo>
                    <a:pt x="158" y="171"/>
                  </a:lnTo>
                  <a:lnTo>
                    <a:pt x="158" y="171"/>
                  </a:lnTo>
                  <a:lnTo>
                    <a:pt x="160" y="171"/>
                  </a:lnTo>
                  <a:lnTo>
                    <a:pt x="163" y="171"/>
                  </a:lnTo>
                  <a:lnTo>
                    <a:pt x="163" y="171"/>
                  </a:lnTo>
                  <a:lnTo>
                    <a:pt x="166" y="174"/>
                  </a:lnTo>
                  <a:lnTo>
                    <a:pt x="168" y="174"/>
                  </a:lnTo>
                  <a:lnTo>
                    <a:pt x="168" y="174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4" y="176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79" y="176"/>
                  </a:lnTo>
                  <a:lnTo>
                    <a:pt x="179" y="176"/>
                  </a:lnTo>
                  <a:lnTo>
                    <a:pt x="182" y="176"/>
                  </a:lnTo>
                  <a:lnTo>
                    <a:pt x="184" y="176"/>
                  </a:lnTo>
                  <a:lnTo>
                    <a:pt x="184" y="179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4"/>
                  </a:lnTo>
                  <a:lnTo>
                    <a:pt x="190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7"/>
                  </a:lnTo>
                  <a:lnTo>
                    <a:pt x="195" y="187"/>
                  </a:lnTo>
                  <a:lnTo>
                    <a:pt x="195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3" y="182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8" y="184"/>
                  </a:lnTo>
                  <a:lnTo>
                    <a:pt x="208" y="182"/>
                  </a:lnTo>
                  <a:lnTo>
                    <a:pt x="211" y="182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6" y="184"/>
                  </a:lnTo>
                  <a:lnTo>
                    <a:pt x="219" y="184"/>
                  </a:lnTo>
                  <a:lnTo>
                    <a:pt x="219" y="184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4" y="184"/>
                  </a:lnTo>
                  <a:lnTo>
                    <a:pt x="224" y="184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30" y="182"/>
                  </a:lnTo>
                  <a:lnTo>
                    <a:pt x="230" y="179"/>
                  </a:lnTo>
                  <a:lnTo>
                    <a:pt x="232" y="179"/>
                  </a:lnTo>
                  <a:lnTo>
                    <a:pt x="232" y="179"/>
                  </a:lnTo>
                  <a:lnTo>
                    <a:pt x="235" y="179"/>
                  </a:lnTo>
                  <a:lnTo>
                    <a:pt x="238" y="179"/>
                  </a:lnTo>
                  <a:lnTo>
                    <a:pt x="238" y="179"/>
                  </a:lnTo>
                  <a:lnTo>
                    <a:pt x="240" y="179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3" y="182"/>
                  </a:lnTo>
                  <a:lnTo>
                    <a:pt x="246" y="179"/>
                  </a:lnTo>
                  <a:lnTo>
                    <a:pt x="246" y="176"/>
                  </a:lnTo>
                  <a:lnTo>
                    <a:pt x="248" y="174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6" y="171"/>
                  </a:lnTo>
                  <a:lnTo>
                    <a:pt x="256" y="168"/>
                  </a:lnTo>
                  <a:lnTo>
                    <a:pt x="256" y="166"/>
                  </a:lnTo>
                  <a:lnTo>
                    <a:pt x="259" y="166"/>
                  </a:lnTo>
                  <a:lnTo>
                    <a:pt x="259" y="163"/>
                  </a:lnTo>
                  <a:lnTo>
                    <a:pt x="262" y="163"/>
                  </a:lnTo>
                  <a:lnTo>
                    <a:pt x="264" y="163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7" y="158"/>
                  </a:lnTo>
                  <a:lnTo>
                    <a:pt x="270" y="155"/>
                  </a:lnTo>
                  <a:lnTo>
                    <a:pt x="270" y="155"/>
                  </a:lnTo>
                  <a:lnTo>
                    <a:pt x="270" y="152"/>
                  </a:lnTo>
                  <a:lnTo>
                    <a:pt x="272" y="152"/>
                  </a:lnTo>
                  <a:lnTo>
                    <a:pt x="275" y="152"/>
                  </a:lnTo>
                  <a:lnTo>
                    <a:pt x="275" y="152"/>
                  </a:lnTo>
                  <a:lnTo>
                    <a:pt x="278" y="150"/>
                  </a:lnTo>
                  <a:lnTo>
                    <a:pt x="280" y="150"/>
                  </a:lnTo>
                  <a:lnTo>
                    <a:pt x="280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6" y="150"/>
                  </a:lnTo>
                  <a:lnTo>
                    <a:pt x="288" y="147"/>
                  </a:lnTo>
                  <a:lnTo>
                    <a:pt x="291" y="147"/>
                  </a:lnTo>
                  <a:lnTo>
                    <a:pt x="291" y="144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1" y="139"/>
                  </a:lnTo>
                  <a:lnTo>
                    <a:pt x="291" y="139"/>
                  </a:lnTo>
                  <a:lnTo>
                    <a:pt x="291" y="136"/>
                  </a:lnTo>
                  <a:lnTo>
                    <a:pt x="294" y="136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6" y="131"/>
                  </a:lnTo>
                  <a:lnTo>
                    <a:pt x="294" y="128"/>
                  </a:lnTo>
                  <a:lnTo>
                    <a:pt x="294" y="125"/>
                  </a:lnTo>
                  <a:lnTo>
                    <a:pt x="294" y="125"/>
                  </a:lnTo>
                  <a:lnTo>
                    <a:pt x="294" y="125"/>
                  </a:lnTo>
                  <a:lnTo>
                    <a:pt x="296" y="123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0"/>
                  </a:lnTo>
                  <a:lnTo>
                    <a:pt x="304" y="115"/>
                  </a:lnTo>
                  <a:lnTo>
                    <a:pt x="307" y="115"/>
                  </a:lnTo>
                  <a:lnTo>
                    <a:pt x="307" y="109"/>
                  </a:lnTo>
                  <a:lnTo>
                    <a:pt x="307" y="109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10" y="104"/>
                  </a:lnTo>
                  <a:lnTo>
                    <a:pt x="310" y="104"/>
                  </a:lnTo>
                  <a:lnTo>
                    <a:pt x="312" y="104"/>
                  </a:lnTo>
                  <a:lnTo>
                    <a:pt x="312" y="104"/>
                  </a:lnTo>
                  <a:lnTo>
                    <a:pt x="315" y="101"/>
                  </a:lnTo>
                  <a:lnTo>
                    <a:pt x="315" y="101"/>
                  </a:lnTo>
                  <a:lnTo>
                    <a:pt x="315" y="99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8" y="96"/>
                  </a:lnTo>
                  <a:lnTo>
                    <a:pt x="315" y="93"/>
                  </a:lnTo>
                  <a:lnTo>
                    <a:pt x="318" y="91"/>
                  </a:lnTo>
                  <a:lnTo>
                    <a:pt x="318" y="91"/>
                  </a:lnTo>
                  <a:lnTo>
                    <a:pt x="318" y="88"/>
                  </a:lnTo>
                  <a:lnTo>
                    <a:pt x="318" y="88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3" y="83"/>
                  </a:lnTo>
                  <a:lnTo>
                    <a:pt x="326" y="83"/>
                  </a:lnTo>
                  <a:lnTo>
                    <a:pt x="326" y="83"/>
                  </a:lnTo>
                  <a:lnTo>
                    <a:pt x="326" y="80"/>
                  </a:lnTo>
                  <a:lnTo>
                    <a:pt x="329" y="80"/>
                  </a:lnTo>
                  <a:lnTo>
                    <a:pt x="329" y="80"/>
                  </a:lnTo>
                  <a:lnTo>
                    <a:pt x="331" y="80"/>
                  </a:lnTo>
                  <a:lnTo>
                    <a:pt x="334" y="80"/>
                  </a:lnTo>
                  <a:lnTo>
                    <a:pt x="334" y="80"/>
                  </a:lnTo>
                  <a:lnTo>
                    <a:pt x="337" y="80"/>
                  </a:lnTo>
                  <a:lnTo>
                    <a:pt x="337" y="83"/>
                  </a:lnTo>
                  <a:lnTo>
                    <a:pt x="337" y="83"/>
                  </a:lnTo>
                  <a:lnTo>
                    <a:pt x="339" y="80"/>
                  </a:lnTo>
                  <a:lnTo>
                    <a:pt x="339" y="77"/>
                  </a:lnTo>
                  <a:lnTo>
                    <a:pt x="339" y="75"/>
                  </a:lnTo>
                  <a:lnTo>
                    <a:pt x="342" y="75"/>
                  </a:lnTo>
                  <a:lnTo>
                    <a:pt x="342" y="72"/>
                  </a:lnTo>
                  <a:lnTo>
                    <a:pt x="342" y="69"/>
                  </a:lnTo>
                  <a:lnTo>
                    <a:pt x="345" y="69"/>
                  </a:lnTo>
                  <a:lnTo>
                    <a:pt x="345" y="67"/>
                  </a:lnTo>
                  <a:lnTo>
                    <a:pt x="345" y="67"/>
                  </a:lnTo>
                  <a:lnTo>
                    <a:pt x="342" y="64"/>
                  </a:lnTo>
                  <a:lnTo>
                    <a:pt x="345" y="64"/>
                  </a:lnTo>
                  <a:lnTo>
                    <a:pt x="345" y="61"/>
                  </a:lnTo>
                  <a:lnTo>
                    <a:pt x="345" y="59"/>
                  </a:lnTo>
                  <a:lnTo>
                    <a:pt x="345" y="59"/>
                  </a:lnTo>
                  <a:lnTo>
                    <a:pt x="345" y="59"/>
                  </a:lnTo>
                  <a:lnTo>
                    <a:pt x="345" y="56"/>
                  </a:lnTo>
                  <a:lnTo>
                    <a:pt x="345" y="56"/>
                  </a:lnTo>
                  <a:lnTo>
                    <a:pt x="347" y="53"/>
                  </a:lnTo>
                  <a:lnTo>
                    <a:pt x="347" y="51"/>
                  </a:lnTo>
                  <a:lnTo>
                    <a:pt x="350" y="51"/>
                  </a:lnTo>
                  <a:lnTo>
                    <a:pt x="350" y="48"/>
                  </a:lnTo>
                  <a:lnTo>
                    <a:pt x="347" y="45"/>
                  </a:lnTo>
                  <a:lnTo>
                    <a:pt x="342" y="45"/>
                  </a:lnTo>
                  <a:lnTo>
                    <a:pt x="345" y="43"/>
                  </a:lnTo>
                  <a:lnTo>
                    <a:pt x="345" y="40"/>
                  </a:lnTo>
                  <a:lnTo>
                    <a:pt x="347" y="40"/>
                  </a:lnTo>
                  <a:lnTo>
                    <a:pt x="350" y="37"/>
                  </a:lnTo>
                  <a:lnTo>
                    <a:pt x="353" y="37"/>
                  </a:lnTo>
                  <a:lnTo>
                    <a:pt x="353" y="35"/>
                  </a:lnTo>
                  <a:lnTo>
                    <a:pt x="361" y="35"/>
                  </a:lnTo>
                  <a:lnTo>
                    <a:pt x="363" y="35"/>
                  </a:lnTo>
                  <a:lnTo>
                    <a:pt x="366" y="35"/>
                  </a:lnTo>
                  <a:lnTo>
                    <a:pt x="366" y="32"/>
                  </a:lnTo>
                  <a:lnTo>
                    <a:pt x="366" y="35"/>
                  </a:lnTo>
                  <a:lnTo>
                    <a:pt x="371" y="35"/>
                  </a:lnTo>
                  <a:lnTo>
                    <a:pt x="371" y="35"/>
                  </a:lnTo>
                  <a:lnTo>
                    <a:pt x="374" y="35"/>
                  </a:lnTo>
                  <a:lnTo>
                    <a:pt x="377" y="29"/>
                  </a:lnTo>
                  <a:lnTo>
                    <a:pt x="379" y="27"/>
                  </a:lnTo>
                  <a:lnTo>
                    <a:pt x="382" y="29"/>
                  </a:lnTo>
                  <a:lnTo>
                    <a:pt x="385" y="29"/>
                  </a:lnTo>
                  <a:lnTo>
                    <a:pt x="385" y="32"/>
                  </a:lnTo>
                  <a:lnTo>
                    <a:pt x="390" y="37"/>
                  </a:lnTo>
                  <a:lnTo>
                    <a:pt x="390" y="37"/>
                  </a:lnTo>
                  <a:lnTo>
                    <a:pt x="390" y="35"/>
                  </a:lnTo>
                  <a:lnTo>
                    <a:pt x="393" y="35"/>
                  </a:lnTo>
                  <a:lnTo>
                    <a:pt x="395" y="35"/>
                  </a:lnTo>
                  <a:lnTo>
                    <a:pt x="395" y="32"/>
                  </a:lnTo>
                  <a:lnTo>
                    <a:pt x="395" y="29"/>
                  </a:lnTo>
                  <a:lnTo>
                    <a:pt x="398" y="29"/>
                  </a:lnTo>
                  <a:lnTo>
                    <a:pt x="398" y="29"/>
                  </a:lnTo>
                  <a:lnTo>
                    <a:pt x="401" y="29"/>
                  </a:lnTo>
                  <a:lnTo>
                    <a:pt x="403" y="29"/>
                  </a:lnTo>
                  <a:lnTo>
                    <a:pt x="403" y="27"/>
                  </a:lnTo>
                  <a:lnTo>
                    <a:pt x="403" y="27"/>
                  </a:lnTo>
                  <a:lnTo>
                    <a:pt x="403" y="24"/>
                  </a:lnTo>
                  <a:lnTo>
                    <a:pt x="406" y="24"/>
                  </a:lnTo>
                  <a:lnTo>
                    <a:pt x="406" y="21"/>
                  </a:lnTo>
                  <a:lnTo>
                    <a:pt x="409" y="24"/>
                  </a:lnTo>
                  <a:lnTo>
                    <a:pt x="411" y="24"/>
                  </a:lnTo>
                  <a:lnTo>
                    <a:pt x="411" y="24"/>
                  </a:lnTo>
                  <a:lnTo>
                    <a:pt x="414" y="24"/>
                  </a:lnTo>
                  <a:lnTo>
                    <a:pt x="414" y="24"/>
                  </a:lnTo>
                  <a:lnTo>
                    <a:pt x="417" y="24"/>
                  </a:lnTo>
                  <a:lnTo>
                    <a:pt x="419" y="24"/>
                  </a:lnTo>
                  <a:lnTo>
                    <a:pt x="419" y="24"/>
                  </a:lnTo>
                  <a:lnTo>
                    <a:pt x="422" y="24"/>
                  </a:lnTo>
                  <a:lnTo>
                    <a:pt x="422" y="27"/>
                  </a:lnTo>
                  <a:lnTo>
                    <a:pt x="425" y="27"/>
                  </a:lnTo>
                  <a:lnTo>
                    <a:pt x="427" y="27"/>
                  </a:lnTo>
                  <a:lnTo>
                    <a:pt x="427" y="27"/>
                  </a:lnTo>
                  <a:lnTo>
                    <a:pt x="430" y="27"/>
                  </a:lnTo>
                  <a:lnTo>
                    <a:pt x="430" y="27"/>
                  </a:lnTo>
                  <a:lnTo>
                    <a:pt x="430" y="27"/>
                  </a:lnTo>
                  <a:lnTo>
                    <a:pt x="430" y="24"/>
                  </a:lnTo>
                  <a:lnTo>
                    <a:pt x="433" y="21"/>
                  </a:lnTo>
                  <a:lnTo>
                    <a:pt x="433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19"/>
                  </a:lnTo>
                  <a:lnTo>
                    <a:pt x="435" y="19"/>
                  </a:lnTo>
                  <a:lnTo>
                    <a:pt x="435" y="16"/>
                  </a:lnTo>
                  <a:lnTo>
                    <a:pt x="435" y="16"/>
                  </a:lnTo>
                  <a:lnTo>
                    <a:pt x="438" y="13"/>
                  </a:lnTo>
                  <a:lnTo>
                    <a:pt x="438" y="13"/>
                  </a:lnTo>
                  <a:lnTo>
                    <a:pt x="438" y="16"/>
                  </a:lnTo>
                  <a:lnTo>
                    <a:pt x="438" y="16"/>
                  </a:lnTo>
                  <a:lnTo>
                    <a:pt x="441" y="16"/>
                  </a:lnTo>
                  <a:lnTo>
                    <a:pt x="443" y="16"/>
                  </a:lnTo>
                  <a:lnTo>
                    <a:pt x="441" y="19"/>
                  </a:lnTo>
                  <a:lnTo>
                    <a:pt x="443" y="19"/>
                  </a:lnTo>
                  <a:lnTo>
                    <a:pt x="446" y="19"/>
                  </a:lnTo>
                  <a:lnTo>
                    <a:pt x="446" y="19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6" y="21"/>
                  </a:lnTo>
                  <a:lnTo>
                    <a:pt x="449" y="21"/>
                  </a:lnTo>
                  <a:lnTo>
                    <a:pt x="449" y="19"/>
                  </a:lnTo>
                  <a:lnTo>
                    <a:pt x="451" y="21"/>
                  </a:lnTo>
                  <a:lnTo>
                    <a:pt x="454" y="19"/>
                  </a:lnTo>
                  <a:lnTo>
                    <a:pt x="454" y="19"/>
                  </a:lnTo>
                  <a:lnTo>
                    <a:pt x="457" y="19"/>
                  </a:lnTo>
                  <a:lnTo>
                    <a:pt x="457" y="19"/>
                  </a:lnTo>
                  <a:lnTo>
                    <a:pt x="459" y="19"/>
                  </a:lnTo>
                  <a:lnTo>
                    <a:pt x="459" y="19"/>
                  </a:lnTo>
                  <a:lnTo>
                    <a:pt x="459" y="16"/>
                  </a:lnTo>
                  <a:lnTo>
                    <a:pt x="462" y="16"/>
                  </a:lnTo>
                  <a:lnTo>
                    <a:pt x="462" y="16"/>
                  </a:lnTo>
                  <a:lnTo>
                    <a:pt x="462" y="13"/>
                  </a:lnTo>
                  <a:lnTo>
                    <a:pt x="462" y="13"/>
                  </a:lnTo>
                  <a:lnTo>
                    <a:pt x="462" y="11"/>
                  </a:lnTo>
                  <a:lnTo>
                    <a:pt x="465" y="11"/>
                  </a:lnTo>
                  <a:lnTo>
                    <a:pt x="465" y="8"/>
                  </a:lnTo>
                  <a:lnTo>
                    <a:pt x="465" y="3"/>
                  </a:lnTo>
                  <a:lnTo>
                    <a:pt x="467" y="0"/>
                  </a:lnTo>
                  <a:lnTo>
                    <a:pt x="470" y="0"/>
                  </a:lnTo>
                  <a:lnTo>
                    <a:pt x="473" y="0"/>
                  </a:lnTo>
                  <a:lnTo>
                    <a:pt x="475" y="3"/>
                  </a:lnTo>
                  <a:lnTo>
                    <a:pt x="478" y="3"/>
                  </a:lnTo>
                  <a:lnTo>
                    <a:pt x="478" y="5"/>
                  </a:lnTo>
                  <a:lnTo>
                    <a:pt x="478" y="5"/>
                  </a:lnTo>
                  <a:lnTo>
                    <a:pt x="481" y="5"/>
                  </a:lnTo>
                  <a:lnTo>
                    <a:pt x="481" y="8"/>
                  </a:lnTo>
                  <a:lnTo>
                    <a:pt x="483" y="8"/>
                  </a:lnTo>
                  <a:lnTo>
                    <a:pt x="483" y="8"/>
                  </a:lnTo>
                  <a:lnTo>
                    <a:pt x="483" y="8"/>
                  </a:lnTo>
                  <a:lnTo>
                    <a:pt x="486" y="11"/>
                  </a:lnTo>
                  <a:lnTo>
                    <a:pt x="489" y="11"/>
                  </a:lnTo>
                  <a:lnTo>
                    <a:pt x="489" y="13"/>
                  </a:lnTo>
                  <a:lnTo>
                    <a:pt x="491" y="13"/>
                  </a:lnTo>
                  <a:lnTo>
                    <a:pt x="491" y="11"/>
                  </a:lnTo>
                  <a:lnTo>
                    <a:pt x="491" y="11"/>
                  </a:lnTo>
                  <a:lnTo>
                    <a:pt x="494" y="13"/>
                  </a:lnTo>
                  <a:lnTo>
                    <a:pt x="499" y="13"/>
                  </a:lnTo>
                  <a:lnTo>
                    <a:pt x="499" y="16"/>
                  </a:lnTo>
                  <a:lnTo>
                    <a:pt x="502" y="16"/>
                  </a:lnTo>
                  <a:lnTo>
                    <a:pt x="502" y="19"/>
                  </a:lnTo>
                  <a:lnTo>
                    <a:pt x="502" y="19"/>
                  </a:lnTo>
                  <a:lnTo>
                    <a:pt x="505" y="21"/>
                  </a:lnTo>
                  <a:lnTo>
                    <a:pt x="505" y="21"/>
                  </a:lnTo>
                  <a:lnTo>
                    <a:pt x="505" y="24"/>
                  </a:lnTo>
                  <a:lnTo>
                    <a:pt x="505" y="27"/>
                  </a:lnTo>
                  <a:lnTo>
                    <a:pt x="505" y="27"/>
                  </a:lnTo>
                  <a:lnTo>
                    <a:pt x="507" y="27"/>
                  </a:lnTo>
                  <a:lnTo>
                    <a:pt x="513" y="27"/>
                  </a:lnTo>
                  <a:lnTo>
                    <a:pt x="515" y="27"/>
                  </a:lnTo>
                  <a:lnTo>
                    <a:pt x="515" y="29"/>
                  </a:lnTo>
                  <a:lnTo>
                    <a:pt x="515" y="29"/>
                  </a:lnTo>
                  <a:lnTo>
                    <a:pt x="515" y="32"/>
                  </a:lnTo>
                  <a:lnTo>
                    <a:pt x="515" y="32"/>
                  </a:lnTo>
                  <a:lnTo>
                    <a:pt x="515" y="32"/>
                  </a:lnTo>
                  <a:lnTo>
                    <a:pt x="518" y="35"/>
                  </a:lnTo>
                  <a:lnTo>
                    <a:pt x="518" y="32"/>
                  </a:lnTo>
                  <a:lnTo>
                    <a:pt x="521" y="32"/>
                  </a:lnTo>
                  <a:lnTo>
                    <a:pt x="521" y="32"/>
                  </a:lnTo>
                  <a:lnTo>
                    <a:pt x="523" y="32"/>
                  </a:lnTo>
                  <a:lnTo>
                    <a:pt x="526" y="32"/>
                  </a:lnTo>
                  <a:lnTo>
                    <a:pt x="529" y="32"/>
                  </a:lnTo>
                  <a:lnTo>
                    <a:pt x="531" y="35"/>
                  </a:lnTo>
                  <a:lnTo>
                    <a:pt x="537" y="35"/>
                  </a:lnTo>
                  <a:lnTo>
                    <a:pt x="537" y="37"/>
                  </a:lnTo>
                  <a:lnTo>
                    <a:pt x="534" y="40"/>
                  </a:lnTo>
                  <a:lnTo>
                    <a:pt x="537" y="40"/>
                  </a:lnTo>
                  <a:lnTo>
                    <a:pt x="539" y="43"/>
                  </a:lnTo>
                  <a:lnTo>
                    <a:pt x="539" y="43"/>
                  </a:lnTo>
                  <a:lnTo>
                    <a:pt x="539" y="45"/>
                  </a:lnTo>
                  <a:lnTo>
                    <a:pt x="542" y="43"/>
                  </a:lnTo>
                  <a:lnTo>
                    <a:pt x="542" y="45"/>
                  </a:lnTo>
                  <a:lnTo>
                    <a:pt x="547" y="45"/>
                  </a:lnTo>
                  <a:lnTo>
                    <a:pt x="547" y="45"/>
                  </a:lnTo>
                  <a:lnTo>
                    <a:pt x="547" y="45"/>
                  </a:lnTo>
                  <a:lnTo>
                    <a:pt x="550" y="48"/>
                  </a:lnTo>
                  <a:lnTo>
                    <a:pt x="555" y="45"/>
                  </a:lnTo>
                  <a:lnTo>
                    <a:pt x="555" y="48"/>
                  </a:lnTo>
                  <a:lnTo>
                    <a:pt x="555" y="48"/>
                  </a:lnTo>
                  <a:lnTo>
                    <a:pt x="555" y="51"/>
                  </a:lnTo>
                  <a:lnTo>
                    <a:pt x="555" y="53"/>
                  </a:lnTo>
                  <a:lnTo>
                    <a:pt x="555" y="53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6" y="56"/>
                  </a:lnTo>
                  <a:lnTo>
                    <a:pt x="566" y="56"/>
                  </a:lnTo>
                  <a:lnTo>
                    <a:pt x="569" y="56"/>
                  </a:lnTo>
                  <a:lnTo>
                    <a:pt x="569" y="56"/>
                  </a:lnTo>
                  <a:lnTo>
                    <a:pt x="572" y="56"/>
                  </a:lnTo>
                  <a:lnTo>
                    <a:pt x="572" y="56"/>
                  </a:lnTo>
                  <a:lnTo>
                    <a:pt x="574" y="56"/>
                  </a:lnTo>
                  <a:lnTo>
                    <a:pt x="574" y="56"/>
                  </a:lnTo>
                  <a:lnTo>
                    <a:pt x="574" y="56"/>
                  </a:lnTo>
                  <a:lnTo>
                    <a:pt x="577" y="53"/>
                  </a:lnTo>
                  <a:lnTo>
                    <a:pt x="577" y="53"/>
                  </a:lnTo>
                  <a:lnTo>
                    <a:pt x="577" y="53"/>
                  </a:lnTo>
                  <a:lnTo>
                    <a:pt x="580" y="53"/>
                  </a:lnTo>
                  <a:lnTo>
                    <a:pt x="582" y="53"/>
                  </a:lnTo>
                  <a:lnTo>
                    <a:pt x="582" y="53"/>
                  </a:lnTo>
                  <a:lnTo>
                    <a:pt x="582" y="53"/>
                  </a:lnTo>
                  <a:lnTo>
                    <a:pt x="585" y="53"/>
                  </a:lnTo>
                  <a:lnTo>
                    <a:pt x="585" y="53"/>
                  </a:lnTo>
                  <a:lnTo>
                    <a:pt x="588" y="53"/>
                  </a:lnTo>
                  <a:lnTo>
                    <a:pt x="588" y="56"/>
                  </a:lnTo>
                  <a:lnTo>
                    <a:pt x="588" y="56"/>
                  </a:lnTo>
                  <a:lnTo>
                    <a:pt x="590" y="56"/>
                  </a:lnTo>
                  <a:lnTo>
                    <a:pt x="590" y="53"/>
                  </a:lnTo>
                  <a:lnTo>
                    <a:pt x="590" y="53"/>
                  </a:lnTo>
                  <a:lnTo>
                    <a:pt x="590" y="51"/>
                  </a:lnTo>
                  <a:lnTo>
                    <a:pt x="593" y="51"/>
                  </a:lnTo>
                  <a:lnTo>
                    <a:pt x="593" y="53"/>
                  </a:lnTo>
                  <a:lnTo>
                    <a:pt x="596" y="53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598" y="56"/>
                  </a:lnTo>
                  <a:lnTo>
                    <a:pt x="601" y="56"/>
                  </a:lnTo>
                  <a:lnTo>
                    <a:pt x="601" y="56"/>
                  </a:lnTo>
                  <a:lnTo>
                    <a:pt x="598" y="59"/>
                  </a:lnTo>
                  <a:lnTo>
                    <a:pt x="598" y="59"/>
                  </a:lnTo>
                  <a:lnTo>
                    <a:pt x="596" y="61"/>
                  </a:lnTo>
                  <a:lnTo>
                    <a:pt x="596" y="61"/>
                  </a:lnTo>
                  <a:lnTo>
                    <a:pt x="604" y="64"/>
                  </a:lnTo>
                  <a:lnTo>
                    <a:pt x="604" y="67"/>
                  </a:lnTo>
                  <a:lnTo>
                    <a:pt x="604" y="67"/>
                  </a:lnTo>
                  <a:lnTo>
                    <a:pt x="606" y="67"/>
                  </a:lnTo>
                  <a:lnTo>
                    <a:pt x="609" y="69"/>
                  </a:lnTo>
                  <a:lnTo>
                    <a:pt x="609" y="69"/>
                  </a:lnTo>
                  <a:lnTo>
                    <a:pt x="612" y="69"/>
                  </a:lnTo>
                  <a:lnTo>
                    <a:pt x="612" y="72"/>
                  </a:lnTo>
                  <a:lnTo>
                    <a:pt x="609" y="72"/>
                  </a:lnTo>
                  <a:lnTo>
                    <a:pt x="612" y="77"/>
                  </a:lnTo>
                  <a:lnTo>
                    <a:pt x="609" y="77"/>
                  </a:lnTo>
                  <a:lnTo>
                    <a:pt x="606" y="77"/>
                  </a:lnTo>
                  <a:lnTo>
                    <a:pt x="604" y="77"/>
                  </a:lnTo>
                  <a:lnTo>
                    <a:pt x="604" y="77"/>
                  </a:lnTo>
                  <a:lnTo>
                    <a:pt x="601" y="77"/>
                  </a:lnTo>
                  <a:lnTo>
                    <a:pt x="601" y="75"/>
                  </a:lnTo>
                  <a:lnTo>
                    <a:pt x="598" y="75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6" y="72"/>
                  </a:lnTo>
                  <a:lnTo>
                    <a:pt x="593" y="72"/>
                  </a:lnTo>
                  <a:lnTo>
                    <a:pt x="593" y="72"/>
                  </a:lnTo>
                  <a:lnTo>
                    <a:pt x="593" y="75"/>
                  </a:lnTo>
                  <a:lnTo>
                    <a:pt x="590" y="75"/>
                  </a:lnTo>
                  <a:lnTo>
                    <a:pt x="590" y="75"/>
                  </a:lnTo>
                  <a:lnTo>
                    <a:pt x="590" y="75"/>
                  </a:lnTo>
                  <a:lnTo>
                    <a:pt x="590" y="77"/>
                  </a:lnTo>
                  <a:lnTo>
                    <a:pt x="590" y="80"/>
                  </a:lnTo>
                  <a:lnTo>
                    <a:pt x="590" y="80"/>
                  </a:lnTo>
                  <a:lnTo>
                    <a:pt x="588" y="83"/>
                  </a:lnTo>
                  <a:lnTo>
                    <a:pt x="588" y="83"/>
                  </a:lnTo>
                  <a:lnTo>
                    <a:pt x="590" y="83"/>
                  </a:lnTo>
                  <a:lnTo>
                    <a:pt x="590" y="85"/>
                  </a:lnTo>
                  <a:lnTo>
                    <a:pt x="590" y="85"/>
                  </a:lnTo>
                  <a:lnTo>
                    <a:pt x="588" y="85"/>
                  </a:lnTo>
                  <a:lnTo>
                    <a:pt x="590" y="85"/>
                  </a:lnTo>
                  <a:lnTo>
                    <a:pt x="593" y="85"/>
                  </a:lnTo>
                  <a:lnTo>
                    <a:pt x="596" y="85"/>
                  </a:lnTo>
                  <a:lnTo>
                    <a:pt x="596" y="85"/>
                  </a:lnTo>
                  <a:lnTo>
                    <a:pt x="593" y="88"/>
                  </a:lnTo>
                  <a:lnTo>
                    <a:pt x="593" y="88"/>
                  </a:lnTo>
                  <a:lnTo>
                    <a:pt x="593" y="91"/>
                  </a:lnTo>
                  <a:lnTo>
                    <a:pt x="593" y="91"/>
                  </a:lnTo>
                  <a:lnTo>
                    <a:pt x="593" y="93"/>
                  </a:lnTo>
                  <a:lnTo>
                    <a:pt x="593" y="96"/>
                  </a:lnTo>
                  <a:lnTo>
                    <a:pt x="593" y="96"/>
                  </a:lnTo>
                  <a:lnTo>
                    <a:pt x="596" y="99"/>
                  </a:lnTo>
                  <a:lnTo>
                    <a:pt x="593" y="99"/>
                  </a:lnTo>
                  <a:lnTo>
                    <a:pt x="593" y="99"/>
                  </a:lnTo>
                  <a:lnTo>
                    <a:pt x="590" y="99"/>
                  </a:lnTo>
                  <a:lnTo>
                    <a:pt x="590" y="99"/>
                  </a:lnTo>
                  <a:lnTo>
                    <a:pt x="590" y="101"/>
                  </a:lnTo>
                  <a:lnTo>
                    <a:pt x="590" y="101"/>
                  </a:lnTo>
                  <a:lnTo>
                    <a:pt x="588" y="104"/>
                  </a:lnTo>
                  <a:lnTo>
                    <a:pt x="588" y="104"/>
                  </a:lnTo>
                  <a:lnTo>
                    <a:pt x="585" y="107"/>
                  </a:lnTo>
                  <a:lnTo>
                    <a:pt x="588" y="109"/>
                  </a:lnTo>
                  <a:lnTo>
                    <a:pt x="588" y="112"/>
                  </a:lnTo>
                  <a:lnTo>
                    <a:pt x="588" y="112"/>
                  </a:lnTo>
                  <a:lnTo>
                    <a:pt x="585" y="112"/>
                  </a:lnTo>
                  <a:lnTo>
                    <a:pt x="585" y="115"/>
                  </a:lnTo>
                  <a:lnTo>
                    <a:pt x="582" y="115"/>
                  </a:lnTo>
                  <a:lnTo>
                    <a:pt x="582" y="117"/>
                  </a:lnTo>
                  <a:lnTo>
                    <a:pt x="582" y="117"/>
                  </a:lnTo>
                  <a:lnTo>
                    <a:pt x="580" y="120"/>
                  </a:lnTo>
                  <a:lnTo>
                    <a:pt x="580" y="120"/>
                  </a:lnTo>
                  <a:lnTo>
                    <a:pt x="580" y="120"/>
                  </a:lnTo>
                  <a:lnTo>
                    <a:pt x="577" y="120"/>
                  </a:lnTo>
                  <a:lnTo>
                    <a:pt x="577" y="123"/>
                  </a:lnTo>
                  <a:lnTo>
                    <a:pt x="580" y="125"/>
                  </a:lnTo>
                  <a:lnTo>
                    <a:pt x="580" y="131"/>
                  </a:lnTo>
                  <a:lnTo>
                    <a:pt x="580" y="131"/>
                  </a:lnTo>
                  <a:lnTo>
                    <a:pt x="580" y="133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82" y="133"/>
                  </a:lnTo>
                  <a:lnTo>
                    <a:pt x="582" y="133"/>
                  </a:lnTo>
                  <a:lnTo>
                    <a:pt x="585" y="133"/>
                  </a:lnTo>
                  <a:lnTo>
                    <a:pt x="585" y="136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0" y="139"/>
                  </a:lnTo>
                  <a:lnTo>
                    <a:pt x="590" y="139"/>
                  </a:lnTo>
                  <a:lnTo>
                    <a:pt x="590" y="142"/>
                  </a:lnTo>
                  <a:lnTo>
                    <a:pt x="590" y="142"/>
                  </a:lnTo>
                  <a:lnTo>
                    <a:pt x="590" y="144"/>
                  </a:lnTo>
                  <a:lnTo>
                    <a:pt x="593" y="142"/>
                  </a:lnTo>
                  <a:lnTo>
                    <a:pt x="601" y="147"/>
                  </a:lnTo>
                  <a:lnTo>
                    <a:pt x="598" y="14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5" name="Freeform 8881">
              <a:extLst>
                <a:ext uri="{FF2B5EF4-FFF2-40B4-BE49-F238E27FC236}">
                  <a16:creationId xmlns:a16="http://schemas.microsoft.com/office/drawing/2014/main" id="{C408936A-B111-FA45-BC0E-29DE5C35C52A}"/>
                </a:ext>
              </a:extLst>
            </p:cNvPr>
            <p:cNvSpPr/>
            <p:nvPr/>
          </p:nvSpPr>
          <p:spPr bwMode="auto">
            <a:xfrm>
              <a:off x="5528466" y="3144840"/>
              <a:ext cx="1466849" cy="2686048"/>
            </a:xfrm>
            <a:custGeom>
              <a:avLst/>
              <a:gdLst>
                <a:gd name="T0" fmla="*/ 144 w 924"/>
                <a:gd name="T1" fmla="*/ 904 h 1692"/>
                <a:gd name="T2" fmla="*/ 56 w 924"/>
                <a:gd name="T3" fmla="*/ 682 h 1692"/>
                <a:gd name="T4" fmla="*/ 72 w 924"/>
                <a:gd name="T5" fmla="*/ 599 h 1692"/>
                <a:gd name="T6" fmla="*/ 101 w 924"/>
                <a:gd name="T7" fmla="*/ 540 h 1692"/>
                <a:gd name="T8" fmla="*/ 83 w 924"/>
                <a:gd name="T9" fmla="*/ 503 h 1692"/>
                <a:gd name="T10" fmla="*/ 131 w 924"/>
                <a:gd name="T11" fmla="*/ 444 h 1692"/>
                <a:gd name="T12" fmla="*/ 101 w 924"/>
                <a:gd name="T13" fmla="*/ 375 h 1692"/>
                <a:gd name="T14" fmla="*/ 72 w 924"/>
                <a:gd name="T15" fmla="*/ 348 h 1692"/>
                <a:gd name="T16" fmla="*/ 69 w 924"/>
                <a:gd name="T17" fmla="*/ 281 h 1692"/>
                <a:gd name="T18" fmla="*/ 35 w 924"/>
                <a:gd name="T19" fmla="*/ 198 h 1692"/>
                <a:gd name="T20" fmla="*/ 11 w 924"/>
                <a:gd name="T21" fmla="*/ 102 h 1692"/>
                <a:gd name="T22" fmla="*/ 11 w 924"/>
                <a:gd name="T23" fmla="*/ 67 h 1692"/>
                <a:gd name="T24" fmla="*/ 35 w 924"/>
                <a:gd name="T25" fmla="*/ 14 h 1692"/>
                <a:gd name="T26" fmla="*/ 69 w 924"/>
                <a:gd name="T27" fmla="*/ 51 h 1692"/>
                <a:gd name="T28" fmla="*/ 112 w 924"/>
                <a:gd name="T29" fmla="*/ 118 h 1692"/>
                <a:gd name="T30" fmla="*/ 141 w 924"/>
                <a:gd name="T31" fmla="*/ 86 h 1692"/>
                <a:gd name="T32" fmla="*/ 259 w 924"/>
                <a:gd name="T33" fmla="*/ 118 h 1692"/>
                <a:gd name="T34" fmla="*/ 360 w 924"/>
                <a:gd name="T35" fmla="*/ 123 h 1692"/>
                <a:gd name="T36" fmla="*/ 283 w 924"/>
                <a:gd name="T37" fmla="*/ 246 h 1692"/>
                <a:gd name="T38" fmla="*/ 259 w 924"/>
                <a:gd name="T39" fmla="*/ 316 h 1692"/>
                <a:gd name="T40" fmla="*/ 278 w 924"/>
                <a:gd name="T41" fmla="*/ 388 h 1692"/>
                <a:gd name="T42" fmla="*/ 334 w 924"/>
                <a:gd name="T43" fmla="*/ 420 h 1692"/>
                <a:gd name="T44" fmla="*/ 392 w 924"/>
                <a:gd name="T45" fmla="*/ 455 h 1692"/>
                <a:gd name="T46" fmla="*/ 390 w 924"/>
                <a:gd name="T47" fmla="*/ 532 h 1692"/>
                <a:gd name="T48" fmla="*/ 352 w 924"/>
                <a:gd name="T49" fmla="*/ 612 h 1692"/>
                <a:gd name="T50" fmla="*/ 307 w 924"/>
                <a:gd name="T51" fmla="*/ 660 h 1692"/>
                <a:gd name="T52" fmla="*/ 331 w 924"/>
                <a:gd name="T53" fmla="*/ 727 h 1692"/>
                <a:gd name="T54" fmla="*/ 366 w 924"/>
                <a:gd name="T55" fmla="*/ 821 h 1692"/>
                <a:gd name="T56" fmla="*/ 411 w 924"/>
                <a:gd name="T57" fmla="*/ 789 h 1692"/>
                <a:gd name="T58" fmla="*/ 430 w 924"/>
                <a:gd name="T59" fmla="*/ 765 h 1692"/>
                <a:gd name="T60" fmla="*/ 456 w 924"/>
                <a:gd name="T61" fmla="*/ 778 h 1692"/>
                <a:gd name="T62" fmla="*/ 526 w 924"/>
                <a:gd name="T63" fmla="*/ 775 h 1692"/>
                <a:gd name="T64" fmla="*/ 550 w 924"/>
                <a:gd name="T65" fmla="*/ 848 h 1692"/>
                <a:gd name="T66" fmla="*/ 547 w 924"/>
                <a:gd name="T67" fmla="*/ 925 h 1692"/>
                <a:gd name="T68" fmla="*/ 603 w 924"/>
                <a:gd name="T69" fmla="*/ 936 h 1692"/>
                <a:gd name="T70" fmla="*/ 649 w 924"/>
                <a:gd name="T71" fmla="*/ 928 h 1692"/>
                <a:gd name="T72" fmla="*/ 705 w 924"/>
                <a:gd name="T73" fmla="*/ 912 h 1692"/>
                <a:gd name="T74" fmla="*/ 753 w 924"/>
                <a:gd name="T75" fmla="*/ 885 h 1692"/>
                <a:gd name="T76" fmla="*/ 793 w 924"/>
                <a:gd name="T77" fmla="*/ 898 h 1692"/>
                <a:gd name="T78" fmla="*/ 846 w 924"/>
                <a:gd name="T79" fmla="*/ 912 h 1692"/>
                <a:gd name="T80" fmla="*/ 908 w 924"/>
                <a:gd name="T81" fmla="*/ 917 h 1692"/>
                <a:gd name="T82" fmla="*/ 910 w 924"/>
                <a:gd name="T83" fmla="*/ 976 h 1692"/>
                <a:gd name="T84" fmla="*/ 878 w 924"/>
                <a:gd name="T85" fmla="*/ 1043 h 1692"/>
                <a:gd name="T86" fmla="*/ 838 w 924"/>
                <a:gd name="T87" fmla="*/ 1099 h 1692"/>
                <a:gd name="T88" fmla="*/ 814 w 924"/>
                <a:gd name="T89" fmla="*/ 1109 h 1692"/>
                <a:gd name="T90" fmla="*/ 777 w 924"/>
                <a:gd name="T91" fmla="*/ 1075 h 1692"/>
                <a:gd name="T92" fmla="*/ 713 w 924"/>
                <a:gd name="T93" fmla="*/ 1107 h 1692"/>
                <a:gd name="T94" fmla="*/ 683 w 924"/>
                <a:gd name="T95" fmla="*/ 1224 h 1692"/>
                <a:gd name="T96" fmla="*/ 635 w 924"/>
                <a:gd name="T97" fmla="*/ 1342 h 1692"/>
                <a:gd name="T98" fmla="*/ 627 w 924"/>
                <a:gd name="T99" fmla="*/ 1401 h 1692"/>
                <a:gd name="T100" fmla="*/ 577 w 924"/>
                <a:gd name="T101" fmla="*/ 1441 h 1692"/>
                <a:gd name="T102" fmla="*/ 633 w 924"/>
                <a:gd name="T103" fmla="*/ 1516 h 1692"/>
                <a:gd name="T104" fmla="*/ 577 w 924"/>
                <a:gd name="T105" fmla="*/ 1529 h 1692"/>
                <a:gd name="T106" fmla="*/ 510 w 924"/>
                <a:gd name="T107" fmla="*/ 1577 h 1692"/>
                <a:gd name="T108" fmla="*/ 459 w 924"/>
                <a:gd name="T109" fmla="*/ 1641 h 1692"/>
                <a:gd name="T110" fmla="*/ 387 w 924"/>
                <a:gd name="T111" fmla="*/ 1689 h 1692"/>
                <a:gd name="T112" fmla="*/ 291 w 924"/>
                <a:gd name="T113" fmla="*/ 1673 h 1692"/>
                <a:gd name="T114" fmla="*/ 331 w 924"/>
                <a:gd name="T115" fmla="*/ 1582 h 1692"/>
                <a:gd name="T116" fmla="*/ 336 w 924"/>
                <a:gd name="T117" fmla="*/ 1502 h 1692"/>
                <a:gd name="T118" fmla="*/ 296 w 924"/>
                <a:gd name="T119" fmla="*/ 1387 h 1692"/>
                <a:gd name="T120" fmla="*/ 208 w 924"/>
                <a:gd name="T121" fmla="*/ 1342 h 1692"/>
                <a:gd name="T122" fmla="*/ 227 w 924"/>
                <a:gd name="T123" fmla="*/ 1283 h 1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24" h="1692" extrusionOk="0">
                  <a:moveTo>
                    <a:pt x="195" y="1195"/>
                  </a:moveTo>
                  <a:lnTo>
                    <a:pt x="205" y="1168"/>
                  </a:lnTo>
                  <a:lnTo>
                    <a:pt x="203" y="1168"/>
                  </a:lnTo>
                  <a:lnTo>
                    <a:pt x="203" y="1168"/>
                  </a:lnTo>
                  <a:lnTo>
                    <a:pt x="192" y="1166"/>
                  </a:lnTo>
                  <a:lnTo>
                    <a:pt x="192" y="1163"/>
                  </a:lnTo>
                  <a:lnTo>
                    <a:pt x="195" y="1160"/>
                  </a:lnTo>
                  <a:lnTo>
                    <a:pt x="200" y="1155"/>
                  </a:lnTo>
                  <a:lnTo>
                    <a:pt x="203" y="1155"/>
                  </a:lnTo>
                  <a:lnTo>
                    <a:pt x="208" y="1144"/>
                  </a:lnTo>
                  <a:lnTo>
                    <a:pt x="213" y="1133"/>
                  </a:lnTo>
                  <a:lnTo>
                    <a:pt x="219" y="1133"/>
                  </a:lnTo>
                  <a:lnTo>
                    <a:pt x="219" y="1128"/>
                  </a:lnTo>
                  <a:lnTo>
                    <a:pt x="227" y="1128"/>
                  </a:lnTo>
                  <a:lnTo>
                    <a:pt x="229" y="1131"/>
                  </a:lnTo>
                  <a:lnTo>
                    <a:pt x="229" y="1128"/>
                  </a:lnTo>
                  <a:lnTo>
                    <a:pt x="227" y="1125"/>
                  </a:lnTo>
                  <a:lnTo>
                    <a:pt x="229" y="1117"/>
                  </a:lnTo>
                  <a:lnTo>
                    <a:pt x="232" y="1120"/>
                  </a:lnTo>
                  <a:lnTo>
                    <a:pt x="240" y="1117"/>
                  </a:lnTo>
                  <a:lnTo>
                    <a:pt x="240" y="1117"/>
                  </a:lnTo>
                  <a:lnTo>
                    <a:pt x="240" y="1117"/>
                  </a:lnTo>
                  <a:lnTo>
                    <a:pt x="243" y="1115"/>
                  </a:lnTo>
                  <a:lnTo>
                    <a:pt x="240" y="1112"/>
                  </a:lnTo>
                  <a:lnTo>
                    <a:pt x="240" y="1109"/>
                  </a:lnTo>
                  <a:lnTo>
                    <a:pt x="240" y="1109"/>
                  </a:lnTo>
                  <a:lnTo>
                    <a:pt x="243" y="1107"/>
                  </a:lnTo>
                  <a:lnTo>
                    <a:pt x="240" y="1104"/>
                  </a:lnTo>
                  <a:lnTo>
                    <a:pt x="240" y="1101"/>
                  </a:lnTo>
                  <a:lnTo>
                    <a:pt x="240" y="1099"/>
                  </a:lnTo>
                  <a:lnTo>
                    <a:pt x="240" y="1099"/>
                  </a:lnTo>
                  <a:lnTo>
                    <a:pt x="240" y="1096"/>
                  </a:lnTo>
                  <a:lnTo>
                    <a:pt x="243" y="1096"/>
                  </a:lnTo>
                  <a:lnTo>
                    <a:pt x="243" y="1093"/>
                  </a:lnTo>
                  <a:lnTo>
                    <a:pt x="243" y="1093"/>
                  </a:lnTo>
                  <a:lnTo>
                    <a:pt x="243" y="1091"/>
                  </a:lnTo>
                  <a:lnTo>
                    <a:pt x="243" y="1088"/>
                  </a:lnTo>
                  <a:lnTo>
                    <a:pt x="240" y="1088"/>
                  </a:lnTo>
                  <a:lnTo>
                    <a:pt x="240" y="1085"/>
                  </a:lnTo>
                  <a:lnTo>
                    <a:pt x="240" y="1085"/>
                  </a:lnTo>
                  <a:lnTo>
                    <a:pt x="219" y="1085"/>
                  </a:lnTo>
                  <a:lnTo>
                    <a:pt x="208" y="1075"/>
                  </a:lnTo>
                  <a:lnTo>
                    <a:pt x="179" y="1064"/>
                  </a:lnTo>
                  <a:lnTo>
                    <a:pt x="179" y="1053"/>
                  </a:lnTo>
                  <a:lnTo>
                    <a:pt x="176" y="1053"/>
                  </a:lnTo>
                  <a:lnTo>
                    <a:pt x="171" y="1024"/>
                  </a:lnTo>
                  <a:lnTo>
                    <a:pt x="197" y="989"/>
                  </a:lnTo>
                  <a:lnTo>
                    <a:pt x="203" y="986"/>
                  </a:lnTo>
                  <a:lnTo>
                    <a:pt x="221" y="978"/>
                  </a:lnTo>
                  <a:lnTo>
                    <a:pt x="211" y="957"/>
                  </a:lnTo>
                  <a:lnTo>
                    <a:pt x="213" y="949"/>
                  </a:lnTo>
                  <a:lnTo>
                    <a:pt x="179" y="952"/>
                  </a:lnTo>
                  <a:lnTo>
                    <a:pt x="160" y="909"/>
                  </a:lnTo>
                  <a:lnTo>
                    <a:pt x="144" y="904"/>
                  </a:lnTo>
                  <a:lnTo>
                    <a:pt x="141" y="885"/>
                  </a:lnTo>
                  <a:lnTo>
                    <a:pt x="117" y="877"/>
                  </a:lnTo>
                  <a:lnTo>
                    <a:pt x="91" y="872"/>
                  </a:lnTo>
                  <a:lnTo>
                    <a:pt x="61" y="877"/>
                  </a:lnTo>
                  <a:lnTo>
                    <a:pt x="24" y="872"/>
                  </a:lnTo>
                  <a:lnTo>
                    <a:pt x="21" y="872"/>
                  </a:lnTo>
                  <a:lnTo>
                    <a:pt x="19" y="864"/>
                  </a:lnTo>
                  <a:lnTo>
                    <a:pt x="19" y="858"/>
                  </a:lnTo>
                  <a:lnTo>
                    <a:pt x="21" y="856"/>
                  </a:lnTo>
                  <a:lnTo>
                    <a:pt x="21" y="853"/>
                  </a:lnTo>
                  <a:lnTo>
                    <a:pt x="21" y="853"/>
                  </a:lnTo>
                  <a:lnTo>
                    <a:pt x="21" y="848"/>
                  </a:lnTo>
                  <a:lnTo>
                    <a:pt x="21" y="845"/>
                  </a:lnTo>
                  <a:lnTo>
                    <a:pt x="24" y="842"/>
                  </a:lnTo>
                  <a:lnTo>
                    <a:pt x="24" y="842"/>
                  </a:lnTo>
                  <a:lnTo>
                    <a:pt x="27" y="839"/>
                  </a:lnTo>
                  <a:lnTo>
                    <a:pt x="29" y="834"/>
                  </a:lnTo>
                  <a:lnTo>
                    <a:pt x="29" y="831"/>
                  </a:lnTo>
                  <a:lnTo>
                    <a:pt x="32" y="829"/>
                  </a:lnTo>
                  <a:lnTo>
                    <a:pt x="32" y="826"/>
                  </a:lnTo>
                  <a:lnTo>
                    <a:pt x="16" y="778"/>
                  </a:lnTo>
                  <a:lnTo>
                    <a:pt x="16" y="778"/>
                  </a:lnTo>
                  <a:lnTo>
                    <a:pt x="13" y="773"/>
                  </a:lnTo>
                  <a:lnTo>
                    <a:pt x="32" y="762"/>
                  </a:lnTo>
                  <a:lnTo>
                    <a:pt x="35" y="762"/>
                  </a:lnTo>
                  <a:lnTo>
                    <a:pt x="37" y="762"/>
                  </a:lnTo>
                  <a:lnTo>
                    <a:pt x="88" y="738"/>
                  </a:lnTo>
                  <a:lnTo>
                    <a:pt x="88" y="735"/>
                  </a:lnTo>
                  <a:lnTo>
                    <a:pt x="88" y="735"/>
                  </a:lnTo>
                  <a:lnTo>
                    <a:pt x="85" y="727"/>
                  </a:lnTo>
                  <a:lnTo>
                    <a:pt x="93" y="722"/>
                  </a:lnTo>
                  <a:lnTo>
                    <a:pt x="101" y="722"/>
                  </a:lnTo>
                  <a:lnTo>
                    <a:pt x="101" y="714"/>
                  </a:lnTo>
                  <a:lnTo>
                    <a:pt x="96" y="709"/>
                  </a:lnTo>
                  <a:lnTo>
                    <a:pt x="96" y="709"/>
                  </a:lnTo>
                  <a:lnTo>
                    <a:pt x="96" y="709"/>
                  </a:lnTo>
                  <a:lnTo>
                    <a:pt x="93" y="709"/>
                  </a:lnTo>
                  <a:lnTo>
                    <a:pt x="91" y="709"/>
                  </a:lnTo>
                  <a:lnTo>
                    <a:pt x="88" y="709"/>
                  </a:lnTo>
                  <a:lnTo>
                    <a:pt x="80" y="703"/>
                  </a:lnTo>
                  <a:lnTo>
                    <a:pt x="80" y="701"/>
                  </a:lnTo>
                  <a:lnTo>
                    <a:pt x="77" y="698"/>
                  </a:lnTo>
                  <a:lnTo>
                    <a:pt x="77" y="695"/>
                  </a:lnTo>
                  <a:lnTo>
                    <a:pt x="75" y="695"/>
                  </a:lnTo>
                  <a:lnTo>
                    <a:pt x="72" y="695"/>
                  </a:lnTo>
                  <a:lnTo>
                    <a:pt x="72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7" y="693"/>
                  </a:lnTo>
                  <a:lnTo>
                    <a:pt x="64" y="693"/>
                  </a:lnTo>
                  <a:lnTo>
                    <a:pt x="64" y="690"/>
                  </a:lnTo>
                  <a:lnTo>
                    <a:pt x="64" y="690"/>
                  </a:lnTo>
                  <a:lnTo>
                    <a:pt x="61" y="687"/>
                  </a:lnTo>
                  <a:lnTo>
                    <a:pt x="56" y="682"/>
                  </a:lnTo>
                  <a:lnTo>
                    <a:pt x="53" y="685"/>
                  </a:lnTo>
                  <a:lnTo>
                    <a:pt x="53" y="685"/>
                  </a:lnTo>
                  <a:lnTo>
                    <a:pt x="51" y="685"/>
                  </a:lnTo>
                  <a:lnTo>
                    <a:pt x="51" y="682"/>
                  </a:lnTo>
                  <a:lnTo>
                    <a:pt x="48" y="682"/>
                  </a:lnTo>
                  <a:lnTo>
                    <a:pt x="45" y="682"/>
                  </a:lnTo>
                  <a:lnTo>
                    <a:pt x="45" y="679"/>
                  </a:lnTo>
                  <a:lnTo>
                    <a:pt x="43" y="679"/>
                  </a:lnTo>
                  <a:lnTo>
                    <a:pt x="43" y="676"/>
                  </a:lnTo>
                  <a:lnTo>
                    <a:pt x="43" y="674"/>
                  </a:lnTo>
                  <a:lnTo>
                    <a:pt x="40" y="671"/>
                  </a:lnTo>
                  <a:lnTo>
                    <a:pt x="40" y="671"/>
                  </a:lnTo>
                  <a:lnTo>
                    <a:pt x="37" y="668"/>
                  </a:lnTo>
                  <a:lnTo>
                    <a:pt x="37" y="666"/>
                  </a:lnTo>
                  <a:lnTo>
                    <a:pt x="37" y="663"/>
                  </a:lnTo>
                  <a:lnTo>
                    <a:pt x="40" y="660"/>
                  </a:lnTo>
                  <a:lnTo>
                    <a:pt x="40" y="660"/>
                  </a:lnTo>
                  <a:lnTo>
                    <a:pt x="40" y="658"/>
                  </a:lnTo>
                  <a:lnTo>
                    <a:pt x="37" y="655"/>
                  </a:lnTo>
                  <a:lnTo>
                    <a:pt x="40" y="655"/>
                  </a:lnTo>
                  <a:lnTo>
                    <a:pt x="40" y="652"/>
                  </a:lnTo>
                  <a:lnTo>
                    <a:pt x="40" y="650"/>
                  </a:lnTo>
                  <a:lnTo>
                    <a:pt x="40" y="642"/>
                  </a:lnTo>
                  <a:lnTo>
                    <a:pt x="40" y="639"/>
                  </a:lnTo>
                  <a:lnTo>
                    <a:pt x="40" y="636"/>
                  </a:lnTo>
                  <a:lnTo>
                    <a:pt x="43" y="634"/>
                  </a:lnTo>
                  <a:lnTo>
                    <a:pt x="45" y="634"/>
                  </a:lnTo>
                  <a:lnTo>
                    <a:pt x="45" y="631"/>
                  </a:lnTo>
                  <a:lnTo>
                    <a:pt x="45" y="628"/>
                  </a:lnTo>
                  <a:lnTo>
                    <a:pt x="48" y="626"/>
                  </a:lnTo>
                  <a:lnTo>
                    <a:pt x="51" y="626"/>
                  </a:lnTo>
                  <a:lnTo>
                    <a:pt x="51" y="623"/>
                  </a:lnTo>
                  <a:lnTo>
                    <a:pt x="53" y="620"/>
                  </a:lnTo>
                  <a:lnTo>
                    <a:pt x="53" y="620"/>
                  </a:lnTo>
                  <a:lnTo>
                    <a:pt x="56" y="620"/>
                  </a:lnTo>
                  <a:lnTo>
                    <a:pt x="59" y="618"/>
                  </a:lnTo>
                  <a:lnTo>
                    <a:pt x="59" y="618"/>
                  </a:lnTo>
                  <a:lnTo>
                    <a:pt x="61" y="615"/>
                  </a:lnTo>
                  <a:lnTo>
                    <a:pt x="64" y="615"/>
                  </a:lnTo>
                  <a:lnTo>
                    <a:pt x="64" y="612"/>
                  </a:lnTo>
                  <a:lnTo>
                    <a:pt x="64" y="612"/>
                  </a:lnTo>
                  <a:lnTo>
                    <a:pt x="64" y="610"/>
                  </a:lnTo>
                  <a:lnTo>
                    <a:pt x="64" y="610"/>
                  </a:lnTo>
                  <a:lnTo>
                    <a:pt x="64" y="610"/>
                  </a:lnTo>
                  <a:lnTo>
                    <a:pt x="64" y="607"/>
                  </a:lnTo>
                  <a:lnTo>
                    <a:pt x="64" y="607"/>
                  </a:lnTo>
                  <a:lnTo>
                    <a:pt x="64" y="607"/>
                  </a:lnTo>
                  <a:lnTo>
                    <a:pt x="64" y="604"/>
                  </a:lnTo>
                  <a:lnTo>
                    <a:pt x="67" y="604"/>
                  </a:lnTo>
                  <a:lnTo>
                    <a:pt x="67" y="602"/>
                  </a:lnTo>
                  <a:lnTo>
                    <a:pt x="67" y="602"/>
                  </a:lnTo>
                  <a:lnTo>
                    <a:pt x="69" y="602"/>
                  </a:lnTo>
                  <a:lnTo>
                    <a:pt x="69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9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5" y="596"/>
                  </a:lnTo>
                  <a:lnTo>
                    <a:pt x="75" y="594"/>
                  </a:lnTo>
                  <a:lnTo>
                    <a:pt x="75" y="594"/>
                  </a:lnTo>
                  <a:lnTo>
                    <a:pt x="77" y="591"/>
                  </a:lnTo>
                  <a:lnTo>
                    <a:pt x="77" y="588"/>
                  </a:lnTo>
                  <a:lnTo>
                    <a:pt x="80" y="586"/>
                  </a:lnTo>
                  <a:lnTo>
                    <a:pt x="80" y="583"/>
                  </a:lnTo>
                  <a:lnTo>
                    <a:pt x="80" y="583"/>
                  </a:lnTo>
                  <a:lnTo>
                    <a:pt x="83" y="580"/>
                  </a:lnTo>
                  <a:lnTo>
                    <a:pt x="83" y="580"/>
                  </a:lnTo>
                  <a:lnTo>
                    <a:pt x="85" y="580"/>
                  </a:lnTo>
                  <a:lnTo>
                    <a:pt x="85" y="580"/>
                  </a:lnTo>
                  <a:lnTo>
                    <a:pt x="85" y="578"/>
                  </a:lnTo>
                  <a:lnTo>
                    <a:pt x="85" y="575"/>
                  </a:lnTo>
                  <a:lnTo>
                    <a:pt x="88" y="575"/>
                  </a:lnTo>
                  <a:lnTo>
                    <a:pt x="88" y="575"/>
                  </a:lnTo>
                  <a:lnTo>
                    <a:pt x="91" y="575"/>
                  </a:lnTo>
                  <a:lnTo>
                    <a:pt x="91" y="575"/>
                  </a:lnTo>
                  <a:lnTo>
                    <a:pt x="93" y="575"/>
                  </a:lnTo>
                  <a:lnTo>
                    <a:pt x="93" y="575"/>
                  </a:lnTo>
                  <a:lnTo>
                    <a:pt x="96" y="575"/>
                  </a:lnTo>
                  <a:lnTo>
                    <a:pt x="96" y="572"/>
                  </a:lnTo>
                  <a:lnTo>
                    <a:pt x="96" y="572"/>
                  </a:lnTo>
                  <a:lnTo>
                    <a:pt x="96" y="570"/>
                  </a:lnTo>
                  <a:lnTo>
                    <a:pt x="96" y="567"/>
                  </a:lnTo>
                  <a:lnTo>
                    <a:pt x="96" y="564"/>
                  </a:lnTo>
                  <a:lnTo>
                    <a:pt x="99" y="564"/>
                  </a:lnTo>
                  <a:lnTo>
                    <a:pt x="99" y="562"/>
                  </a:lnTo>
                  <a:lnTo>
                    <a:pt x="101" y="562"/>
                  </a:lnTo>
                  <a:lnTo>
                    <a:pt x="101" y="562"/>
                  </a:lnTo>
                  <a:lnTo>
                    <a:pt x="101" y="562"/>
                  </a:lnTo>
                  <a:lnTo>
                    <a:pt x="101" y="559"/>
                  </a:lnTo>
                  <a:lnTo>
                    <a:pt x="101" y="559"/>
                  </a:lnTo>
                  <a:lnTo>
                    <a:pt x="101" y="556"/>
                  </a:lnTo>
                  <a:lnTo>
                    <a:pt x="101" y="556"/>
                  </a:lnTo>
                  <a:lnTo>
                    <a:pt x="101" y="554"/>
                  </a:lnTo>
                  <a:lnTo>
                    <a:pt x="99" y="554"/>
                  </a:lnTo>
                  <a:lnTo>
                    <a:pt x="99" y="554"/>
                  </a:lnTo>
                  <a:lnTo>
                    <a:pt x="99" y="551"/>
                  </a:lnTo>
                  <a:lnTo>
                    <a:pt x="99" y="551"/>
                  </a:lnTo>
                  <a:lnTo>
                    <a:pt x="99" y="548"/>
                  </a:lnTo>
                  <a:lnTo>
                    <a:pt x="99" y="548"/>
                  </a:lnTo>
                  <a:lnTo>
                    <a:pt x="99" y="546"/>
                  </a:lnTo>
                  <a:lnTo>
                    <a:pt x="99" y="546"/>
                  </a:lnTo>
                  <a:lnTo>
                    <a:pt x="99" y="543"/>
                  </a:lnTo>
                  <a:lnTo>
                    <a:pt x="101" y="543"/>
                  </a:lnTo>
                  <a:lnTo>
                    <a:pt x="101" y="543"/>
                  </a:lnTo>
                  <a:lnTo>
                    <a:pt x="101" y="540"/>
                  </a:lnTo>
                  <a:lnTo>
                    <a:pt x="101" y="540"/>
                  </a:lnTo>
                  <a:lnTo>
                    <a:pt x="101" y="540"/>
                  </a:lnTo>
                  <a:lnTo>
                    <a:pt x="101" y="538"/>
                  </a:lnTo>
                  <a:lnTo>
                    <a:pt x="104" y="538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07" y="532"/>
                  </a:lnTo>
                  <a:lnTo>
                    <a:pt x="109" y="530"/>
                  </a:lnTo>
                  <a:lnTo>
                    <a:pt x="109" y="530"/>
                  </a:lnTo>
                  <a:lnTo>
                    <a:pt x="109" y="530"/>
                  </a:lnTo>
                  <a:lnTo>
                    <a:pt x="109" y="527"/>
                  </a:lnTo>
                  <a:lnTo>
                    <a:pt x="107" y="527"/>
                  </a:lnTo>
                  <a:lnTo>
                    <a:pt x="107" y="527"/>
                  </a:lnTo>
                  <a:lnTo>
                    <a:pt x="104" y="527"/>
                  </a:lnTo>
                  <a:lnTo>
                    <a:pt x="104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101" y="527"/>
                  </a:lnTo>
                  <a:lnTo>
                    <a:pt x="99" y="527"/>
                  </a:lnTo>
                  <a:lnTo>
                    <a:pt x="99" y="527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99" y="527"/>
                  </a:lnTo>
                  <a:lnTo>
                    <a:pt x="99" y="527"/>
                  </a:lnTo>
                  <a:lnTo>
                    <a:pt x="96" y="527"/>
                  </a:lnTo>
                  <a:lnTo>
                    <a:pt x="96" y="524"/>
                  </a:lnTo>
                  <a:lnTo>
                    <a:pt x="96" y="522"/>
                  </a:lnTo>
                  <a:lnTo>
                    <a:pt x="96" y="522"/>
                  </a:lnTo>
                  <a:lnTo>
                    <a:pt x="96" y="522"/>
                  </a:lnTo>
                  <a:lnTo>
                    <a:pt x="99" y="522"/>
                  </a:lnTo>
                  <a:lnTo>
                    <a:pt x="99" y="519"/>
                  </a:lnTo>
                  <a:lnTo>
                    <a:pt x="99" y="516"/>
                  </a:lnTo>
                  <a:lnTo>
                    <a:pt x="96" y="516"/>
                  </a:lnTo>
                  <a:lnTo>
                    <a:pt x="99" y="516"/>
                  </a:lnTo>
                  <a:lnTo>
                    <a:pt x="96" y="513"/>
                  </a:lnTo>
                  <a:lnTo>
                    <a:pt x="96" y="513"/>
                  </a:lnTo>
                  <a:lnTo>
                    <a:pt x="96" y="511"/>
                  </a:lnTo>
                  <a:lnTo>
                    <a:pt x="93" y="511"/>
                  </a:lnTo>
                  <a:lnTo>
                    <a:pt x="93" y="508"/>
                  </a:lnTo>
                  <a:lnTo>
                    <a:pt x="93" y="508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91" y="511"/>
                  </a:lnTo>
                  <a:lnTo>
                    <a:pt x="88" y="508"/>
                  </a:lnTo>
                  <a:lnTo>
                    <a:pt x="88" y="508"/>
                  </a:lnTo>
                  <a:lnTo>
                    <a:pt x="88" y="508"/>
                  </a:lnTo>
                  <a:lnTo>
                    <a:pt x="85" y="508"/>
                  </a:lnTo>
                  <a:lnTo>
                    <a:pt x="85" y="508"/>
                  </a:lnTo>
                  <a:lnTo>
                    <a:pt x="83" y="505"/>
                  </a:lnTo>
                  <a:lnTo>
                    <a:pt x="83" y="503"/>
                  </a:lnTo>
                  <a:lnTo>
                    <a:pt x="83" y="503"/>
                  </a:lnTo>
                  <a:lnTo>
                    <a:pt x="83" y="503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3"/>
                  </a:lnTo>
                  <a:lnTo>
                    <a:pt x="88" y="503"/>
                  </a:lnTo>
                  <a:lnTo>
                    <a:pt x="88" y="505"/>
                  </a:lnTo>
                  <a:lnTo>
                    <a:pt x="91" y="503"/>
                  </a:lnTo>
                  <a:lnTo>
                    <a:pt x="91" y="500"/>
                  </a:lnTo>
                  <a:lnTo>
                    <a:pt x="91" y="500"/>
                  </a:lnTo>
                  <a:lnTo>
                    <a:pt x="93" y="500"/>
                  </a:lnTo>
                  <a:lnTo>
                    <a:pt x="93" y="497"/>
                  </a:lnTo>
                  <a:lnTo>
                    <a:pt x="96" y="497"/>
                  </a:lnTo>
                  <a:lnTo>
                    <a:pt x="96" y="495"/>
                  </a:lnTo>
                  <a:lnTo>
                    <a:pt x="96" y="495"/>
                  </a:lnTo>
                  <a:lnTo>
                    <a:pt x="99" y="492"/>
                  </a:lnTo>
                  <a:lnTo>
                    <a:pt x="99" y="489"/>
                  </a:lnTo>
                  <a:lnTo>
                    <a:pt x="99" y="487"/>
                  </a:lnTo>
                  <a:lnTo>
                    <a:pt x="99" y="487"/>
                  </a:lnTo>
                  <a:lnTo>
                    <a:pt x="101" y="487"/>
                  </a:lnTo>
                  <a:lnTo>
                    <a:pt x="101" y="484"/>
                  </a:lnTo>
                  <a:lnTo>
                    <a:pt x="99" y="484"/>
                  </a:lnTo>
                  <a:lnTo>
                    <a:pt x="101" y="484"/>
                  </a:lnTo>
                  <a:lnTo>
                    <a:pt x="101" y="481"/>
                  </a:lnTo>
                  <a:lnTo>
                    <a:pt x="99" y="481"/>
                  </a:lnTo>
                  <a:lnTo>
                    <a:pt x="101" y="481"/>
                  </a:lnTo>
                  <a:lnTo>
                    <a:pt x="101" y="481"/>
                  </a:lnTo>
                  <a:lnTo>
                    <a:pt x="101" y="479"/>
                  </a:lnTo>
                  <a:lnTo>
                    <a:pt x="101" y="476"/>
                  </a:lnTo>
                  <a:lnTo>
                    <a:pt x="101" y="476"/>
                  </a:lnTo>
                  <a:lnTo>
                    <a:pt x="104" y="476"/>
                  </a:lnTo>
                  <a:lnTo>
                    <a:pt x="104" y="476"/>
                  </a:lnTo>
                  <a:lnTo>
                    <a:pt x="107" y="476"/>
                  </a:lnTo>
                  <a:lnTo>
                    <a:pt x="107" y="473"/>
                  </a:lnTo>
                  <a:lnTo>
                    <a:pt x="107" y="473"/>
                  </a:lnTo>
                  <a:lnTo>
                    <a:pt x="107" y="471"/>
                  </a:lnTo>
                  <a:lnTo>
                    <a:pt x="109" y="468"/>
                  </a:lnTo>
                  <a:lnTo>
                    <a:pt x="112" y="468"/>
                  </a:lnTo>
                  <a:lnTo>
                    <a:pt x="112" y="468"/>
                  </a:lnTo>
                  <a:lnTo>
                    <a:pt x="115" y="465"/>
                  </a:lnTo>
                  <a:lnTo>
                    <a:pt x="117" y="465"/>
                  </a:lnTo>
                  <a:lnTo>
                    <a:pt x="120" y="465"/>
                  </a:lnTo>
                  <a:lnTo>
                    <a:pt x="120" y="463"/>
                  </a:lnTo>
                  <a:lnTo>
                    <a:pt x="123" y="460"/>
                  </a:lnTo>
                  <a:lnTo>
                    <a:pt x="125" y="460"/>
                  </a:lnTo>
                  <a:lnTo>
                    <a:pt x="128" y="460"/>
                  </a:lnTo>
                  <a:lnTo>
                    <a:pt x="128" y="457"/>
                  </a:lnTo>
                  <a:lnTo>
                    <a:pt x="128" y="455"/>
                  </a:lnTo>
                  <a:lnTo>
                    <a:pt x="128" y="452"/>
                  </a:lnTo>
                  <a:lnTo>
                    <a:pt x="128" y="452"/>
                  </a:lnTo>
                  <a:lnTo>
                    <a:pt x="128" y="449"/>
                  </a:lnTo>
                  <a:lnTo>
                    <a:pt x="131" y="447"/>
                  </a:lnTo>
                  <a:lnTo>
                    <a:pt x="131" y="447"/>
                  </a:lnTo>
                  <a:lnTo>
                    <a:pt x="131" y="444"/>
                  </a:lnTo>
                  <a:lnTo>
                    <a:pt x="131" y="444"/>
                  </a:lnTo>
                  <a:lnTo>
                    <a:pt x="133" y="441"/>
                  </a:lnTo>
                  <a:lnTo>
                    <a:pt x="133" y="441"/>
                  </a:lnTo>
                  <a:lnTo>
                    <a:pt x="133" y="439"/>
                  </a:lnTo>
                  <a:lnTo>
                    <a:pt x="133" y="436"/>
                  </a:lnTo>
                  <a:lnTo>
                    <a:pt x="133" y="433"/>
                  </a:lnTo>
                  <a:lnTo>
                    <a:pt x="131" y="431"/>
                  </a:lnTo>
                  <a:lnTo>
                    <a:pt x="131" y="428"/>
                  </a:lnTo>
                  <a:lnTo>
                    <a:pt x="131" y="425"/>
                  </a:lnTo>
                  <a:lnTo>
                    <a:pt x="131" y="423"/>
                  </a:lnTo>
                  <a:lnTo>
                    <a:pt x="131" y="420"/>
                  </a:lnTo>
                  <a:lnTo>
                    <a:pt x="128" y="417"/>
                  </a:lnTo>
                  <a:lnTo>
                    <a:pt x="128" y="415"/>
                  </a:lnTo>
                  <a:lnTo>
                    <a:pt x="128" y="412"/>
                  </a:lnTo>
                  <a:lnTo>
                    <a:pt x="128" y="412"/>
                  </a:lnTo>
                  <a:lnTo>
                    <a:pt x="131" y="409"/>
                  </a:lnTo>
                  <a:lnTo>
                    <a:pt x="131" y="404"/>
                  </a:lnTo>
                  <a:lnTo>
                    <a:pt x="131" y="404"/>
                  </a:lnTo>
                  <a:lnTo>
                    <a:pt x="131" y="401"/>
                  </a:lnTo>
                  <a:lnTo>
                    <a:pt x="131" y="399"/>
                  </a:lnTo>
                  <a:lnTo>
                    <a:pt x="128" y="396"/>
                  </a:lnTo>
                  <a:lnTo>
                    <a:pt x="131" y="393"/>
                  </a:lnTo>
                  <a:lnTo>
                    <a:pt x="131" y="391"/>
                  </a:lnTo>
                  <a:lnTo>
                    <a:pt x="131" y="388"/>
                  </a:lnTo>
                  <a:lnTo>
                    <a:pt x="131" y="385"/>
                  </a:lnTo>
                  <a:lnTo>
                    <a:pt x="131" y="383"/>
                  </a:lnTo>
                  <a:lnTo>
                    <a:pt x="128" y="380"/>
                  </a:lnTo>
                  <a:lnTo>
                    <a:pt x="128" y="380"/>
                  </a:lnTo>
                  <a:lnTo>
                    <a:pt x="125" y="377"/>
                  </a:lnTo>
                  <a:lnTo>
                    <a:pt x="125" y="377"/>
                  </a:lnTo>
                  <a:lnTo>
                    <a:pt x="125" y="375"/>
                  </a:lnTo>
                  <a:lnTo>
                    <a:pt x="123" y="375"/>
                  </a:lnTo>
                  <a:lnTo>
                    <a:pt x="123" y="375"/>
                  </a:lnTo>
                  <a:lnTo>
                    <a:pt x="120" y="375"/>
                  </a:lnTo>
                  <a:lnTo>
                    <a:pt x="120" y="375"/>
                  </a:lnTo>
                  <a:lnTo>
                    <a:pt x="117" y="375"/>
                  </a:lnTo>
                  <a:lnTo>
                    <a:pt x="115" y="377"/>
                  </a:lnTo>
                  <a:lnTo>
                    <a:pt x="115" y="377"/>
                  </a:lnTo>
                  <a:lnTo>
                    <a:pt x="112" y="377"/>
                  </a:lnTo>
                  <a:lnTo>
                    <a:pt x="112" y="380"/>
                  </a:lnTo>
                  <a:lnTo>
                    <a:pt x="109" y="380"/>
                  </a:lnTo>
                  <a:lnTo>
                    <a:pt x="109" y="380"/>
                  </a:lnTo>
                  <a:lnTo>
                    <a:pt x="107" y="380"/>
                  </a:lnTo>
                  <a:lnTo>
                    <a:pt x="107" y="380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99" y="380"/>
                  </a:lnTo>
                  <a:lnTo>
                    <a:pt x="99" y="380"/>
                  </a:lnTo>
                  <a:lnTo>
                    <a:pt x="99" y="377"/>
                  </a:lnTo>
                  <a:lnTo>
                    <a:pt x="101" y="377"/>
                  </a:lnTo>
                  <a:lnTo>
                    <a:pt x="101" y="375"/>
                  </a:lnTo>
                  <a:lnTo>
                    <a:pt x="101" y="375"/>
                  </a:lnTo>
                  <a:lnTo>
                    <a:pt x="99" y="375"/>
                  </a:lnTo>
                  <a:lnTo>
                    <a:pt x="99" y="375"/>
                  </a:lnTo>
                  <a:lnTo>
                    <a:pt x="96" y="375"/>
                  </a:lnTo>
                  <a:lnTo>
                    <a:pt x="96" y="375"/>
                  </a:lnTo>
                  <a:lnTo>
                    <a:pt x="93" y="372"/>
                  </a:lnTo>
                  <a:lnTo>
                    <a:pt x="93" y="372"/>
                  </a:lnTo>
                  <a:lnTo>
                    <a:pt x="93" y="372"/>
                  </a:lnTo>
                  <a:lnTo>
                    <a:pt x="93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7"/>
                  </a:lnTo>
                  <a:lnTo>
                    <a:pt x="96" y="367"/>
                  </a:lnTo>
                  <a:lnTo>
                    <a:pt x="99" y="367"/>
                  </a:lnTo>
                  <a:lnTo>
                    <a:pt x="99" y="364"/>
                  </a:lnTo>
                  <a:lnTo>
                    <a:pt x="96" y="364"/>
                  </a:lnTo>
                  <a:lnTo>
                    <a:pt x="96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3" y="364"/>
                  </a:lnTo>
                  <a:lnTo>
                    <a:pt x="91" y="361"/>
                  </a:lnTo>
                  <a:lnTo>
                    <a:pt x="91" y="361"/>
                  </a:lnTo>
                  <a:lnTo>
                    <a:pt x="88" y="361"/>
                  </a:lnTo>
                  <a:lnTo>
                    <a:pt x="88" y="361"/>
                  </a:lnTo>
                  <a:lnTo>
                    <a:pt x="85" y="361"/>
                  </a:lnTo>
                  <a:lnTo>
                    <a:pt x="85" y="361"/>
                  </a:lnTo>
                  <a:lnTo>
                    <a:pt x="83" y="361"/>
                  </a:lnTo>
                  <a:lnTo>
                    <a:pt x="83" y="361"/>
                  </a:lnTo>
                  <a:lnTo>
                    <a:pt x="83" y="361"/>
                  </a:lnTo>
                  <a:lnTo>
                    <a:pt x="80" y="361"/>
                  </a:lnTo>
                  <a:lnTo>
                    <a:pt x="80" y="361"/>
                  </a:lnTo>
                  <a:lnTo>
                    <a:pt x="77" y="364"/>
                  </a:lnTo>
                  <a:lnTo>
                    <a:pt x="77" y="364"/>
                  </a:lnTo>
                  <a:lnTo>
                    <a:pt x="75" y="361"/>
                  </a:lnTo>
                  <a:lnTo>
                    <a:pt x="75" y="364"/>
                  </a:lnTo>
                  <a:lnTo>
                    <a:pt x="72" y="364"/>
                  </a:lnTo>
                  <a:lnTo>
                    <a:pt x="72" y="361"/>
                  </a:lnTo>
                  <a:lnTo>
                    <a:pt x="69" y="361"/>
                  </a:lnTo>
                  <a:lnTo>
                    <a:pt x="69" y="364"/>
                  </a:lnTo>
                  <a:lnTo>
                    <a:pt x="69" y="364"/>
                  </a:lnTo>
                  <a:lnTo>
                    <a:pt x="69" y="364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61"/>
                  </a:lnTo>
                  <a:lnTo>
                    <a:pt x="67" y="358"/>
                  </a:lnTo>
                  <a:lnTo>
                    <a:pt x="67" y="358"/>
                  </a:lnTo>
                  <a:lnTo>
                    <a:pt x="67" y="356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72" y="350"/>
                  </a:lnTo>
                  <a:lnTo>
                    <a:pt x="72" y="348"/>
                  </a:lnTo>
                  <a:lnTo>
                    <a:pt x="69" y="348"/>
                  </a:lnTo>
                  <a:lnTo>
                    <a:pt x="69" y="348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7" y="345"/>
                  </a:lnTo>
                  <a:lnTo>
                    <a:pt x="67" y="345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9" y="342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9" y="337"/>
                  </a:lnTo>
                  <a:lnTo>
                    <a:pt x="72" y="334"/>
                  </a:lnTo>
                  <a:lnTo>
                    <a:pt x="72" y="334"/>
                  </a:lnTo>
                  <a:lnTo>
                    <a:pt x="75" y="332"/>
                  </a:lnTo>
                  <a:lnTo>
                    <a:pt x="77" y="332"/>
                  </a:lnTo>
                  <a:lnTo>
                    <a:pt x="77" y="332"/>
                  </a:lnTo>
                  <a:lnTo>
                    <a:pt x="80" y="329"/>
                  </a:lnTo>
                  <a:lnTo>
                    <a:pt x="80" y="329"/>
                  </a:lnTo>
                  <a:lnTo>
                    <a:pt x="80" y="326"/>
                  </a:lnTo>
                  <a:lnTo>
                    <a:pt x="83" y="324"/>
                  </a:lnTo>
                  <a:lnTo>
                    <a:pt x="83" y="321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0" y="316"/>
                  </a:lnTo>
                  <a:lnTo>
                    <a:pt x="80" y="313"/>
                  </a:lnTo>
                  <a:lnTo>
                    <a:pt x="83" y="310"/>
                  </a:lnTo>
                  <a:lnTo>
                    <a:pt x="83" y="308"/>
                  </a:lnTo>
                  <a:lnTo>
                    <a:pt x="83" y="305"/>
                  </a:lnTo>
                  <a:lnTo>
                    <a:pt x="80" y="302"/>
                  </a:lnTo>
                  <a:lnTo>
                    <a:pt x="80" y="302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77" y="297"/>
                  </a:lnTo>
                  <a:lnTo>
                    <a:pt x="75" y="297"/>
                  </a:lnTo>
                  <a:lnTo>
                    <a:pt x="75" y="297"/>
                  </a:lnTo>
                  <a:lnTo>
                    <a:pt x="72" y="294"/>
                  </a:lnTo>
                  <a:lnTo>
                    <a:pt x="69" y="294"/>
                  </a:lnTo>
                  <a:lnTo>
                    <a:pt x="69" y="292"/>
                  </a:lnTo>
                  <a:lnTo>
                    <a:pt x="69" y="292"/>
                  </a:lnTo>
                  <a:lnTo>
                    <a:pt x="69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5" y="289"/>
                  </a:lnTo>
                  <a:lnTo>
                    <a:pt x="75" y="286"/>
                  </a:lnTo>
                  <a:lnTo>
                    <a:pt x="75" y="286"/>
                  </a:lnTo>
                  <a:lnTo>
                    <a:pt x="75" y="284"/>
                  </a:lnTo>
                  <a:lnTo>
                    <a:pt x="77" y="284"/>
                  </a:lnTo>
                  <a:lnTo>
                    <a:pt x="75" y="284"/>
                  </a:lnTo>
                  <a:lnTo>
                    <a:pt x="72" y="284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1" y="268"/>
                  </a:lnTo>
                  <a:lnTo>
                    <a:pt x="59" y="268"/>
                  </a:lnTo>
                  <a:lnTo>
                    <a:pt x="53" y="268"/>
                  </a:lnTo>
                  <a:lnTo>
                    <a:pt x="48" y="270"/>
                  </a:lnTo>
                  <a:lnTo>
                    <a:pt x="45" y="270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2"/>
                  </a:lnTo>
                  <a:lnTo>
                    <a:pt x="45" y="260"/>
                  </a:lnTo>
                  <a:lnTo>
                    <a:pt x="45" y="260"/>
                  </a:lnTo>
                  <a:lnTo>
                    <a:pt x="43" y="257"/>
                  </a:lnTo>
                  <a:lnTo>
                    <a:pt x="45" y="257"/>
                  </a:lnTo>
                  <a:lnTo>
                    <a:pt x="45" y="254"/>
                  </a:lnTo>
                  <a:lnTo>
                    <a:pt x="43" y="254"/>
                  </a:lnTo>
                  <a:lnTo>
                    <a:pt x="43" y="252"/>
                  </a:lnTo>
                  <a:lnTo>
                    <a:pt x="40" y="249"/>
                  </a:lnTo>
                  <a:lnTo>
                    <a:pt x="40" y="249"/>
                  </a:lnTo>
                  <a:lnTo>
                    <a:pt x="40" y="249"/>
                  </a:lnTo>
                  <a:lnTo>
                    <a:pt x="37" y="246"/>
                  </a:lnTo>
                  <a:lnTo>
                    <a:pt x="37" y="244"/>
                  </a:lnTo>
                  <a:lnTo>
                    <a:pt x="37" y="241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7" y="238"/>
                  </a:lnTo>
                  <a:lnTo>
                    <a:pt x="37" y="236"/>
                  </a:lnTo>
                  <a:lnTo>
                    <a:pt x="40" y="236"/>
                  </a:lnTo>
                  <a:lnTo>
                    <a:pt x="43" y="236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3" y="233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8" y="228"/>
                  </a:lnTo>
                  <a:lnTo>
                    <a:pt x="51" y="228"/>
                  </a:lnTo>
                  <a:lnTo>
                    <a:pt x="48" y="225"/>
                  </a:lnTo>
                  <a:lnTo>
                    <a:pt x="48" y="225"/>
                  </a:lnTo>
                  <a:lnTo>
                    <a:pt x="48" y="222"/>
                  </a:lnTo>
                  <a:lnTo>
                    <a:pt x="45" y="222"/>
                  </a:lnTo>
                  <a:lnTo>
                    <a:pt x="45" y="220"/>
                  </a:lnTo>
                  <a:lnTo>
                    <a:pt x="45" y="214"/>
                  </a:lnTo>
                  <a:lnTo>
                    <a:pt x="43" y="212"/>
                  </a:lnTo>
                  <a:lnTo>
                    <a:pt x="43" y="209"/>
                  </a:lnTo>
                  <a:lnTo>
                    <a:pt x="43" y="206"/>
                  </a:lnTo>
                  <a:lnTo>
                    <a:pt x="40" y="204"/>
                  </a:lnTo>
                  <a:lnTo>
                    <a:pt x="37" y="204"/>
                  </a:lnTo>
                  <a:lnTo>
                    <a:pt x="37" y="201"/>
                  </a:lnTo>
                  <a:lnTo>
                    <a:pt x="35" y="201"/>
                  </a:lnTo>
                  <a:lnTo>
                    <a:pt x="35" y="198"/>
                  </a:lnTo>
                  <a:lnTo>
                    <a:pt x="35" y="195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0"/>
                  </a:lnTo>
                  <a:lnTo>
                    <a:pt x="35" y="187"/>
                  </a:lnTo>
                  <a:lnTo>
                    <a:pt x="35" y="185"/>
                  </a:lnTo>
                  <a:lnTo>
                    <a:pt x="35" y="182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40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8" y="177"/>
                  </a:lnTo>
                  <a:lnTo>
                    <a:pt x="48" y="174"/>
                  </a:lnTo>
                  <a:lnTo>
                    <a:pt x="48" y="174"/>
                  </a:lnTo>
                  <a:lnTo>
                    <a:pt x="45" y="174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3" y="166"/>
                  </a:lnTo>
                  <a:lnTo>
                    <a:pt x="45" y="163"/>
                  </a:lnTo>
                  <a:lnTo>
                    <a:pt x="43" y="161"/>
                  </a:lnTo>
                  <a:lnTo>
                    <a:pt x="43" y="161"/>
                  </a:lnTo>
                  <a:lnTo>
                    <a:pt x="43" y="158"/>
                  </a:lnTo>
                  <a:lnTo>
                    <a:pt x="43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7" y="155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40" y="150"/>
                  </a:lnTo>
                  <a:lnTo>
                    <a:pt x="37" y="150"/>
                  </a:lnTo>
                  <a:lnTo>
                    <a:pt x="35" y="147"/>
                  </a:lnTo>
                  <a:lnTo>
                    <a:pt x="32" y="142"/>
                  </a:lnTo>
                  <a:lnTo>
                    <a:pt x="29" y="139"/>
                  </a:lnTo>
                  <a:lnTo>
                    <a:pt x="27" y="134"/>
                  </a:lnTo>
                  <a:lnTo>
                    <a:pt x="21" y="129"/>
                  </a:lnTo>
                  <a:lnTo>
                    <a:pt x="19" y="123"/>
                  </a:lnTo>
                  <a:lnTo>
                    <a:pt x="11" y="115"/>
                  </a:lnTo>
                  <a:lnTo>
                    <a:pt x="8" y="113"/>
                  </a:lnTo>
                  <a:lnTo>
                    <a:pt x="8" y="110"/>
                  </a:lnTo>
                  <a:lnTo>
                    <a:pt x="5" y="110"/>
                  </a:lnTo>
                  <a:lnTo>
                    <a:pt x="5" y="107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3" y="91"/>
                  </a:lnTo>
                  <a:lnTo>
                    <a:pt x="13" y="89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9" y="86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9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3" y="73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1" y="67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3" y="59"/>
                  </a:lnTo>
                  <a:lnTo>
                    <a:pt x="11" y="59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1" y="54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8" y="51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2" y="4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2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21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2"/>
                  </a:lnTo>
                  <a:lnTo>
                    <a:pt x="27" y="30"/>
                  </a:lnTo>
                  <a:lnTo>
                    <a:pt x="29" y="27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7" y="11"/>
                  </a:lnTo>
                  <a:lnTo>
                    <a:pt x="37" y="8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40" y="3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3"/>
                  </a:lnTo>
                  <a:lnTo>
                    <a:pt x="53" y="6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7" y="14"/>
                  </a:lnTo>
                  <a:lnTo>
                    <a:pt x="67" y="16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2"/>
                  </a:lnTo>
                  <a:lnTo>
                    <a:pt x="56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8"/>
                  </a:lnTo>
                  <a:lnTo>
                    <a:pt x="61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8"/>
                  </a:lnTo>
                  <a:lnTo>
                    <a:pt x="67" y="41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9" y="43"/>
                  </a:lnTo>
                  <a:lnTo>
                    <a:pt x="69" y="41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69" y="46"/>
                  </a:lnTo>
                  <a:lnTo>
                    <a:pt x="69" y="49"/>
                  </a:lnTo>
                  <a:lnTo>
                    <a:pt x="69" y="51"/>
                  </a:lnTo>
                  <a:lnTo>
                    <a:pt x="72" y="51"/>
                  </a:lnTo>
                  <a:lnTo>
                    <a:pt x="72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7" y="57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80" y="62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7" y="75"/>
                  </a:lnTo>
                  <a:lnTo>
                    <a:pt x="77" y="75"/>
                  </a:lnTo>
                  <a:lnTo>
                    <a:pt x="80" y="75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8"/>
                  </a:lnTo>
                  <a:lnTo>
                    <a:pt x="88" y="78"/>
                  </a:lnTo>
                  <a:lnTo>
                    <a:pt x="88" y="75"/>
                  </a:lnTo>
                  <a:lnTo>
                    <a:pt x="91" y="78"/>
                  </a:lnTo>
                  <a:lnTo>
                    <a:pt x="93" y="78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6"/>
                  </a:lnTo>
                  <a:lnTo>
                    <a:pt x="96" y="89"/>
                  </a:lnTo>
                  <a:lnTo>
                    <a:pt x="96" y="91"/>
                  </a:lnTo>
                  <a:lnTo>
                    <a:pt x="99" y="91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4" y="94"/>
                  </a:lnTo>
                  <a:lnTo>
                    <a:pt x="101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102"/>
                  </a:lnTo>
                  <a:lnTo>
                    <a:pt x="101" y="105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4" y="110"/>
                  </a:lnTo>
                  <a:lnTo>
                    <a:pt x="104" y="110"/>
                  </a:lnTo>
                  <a:lnTo>
                    <a:pt x="107" y="107"/>
                  </a:lnTo>
                  <a:lnTo>
                    <a:pt x="107" y="110"/>
                  </a:lnTo>
                  <a:lnTo>
                    <a:pt x="109" y="113"/>
                  </a:lnTo>
                  <a:lnTo>
                    <a:pt x="109" y="113"/>
                  </a:lnTo>
                  <a:lnTo>
                    <a:pt x="112" y="113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8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123"/>
                  </a:lnTo>
                  <a:lnTo>
                    <a:pt x="115" y="123"/>
                  </a:lnTo>
                  <a:lnTo>
                    <a:pt x="115" y="123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20" y="123"/>
                  </a:lnTo>
                  <a:lnTo>
                    <a:pt x="120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5"/>
                  </a:lnTo>
                  <a:lnTo>
                    <a:pt x="131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3"/>
                  </a:lnTo>
                  <a:lnTo>
                    <a:pt x="128" y="113"/>
                  </a:lnTo>
                  <a:lnTo>
                    <a:pt x="128" y="113"/>
                  </a:lnTo>
                  <a:lnTo>
                    <a:pt x="125" y="110"/>
                  </a:lnTo>
                  <a:lnTo>
                    <a:pt x="123" y="110"/>
                  </a:lnTo>
                  <a:lnTo>
                    <a:pt x="123" y="110"/>
                  </a:lnTo>
                  <a:lnTo>
                    <a:pt x="123" y="107"/>
                  </a:lnTo>
                  <a:lnTo>
                    <a:pt x="123" y="107"/>
                  </a:lnTo>
                  <a:lnTo>
                    <a:pt x="125" y="105"/>
                  </a:lnTo>
                  <a:lnTo>
                    <a:pt x="125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2"/>
                  </a:lnTo>
                  <a:lnTo>
                    <a:pt x="125" y="102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31" y="97"/>
                  </a:lnTo>
                  <a:lnTo>
                    <a:pt x="128" y="94"/>
                  </a:lnTo>
                  <a:lnTo>
                    <a:pt x="131" y="94"/>
                  </a:lnTo>
                  <a:lnTo>
                    <a:pt x="133" y="94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89"/>
                  </a:lnTo>
                  <a:lnTo>
                    <a:pt x="136" y="89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41" y="89"/>
                  </a:lnTo>
                  <a:lnTo>
                    <a:pt x="141" y="86"/>
                  </a:lnTo>
                  <a:lnTo>
                    <a:pt x="141" y="86"/>
                  </a:lnTo>
                  <a:lnTo>
                    <a:pt x="144" y="83"/>
                  </a:lnTo>
                  <a:lnTo>
                    <a:pt x="144" y="83"/>
                  </a:lnTo>
                  <a:lnTo>
                    <a:pt x="141" y="81"/>
                  </a:lnTo>
                  <a:lnTo>
                    <a:pt x="141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6" y="78"/>
                  </a:lnTo>
                  <a:lnTo>
                    <a:pt x="136" y="78"/>
                  </a:lnTo>
                  <a:lnTo>
                    <a:pt x="133" y="75"/>
                  </a:lnTo>
                  <a:lnTo>
                    <a:pt x="136" y="75"/>
                  </a:lnTo>
                  <a:lnTo>
                    <a:pt x="136" y="75"/>
                  </a:lnTo>
                  <a:lnTo>
                    <a:pt x="139" y="73"/>
                  </a:lnTo>
                  <a:lnTo>
                    <a:pt x="139" y="70"/>
                  </a:lnTo>
                  <a:lnTo>
                    <a:pt x="141" y="70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4" y="67"/>
                  </a:lnTo>
                  <a:lnTo>
                    <a:pt x="147" y="65"/>
                  </a:lnTo>
                  <a:lnTo>
                    <a:pt x="147" y="65"/>
                  </a:lnTo>
                  <a:lnTo>
                    <a:pt x="147" y="65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49" y="59"/>
                  </a:lnTo>
                  <a:lnTo>
                    <a:pt x="152" y="57"/>
                  </a:lnTo>
                  <a:lnTo>
                    <a:pt x="152" y="57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57" y="57"/>
                  </a:lnTo>
                  <a:lnTo>
                    <a:pt x="157" y="57"/>
                  </a:lnTo>
                  <a:lnTo>
                    <a:pt x="160" y="51"/>
                  </a:lnTo>
                  <a:lnTo>
                    <a:pt x="160" y="49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60" y="43"/>
                  </a:lnTo>
                  <a:lnTo>
                    <a:pt x="163" y="41"/>
                  </a:lnTo>
                  <a:lnTo>
                    <a:pt x="163" y="41"/>
                  </a:lnTo>
                  <a:lnTo>
                    <a:pt x="165" y="38"/>
                  </a:lnTo>
                  <a:lnTo>
                    <a:pt x="179" y="38"/>
                  </a:lnTo>
                  <a:lnTo>
                    <a:pt x="195" y="35"/>
                  </a:lnTo>
                  <a:lnTo>
                    <a:pt x="203" y="89"/>
                  </a:lnTo>
                  <a:lnTo>
                    <a:pt x="227" y="123"/>
                  </a:lnTo>
                  <a:lnTo>
                    <a:pt x="237" y="123"/>
                  </a:lnTo>
                  <a:lnTo>
                    <a:pt x="243" y="121"/>
                  </a:lnTo>
                  <a:lnTo>
                    <a:pt x="245" y="115"/>
                  </a:lnTo>
                  <a:lnTo>
                    <a:pt x="251" y="115"/>
                  </a:lnTo>
                  <a:lnTo>
                    <a:pt x="251" y="121"/>
                  </a:lnTo>
                  <a:lnTo>
                    <a:pt x="251" y="121"/>
                  </a:lnTo>
                  <a:lnTo>
                    <a:pt x="254" y="121"/>
                  </a:lnTo>
                  <a:lnTo>
                    <a:pt x="254" y="118"/>
                  </a:lnTo>
                  <a:lnTo>
                    <a:pt x="256" y="118"/>
                  </a:lnTo>
                  <a:lnTo>
                    <a:pt x="256" y="118"/>
                  </a:lnTo>
                  <a:lnTo>
                    <a:pt x="259" y="118"/>
                  </a:lnTo>
                  <a:lnTo>
                    <a:pt x="259" y="121"/>
                  </a:lnTo>
                  <a:lnTo>
                    <a:pt x="262" y="118"/>
                  </a:lnTo>
                  <a:lnTo>
                    <a:pt x="262" y="118"/>
                  </a:lnTo>
                  <a:lnTo>
                    <a:pt x="264" y="118"/>
                  </a:lnTo>
                  <a:lnTo>
                    <a:pt x="267" y="118"/>
                  </a:lnTo>
                  <a:lnTo>
                    <a:pt x="270" y="121"/>
                  </a:lnTo>
                  <a:lnTo>
                    <a:pt x="272" y="121"/>
                  </a:lnTo>
                  <a:lnTo>
                    <a:pt x="275" y="118"/>
                  </a:lnTo>
                  <a:lnTo>
                    <a:pt x="278" y="118"/>
                  </a:lnTo>
                  <a:lnTo>
                    <a:pt x="283" y="121"/>
                  </a:lnTo>
                  <a:lnTo>
                    <a:pt x="283" y="123"/>
                  </a:lnTo>
                  <a:lnTo>
                    <a:pt x="288" y="123"/>
                  </a:lnTo>
                  <a:lnTo>
                    <a:pt x="291" y="123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6" y="118"/>
                  </a:lnTo>
                  <a:lnTo>
                    <a:pt x="296" y="115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302" y="107"/>
                  </a:lnTo>
                  <a:lnTo>
                    <a:pt x="304" y="110"/>
                  </a:lnTo>
                  <a:lnTo>
                    <a:pt x="302" y="110"/>
                  </a:lnTo>
                  <a:lnTo>
                    <a:pt x="304" y="113"/>
                  </a:lnTo>
                  <a:lnTo>
                    <a:pt x="307" y="115"/>
                  </a:lnTo>
                  <a:lnTo>
                    <a:pt x="307" y="115"/>
                  </a:lnTo>
                  <a:lnTo>
                    <a:pt x="310" y="118"/>
                  </a:lnTo>
                  <a:lnTo>
                    <a:pt x="310" y="121"/>
                  </a:lnTo>
                  <a:lnTo>
                    <a:pt x="312" y="121"/>
                  </a:lnTo>
                  <a:lnTo>
                    <a:pt x="312" y="118"/>
                  </a:lnTo>
                  <a:lnTo>
                    <a:pt x="312" y="118"/>
                  </a:lnTo>
                  <a:lnTo>
                    <a:pt x="318" y="118"/>
                  </a:lnTo>
                  <a:lnTo>
                    <a:pt x="318" y="115"/>
                  </a:lnTo>
                  <a:lnTo>
                    <a:pt x="326" y="115"/>
                  </a:lnTo>
                  <a:lnTo>
                    <a:pt x="328" y="115"/>
                  </a:lnTo>
                  <a:lnTo>
                    <a:pt x="331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6" y="118"/>
                  </a:lnTo>
                  <a:lnTo>
                    <a:pt x="336" y="118"/>
                  </a:lnTo>
                  <a:lnTo>
                    <a:pt x="339" y="121"/>
                  </a:lnTo>
                  <a:lnTo>
                    <a:pt x="342" y="121"/>
                  </a:lnTo>
                  <a:lnTo>
                    <a:pt x="344" y="121"/>
                  </a:lnTo>
                  <a:lnTo>
                    <a:pt x="344" y="123"/>
                  </a:lnTo>
                  <a:lnTo>
                    <a:pt x="347" y="123"/>
                  </a:lnTo>
                  <a:lnTo>
                    <a:pt x="347" y="123"/>
                  </a:lnTo>
                  <a:lnTo>
                    <a:pt x="350" y="123"/>
                  </a:lnTo>
                  <a:lnTo>
                    <a:pt x="350" y="123"/>
                  </a:lnTo>
                  <a:lnTo>
                    <a:pt x="352" y="126"/>
                  </a:lnTo>
                  <a:lnTo>
                    <a:pt x="352" y="126"/>
                  </a:lnTo>
                  <a:lnTo>
                    <a:pt x="352" y="126"/>
                  </a:lnTo>
                  <a:lnTo>
                    <a:pt x="355" y="126"/>
                  </a:lnTo>
                  <a:lnTo>
                    <a:pt x="358" y="126"/>
                  </a:lnTo>
                  <a:lnTo>
                    <a:pt x="358" y="123"/>
                  </a:lnTo>
                  <a:lnTo>
                    <a:pt x="360" y="123"/>
                  </a:lnTo>
                  <a:lnTo>
                    <a:pt x="360" y="123"/>
                  </a:lnTo>
                  <a:lnTo>
                    <a:pt x="363" y="123"/>
                  </a:lnTo>
                  <a:lnTo>
                    <a:pt x="366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9"/>
                  </a:lnTo>
                  <a:lnTo>
                    <a:pt x="368" y="134"/>
                  </a:lnTo>
                  <a:lnTo>
                    <a:pt x="358" y="147"/>
                  </a:lnTo>
                  <a:lnTo>
                    <a:pt x="355" y="153"/>
                  </a:lnTo>
                  <a:lnTo>
                    <a:pt x="350" y="158"/>
                  </a:lnTo>
                  <a:lnTo>
                    <a:pt x="344" y="166"/>
                  </a:lnTo>
                  <a:lnTo>
                    <a:pt x="334" y="182"/>
                  </a:lnTo>
                  <a:lnTo>
                    <a:pt x="328" y="195"/>
                  </a:lnTo>
                  <a:lnTo>
                    <a:pt x="323" y="209"/>
                  </a:lnTo>
                  <a:lnTo>
                    <a:pt x="320" y="217"/>
                  </a:lnTo>
                  <a:lnTo>
                    <a:pt x="318" y="222"/>
                  </a:lnTo>
                  <a:lnTo>
                    <a:pt x="315" y="225"/>
                  </a:lnTo>
                  <a:lnTo>
                    <a:pt x="312" y="225"/>
                  </a:lnTo>
                  <a:lnTo>
                    <a:pt x="312" y="225"/>
                  </a:lnTo>
                  <a:lnTo>
                    <a:pt x="310" y="225"/>
                  </a:lnTo>
                  <a:lnTo>
                    <a:pt x="307" y="222"/>
                  </a:lnTo>
                  <a:lnTo>
                    <a:pt x="307" y="222"/>
                  </a:lnTo>
                  <a:lnTo>
                    <a:pt x="304" y="222"/>
                  </a:lnTo>
                  <a:lnTo>
                    <a:pt x="304" y="222"/>
                  </a:lnTo>
                  <a:lnTo>
                    <a:pt x="302" y="222"/>
                  </a:lnTo>
                  <a:lnTo>
                    <a:pt x="299" y="222"/>
                  </a:lnTo>
                  <a:lnTo>
                    <a:pt x="299" y="222"/>
                  </a:lnTo>
                  <a:lnTo>
                    <a:pt x="296" y="222"/>
                  </a:lnTo>
                  <a:lnTo>
                    <a:pt x="296" y="222"/>
                  </a:lnTo>
                  <a:lnTo>
                    <a:pt x="294" y="222"/>
                  </a:lnTo>
                  <a:lnTo>
                    <a:pt x="294" y="222"/>
                  </a:lnTo>
                  <a:lnTo>
                    <a:pt x="294" y="222"/>
                  </a:lnTo>
                  <a:lnTo>
                    <a:pt x="291" y="222"/>
                  </a:lnTo>
                  <a:lnTo>
                    <a:pt x="291" y="222"/>
                  </a:lnTo>
                  <a:lnTo>
                    <a:pt x="288" y="222"/>
                  </a:lnTo>
                  <a:lnTo>
                    <a:pt x="288" y="222"/>
                  </a:lnTo>
                  <a:lnTo>
                    <a:pt x="288" y="225"/>
                  </a:lnTo>
                  <a:lnTo>
                    <a:pt x="288" y="225"/>
                  </a:lnTo>
                  <a:lnTo>
                    <a:pt x="286" y="228"/>
                  </a:lnTo>
                  <a:lnTo>
                    <a:pt x="286" y="228"/>
                  </a:lnTo>
                  <a:lnTo>
                    <a:pt x="286" y="230"/>
                  </a:lnTo>
                  <a:lnTo>
                    <a:pt x="286" y="230"/>
                  </a:lnTo>
                  <a:lnTo>
                    <a:pt x="286" y="233"/>
                  </a:lnTo>
                  <a:lnTo>
                    <a:pt x="286" y="236"/>
                  </a:lnTo>
                  <a:lnTo>
                    <a:pt x="283" y="236"/>
                  </a:lnTo>
                  <a:lnTo>
                    <a:pt x="283" y="238"/>
                  </a:lnTo>
                  <a:lnTo>
                    <a:pt x="283" y="238"/>
                  </a:lnTo>
                  <a:lnTo>
                    <a:pt x="283" y="241"/>
                  </a:lnTo>
                  <a:lnTo>
                    <a:pt x="280" y="241"/>
                  </a:lnTo>
                  <a:lnTo>
                    <a:pt x="280" y="244"/>
                  </a:lnTo>
                  <a:lnTo>
                    <a:pt x="283" y="244"/>
                  </a:lnTo>
                  <a:lnTo>
                    <a:pt x="283" y="246"/>
                  </a:lnTo>
                  <a:lnTo>
                    <a:pt x="283" y="246"/>
                  </a:lnTo>
                  <a:lnTo>
                    <a:pt x="280" y="249"/>
                  </a:lnTo>
                  <a:lnTo>
                    <a:pt x="280" y="249"/>
                  </a:lnTo>
                  <a:lnTo>
                    <a:pt x="280" y="252"/>
                  </a:lnTo>
                  <a:lnTo>
                    <a:pt x="280" y="252"/>
                  </a:lnTo>
                  <a:lnTo>
                    <a:pt x="278" y="254"/>
                  </a:lnTo>
                  <a:lnTo>
                    <a:pt x="278" y="254"/>
                  </a:lnTo>
                  <a:lnTo>
                    <a:pt x="280" y="257"/>
                  </a:lnTo>
                  <a:lnTo>
                    <a:pt x="278" y="257"/>
                  </a:lnTo>
                  <a:lnTo>
                    <a:pt x="278" y="257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278" y="260"/>
                  </a:lnTo>
                  <a:lnTo>
                    <a:pt x="278" y="262"/>
                  </a:lnTo>
                  <a:lnTo>
                    <a:pt x="278" y="262"/>
                  </a:lnTo>
                  <a:lnTo>
                    <a:pt x="278" y="265"/>
                  </a:lnTo>
                  <a:lnTo>
                    <a:pt x="280" y="265"/>
                  </a:lnTo>
                  <a:lnTo>
                    <a:pt x="280" y="265"/>
                  </a:lnTo>
                  <a:lnTo>
                    <a:pt x="280" y="268"/>
                  </a:lnTo>
                  <a:lnTo>
                    <a:pt x="280" y="270"/>
                  </a:lnTo>
                  <a:lnTo>
                    <a:pt x="280" y="270"/>
                  </a:lnTo>
                  <a:lnTo>
                    <a:pt x="280" y="273"/>
                  </a:lnTo>
                  <a:lnTo>
                    <a:pt x="280" y="273"/>
                  </a:lnTo>
                  <a:lnTo>
                    <a:pt x="280" y="273"/>
                  </a:lnTo>
                  <a:lnTo>
                    <a:pt x="280" y="276"/>
                  </a:lnTo>
                  <a:lnTo>
                    <a:pt x="280" y="276"/>
                  </a:lnTo>
                  <a:lnTo>
                    <a:pt x="280" y="278"/>
                  </a:lnTo>
                  <a:lnTo>
                    <a:pt x="280" y="281"/>
                  </a:lnTo>
                  <a:lnTo>
                    <a:pt x="280" y="284"/>
                  </a:lnTo>
                  <a:lnTo>
                    <a:pt x="280" y="284"/>
                  </a:lnTo>
                  <a:lnTo>
                    <a:pt x="280" y="284"/>
                  </a:lnTo>
                  <a:lnTo>
                    <a:pt x="278" y="286"/>
                  </a:lnTo>
                  <a:lnTo>
                    <a:pt x="278" y="286"/>
                  </a:lnTo>
                  <a:lnTo>
                    <a:pt x="278" y="289"/>
                  </a:lnTo>
                  <a:lnTo>
                    <a:pt x="275" y="289"/>
                  </a:lnTo>
                  <a:lnTo>
                    <a:pt x="272" y="292"/>
                  </a:lnTo>
                  <a:lnTo>
                    <a:pt x="272" y="292"/>
                  </a:lnTo>
                  <a:lnTo>
                    <a:pt x="270" y="292"/>
                  </a:lnTo>
                  <a:lnTo>
                    <a:pt x="270" y="292"/>
                  </a:lnTo>
                  <a:lnTo>
                    <a:pt x="270" y="294"/>
                  </a:lnTo>
                  <a:lnTo>
                    <a:pt x="270" y="294"/>
                  </a:lnTo>
                  <a:lnTo>
                    <a:pt x="270" y="297"/>
                  </a:lnTo>
                  <a:lnTo>
                    <a:pt x="267" y="300"/>
                  </a:lnTo>
                  <a:lnTo>
                    <a:pt x="267" y="302"/>
                  </a:lnTo>
                  <a:lnTo>
                    <a:pt x="264" y="302"/>
                  </a:lnTo>
                  <a:lnTo>
                    <a:pt x="264" y="305"/>
                  </a:lnTo>
                  <a:lnTo>
                    <a:pt x="262" y="305"/>
                  </a:lnTo>
                  <a:lnTo>
                    <a:pt x="262" y="308"/>
                  </a:lnTo>
                  <a:lnTo>
                    <a:pt x="259" y="308"/>
                  </a:lnTo>
                  <a:lnTo>
                    <a:pt x="259" y="310"/>
                  </a:lnTo>
                  <a:lnTo>
                    <a:pt x="259" y="310"/>
                  </a:lnTo>
                  <a:lnTo>
                    <a:pt x="259" y="313"/>
                  </a:lnTo>
                  <a:lnTo>
                    <a:pt x="259" y="313"/>
                  </a:lnTo>
                  <a:lnTo>
                    <a:pt x="259" y="316"/>
                  </a:lnTo>
                  <a:lnTo>
                    <a:pt x="259" y="316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9" y="318"/>
                  </a:lnTo>
                  <a:lnTo>
                    <a:pt x="262" y="318"/>
                  </a:lnTo>
                  <a:lnTo>
                    <a:pt x="262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18"/>
                  </a:lnTo>
                  <a:lnTo>
                    <a:pt x="264" y="321"/>
                  </a:lnTo>
                  <a:lnTo>
                    <a:pt x="267" y="321"/>
                  </a:lnTo>
                  <a:lnTo>
                    <a:pt x="267" y="324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2" y="324"/>
                  </a:lnTo>
                  <a:lnTo>
                    <a:pt x="272" y="324"/>
                  </a:lnTo>
                  <a:lnTo>
                    <a:pt x="275" y="324"/>
                  </a:lnTo>
                  <a:lnTo>
                    <a:pt x="278" y="324"/>
                  </a:lnTo>
                  <a:lnTo>
                    <a:pt x="278" y="324"/>
                  </a:lnTo>
                  <a:lnTo>
                    <a:pt x="280" y="324"/>
                  </a:lnTo>
                  <a:lnTo>
                    <a:pt x="280" y="324"/>
                  </a:lnTo>
                  <a:lnTo>
                    <a:pt x="283" y="324"/>
                  </a:lnTo>
                  <a:lnTo>
                    <a:pt x="283" y="326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6" y="332"/>
                  </a:lnTo>
                  <a:lnTo>
                    <a:pt x="288" y="332"/>
                  </a:lnTo>
                  <a:lnTo>
                    <a:pt x="288" y="332"/>
                  </a:lnTo>
                  <a:lnTo>
                    <a:pt x="288" y="332"/>
                  </a:lnTo>
                  <a:lnTo>
                    <a:pt x="291" y="334"/>
                  </a:lnTo>
                  <a:lnTo>
                    <a:pt x="291" y="334"/>
                  </a:lnTo>
                  <a:lnTo>
                    <a:pt x="291" y="342"/>
                  </a:lnTo>
                  <a:lnTo>
                    <a:pt x="291" y="348"/>
                  </a:lnTo>
                  <a:lnTo>
                    <a:pt x="294" y="350"/>
                  </a:lnTo>
                  <a:lnTo>
                    <a:pt x="294" y="356"/>
                  </a:lnTo>
                  <a:lnTo>
                    <a:pt x="288" y="364"/>
                  </a:lnTo>
                  <a:lnTo>
                    <a:pt x="288" y="364"/>
                  </a:lnTo>
                  <a:lnTo>
                    <a:pt x="288" y="367"/>
                  </a:lnTo>
                  <a:lnTo>
                    <a:pt x="288" y="367"/>
                  </a:lnTo>
                  <a:lnTo>
                    <a:pt x="288" y="369"/>
                  </a:lnTo>
                  <a:lnTo>
                    <a:pt x="288" y="369"/>
                  </a:lnTo>
                  <a:lnTo>
                    <a:pt x="288" y="372"/>
                  </a:lnTo>
                  <a:lnTo>
                    <a:pt x="288" y="372"/>
                  </a:lnTo>
                  <a:lnTo>
                    <a:pt x="286" y="375"/>
                  </a:lnTo>
                  <a:lnTo>
                    <a:pt x="283" y="375"/>
                  </a:lnTo>
                  <a:lnTo>
                    <a:pt x="283" y="375"/>
                  </a:lnTo>
                  <a:lnTo>
                    <a:pt x="283" y="377"/>
                  </a:lnTo>
                  <a:lnTo>
                    <a:pt x="283" y="380"/>
                  </a:lnTo>
                  <a:lnTo>
                    <a:pt x="280" y="380"/>
                  </a:lnTo>
                  <a:lnTo>
                    <a:pt x="280" y="380"/>
                  </a:lnTo>
                  <a:lnTo>
                    <a:pt x="280" y="383"/>
                  </a:lnTo>
                  <a:lnTo>
                    <a:pt x="278" y="385"/>
                  </a:lnTo>
                  <a:lnTo>
                    <a:pt x="278" y="388"/>
                  </a:lnTo>
                  <a:lnTo>
                    <a:pt x="278" y="388"/>
                  </a:lnTo>
                  <a:lnTo>
                    <a:pt x="278" y="388"/>
                  </a:lnTo>
                  <a:lnTo>
                    <a:pt x="278" y="391"/>
                  </a:lnTo>
                  <a:lnTo>
                    <a:pt x="275" y="393"/>
                  </a:lnTo>
                  <a:lnTo>
                    <a:pt x="275" y="393"/>
                  </a:lnTo>
                  <a:lnTo>
                    <a:pt x="275" y="396"/>
                  </a:lnTo>
                  <a:lnTo>
                    <a:pt x="278" y="396"/>
                  </a:lnTo>
                  <a:lnTo>
                    <a:pt x="278" y="399"/>
                  </a:lnTo>
                  <a:lnTo>
                    <a:pt x="278" y="399"/>
                  </a:lnTo>
                  <a:lnTo>
                    <a:pt x="278" y="401"/>
                  </a:lnTo>
                  <a:lnTo>
                    <a:pt x="283" y="401"/>
                  </a:lnTo>
                  <a:lnTo>
                    <a:pt x="283" y="401"/>
                  </a:lnTo>
                  <a:lnTo>
                    <a:pt x="291" y="399"/>
                  </a:lnTo>
                  <a:lnTo>
                    <a:pt x="294" y="399"/>
                  </a:lnTo>
                  <a:lnTo>
                    <a:pt x="296" y="396"/>
                  </a:lnTo>
                  <a:lnTo>
                    <a:pt x="299" y="396"/>
                  </a:lnTo>
                  <a:lnTo>
                    <a:pt x="302" y="393"/>
                  </a:lnTo>
                  <a:lnTo>
                    <a:pt x="304" y="393"/>
                  </a:lnTo>
                  <a:lnTo>
                    <a:pt x="307" y="396"/>
                  </a:lnTo>
                  <a:lnTo>
                    <a:pt x="304" y="399"/>
                  </a:lnTo>
                  <a:lnTo>
                    <a:pt x="307" y="399"/>
                  </a:lnTo>
                  <a:lnTo>
                    <a:pt x="307" y="401"/>
                  </a:lnTo>
                  <a:lnTo>
                    <a:pt x="307" y="401"/>
                  </a:lnTo>
                  <a:lnTo>
                    <a:pt x="304" y="404"/>
                  </a:lnTo>
                  <a:lnTo>
                    <a:pt x="304" y="409"/>
                  </a:lnTo>
                  <a:lnTo>
                    <a:pt x="304" y="409"/>
                  </a:lnTo>
                  <a:lnTo>
                    <a:pt x="304" y="407"/>
                  </a:lnTo>
                  <a:lnTo>
                    <a:pt x="307" y="407"/>
                  </a:lnTo>
                  <a:lnTo>
                    <a:pt x="307" y="407"/>
                  </a:lnTo>
                  <a:lnTo>
                    <a:pt x="310" y="407"/>
                  </a:lnTo>
                  <a:lnTo>
                    <a:pt x="315" y="407"/>
                  </a:lnTo>
                  <a:lnTo>
                    <a:pt x="318" y="407"/>
                  </a:lnTo>
                  <a:lnTo>
                    <a:pt x="315" y="404"/>
                  </a:lnTo>
                  <a:lnTo>
                    <a:pt x="318" y="404"/>
                  </a:lnTo>
                  <a:lnTo>
                    <a:pt x="320" y="404"/>
                  </a:lnTo>
                  <a:lnTo>
                    <a:pt x="320" y="407"/>
                  </a:lnTo>
                  <a:lnTo>
                    <a:pt x="318" y="407"/>
                  </a:lnTo>
                  <a:lnTo>
                    <a:pt x="320" y="409"/>
                  </a:lnTo>
                  <a:lnTo>
                    <a:pt x="318" y="409"/>
                  </a:lnTo>
                  <a:lnTo>
                    <a:pt x="318" y="412"/>
                  </a:lnTo>
                  <a:lnTo>
                    <a:pt x="318" y="412"/>
                  </a:lnTo>
                  <a:lnTo>
                    <a:pt x="320" y="412"/>
                  </a:lnTo>
                  <a:lnTo>
                    <a:pt x="320" y="415"/>
                  </a:lnTo>
                  <a:lnTo>
                    <a:pt x="318" y="415"/>
                  </a:lnTo>
                  <a:lnTo>
                    <a:pt x="318" y="417"/>
                  </a:lnTo>
                  <a:lnTo>
                    <a:pt x="320" y="415"/>
                  </a:lnTo>
                  <a:lnTo>
                    <a:pt x="323" y="423"/>
                  </a:lnTo>
                  <a:lnTo>
                    <a:pt x="323" y="423"/>
                  </a:lnTo>
                  <a:lnTo>
                    <a:pt x="326" y="423"/>
                  </a:lnTo>
                  <a:lnTo>
                    <a:pt x="326" y="423"/>
                  </a:lnTo>
                  <a:lnTo>
                    <a:pt x="326" y="425"/>
                  </a:lnTo>
                  <a:lnTo>
                    <a:pt x="334" y="431"/>
                  </a:lnTo>
                  <a:lnTo>
                    <a:pt x="336" y="428"/>
                  </a:lnTo>
                  <a:lnTo>
                    <a:pt x="334" y="420"/>
                  </a:lnTo>
                  <a:lnTo>
                    <a:pt x="336" y="417"/>
                  </a:lnTo>
                  <a:lnTo>
                    <a:pt x="336" y="417"/>
                  </a:lnTo>
                  <a:lnTo>
                    <a:pt x="339" y="420"/>
                  </a:lnTo>
                  <a:lnTo>
                    <a:pt x="339" y="420"/>
                  </a:lnTo>
                  <a:lnTo>
                    <a:pt x="342" y="420"/>
                  </a:lnTo>
                  <a:lnTo>
                    <a:pt x="342" y="423"/>
                  </a:lnTo>
                  <a:lnTo>
                    <a:pt x="342" y="433"/>
                  </a:lnTo>
                  <a:lnTo>
                    <a:pt x="342" y="433"/>
                  </a:lnTo>
                  <a:lnTo>
                    <a:pt x="344" y="433"/>
                  </a:lnTo>
                  <a:lnTo>
                    <a:pt x="344" y="433"/>
                  </a:lnTo>
                  <a:lnTo>
                    <a:pt x="347" y="433"/>
                  </a:lnTo>
                  <a:lnTo>
                    <a:pt x="347" y="433"/>
                  </a:lnTo>
                  <a:lnTo>
                    <a:pt x="347" y="436"/>
                  </a:lnTo>
                  <a:lnTo>
                    <a:pt x="347" y="436"/>
                  </a:lnTo>
                  <a:lnTo>
                    <a:pt x="347" y="436"/>
                  </a:lnTo>
                  <a:lnTo>
                    <a:pt x="344" y="436"/>
                  </a:lnTo>
                  <a:lnTo>
                    <a:pt x="344" y="436"/>
                  </a:lnTo>
                  <a:lnTo>
                    <a:pt x="344" y="439"/>
                  </a:lnTo>
                  <a:lnTo>
                    <a:pt x="344" y="439"/>
                  </a:lnTo>
                  <a:lnTo>
                    <a:pt x="344" y="441"/>
                  </a:lnTo>
                  <a:lnTo>
                    <a:pt x="347" y="441"/>
                  </a:lnTo>
                  <a:lnTo>
                    <a:pt x="350" y="439"/>
                  </a:lnTo>
                  <a:lnTo>
                    <a:pt x="355" y="439"/>
                  </a:lnTo>
                  <a:lnTo>
                    <a:pt x="355" y="436"/>
                  </a:lnTo>
                  <a:lnTo>
                    <a:pt x="358" y="439"/>
                  </a:lnTo>
                  <a:lnTo>
                    <a:pt x="358" y="439"/>
                  </a:lnTo>
                  <a:lnTo>
                    <a:pt x="360" y="441"/>
                  </a:lnTo>
                  <a:lnTo>
                    <a:pt x="363" y="441"/>
                  </a:lnTo>
                  <a:lnTo>
                    <a:pt x="360" y="444"/>
                  </a:lnTo>
                  <a:lnTo>
                    <a:pt x="360" y="444"/>
                  </a:lnTo>
                  <a:lnTo>
                    <a:pt x="363" y="447"/>
                  </a:lnTo>
                  <a:lnTo>
                    <a:pt x="363" y="447"/>
                  </a:lnTo>
                  <a:lnTo>
                    <a:pt x="366" y="447"/>
                  </a:lnTo>
                  <a:lnTo>
                    <a:pt x="366" y="447"/>
                  </a:lnTo>
                  <a:lnTo>
                    <a:pt x="368" y="447"/>
                  </a:lnTo>
                  <a:lnTo>
                    <a:pt x="368" y="447"/>
                  </a:lnTo>
                  <a:lnTo>
                    <a:pt x="368" y="444"/>
                  </a:lnTo>
                  <a:lnTo>
                    <a:pt x="371" y="444"/>
                  </a:lnTo>
                  <a:lnTo>
                    <a:pt x="371" y="444"/>
                  </a:lnTo>
                  <a:lnTo>
                    <a:pt x="374" y="444"/>
                  </a:lnTo>
                  <a:lnTo>
                    <a:pt x="374" y="444"/>
                  </a:lnTo>
                  <a:lnTo>
                    <a:pt x="376" y="444"/>
                  </a:lnTo>
                  <a:lnTo>
                    <a:pt x="379" y="444"/>
                  </a:lnTo>
                  <a:lnTo>
                    <a:pt x="379" y="444"/>
                  </a:lnTo>
                  <a:lnTo>
                    <a:pt x="384" y="444"/>
                  </a:lnTo>
                  <a:lnTo>
                    <a:pt x="387" y="444"/>
                  </a:lnTo>
                  <a:lnTo>
                    <a:pt x="387" y="444"/>
                  </a:lnTo>
                  <a:lnTo>
                    <a:pt x="390" y="444"/>
                  </a:lnTo>
                  <a:lnTo>
                    <a:pt x="390" y="447"/>
                  </a:lnTo>
                  <a:lnTo>
                    <a:pt x="390" y="449"/>
                  </a:lnTo>
                  <a:lnTo>
                    <a:pt x="390" y="452"/>
                  </a:lnTo>
                  <a:lnTo>
                    <a:pt x="390" y="452"/>
                  </a:lnTo>
                  <a:lnTo>
                    <a:pt x="392" y="455"/>
                  </a:lnTo>
                  <a:lnTo>
                    <a:pt x="392" y="455"/>
                  </a:lnTo>
                  <a:lnTo>
                    <a:pt x="392" y="457"/>
                  </a:lnTo>
                  <a:lnTo>
                    <a:pt x="390" y="457"/>
                  </a:lnTo>
                  <a:lnTo>
                    <a:pt x="390" y="457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0" y="460"/>
                  </a:lnTo>
                  <a:lnTo>
                    <a:pt x="392" y="463"/>
                  </a:lnTo>
                  <a:lnTo>
                    <a:pt x="392" y="463"/>
                  </a:lnTo>
                  <a:lnTo>
                    <a:pt x="395" y="463"/>
                  </a:lnTo>
                  <a:lnTo>
                    <a:pt x="398" y="463"/>
                  </a:lnTo>
                  <a:lnTo>
                    <a:pt x="398" y="465"/>
                  </a:lnTo>
                  <a:lnTo>
                    <a:pt x="398" y="468"/>
                  </a:lnTo>
                  <a:lnTo>
                    <a:pt x="400" y="468"/>
                  </a:lnTo>
                  <a:lnTo>
                    <a:pt x="400" y="468"/>
                  </a:lnTo>
                  <a:lnTo>
                    <a:pt x="403" y="465"/>
                  </a:lnTo>
                  <a:lnTo>
                    <a:pt x="406" y="468"/>
                  </a:lnTo>
                  <a:lnTo>
                    <a:pt x="403" y="471"/>
                  </a:lnTo>
                  <a:lnTo>
                    <a:pt x="403" y="471"/>
                  </a:lnTo>
                  <a:lnTo>
                    <a:pt x="403" y="473"/>
                  </a:lnTo>
                  <a:lnTo>
                    <a:pt x="403" y="476"/>
                  </a:lnTo>
                  <a:lnTo>
                    <a:pt x="403" y="479"/>
                  </a:lnTo>
                  <a:lnTo>
                    <a:pt x="395" y="489"/>
                  </a:lnTo>
                  <a:lnTo>
                    <a:pt x="398" y="492"/>
                  </a:lnTo>
                  <a:lnTo>
                    <a:pt x="403" y="492"/>
                  </a:lnTo>
                  <a:lnTo>
                    <a:pt x="406" y="495"/>
                  </a:lnTo>
                  <a:lnTo>
                    <a:pt x="408" y="495"/>
                  </a:lnTo>
                  <a:lnTo>
                    <a:pt x="408" y="497"/>
                  </a:lnTo>
                  <a:lnTo>
                    <a:pt x="408" y="500"/>
                  </a:lnTo>
                  <a:lnTo>
                    <a:pt x="408" y="503"/>
                  </a:lnTo>
                  <a:lnTo>
                    <a:pt x="408" y="505"/>
                  </a:lnTo>
                  <a:lnTo>
                    <a:pt x="408" y="508"/>
                  </a:lnTo>
                  <a:lnTo>
                    <a:pt x="411" y="508"/>
                  </a:lnTo>
                  <a:lnTo>
                    <a:pt x="411" y="508"/>
                  </a:lnTo>
                  <a:lnTo>
                    <a:pt x="411" y="511"/>
                  </a:lnTo>
                  <a:lnTo>
                    <a:pt x="411" y="511"/>
                  </a:lnTo>
                  <a:lnTo>
                    <a:pt x="408" y="513"/>
                  </a:lnTo>
                  <a:lnTo>
                    <a:pt x="408" y="513"/>
                  </a:lnTo>
                  <a:lnTo>
                    <a:pt x="406" y="513"/>
                  </a:lnTo>
                  <a:lnTo>
                    <a:pt x="406" y="516"/>
                  </a:lnTo>
                  <a:lnTo>
                    <a:pt x="406" y="519"/>
                  </a:lnTo>
                  <a:lnTo>
                    <a:pt x="403" y="519"/>
                  </a:lnTo>
                  <a:lnTo>
                    <a:pt x="400" y="519"/>
                  </a:lnTo>
                  <a:lnTo>
                    <a:pt x="398" y="519"/>
                  </a:lnTo>
                  <a:lnTo>
                    <a:pt x="395" y="519"/>
                  </a:lnTo>
                  <a:lnTo>
                    <a:pt x="395" y="522"/>
                  </a:lnTo>
                  <a:lnTo>
                    <a:pt x="392" y="524"/>
                  </a:lnTo>
                  <a:lnTo>
                    <a:pt x="392" y="527"/>
                  </a:lnTo>
                  <a:lnTo>
                    <a:pt x="392" y="527"/>
                  </a:lnTo>
                  <a:lnTo>
                    <a:pt x="390" y="530"/>
                  </a:lnTo>
                  <a:lnTo>
                    <a:pt x="390" y="530"/>
                  </a:lnTo>
                  <a:lnTo>
                    <a:pt x="387" y="530"/>
                  </a:lnTo>
                  <a:lnTo>
                    <a:pt x="387" y="532"/>
                  </a:lnTo>
                  <a:lnTo>
                    <a:pt x="390" y="532"/>
                  </a:lnTo>
                  <a:lnTo>
                    <a:pt x="390" y="532"/>
                  </a:lnTo>
                  <a:lnTo>
                    <a:pt x="390" y="535"/>
                  </a:lnTo>
                  <a:lnTo>
                    <a:pt x="390" y="535"/>
                  </a:lnTo>
                  <a:lnTo>
                    <a:pt x="387" y="535"/>
                  </a:lnTo>
                  <a:lnTo>
                    <a:pt x="390" y="535"/>
                  </a:lnTo>
                  <a:lnTo>
                    <a:pt x="390" y="538"/>
                  </a:lnTo>
                  <a:lnTo>
                    <a:pt x="390" y="540"/>
                  </a:lnTo>
                  <a:lnTo>
                    <a:pt x="390" y="540"/>
                  </a:lnTo>
                  <a:lnTo>
                    <a:pt x="387" y="543"/>
                  </a:lnTo>
                  <a:lnTo>
                    <a:pt x="384" y="543"/>
                  </a:lnTo>
                  <a:lnTo>
                    <a:pt x="384" y="546"/>
                  </a:lnTo>
                  <a:lnTo>
                    <a:pt x="384" y="546"/>
                  </a:lnTo>
                  <a:lnTo>
                    <a:pt x="384" y="548"/>
                  </a:lnTo>
                  <a:lnTo>
                    <a:pt x="384" y="548"/>
                  </a:lnTo>
                  <a:lnTo>
                    <a:pt x="382" y="551"/>
                  </a:lnTo>
                  <a:lnTo>
                    <a:pt x="382" y="551"/>
                  </a:lnTo>
                  <a:lnTo>
                    <a:pt x="382" y="554"/>
                  </a:lnTo>
                  <a:lnTo>
                    <a:pt x="384" y="554"/>
                  </a:lnTo>
                  <a:lnTo>
                    <a:pt x="384" y="556"/>
                  </a:lnTo>
                  <a:lnTo>
                    <a:pt x="384" y="556"/>
                  </a:lnTo>
                  <a:lnTo>
                    <a:pt x="382" y="559"/>
                  </a:lnTo>
                  <a:lnTo>
                    <a:pt x="382" y="559"/>
                  </a:lnTo>
                  <a:lnTo>
                    <a:pt x="382" y="559"/>
                  </a:lnTo>
                  <a:lnTo>
                    <a:pt x="382" y="562"/>
                  </a:lnTo>
                  <a:lnTo>
                    <a:pt x="382" y="564"/>
                  </a:lnTo>
                  <a:lnTo>
                    <a:pt x="382" y="564"/>
                  </a:lnTo>
                  <a:lnTo>
                    <a:pt x="382" y="564"/>
                  </a:lnTo>
                  <a:lnTo>
                    <a:pt x="382" y="567"/>
                  </a:lnTo>
                  <a:lnTo>
                    <a:pt x="382" y="567"/>
                  </a:lnTo>
                  <a:lnTo>
                    <a:pt x="382" y="567"/>
                  </a:lnTo>
                  <a:lnTo>
                    <a:pt x="384" y="570"/>
                  </a:lnTo>
                  <a:lnTo>
                    <a:pt x="384" y="570"/>
                  </a:lnTo>
                  <a:lnTo>
                    <a:pt x="384" y="570"/>
                  </a:lnTo>
                  <a:lnTo>
                    <a:pt x="384" y="572"/>
                  </a:lnTo>
                  <a:lnTo>
                    <a:pt x="384" y="572"/>
                  </a:lnTo>
                  <a:lnTo>
                    <a:pt x="387" y="575"/>
                  </a:lnTo>
                  <a:lnTo>
                    <a:pt x="387" y="575"/>
                  </a:lnTo>
                  <a:lnTo>
                    <a:pt x="387" y="578"/>
                  </a:lnTo>
                  <a:lnTo>
                    <a:pt x="387" y="578"/>
                  </a:lnTo>
                  <a:lnTo>
                    <a:pt x="390" y="580"/>
                  </a:lnTo>
                  <a:lnTo>
                    <a:pt x="390" y="580"/>
                  </a:lnTo>
                  <a:lnTo>
                    <a:pt x="390" y="580"/>
                  </a:lnTo>
                  <a:lnTo>
                    <a:pt x="390" y="583"/>
                  </a:lnTo>
                  <a:lnTo>
                    <a:pt x="387" y="586"/>
                  </a:lnTo>
                  <a:lnTo>
                    <a:pt x="387" y="586"/>
                  </a:lnTo>
                  <a:lnTo>
                    <a:pt x="384" y="588"/>
                  </a:lnTo>
                  <a:lnTo>
                    <a:pt x="382" y="591"/>
                  </a:lnTo>
                  <a:lnTo>
                    <a:pt x="376" y="594"/>
                  </a:lnTo>
                  <a:lnTo>
                    <a:pt x="371" y="599"/>
                  </a:lnTo>
                  <a:lnTo>
                    <a:pt x="366" y="602"/>
                  </a:lnTo>
                  <a:lnTo>
                    <a:pt x="360" y="607"/>
                  </a:lnTo>
                  <a:lnTo>
                    <a:pt x="358" y="607"/>
                  </a:lnTo>
                  <a:lnTo>
                    <a:pt x="355" y="607"/>
                  </a:lnTo>
                  <a:lnTo>
                    <a:pt x="355" y="610"/>
                  </a:lnTo>
                  <a:lnTo>
                    <a:pt x="352" y="612"/>
                  </a:lnTo>
                  <a:lnTo>
                    <a:pt x="352" y="612"/>
                  </a:lnTo>
                  <a:lnTo>
                    <a:pt x="352" y="615"/>
                  </a:lnTo>
                  <a:lnTo>
                    <a:pt x="350" y="615"/>
                  </a:lnTo>
                  <a:lnTo>
                    <a:pt x="350" y="618"/>
                  </a:lnTo>
                  <a:lnTo>
                    <a:pt x="350" y="618"/>
                  </a:lnTo>
                  <a:lnTo>
                    <a:pt x="350" y="618"/>
                  </a:lnTo>
                  <a:lnTo>
                    <a:pt x="350" y="620"/>
                  </a:lnTo>
                  <a:lnTo>
                    <a:pt x="350" y="620"/>
                  </a:lnTo>
                  <a:lnTo>
                    <a:pt x="350" y="623"/>
                  </a:lnTo>
                  <a:lnTo>
                    <a:pt x="350" y="623"/>
                  </a:lnTo>
                  <a:lnTo>
                    <a:pt x="350" y="623"/>
                  </a:lnTo>
                  <a:lnTo>
                    <a:pt x="347" y="626"/>
                  </a:lnTo>
                  <a:lnTo>
                    <a:pt x="347" y="626"/>
                  </a:lnTo>
                  <a:lnTo>
                    <a:pt x="347" y="628"/>
                  </a:lnTo>
                  <a:lnTo>
                    <a:pt x="344" y="631"/>
                  </a:lnTo>
                  <a:lnTo>
                    <a:pt x="342" y="634"/>
                  </a:lnTo>
                  <a:lnTo>
                    <a:pt x="342" y="634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6" y="634"/>
                  </a:lnTo>
                  <a:lnTo>
                    <a:pt x="334" y="634"/>
                  </a:lnTo>
                  <a:lnTo>
                    <a:pt x="331" y="634"/>
                  </a:lnTo>
                  <a:lnTo>
                    <a:pt x="331" y="634"/>
                  </a:lnTo>
                  <a:lnTo>
                    <a:pt x="328" y="634"/>
                  </a:lnTo>
                  <a:lnTo>
                    <a:pt x="328" y="634"/>
                  </a:lnTo>
                  <a:lnTo>
                    <a:pt x="328" y="634"/>
                  </a:lnTo>
                  <a:lnTo>
                    <a:pt x="326" y="636"/>
                  </a:lnTo>
                  <a:lnTo>
                    <a:pt x="326" y="636"/>
                  </a:lnTo>
                  <a:lnTo>
                    <a:pt x="326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39"/>
                  </a:lnTo>
                  <a:lnTo>
                    <a:pt x="323" y="642"/>
                  </a:lnTo>
                  <a:lnTo>
                    <a:pt x="323" y="642"/>
                  </a:lnTo>
                  <a:lnTo>
                    <a:pt x="320" y="642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20" y="644"/>
                  </a:lnTo>
                  <a:lnTo>
                    <a:pt x="318" y="647"/>
                  </a:lnTo>
                  <a:lnTo>
                    <a:pt x="318" y="650"/>
                  </a:lnTo>
                  <a:lnTo>
                    <a:pt x="315" y="650"/>
                  </a:lnTo>
                  <a:lnTo>
                    <a:pt x="315" y="652"/>
                  </a:lnTo>
                  <a:lnTo>
                    <a:pt x="315" y="652"/>
                  </a:lnTo>
                  <a:lnTo>
                    <a:pt x="312" y="655"/>
                  </a:lnTo>
                  <a:lnTo>
                    <a:pt x="312" y="655"/>
                  </a:lnTo>
                  <a:lnTo>
                    <a:pt x="310" y="655"/>
                  </a:lnTo>
                  <a:lnTo>
                    <a:pt x="310" y="655"/>
                  </a:lnTo>
                  <a:lnTo>
                    <a:pt x="307" y="658"/>
                  </a:lnTo>
                  <a:lnTo>
                    <a:pt x="307" y="658"/>
                  </a:lnTo>
                  <a:lnTo>
                    <a:pt x="307" y="660"/>
                  </a:lnTo>
                  <a:lnTo>
                    <a:pt x="307" y="660"/>
                  </a:lnTo>
                  <a:lnTo>
                    <a:pt x="307" y="663"/>
                  </a:lnTo>
                  <a:lnTo>
                    <a:pt x="310" y="666"/>
                  </a:lnTo>
                  <a:lnTo>
                    <a:pt x="310" y="666"/>
                  </a:lnTo>
                  <a:lnTo>
                    <a:pt x="310" y="668"/>
                  </a:lnTo>
                  <a:lnTo>
                    <a:pt x="310" y="668"/>
                  </a:lnTo>
                  <a:lnTo>
                    <a:pt x="312" y="668"/>
                  </a:lnTo>
                  <a:lnTo>
                    <a:pt x="312" y="671"/>
                  </a:lnTo>
                  <a:lnTo>
                    <a:pt x="315" y="674"/>
                  </a:lnTo>
                  <a:lnTo>
                    <a:pt x="318" y="674"/>
                  </a:lnTo>
                  <a:lnTo>
                    <a:pt x="315" y="674"/>
                  </a:lnTo>
                  <a:lnTo>
                    <a:pt x="318" y="676"/>
                  </a:lnTo>
                  <a:lnTo>
                    <a:pt x="318" y="676"/>
                  </a:lnTo>
                  <a:lnTo>
                    <a:pt x="320" y="676"/>
                  </a:lnTo>
                  <a:lnTo>
                    <a:pt x="320" y="679"/>
                  </a:lnTo>
                  <a:lnTo>
                    <a:pt x="323" y="682"/>
                  </a:lnTo>
                  <a:lnTo>
                    <a:pt x="326" y="682"/>
                  </a:lnTo>
                  <a:lnTo>
                    <a:pt x="328" y="685"/>
                  </a:lnTo>
                  <a:lnTo>
                    <a:pt x="328" y="685"/>
                  </a:lnTo>
                  <a:lnTo>
                    <a:pt x="328" y="687"/>
                  </a:lnTo>
                  <a:lnTo>
                    <a:pt x="331" y="690"/>
                  </a:lnTo>
                  <a:lnTo>
                    <a:pt x="331" y="690"/>
                  </a:lnTo>
                  <a:lnTo>
                    <a:pt x="334" y="693"/>
                  </a:lnTo>
                  <a:lnTo>
                    <a:pt x="334" y="693"/>
                  </a:lnTo>
                  <a:lnTo>
                    <a:pt x="336" y="693"/>
                  </a:lnTo>
                  <a:lnTo>
                    <a:pt x="336" y="693"/>
                  </a:lnTo>
                  <a:lnTo>
                    <a:pt x="339" y="693"/>
                  </a:lnTo>
                  <a:lnTo>
                    <a:pt x="344" y="695"/>
                  </a:lnTo>
                  <a:lnTo>
                    <a:pt x="344" y="698"/>
                  </a:lnTo>
                  <a:lnTo>
                    <a:pt x="344" y="701"/>
                  </a:lnTo>
                  <a:lnTo>
                    <a:pt x="344" y="703"/>
                  </a:lnTo>
                  <a:lnTo>
                    <a:pt x="347" y="703"/>
                  </a:lnTo>
                  <a:lnTo>
                    <a:pt x="344" y="703"/>
                  </a:lnTo>
                  <a:lnTo>
                    <a:pt x="344" y="706"/>
                  </a:lnTo>
                  <a:lnTo>
                    <a:pt x="344" y="706"/>
                  </a:lnTo>
                  <a:lnTo>
                    <a:pt x="344" y="709"/>
                  </a:lnTo>
                  <a:lnTo>
                    <a:pt x="344" y="709"/>
                  </a:lnTo>
                  <a:lnTo>
                    <a:pt x="344" y="711"/>
                  </a:lnTo>
                  <a:lnTo>
                    <a:pt x="344" y="711"/>
                  </a:lnTo>
                  <a:lnTo>
                    <a:pt x="344" y="711"/>
                  </a:lnTo>
                  <a:lnTo>
                    <a:pt x="344" y="714"/>
                  </a:lnTo>
                  <a:lnTo>
                    <a:pt x="342" y="714"/>
                  </a:lnTo>
                  <a:lnTo>
                    <a:pt x="342" y="717"/>
                  </a:lnTo>
                  <a:lnTo>
                    <a:pt x="342" y="717"/>
                  </a:lnTo>
                  <a:lnTo>
                    <a:pt x="342" y="717"/>
                  </a:lnTo>
                  <a:lnTo>
                    <a:pt x="342" y="719"/>
                  </a:lnTo>
                  <a:lnTo>
                    <a:pt x="339" y="719"/>
                  </a:lnTo>
                  <a:lnTo>
                    <a:pt x="334" y="719"/>
                  </a:lnTo>
                  <a:lnTo>
                    <a:pt x="331" y="719"/>
                  </a:lnTo>
                  <a:lnTo>
                    <a:pt x="334" y="722"/>
                  </a:lnTo>
                  <a:lnTo>
                    <a:pt x="334" y="722"/>
                  </a:lnTo>
                  <a:lnTo>
                    <a:pt x="331" y="725"/>
                  </a:lnTo>
                  <a:lnTo>
                    <a:pt x="331" y="725"/>
                  </a:lnTo>
                  <a:lnTo>
                    <a:pt x="331" y="725"/>
                  </a:lnTo>
                  <a:lnTo>
                    <a:pt x="331" y="727"/>
                  </a:lnTo>
                  <a:lnTo>
                    <a:pt x="328" y="727"/>
                  </a:lnTo>
                  <a:lnTo>
                    <a:pt x="328" y="730"/>
                  </a:lnTo>
                  <a:lnTo>
                    <a:pt x="331" y="730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8" y="733"/>
                  </a:lnTo>
                  <a:lnTo>
                    <a:pt x="326" y="735"/>
                  </a:lnTo>
                  <a:lnTo>
                    <a:pt x="326" y="735"/>
                  </a:lnTo>
                  <a:lnTo>
                    <a:pt x="326" y="738"/>
                  </a:lnTo>
                  <a:lnTo>
                    <a:pt x="326" y="738"/>
                  </a:lnTo>
                  <a:lnTo>
                    <a:pt x="328" y="741"/>
                  </a:lnTo>
                  <a:lnTo>
                    <a:pt x="328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1"/>
                  </a:lnTo>
                  <a:lnTo>
                    <a:pt x="331" y="743"/>
                  </a:lnTo>
                  <a:lnTo>
                    <a:pt x="331" y="746"/>
                  </a:lnTo>
                  <a:lnTo>
                    <a:pt x="331" y="746"/>
                  </a:lnTo>
                  <a:lnTo>
                    <a:pt x="331" y="749"/>
                  </a:lnTo>
                  <a:lnTo>
                    <a:pt x="334" y="749"/>
                  </a:lnTo>
                  <a:lnTo>
                    <a:pt x="334" y="749"/>
                  </a:lnTo>
                  <a:lnTo>
                    <a:pt x="334" y="749"/>
                  </a:lnTo>
                  <a:lnTo>
                    <a:pt x="334" y="751"/>
                  </a:lnTo>
                  <a:lnTo>
                    <a:pt x="334" y="751"/>
                  </a:lnTo>
                  <a:lnTo>
                    <a:pt x="336" y="751"/>
                  </a:lnTo>
                  <a:lnTo>
                    <a:pt x="336" y="751"/>
                  </a:lnTo>
                  <a:lnTo>
                    <a:pt x="336" y="751"/>
                  </a:lnTo>
                  <a:lnTo>
                    <a:pt x="336" y="754"/>
                  </a:lnTo>
                  <a:lnTo>
                    <a:pt x="336" y="754"/>
                  </a:lnTo>
                  <a:lnTo>
                    <a:pt x="336" y="757"/>
                  </a:lnTo>
                  <a:lnTo>
                    <a:pt x="336" y="757"/>
                  </a:lnTo>
                  <a:lnTo>
                    <a:pt x="336" y="757"/>
                  </a:lnTo>
                  <a:lnTo>
                    <a:pt x="336" y="759"/>
                  </a:lnTo>
                  <a:lnTo>
                    <a:pt x="336" y="759"/>
                  </a:lnTo>
                  <a:lnTo>
                    <a:pt x="334" y="759"/>
                  </a:lnTo>
                  <a:lnTo>
                    <a:pt x="334" y="759"/>
                  </a:lnTo>
                  <a:lnTo>
                    <a:pt x="334" y="762"/>
                  </a:lnTo>
                  <a:lnTo>
                    <a:pt x="336" y="762"/>
                  </a:lnTo>
                  <a:lnTo>
                    <a:pt x="336" y="762"/>
                  </a:lnTo>
                  <a:lnTo>
                    <a:pt x="336" y="762"/>
                  </a:lnTo>
                  <a:lnTo>
                    <a:pt x="339" y="762"/>
                  </a:lnTo>
                  <a:lnTo>
                    <a:pt x="339" y="765"/>
                  </a:lnTo>
                  <a:lnTo>
                    <a:pt x="336" y="765"/>
                  </a:lnTo>
                  <a:lnTo>
                    <a:pt x="336" y="770"/>
                  </a:lnTo>
                  <a:lnTo>
                    <a:pt x="336" y="778"/>
                  </a:lnTo>
                  <a:lnTo>
                    <a:pt x="336" y="794"/>
                  </a:lnTo>
                  <a:lnTo>
                    <a:pt x="339" y="797"/>
                  </a:lnTo>
                  <a:lnTo>
                    <a:pt x="339" y="802"/>
                  </a:lnTo>
                  <a:lnTo>
                    <a:pt x="344" y="807"/>
                  </a:lnTo>
                  <a:lnTo>
                    <a:pt x="344" y="813"/>
                  </a:lnTo>
                  <a:lnTo>
                    <a:pt x="355" y="818"/>
                  </a:lnTo>
                  <a:lnTo>
                    <a:pt x="366" y="821"/>
                  </a:lnTo>
                  <a:lnTo>
                    <a:pt x="371" y="823"/>
                  </a:lnTo>
                  <a:lnTo>
                    <a:pt x="374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6" y="823"/>
                  </a:lnTo>
                  <a:lnTo>
                    <a:pt x="379" y="823"/>
                  </a:lnTo>
                  <a:lnTo>
                    <a:pt x="379" y="823"/>
                  </a:lnTo>
                  <a:lnTo>
                    <a:pt x="379" y="821"/>
                  </a:lnTo>
                  <a:lnTo>
                    <a:pt x="382" y="821"/>
                  </a:lnTo>
                  <a:lnTo>
                    <a:pt x="379" y="821"/>
                  </a:lnTo>
                  <a:lnTo>
                    <a:pt x="379" y="818"/>
                  </a:lnTo>
                  <a:lnTo>
                    <a:pt x="382" y="818"/>
                  </a:lnTo>
                  <a:lnTo>
                    <a:pt x="382" y="815"/>
                  </a:lnTo>
                  <a:lnTo>
                    <a:pt x="384" y="815"/>
                  </a:lnTo>
                  <a:lnTo>
                    <a:pt x="384" y="815"/>
                  </a:lnTo>
                  <a:lnTo>
                    <a:pt x="384" y="815"/>
                  </a:lnTo>
                  <a:lnTo>
                    <a:pt x="384" y="813"/>
                  </a:lnTo>
                  <a:lnTo>
                    <a:pt x="384" y="813"/>
                  </a:lnTo>
                  <a:lnTo>
                    <a:pt x="387" y="813"/>
                  </a:lnTo>
                  <a:lnTo>
                    <a:pt x="387" y="813"/>
                  </a:lnTo>
                  <a:lnTo>
                    <a:pt x="390" y="810"/>
                  </a:lnTo>
                  <a:lnTo>
                    <a:pt x="390" y="807"/>
                  </a:lnTo>
                  <a:lnTo>
                    <a:pt x="392" y="807"/>
                  </a:lnTo>
                  <a:lnTo>
                    <a:pt x="392" y="807"/>
                  </a:lnTo>
                  <a:lnTo>
                    <a:pt x="395" y="807"/>
                  </a:lnTo>
                  <a:lnTo>
                    <a:pt x="395" y="805"/>
                  </a:lnTo>
                  <a:lnTo>
                    <a:pt x="395" y="805"/>
                  </a:lnTo>
                  <a:lnTo>
                    <a:pt x="395" y="802"/>
                  </a:lnTo>
                  <a:lnTo>
                    <a:pt x="395" y="802"/>
                  </a:lnTo>
                  <a:lnTo>
                    <a:pt x="395" y="799"/>
                  </a:lnTo>
                  <a:lnTo>
                    <a:pt x="398" y="797"/>
                  </a:lnTo>
                  <a:lnTo>
                    <a:pt x="398" y="797"/>
                  </a:lnTo>
                  <a:lnTo>
                    <a:pt x="400" y="797"/>
                  </a:lnTo>
                  <a:lnTo>
                    <a:pt x="398" y="794"/>
                  </a:lnTo>
                  <a:lnTo>
                    <a:pt x="398" y="794"/>
                  </a:lnTo>
                  <a:lnTo>
                    <a:pt x="398" y="794"/>
                  </a:lnTo>
                  <a:lnTo>
                    <a:pt x="400" y="794"/>
                  </a:lnTo>
                  <a:lnTo>
                    <a:pt x="400" y="794"/>
                  </a:lnTo>
                  <a:lnTo>
                    <a:pt x="400" y="794"/>
                  </a:lnTo>
                  <a:lnTo>
                    <a:pt x="400" y="791"/>
                  </a:lnTo>
                  <a:lnTo>
                    <a:pt x="400" y="791"/>
                  </a:lnTo>
                  <a:lnTo>
                    <a:pt x="400" y="789"/>
                  </a:lnTo>
                  <a:lnTo>
                    <a:pt x="400" y="789"/>
                  </a:lnTo>
                  <a:lnTo>
                    <a:pt x="403" y="789"/>
                  </a:lnTo>
                  <a:lnTo>
                    <a:pt x="403" y="791"/>
                  </a:lnTo>
                  <a:lnTo>
                    <a:pt x="403" y="791"/>
                  </a:lnTo>
                  <a:lnTo>
                    <a:pt x="406" y="791"/>
                  </a:lnTo>
                  <a:lnTo>
                    <a:pt x="406" y="791"/>
                  </a:lnTo>
                  <a:lnTo>
                    <a:pt x="408" y="791"/>
                  </a:lnTo>
                  <a:lnTo>
                    <a:pt x="408" y="791"/>
                  </a:lnTo>
                  <a:lnTo>
                    <a:pt x="411" y="791"/>
                  </a:lnTo>
                  <a:lnTo>
                    <a:pt x="411" y="791"/>
                  </a:lnTo>
                  <a:lnTo>
                    <a:pt x="411" y="789"/>
                  </a:lnTo>
                  <a:lnTo>
                    <a:pt x="411" y="789"/>
                  </a:lnTo>
                  <a:lnTo>
                    <a:pt x="411" y="789"/>
                  </a:lnTo>
                  <a:lnTo>
                    <a:pt x="411" y="786"/>
                  </a:lnTo>
                  <a:lnTo>
                    <a:pt x="411" y="786"/>
                  </a:lnTo>
                  <a:lnTo>
                    <a:pt x="411" y="783"/>
                  </a:lnTo>
                  <a:lnTo>
                    <a:pt x="411" y="783"/>
                  </a:lnTo>
                  <a:lnTo>
                    <a:pt x="411" y="781"/>
                  </a:lnTo>
                  <a:lnTo>
                    <a:pt x="411" y="781"/>
                  </a:lnTo>
                  <a:lnTo>
                    <a:pt x="408" y="778"/>
                  </a:lnTo>
                  <a:lnTo>
                    <a:pt x="408" y="775"/>
                  </a:lnTo>
                  <a:lnTo>
                    <a:pt x="411" y="775"/>
                  </a:lnTo>
                  <a:lnTo>
                    <a:pt x="411" y="773"/>
                  </a:lnTo>
                  <a:lnTo>
                    <a:pt x="411" y="773"/>
                  </a:lnTo>
                  <a:lnTo>
                    <a:pt x="411" y="770"/>
                  </a:lnTo>
                  <a:lnTo>
                    <a:pt x="411" y="770"/>
                  </a:lnTo>
                  <a:lnTo>
                    <a:pt x="414" y="767"/>
                  </a:lnTo>
                  <a:lnTo>
                    <a:pt x="414" y="770"/>
                  </a:lnTo>
                  <a:lnTo>
                    <a:pt x="416" y="770"/>
                  </a:lnTo>
                  <a:lnTo>
                    <a:pt x="416" y="770"/>
                  </a:lnTo>
                  <a:lnTo>
                    <a:pt x="419" y="773"/>
                  </a:lnTo>
                  <a:lnTo>
                    <a:pt x="419" y="775"/>
                  </a:lnTo>
                  <a:lnTo>
                    <a:pt x="422" y="775"/>
                  </a:lnTo>
                  <a:lnTo>
                    <a:pt x="422" y="775"/>
                  </a:lnTo>
                  <a:lnTo>
                    <a:pt x="424" y="778"/>
                  </a:lnTo>
                  <a:lnTo>
                    <a:pt x="424" y="778"/>
                  </a:lnTo>
                  <a:lnTo>
                    <a:pt x="424" y="778"/>
                  </a:lnTo>
                  <a:lnTo>
                    <a:pt x="427" y="781"/>
                  </a:lnTo>
                  <a:lnTo>
                    <a:pt x="430" y="781"/>
                  </a:lnTo>
                  <a:lnTo>
                    <a:pt x="430" y="783"/>
                  </a:lnTo>
                  <a:lnTo>
                    <a:pt x="432" y="783"/>
                  </a:lnTo>
                  <a:lnTo>
                    <a:pt x="435" y="781"/>
                  </a:lnTo>
                  <a:lnTo>
                    <a:pt x="435" y="781"/>
                  </a:lnTo>
                  <a:lnTo>
                    <a:pt x="432" y="781"/>
                  </a:lnTo>
                  <a:lnTo>
                    <a:pt x="432" y="778"/>
                  </a:lnTo>
                  <a:lnTo>
                    <a:pt x="435" y="778"/>
                  </a:lnTo>
                  <a:lnTo>
                    <a:pt x="435" y="778"/>
                  </a:lnTo>
                  <a:lnTo>
                    <a:pt x="435" y="775"/>
                  </a:lnTo>
                  <a:lnTo>
                    <a:pt x="432" y="775"/>
                  </a:lnTo>
                  <a:lnTo>
                    <a:pt x="432" y="775"/>
                  </a:lnTo>
                  <a:lnTo>
                    <a:pt x="432" y="775"/>
                  </a:lnTo>
                  <a:lnTo>
                    <a:pt x="432" y="773"/>
                  </a:lnTo>
                  <a:lnTo>
                    <a:pt x="432" y="770"/>
                  </a:lnTo>
                  <a:lnTo>
                    <a:pt x="432" y="770"/>
                  </a:lnTo>
                  <a:lnTo>
                    <a:pt x="432" y="770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27" y="767"/>
                  </a:lnTo>
                  <a:lnTo>
                    <a:pt x="427" y="767"/>
                  </a:lnTo>
                  <a:lnTo>
                    <a:pt x="427" y="765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30" y="767"/>
                  </a:lnTo>
                  <a:lnTo>
                    <a:pt x="430" y="765"/>
                  </a:lnTo>
                  <a:lnTo>
                    <a:pt x="430" y="765"/>
                  </a:lnTo>
                  <a:lnTo>
                    <a:pt x="430" y="765"/>
                  </a:lnTo>
                  <a:lnTo>
                    <a:pt x="427" y="765"/>
                  </a:lnTo>
                  <a:lnTo>
                    <a:pt x="427" y="762"/>
                  </a:lnTo>
                  <a:lnTo>
                    <a:pt x="424" y="762"/>
                  </a:lnTo>
                  <a:lnTo>
                    <a:pt x="422" y="759"/>
                  </a:lnTo>
                  <a:lnTo>
                    <a:pt x="422" y="759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2" y="757"/>
                  </a:lnTo>
                  <a:lnTo>
                    <a:pt x="424" y="757"/>
                  </a:lnTo>
                  <a:lnTo>
                    <a:pt x="424" y="757"/>
                  </a:lnTo>
                  <a:lnTo>
                    <a:pt x="427" y="757"/>
                  </a:lnTo>
                  <a:lnTo>
                    <a:pt x="427" y="757"/>
                  </a:lnTo>
                  <a:lnTo>
                    <a:pt x="427" y="754"/>
                  </a:lnTo>
                  <a:lnTo>
                    <a:pt x="430" y="754"/>
                  </a:lnTo>
                  <a:lnTo>
                    <a:pt x="432" y="751"/>
                  </a:lnTo>
                  <a:lnTo>
                    <a:pt x="432" y="754"/>
                  </a:lnTo>
                  <a:lnTo>
                    <a:pt x="432" y="754"/>
                  </a:lnTo>
                  <a:lnTo>
                    <a:pt x="435" y="754"/>
                  </a:lnTo>
                  <a:lnTo>
                    <a:pt x="435" y="754"/>
                  </a:lnTo>
                  <a:lnTo>
                    <a:pt x="438" y="754"/>
                  </a:lnTo>
                  <a:lnTo>
                    <a:pt x="438" y="754"/>
                  </a:lnTo>
                  <a:lnTo>
                    <a:pt x="440" y="754"/>
                  </a:lnTo>
                  <a:lnTo>
                    <a:pt x="440" y="754"/>
                  </a:lnTo>
                  <a:lnTo>
                    <a:pt x="443" y="757"/>
                  </a:lnTo>
                  <a:lnTo>
                    <a:pt x="443" y="757"/>
                  </a:lnTo>
                  <a:lnTo>
                    <a:pt x="446" y="757"/>
                  </a:lnTo>
                  <a:lnTo>
                    <a:pt x="446" y="757"/>
                  </a:lnTo>
                  <a:lnTo>
                    <a:pt x="446" y="757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59"/>
                  </a:lnTo>
                  <a:lnTo>
                    <a:pt x="446" y="762"/>
                  </a:lnTo>
                  <a:lnTo>
                    <a:pt x="446" y="762"/>
                  </a:lnTo>
                  <a:lnTo>
                    <a:pt x="446" y="762"/>
                  </a:lnTo>
                  <a:lnTo>
                    <a:pt x="446" y="765"/>
                  </a:lnTo>
                  <a:lnTo>
                    <a:pt x="446" y="765"/>
                  </a:lnTo>
                  <a:lnTo>
                    <a:pt x="446" y="765"/>
                  </a:lnTo>
                  <a:lnTo>
                    <a:pt x="446" y="767"/>
                  </a:lnTo>
                  <a:lnTo>
                    <a:pt x="448" y="767"/>
                  </a:lnTo>
                  <a:lnTo>
                    <a:pt x="448" y="767"/>
                  </a:lnTo>
                  <a:lnTo>
                    <a:pt x="448" y="767"/>
                  </a:lnTo>
                  <a:lnTo>
                    <a:pt x="448" y="770"/>
                  </a:lnTo>
                  <a:lnTo>
                    <a:pt x="451" y="770"/>
                  </a:lnTo>
                  <a:lnTo>
                    <a:pt x="451" y="773"/>
                  </a:lnTo>
                  <a:lnTo>
                    <a:pt x="451" y="773"/>
                  </a:lnTo>
                  <a:lnTo>
                    <a:pt x="451" y="773"/>
                  </a:lnTo>
                  <a:lnTo>
                    <a:pt x="451" y="775"/>
                  </a:lnTo>
                  <a:lnTo>
                    <a:pt x="454" y="775"/>
                  </a:lnTo>
                  <a:lnTo>
                    <a:pt x="454" y="775"/>
                  </a:lnTo>
                  <a:lnTo>
                    <a:pt x="454" y="778"/>
                  </a:lnTo>
                  <a:lnTo>
                    <a:pt x="456" y="778"/>
                  </a:lnTo>
                  <a:lnTo>
                    <a:pt x="456" y="781"/>
                  </a:lnTo>
                  <a:lnTo>
                    <a:pt x="456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62" y="781"/>
                  </a:lnTo>
                  <a:lnTo>
                    <a:pt x="462" y="781"/>
                  </a:lnTo>
                  <a:lnTo>
                    <a:pt x="462" y="781"/>
                  </a:lnTo>
                  <a:lnTo>
                    <a:pt x="464" y="778"/>
                  </a:lnTo>
                  <a:lnTo>
                    <a:pt x="464" y="778"/>
                  </a:lnTo>
                  <a:lnTo>
                    <a:pt x="467" y="781"/>
                  </a:lnTo>
                  <a:lnTo>
                    <a:pt x="470" y="781"/>
                  </a:lnTo>
                  <a:lnTo>
                    <a:pt x="470" y="783"/>
                  </a:lnTo>
                  <a:lnTo>
                    <a:pt x="472" y="783"/>
                  </a:lnTo>
                  <a:lnTo>
                    <a:pt x="472" y="786"/>
                  </a:lnTo>
                  <a:lnTo>
                    <a:pt x="475" y="786"/>
                  </a:lnTo>
                  <a:lnTo>
                    <a:pt x="475" y="786"/>
                  </a:lnTo>
                  <a:lnTo>
                    <a:pt x="478" y="786"/>
                  </a:lnTo>
                  <a:lnTo>
                    <a:pt x="478" y="783"/>
                  </a:lnTo>
                  <a:lnTo>
                    <a:pt x="480" y="783"/>
                  </a:lnTo>
                  <a:lnTo>
                    <a:pt x="483" y="783"/>
                  </a:lnTo>
                  <a:lnTo>
                    <a:pt x="483" y="786"/>
                  </a:lnTo>
                  <a:lnTo>
                    <a:pt x="486" y="786"/>
                  </a:lnTo>
                  <a:lnTo>
                    <a:pt x="486" y="789"/>
                  </a:lnTo>
                  <a:lnTo>
                    <a:pt x="486" y="789"/>
                  </a:lnTo>
                  <a:lnTo>
                    <a:pt x="489" y="791"/>
                  </a:lnTo>
                  <a:lnTo>
                    <a:pt x="489" y="791"/>
                  </a:lnTo>
                  <a:lnTo>
                    <a:pt x="489" y="791"/>
                  </a:lnTo>
                  <a:lnTo>
                    <a:pt x="491" y="791"/>
                  </a:lnTo>
                  <a:lnTo>
                    <a:pt x="491" y="789"/>
                  </a:lnTo>
                  <a:lnTo>
                    <a:pt x="491" y="789"/>
                  </a:lnTo>
                  <a:lnTo>
                    <a:pt x="494" y="786"/>
                  </a:lnTo>
                  <a:lnTo>
                    <a:pt x="494" y="786"/>
                  </a:lnTo>
                  <a:lnTo>
                    <a:pt x="494" y="783"/>
                  </a:lnTo>
                  <a:lnTo>
                    <a:pt x="497" y="783"/>
                  </a:lnTo>
                  <a:lnTo>
                    <a:pt x="497" y="783"/>
                  </a:lnTo>
                  <a:lnTo>
                    <a:pt x="499" y="781"/>
                  </a:lnTo>
                  <a:lnTo>
                    <a:pt x="499" y="778"/>
                  </a:lnTo>
                  <a:lnTo>
                    <a:pt x="499" y="778"/>
                  </a:lnTo>
                  <a:lnTo>
                    <a:pt x="502" y="778"/>
                  </a:lnTo>
                  <a:lnTo>
                    <a:pt x="502" y="778"/>
                  </a:lnTo>
                  <a:lnTo>
                    <a:pt x="505" y="778"/>
                  </a:lnTo>
                  <a:lnTo>
                    <a:pt x="507" y="778"/>
                  </a:lnTo>
                  <a:lnTo>
                    <a:pt x="507" y="778"/>
                  </a:lnTo>
                  <a:lnTo>
                    <a:pt x="510" y="775"/>
                  </a:lnTo>
                  <a:lnTo>
                    <a:pt x="513" y="775"/>
                  </a:lnTo>
                  <a:lnTo>
                    <a:pt x="513" y="773"/>
                  </a:lnTo>
                  <a:lnTo>
                    <a:pt x="513" y="773"/>
                  </a:lnTo>
                  <a:lnTo>
                    <a:pt x="515" y="773"/>
                  </a:lnTo>
                  <a:lnTo>
                    <a:pt x="518" y="773"/>
                  </a:lnTo>
                  <a:lnTo>
                    <a:pt x="518" y="773"/>
                  </a:lnTo>
                  <a:lnTo>
                    <a:pt x="521" y="775"/>
                  </a:lnTo>
                  <a:lnTo>
                    <a:pt x="523" y="775"/>
                  </a:lnTo>
                  <a:lnTo>
                    <a:pt x="526" y="775"/>
                  </a:lnTo>
                  <a:lnTo>
                    <a:pt x="526" y="775"/>
                  </a:lnTo>
                  <a:lnTo>
                    <a:pt x="529" y="778"/>
                  </a:lnTo>
                  <a:lnTo>
                    <a:pt x="531" y="778"/>
                  </a:lnTo>
                  <a:lnTo>
                    <a:pt x="534" y="781"/>
                  </a:lnTo>
                  <a:lnTo>
                    <a:pt x="537" y="781"/>
                  </a:lnTo>
                  <a:lnTo>
                    <a:pt x="537" y="781"/>
                  </a:lnTo>
                  <a:lnTo>
                    <a:pt x="539" y="781"/>
                  </a:lnTo>
                  <a:lnTo>
                    <a:pt x="542" y="781"/>
                  </a:lnTo>
                  <a:lnTo>
                    <a:pt x="542" y="783"/>
                  </a:lnTo>
                  <a:lnTo>
                    <a:pt x="542" y="786"/>
                  </a:lnTo>
                  <a:lnTo>
                    <a:pt x="545" y="789"/>
                  </a:lnTo>
                  <a:lnTo>
                    <a:pt x="547" y="789"/>
                  </a:lnTo>
                  <a:lnTo>
                    <a:pt x="547" y="791"/>
                  </a:lnTo>
                  <a:lnTo>
                    <a:pt x="550" y="794"/>
                  </a:lnTo>
                  <a:lnTo>
                    <a:pt x="550" y="794"/>
                  </a:lnTo>
                  <a:lnTo>
                    <a:pt x="550" y="794"/>
                  </a:lnTo>
                  <a:lnTo>
                    <a:pt x="550" y="797"/>
                  </a:lnTo>
                  <a:lnTo>
                    <a:pt x="553" y="797"/>
                  </a:lnTo>
                  <a:lnTo>
                    <a:pt x="553" y="797"/>
                  </a:lnTo>
                  <a:lnTo>
                    <a:pt x="553" y="799"/>
                  </a:lnTo>
                  <a:lnTo>
                    <a:pt x="553" y="799"/>
                  </a:lnTo>
                  <a:lnTo>
                    <a:pt x="553" y="802"/>
                  </a:lnTo>
                  <a:lnTo>
                    <a:pt x="555" y="805"/>
                  </a:lnTo>
                  <a:lnTo>
                    <a:pt x="555" y="807"/>
                  </a:lnTo>
                  <a:lnTo>
                    <a:pt x="555" y="807"/>
                  </a:lnTo>
                  <a:lnTo>
                    <a:pt x="555" y="810"/>
                  </a:lnTo>
                  <a:lnTo>
                    <a:pt x="553" y="813"/>
                  </a:lnTo>
                  <a:lnTo>
                    <a:pt x="553" y="813"/>
                  </a:lnTo>
                  <a:lnTo>
                    <a:pt x="553" y="815"/>
                  </a:lnTo>
                  <a:lnTo>
                    <a:pt x="555" y="815"/>
                  </a:lnTo>
                  <a:lnTo>
                    <a:pt x="558" y="818"/>
                  </a:lnTo>
                  <a:lnTo>
                    <a:pt x="558" y="818"/>
                  </a:lnTo>
                  <a:lnTo>
                    <a:pt x="561" y="818"/>
                  </a:lnTo>
                  <a:lnTo>
                    <a:pt x="561" y="821"/>
                  </a:lnTo>
                  <a:lnTo>
                    <a:pt x="558" y="823"/>
                  </a:lnTo>
                  <a:lnTo>
                    <a:pt x="558" y="823"/>
                  </a:lnTo>
                  <a:lnTo>
                    <a:pt x="555" y="823"/>
                  </a:lnTo>
                  <a:lnTo>
                    <a:pt x="555" y="826"/>
                  </a:lnTo>
                  <a:lnTo>
                    <a:pt x="555" y="826"/>
                  </a:lnTo>
                  <a:lnTo>
                    <a:pt x="555" y="829"/>
                  </a:lnTo>
                  <a:lnTo>
                    <a:pt x="553" y="831"/>
                  </a:lnTo>
                  <a:lnTo>
                    <a:pt x="553" y="831"/>
                  </a:lnTo>
                  <a:lnTo>
                    <a:pt x="550" y="834"/>
                  </a:lnTo>
                  <a:lnTo>
                    <a:pt x="547" y="837"/>
                  </a:lnTo>
                  <a:lnTo>
                    <a:pt x="547" y="837"/>
                  </a:lnTo>
                  <a:lnTo>
                    <a:pt x="547" y="839"/>
                  </a:lnTo>
                  <a:lnTo>
                    <a:pt x="547" y="839"/>
                  </a:lnTo>
                  <a:lnTo>
                    <a:pt x="545" y="839"/>
                  </a:lnTo>
                  <a:lnTo>
                    <a:pt x="545" y="842"/>
                  </a:lnTo>
                  <a:lnTo>
                    <a:pt x="547" y="842"/>
                  </a:lnTo>
                  <a:lnTo>
                    <a:pt x="550" y="842"/>
                  </a:lnTo>
                  <a:lnTo>
                    <a:pt x="550" y="845"/>
                  </a:lnTo>
                  <a:lnTo>
                    <a:pt x="550" y="845"/>
                  </a:lnTo>
                  <a:lnTo>
                    <a:pt x="550" y="848"/>
                  </a:lnTo>
                  <a:lnTo>
                    <a:pt x="550" y="848"/>
                  </a:lnTo>
                  <a:lnTo>
                    <a:pt x="547" y="850"/>
                  </a:lnTo>
                  <a:lnTo>
                    <a:pt x="545" y="850"/>
                  </a:lnTo>
                  <a:lnTo>
                    <a:pt x="542" y="853"/>
                  </a:lnTo>
                  <a:lnTo>
                    <a:pt x="539" y="853"/>
                  </a:lnTo>
                  <a:lnTo>
                    <a:pt x="539" y="853"/>
                  </a:lnTo>
                  <a:lnTo>
                    <a:pt x="539" y="856"/>
                  </a:lnTo>
                  <a:lnTo>
                    <a:pt x="537" y="856"/>
                  </a:lnTo>
                  <a:lnTo>
                    <a:pt x="537" y="856"/>
                  </a:lnTo>
                  <a:lnTo>
                    <a:pt x="537" y="858"/>
                  </a:lnTo>
                  <a:lnTo>
                    <a:pt x="537" y="858"/>
                  </a:lnTo>
                  <a:lnTo>
                    <a:pt x="534" y="858"/>
                  </a:lnTo>
                  <a:lnTo>
                    <a:pt x="534" y="861"/>
                  </a:lnTo>
                  <a:lnTo>
                    <a:pt x="534" y="861"/>
                  </a:lnTo>
                  <a:lnTo>
                    <a:pt x="534" y="864"/>
                  </a:lnTo>
                  <a:lnTo>
                    <a:pt x="534" y="864"/>
                  </a:lnTo>
                  <a:lnTo>
                    <a:pt x="531" y="866"/>
                  </a:lnTo>
                  <a:lnTo>
                    <a:pt x="531" y="869"/>
                  </a:lnTo>
                  <a:lnTo>
                    <a:pt x="534" y="869"/>
                  </a:lnTo>
                  <a:lnTo>
                    <a:pt x="534" y="869"/>
                  </a:lnTo>
                  <a:lnTo>
                    <a:pt x="537" y="869"/>
                  </a:lnTo>
                  <a:lnTo>
                    <a:pt x="537" y="872"/>
                  </a:lnTo>
                  <a:lnTo>
                    <a:pt x="537" y="872"/>
                  </a:lnTo>
                  <a:lnTo>
                    <a:pt x="537" y="874"/>
                  </a:lnTo>
                  <a:lnTo>
                    <a:pt x="534" y="877"/>
                  </a:lnTo>
                  <a:lnTo>
                    <a:pt x="534" y="877"/>
                  </a:lnTo>
                  <a:lnTo>
                    <a:pt x="534" y="880"/>
                  </a:lnTo>
                  <a:lnTo>
                    <a:pt x="537" y="880"/>
                  </a:lnTo>
                  <a:lnTo>
                    <a:pt x="537" y="882"/>
                  </a:lnTo>
                  <a:lnTo>
                    <a:pt x="539" y="882"/>
                  </a:lnTo>
                  <a:lnTo>
                    <a:pt x="542" y="885"/>
                  </a:lnTo>
                  <a:lnTo>
                    <a:pt x="542" y="888"/>
                  </a:lnTo>
                  <a:lnTo>
                    <a:pt x="539" y="888"/>
                  </a:lnTo>
                  <a:lnTo>
                    <a:pt x="537" y="890"/>
                  </a:lnTo>
                  <a:lnTo>
                    <a:pt x="537" y="893"/>
                  </a:lnTo>
                  <a:lnTo>
                    <a:pt x="537" y="896"/>
                  </a:lnTo>
                  <a:lnTo>
                    <a:pt x="537" y="896"/>
                  </a:lnTo>
                  <a:lnTo>
                    <a:pt x="537" y="898"/>
                  </a:lnTo>
                  <a:lnTo>
                    <a:pt x="537" y="901"/>
                  </a:lnTo>
                  <a:lnTo>
                    <a:pt x="537" y="901"/>
                  </a:lnTo>
                  <a:lnTo>
                    <a:pt x="539" y="904"/>
                  </a:lnTo>
                  <a:lnTo>
                    <a:pt x="542" y="904"/>
                  </a:lnTo>
                  <a:lnTo>
                    <a:pt x="542" y="906"/>
                  </a:lnTo>
                  <a:lnTo>
                    <a:pt x="542" y="909"/>
                  </a:lnTo>
                  <a:lnTo>
                    <a:pt x="545" y="909"/>
                  </a:lnTo>
                  <a:lnTo>
                    <a:pt x="545" y="912"/>
                  </a:lnTo>
                  <a:lnTo>
                    <a:pt x="545" y="912"/>
                  </a:lnTo>
                  <a:lnTo>
                    <a:pt x="542" y="914"/>
                  </a:lnTo>
                  <a:lnTo>
                    <a:pt x="542" y="914"/>
                  </a:lnTo>
                  <a:lnTo>
                    <a:pt x="542" y="917"/>
                  </a:lnTo>
                  <a:lnTo>
                    <a:pt x="545" y="917"/>
                  </a:lnTo>
                  <a:lnTo>
                    <a:pt x="545" y="920"/>
                  </a:lnTo>
                  <a:lnTo>
                    <a:pt x="545" y="922"/>
                  </a:lnTo>
                  <a:lnTo>
                    <a:pt x="547" y="922"/>
                  </a:lnTo>
                  <a:lnTo>
                    <a:pt x="547" y="925"/>
                  </a:lnTo>
                  <a:lnTo>
                    <a:pt x="547" y="925"/>
                  </a:lnTo>
                  <a:lnTo>
                    <a:pt x="547" y="928"/>
                  </a:lnTo>
                  <a:lnTo>
                    <a:pt x="547" y="928"/>
                  </a:lnTo>
                  <a:lnTo>
                    <a:pt x="547" y="928"/>
                  </a:lnTo>
                  <a:lnTo>
                    <a:pt x="550" y="928"/>
                  </a:lnTo>
                  <a:lnTo>
                    <a:pt x="553" y="925"/>
                  </a:lnTo>
                  <a:lnTo>
                    <a:pt x="553" y="925"/>
                  </a:lnTo>
                  <a:lnTo>
                    <a:pt x="553" y="928"/>
                  </a:lnTo>
                  <a:lnTo>
                    <a:pt x="555" y="928"/>
                  </a:lnTo>
                  <a:lnTo>
                    <a:pt x="558" y="928"/>
                  </a:lnTo>
                  <a:lnTo>
                    <a:pt x="561" y="928"/>
                  </a:lnTo>
                  <a:lnTo>
                    <a:pt x="563" y="928"/>
                  </a:lnTo>
                  <a:lnTo>
                    <a:pt x="563" y="930"/>
                  </a:lnTo>
                  <a:lnTo>
                    <a:pt x="563" y="930"/>
                  </a:lnTo>
                  <a:lnTo>
                    <a:pt x="563" y="933"/>
                  </a:lnTo>
                  <a:lnTo>
                    <a:pt x="566" y="936"/>
                  </a:lnTo>
                  <a:lnTo>
                    <a:pt x="569" y="936"/>
                  </a:lnTo>
                  <a:lnTo>
                    <a:pt x="569" y="936"/>
                  </a:lnTo>
                  <a:lnTo>
                    <a:pt x="571" y="936"/>
                  </a:lnTo>
                  <a:lnTo>
                    <a:pt x="571" y="933"/>
                  </a:lnTo>
                  <a:lnTo>
                    <a:pt x="574" y="930"/>
                  </a:lnTo>
                  <a:lnTo>
                    <a:pt x="574" y="930"/>
                  </a:lnTo>
                  <a:lnTo>
                    <a:pt x="574" y="930"/>
                  </a:lnTo>
                  <a:lnTo>
                    <a:pt x="577" y="930"/>
                  </a:lnTo>
                  <a:lnTo>
                    <a:pt x="577" y="930"/>
                  </a:lnTo>
                  <a:lnTo>
                    <a:pt x="577" y="930"/>
                  </a:lnTo>
                  <a:lnTo>
                    <a:pt x="579" y="930"/>
                  </a:lnTo>
                  <a:lnTo>
                    <a:pt x="579" y="928"/>
                  </a:lnTo>
                  <a:lnTo>
                    <a:pt x="582" y="928"/>
                  </a:lnTo>
                  <a:lnTo>
                    <a:pt x="582" y="930"/>
                  </a:lnTo>
                  <a:lnTo>
                    <a:pt x="585" y="930"/>
                  </a:lnTo>
                  <a:lnTo>
                    <a:pt x="585" y="930"/>
                  </a:lnTo>
                  <a:lnTo>
                    <a:pt x="585" y="933"/>
                  </a:lnTo>
                  <a:lnTo>
                    <a:pt x="587" y="933"/>
                  </a:lnTo>
                  <a:lnTo>
                    <a:pt x="587" y="936"/>
                  </a:lnTo>
                  <a:lnTo>
                    <a:pt x="590" y="936"/>
                  </a:lnTo>
                  <a:lnTo>
                    <a:pt x="590" y="936"/>
                  </a:lnTo>
                  <a:lnTo>
                    <a:pt x="593" y="933"/>
                  </a:lnTo>
                  <a:lnTo>
                    <a:pt x="593" y="933"/>
                  </a:lnTo>
                  <a:lnTo>
                    <a:pt x="595" y="930"/>
                  </a:lnTo>
                  <a:lnTo>
                    <a:pt x="595" y="930"/>
                  </a:lnTo>
                  <a:lnTo>
                    <a:pt x="595" y="928"/>
                  </a:lnTo>
                  <a:lnTo>
                    <a:pt x="598" y="928"/>
                  </a:lnTo>
                  <a:lnTo>
                    <a:pt x="598" y="928"/>
                  </a:lnTo>
                  <a:lnTo>
                    <a:pt x="598" y="930"/>
                  </a:lnTo>
                  <a:lnTo>
                    <a:pt x="598" y="930"/>
                  </a:lnTo>
                  <a:lnTo>
                    <a:pt x="598" y="933"/>
                  </a:lnTo>
                  <a:lnTo>
                    <a:pt x="598" y="933"/>
                  </a:lnTo>
                  <a:lnTo>
                    <a:pt x="598" y="933"/>
                  </a:lnTo>
                  <a:lnTo>
                    <a:pt x="601" y="936"/>
                  </a:lnTo>
                  <a:lnTo>
                    <a:pt x="601" y="936"/>
                  </a:lnTo>
                  <a:lnTo>
                    <a:pt x="601" y="936"/>
                  </a:lnTo>
                  <a:lnTo>
                    <a:pt x="603" y="936"/>
                  </a:lnTo>
                  <a:lnTo>
                    <a:pt x="603" y="936"/>
                  </a:lnTo>
                  <a:lnTo>
                    <a:pt x="603" y="938"/>
                  </a:lnTo>
                  <a:lnTo>
                    <a:pt x="603" y="938"/>
                  </a:lnTo>
                  <a:lnTo>
                    <a:pt x="601" y="941"/>
                  </a:lnTo>
                  <a:lnTo>
                    <a:pt x="601" y="941"/>
                  </a:lnTo>
                  <a:lnTo>
                    <a:pt x="603" y="941"/>
                  </a:lnTo>
                  <a:lnTo>
                    <a:pt x="603" y="944"/>
                  </a:lnTo>
                  <a:lnTo>
                    <a:pt x="606" y="944"/>
                  </a:lnTo>
                  <a:lnTo>
                    <a:pt x="606" y="944"/>
                  </a:lnTo>
                  <a:lnTo>
                    <a:pt x="609" y="944"/>
                  </a:lnTo>
                  <a:lnTo>
                    <a:pt x="609" y="941"/>
                  </a:lnTo>
                  <a:lnTo>
                    <a:pt x="609" y="941"/>
                  </a:lnTo>
                  <a:lnTo>
                    <a:pt x="611" y="938"/>
                  </a:lnTo>
                  <a:lnTo>
                    <a:pt x="611" y="938"/>
                  </a:lnTo>
                  <a:lnTo>
                    <a:pt x="611" y="936"/>
                  </a:lnTo>
                  <a:lnTo>
                    <a:pt x="614" y="936"/>
                  </a:lnTo>
                  <a:lnTo>
                    <a:pt x="614" y="936"/>
                  </a:lnTo>
                  <a:lnTo>
                    <a:pt x="617" y="936"/>
                  </a:lnTo>
                  <a:lnTo>
                    <a:pt x="617" y="936"/>
                  </a:lnTo>
                  <a:lnTo>
                    <a:pt x="619" y="936"/>
                  </a:lnTo>
                  <a:lnTo>
                    <a:pt x="619" y="936"/>
                  </a:lnTo>
                  <a:lnTo>
                    <a:pt x="622" y="936"/>
                  </a:lnTo>
                  <a:lnTo>
                    <a:pt x="622" y="936"/>
                  </a:lnTo>
                  <a:lnTo>
                    <a:pt x="625" y="938"/>
                  </a:lnTo>
                  <a:lnTo>
                    <a:pt x="627" y="936"/>
                  </a:lnTo>
                  <a:lnTo>
                    <a:pt x="627" y="936"/>
                  </a:lnTo>
                  <a:lnTo>
                    <a:pt x="627" y="936"/>
                  </a:lnTo>
                  <a:lnTo>
                    <a:pt x="630" y="936"/>
                  </a:lnTo>
                  <a:lnTo>
                    <a:pt x="633" y="936"/>
                  </a:lnTo>
                  <a:lnTo>
                    <a:pt x="633" y="936"/>
                  </a:lnTo>
                  <a:lnTo>
                    <a:pt x="635" y="936"/>
                  </a:lnTo>
                  <a:lnTo>
                    <a:pt x="635" y="938"/>
                  </a:lnTo>
                  <a:lnTo>
                    <a:pt x="635" y="938"/>
                  </a:lnTo>
                  <a:lnTo>
                    <a:pt x="635" y="938"/>
                  </a:lnTo>
                  <a:lnTo>
                    <a:pt x="638" y="941"/>
                  </a:lnTo>
                  <a:lnTo>
                    <a:pt x="638" y="938"/>
                  </a:lnTo>
                  <a:lnTo>
                    <a:pt x="641" y="938"/>
                  </a:lnTo>
                  <a:lnTo>
                    <a:pt x="641" y="938"/>
                  </a:lnTo>
                  <a:lnTo>
                    <a:pt x="641" y="938"/>
                  </a:lnTo>
                  <a:lnTo>
                    <a:pt x="643" y="938"/>
                  </a:lnTo>
                  <a:lnTo>
                    <a:pt x="643" y="936"/>
                  </a:lnTo>
                  <a:lnTo>
                    <a:pt x="643" y="936"/>
                  </a:lnTo>
                  <a:lnTo>
                    <a:pt x="643" y="936"/>
                  </a:lnTo>
                  <a:lnTo>
                    <a:pt x="646" y="933"/>
                  </a:lnTo>
                  <a:lnTo>
                    <a:pt x="646" y="933"/>
                  </a:lnTo>
                  <a:lnTo>
                    <a:pt x="646" y="933"/>
                  </a:lnTo>
                  <a:lnTo>
                    <a:pt x="643" y="933"/>
                  </a:lnTo>
                  <a:lnTo>
                    <a:pt x="643" y="930"/>
                  </a:lnTo>
                  <a:lnTo>
                    <a:pt x="643" y="930"/>
                  </a:lnTo>
                  <a:lnTo>
                    <a:pt x="643" y="930"/>
                  </a:lnTo>
                  <a:lnTo>
                    <a:pt x="643" y="928"/>
                  </a:lnTo>
                  <a:lnTo>
                    <a:pt x="646" y="928"/>
                  </a:lnTo>
                  <a:lnTo>
                    <a:pt x="646" y="928"/>
                  </a:lnTo>
                  <a:lnTo>
                    <a:pt x="646" y="928"/>
                  </a:lnTo>
                  <a:lnTo>
                    <a:pt x="649" y="928"/>
                  </a:lnTo>
                  <a:lnTo>
                    <a:pt x="649" y="928"/>
                  </a:lnTo>
                  <a:lnTo>
                    <a:pt x="649" y="925"/>
                  </a:lnTo>
                  <a:lnTo>
                    <a:pt x="649" y="925"/>
                  </a:lnTo>
                  <a:lnTo>
                    <a:pt x="651" y="925"/>
                  </a:lnTo>
                  <a:lnTo>
                    <a:pt x="651" y="925"/>
                  </a:lnTo>
                  <a:lnTo>
                    <a:pt x="651" y="922"/>
                  </a:lnTo>
                  <a:lnTo>
                    <a:pt x="651" y="922"/>
                  </a:lnTo>
                  <a:lnTo>
                    <a:pt x="654" y="922"/>
                  </a:lnTo>
                  <a:lnTo>
                    <a:pt x="654" y="920"/>
                  </a:lnTo>
                  <a:lnTo>
                    <a:pt x="654" y="920"/>
                  </a:lnTo>
                  <a:lnTo>
                    <a:pt x="657" y="920"/>
                  </a:lnTo>
                  <a:lnTo>
                    <a:pt x="657" y="917"/>
                  </a:lnTo>
                  <a:lnTo>
                    <a:pt x="657" y="917"/>
                  </a:lnTo>
                  <a:lnTo>
                    <a:pt x="659" y="917"/>
                  </a:lnTo>
                  <a:lnTo>
                    <a:pt x="659" y="917"/>
                  </a:lnTo>
                  <a:lnTo>
                    <a:pt x="662" y="917"/>
                  </a:lnTo>
                  <a:lnTo>
                    <a:pt x="662" y="917"/>
                  </a:lnTo>
                  <a:lnTo>
                    <a:pt x="665" y="920"/>
                  </a:lnTo>
                  <a:lnTo>
                    <a:pt x="667" y="920"/>
                  </a:lnTo>
                  <a:lnTo>
                    <a:pt x="670" y="922"/>
                  </a:lnTo>
                  <a:lnTo>
                    <a:pt x="673" y="922"/>
                  </a:lnTo>
                  <a:lnTo>
                    <a:pt x="673" y="920"/>
                  </a:lnTo>
                  <a:lnTo>
                    <a:pt x="673" y="920"/>
                  </a:lnTo>
                  <a:lnTo>
                    <a:pt x="675" y="920"/>
                  </a:lnTo>
                  <a:lnTo>
                    <a:pt x="678" y="920"/>
                  </a:lnTo>
                  <a:lnTo>
                    <a:pt x="681" y="920"/>
                  </a:lnTo>
                  <a:lnTo>
                    <a:pt x="681" y="920"/>
                  </a:lnTo>
                  <a:lnTo>
                    <a:pt x="681" y="917"/>
                  </a:lnTo>
                  <a:lnTo>
                    <a:pt x="681" y="917"/>
                  </a:lnTo>
                  <a:lnTo>
                    <a:pt x="683" y="917"/>
                  </a:lnTo>
                  <a:lnTo>
                    <a:pt x="683" y="917"/>
                  </a:lnTo>
                  <a:lnTo>
                    <a:pt x="686" y="917"/>
                  </a:lnTo>
                  <a:lnTo>
                    <a:pt x="686" y="917"/>
                  </a:lnTo>
                  <a:lnTo>
                    <a:pt x="689" y="917"/>
                  </a:lnTo>
                  <a:lnTo>
                    <a:pt x="689" y="914"/>
                  </a:lnTo>
                  <a:lnTo>
                    <a:pt x="689" y="914"/>
                  </a:lnTo>
                  <a:lnTo>
                    <a:pt x="689" y="914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1" y="912"/>
                  </a:lnTo>
                  <a:lnTo>
                    <a:pt x="694" y="914"/>
                  </a:lnTo>
                  <a:lnTo>
                    <a:pt x="694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7" y="914"/>
                  </a:lnTo>
                  <a:lnTo>
                    <a:pt x="699" y="914"/>
                  </a:lnTo>
                  <a:lnTo>
                    <a:pt x="699" y="914"/>
                  </a:lnTo>
                  <a:lnTo>
                    <a:pt x="702" y="914"/>
                  </a:lnTo>
                  <a:lnTo>
                    <a:pt x="702" y="914"/>
                  </a:lnTo>
                  <a:lnTo>
                    <a:pt x="705" y="914"/>
                  </a:lnTo>
                  <a:lnTo>
                    <a:pt x="705" y="912"/>
                  </a:lnTo>
                  <a:lnTo>
                    <a:pt x="705" y="912"/>
                  </a:lnTo>
                  <a:lnTo>
                    <a:pt x="707" y="912"/>
                  </a:lnTo>
                  <a:lnTo>
                    <a:pt x="710" y="912"/>
                  </a:lnTo>
                  <a:lnTo>
                    <a:pt x="710" y="912"/>
                  </a:lnTo>
                  <a:lnTo>
                    <a:pt x="710" y="912"/>
                  </a:lnTo>
                  <a:lnTo>
                    <a:pt x="713" y="912"/>
                  </a:lnTo>
                  <a:lnTo>
                    <a:pt x="713" y="912"/>
                  </a:lnTo>
                  <a:lnTo>
                    <a:pt x="715" y="912"/>
                  </a:lnTo>
                  <a:lnTo>
                    <a:pt x="715" y="912"/>
                  </a:lnTo>
                  <a:lnTo>
                    <a:pt x="715" y="912"/>
                  </a:lnTo>
                  <a:lnTo>
                    <a:pt x="718" y="909"/>
                  </a:lnTo>
                  <a:lnTo>
                    <a:pt x="718" y="909"/>
                  </a:lnTo>
                  <a:lnTo>
                    <a:pt x="723" y="909"/>
                  </a:lnTo>
                  <a:lnTo>
                    <a:pt x="723" y="909"/>
                  </a:lnTo>
                  <a:lnTo>
                    <a:pt x="726" y="909"/>
                  </a:lnTo>
                  <a:lnTo>
                    <a:pt x="726" y="909"/>
                  </a:lnTo>
                  <a:lnTo>
                    <a:pt x="726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6"/>
                  </a:lnTo>
                  <a:lnTo>
                    <a:pt x="729" y="909"/>
                  </a:lnTo>
                  <a:lnTo>
                    <a:pt x="732" y="909"/>
                  </a:lnTo>
                  <a:lnTo>
                    <a:pt x="732" y="909"/>
                  </a:lnTo>
                  <a:lnTo>
                    <a:pt x="732" y="909"/>
                  </a:lnTo>
                  <a:lnTo>
                    <a:pt x="732" y="912"/>
                  </a:lnTo>
                  <a:lnTo>
                    <a:pt x="732" y="912"/>
                  </a:lnTo>
                  <a:lnTo>
                    <a:pt x="734" y="912"/>
                  </a:lnTo>
                  <a:lnTo>
                    <a:pt x="734" y="909"/>
                  </a:lnTo>
                  <a:lnTo>
                    <a:pt x="734" y="909"/>
                  </a:lnTo>
                  <a:lnTo>
                    <a:pt x="737" y="906"/>
                  </a:lnTo>
                  <a:lnTo>
                    <a:pt x="737" y="906"/>
                  </a:lnTo>
                  <a:lnTo>
                    <a:pt x="737" y="906"/>
                  </a:lnTo>
                  <a:lnTo>
                    <a:pt x="740" y="906"/>
                  </a:lnTo>
                  <a:lnTo>
                    <a:pt x="740" y="904"/>
                  </a:lnTo>
                  <a:lnTo>
                    <a:pt x="740" y="904"/>
                  </a:lnTo>
                  <a:lnTo>
                    <a:pt x="740" y="901"/>
                  </a:lnTo>
                  <a:lnTo>
                    <a:pt x="740" y="901"/>
                  </a:lnTo>
                  <a:lnTo>
                    <a:pt x="740" y="898"/>
                  </a:lnTo>
                  <a:lnTo>
                    <a:pt x="740" y="898"/>
                  </a:lnTo>
                  <a:lnTo>
                    <a:pt x="740" y="896"/>
                  </a:lnTo>
                  <a:lnTo>
                    <a:pt x="742" y="896"/>
                  </a:lnTo>
                  <a:lnTo>
                    <a:pt x="742" y="893"/>
                  </a:lnTo>
                  <a:lnTo>
                    <a:pt x="742" y="893"/>
                  </a:lnTo>
                  <a:lnTo>
                    <a:pt x="745" y="893"/>
                  </a:lnTo>
                  <a:lnTo>
                    <a:pt x="745" y="890"/>
                  </a:lnTo>
                  <a:lnTo>
                    <a:pt x="745" y="890"/>
                  </a:lnTo>
                  <a:lnTo>
                    <a:pt x="745" y="890"/>
                  </a:lnTo>
                  <a:lnTo>
                    <a:pt x="748" y="890"/>
                  </a:lnTo>
                  <a:lnTo>
                    <a:pt x="748" y="888"/>
                  </a:lnTo>
                  <a:lnTo>
                    <a:pt x="748" y="888"/>
                  </a:lnTo>
                  <a:lnTo>
                    <a:pt x="750" y="888"/>
                  </a:lnTo>
                  <a:lnTo>
                    <a:pt x="750" y="885"/>
                  </a:lnTo>
                  <a:lnTo>
                    <a:pt x="753" y="885"/>
                  </a:lnTo>
                  <a:lnTo>
                    <a:pt x="753" y="882"/>
                  </a:lnTo>
                  <a:lnTo>
                    <a:pt x="756" y="880"/>
                  </a:lnTo>
                  <a:lnTo>
                    <a:pt x="753" y="880"/>
                  </a:lnTo>
                  <a:lnTo>
                    <a:pt x="756" y="880"/>
                  </a:lnTo>
                  <a:lnTo>
                    <a:pt x="756" y="877"/>
                  </a:lnTo>
                  <a:lnTo>
                    <a:pt x="758" y="877"/>
                  </a:lnTo>
                  <a:lnTo>
                    <a:pt x="758" y="877"/>
                  </a:lnTo>
                  <a:lnTo>
                    <a:pt x="758" y="877"/>
                  </a:lnTo>
                  <a:lnTo>
                    <a:pt x="761" y="877"/>
                  </a:lnTo>
                  <a:lnTo>
                    <a:pt x="761" y="877"/>
                  </a:lnTo>
                  <a:lnTo>
                    <a:pt x="764" y="874"/>
                  </a:lnTo>
                  <a:lnTo>
                    <a:pt x="764" y="874"/>
                  </a:lnTo>
                  <a:lnTo>
                    <a:pt x="764" y="874"/>
                  </a:lnTo>
                  <a:lnTo>
                    <a:pt x="766" y="874"/>
                  </a:lnTo>
                  <a:lnTo>
                    <a:pt x="766" y="874"/>
                  </a:lnTo>
                  <a:lnTo>
                    <a:pt x="766" y="877"/>
                  </a:lnTo>
                  <a:lnTo>
                    <a:pt x="769" y="877"/>
                  </a:lnTo>
                  <a:lnTo>
                    <a:pt x="769" y="877"/>
                  </a:lnTo>
                  <a:lnTo>
                    <a:pt x="772" y="877"/>
                  </a:lnTo>
                  <a:lnTo>
                    <a:pt x="772" y="877"/>
                  </a:lnTo>
                  <a:lnTo>
                    <a:pt x="772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77"/>
                  </a:lnTo>
                  <a:lnTo>
                    <a:pt x="774" y="880"/>
                  </a:lnTo>
                  <a:lnTo>
                    <a:pt x="774" y="880"/>
                  </a:lnTo>
                  <a:lnTo>
                    <a:pt x="777" y="880"/>
                  </a:lnTo>
                  <a:lnTo>
                    <a:pt x="777" y="880"/>
                  </a:lnTo>
                  <a:lnTo>
                    <a:pt x="780" y="880"/>
                  </a:lnTo>
                  <a:lnTo>
                    <a:pt x="780" y="882"/>
                  </a:lnTo>
                  <a:lnTo>
                    <a:pt x="782" y="882"/>
                  </a:lnTo>
                  <a:lnTo>
                    <a:pt x="782" y="882"/>
                  </a:lnTo>
                  <a:lnTo>
                    <a:pt x="782" y="882"/>
                  </a:lnTo>
                  <a:lnTo>
                    <a:pt x="782" y="885"/>
                  </a:lnTo>
                  <a:lnTo>
                    <a:pt x="785" y="885"/>
                  </a:lnTo>
                  <a:lnTo>
                    <a:pt x="785" y="885"/>
                  </a:lnTo>
                  <a:lnTo>
                    <a:pt x="788" y="885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88"/>
                  </a:lnTo>
                  <a:lnTo>
                    <a:pt x="788" y="890"/>
                  </a:lnTo>
                  <a:lnTo>
                    <a:pt x="788" y="890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88" y="893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0" y="896"/>
                  </a:lnTo>
                  <a:lnTo>
                    <a:pt x="793" y="898"/>
                  </a:lnTo>
                  <a:lnTo>
                    <a:pt x="793" y="898"/>
                  </a:lnTo>
                  <a:lnTo>
                    <a:pt x="793" y="898"/>
                  </a:lnTo>
                  <a:lnTo>
                    <a:pt x="798" y="898"/>
                  </a:lnTo>
                  <a:lnTo>
                    <a:pt x="798" y="898"/>
                  </a:lnTo>
                  <a:lnTo>
                    <a:pt x="801" y="898"/>
                  </a:lnTo>
                  <a:lnTo>
                    <a:pt x="801" y="898"/>
                  </a:lnTo>
                  <a:lnTo>
                    <a:pt x="804" y="898"/>
                  </a:lnTo>
                  <a:lnTo>
                    <a:pt x="804" y="898"/>
                  </a:lnTo>
                  <a:lnTo>
                    <a:pt x="804" y="898"/>
                  </a:lnTo>
                  <a:lnTo>
                    <a:pt x="804" y="896"/>
                  </a:lnTo>
                  <a:lnTo>
                    <a:pt x="806" y="898"/>
                  </a:lnTo>
                  <a:lnTo>
                    <a:pt x="806" y="898"/>
                  </a:lnTo>
                  <a:lnTo>
                    <a:pt x="806" y="898"/>
                  </a:lnTo>
                  <a:lnTo>
                    <a:pt x="809" y="898"/>
                  </a:lnTo>
                  <a:lnTo>
                    <a:pt x="809" y="898"/>
                  </a:lnTo>
                  <a:lnTo>
                    <a:pt x="809" y="901"/>
                  </a:lnTo>
                  <a:lnTo>
                    <a:pt x="809" y="901"/>
                  </a:lnTo>
                  <a:lnTo>
                    <a:pt x="812" y="901"/>
                  </a:lnTo>
                  <a:lnTo>
                    <a:pt x="812" y="904"/>
                  </a:lnTo>
                  <a:lnTo>
                    <a:pt x="812" y="904"/>
                  </a:lnTo>
                  <a:lnTo>
                    <a:pt x="812" y="904"/>
                  </a:lnTo>
                  <a:lnTo>
                    <a:pt x="814" y="904"/>
                  </a:lnTo>
                  <a:lnTo>
                    <a:pt x="814" y="904"/>
                  </a:lnTo>
                  <a:lnTo>
                    <a:pt x="814" y="901"/>
                  </a:lnTo>
                  <a:lnTo>
                    <a:pt x="817" y="901"/>
                  </a:lnTo>
                  <a:lnTo>
                    <a:pt x="817" y="904"/>
                  </a:lnTo>
                  <a:lnTo>
                    <a:pt x="817" y="904"/>
                  </a:lnTo>
                  <a:lnTo>
                    <a:pt x="817" y="904"/>
                  </a:lnTo>
                  <a:lnTo>
                    <a:pt x="820" y="906"/>
                  </a:lnTo>
                  <a:lnTo>
                    <a:pt x="820" y="904"/>
                  </a:lnTo>
                  <a:lnTo>
                    <a:pt x="822" y="904"/>
                  </a:lnTo>
                  <a:lnTo>
                    <a:pt x="822" y="904"/>
                  </a:lnTo>
                  <a:lnTo>
                    <a:pt x="822" y="904"/>
                  </a:lnTo>
                  <a:lnTo>
                    <a:pt x="825" y="904"/>
                  </a:lnTo>
                  <a:lnTo>
                    <a:pt x="828" y="904"/>
                  </a:lnTo>
                  <a:lnTo>
                    <a:pt x="830" y="904"/>
                  </a:lnTo>
                  <a:lnTo>
                    <a:pt x="830" y="904"/>
                  </a:lnTo>
                  <a:lnTo>
                    <a:pt x="830" y="906"/>
                  </a:lnTo>
                  <a:lnTo>
                    <a:pt x="830" y="906"/>
                  </a:lnTo>
                  <a:lnTo>
                    <a:pt x="833" y="906"/>
                  </a:lnTo>
                  <a:lnTo>
                    <a:pt x="833" y="906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6" y="909"/>
                  </a:lnTo>
                  <a:lnTo>
                    <a:pt x="838" y="909"/>
                  </a:lnTo>
                  <a:lnTo>
                    <a:pt x="838" y="909"/>
                  </a:lnTo>
                  <a:lnTo>
                    <a:pt x="838" y="909"/>
                  </a:lnTo>
                  <a:lnTo>
                    <a:pt x="841" y="909"/>
                  </a:lnTo>
                  <a:lnTo>
                    <a:pt x="841" y="909"/>
                  </a:lnTo>
                  <a:lnTo>
                    <a:pt x="844" y="912"/>
                  </a:lnTo>
                  <a:lnTo>
                    <a:pt x="844" y="912"/>
                  </a:lnTo>
                  <a:lnTo>
                    <a:pt x="846" y="912"/>
                  </a:lnTo>
                  <a:lnTo>
                    <a:pt x="846" y="912"/>
                  </a:lnTo>
                  <a:lnTo>
                    <a:pt x="849" y="912"/>
                  </a:lnTo>
                  <a:lnTo>
                    <a:pt x="849" y="912"/>
                  </a:lnTo>
                  <a:lnTo>
                    <a:pt x="852" y="909"/>
                  </a:lnTo>
                  <a:lnTo>
                    <a:pt x="854" y="909"/>
                  </a:lnTo>
                  <a:lnTo>
                    <a:pt x="854" y="909"/>
                  </a:lnTo>
                  <a:lnTo>
                    <a:pt x="857" y="909"/>
                  </a:lnTo>
                  <a:lnTo>
                    <a:pt x="857" y="909"/>
                  </a:lnTo>
                  <a:lnTo>
                    <a:pt x="857" y="909"/>
                  </a:lnTo>
                  <a:lnTo>
                    <a:pt x="860" y="906"/>
                  </a:lnTo>
                  <a:lnTo>
                    <a:pt x="860" y="906"/>
                  </a:lnTo>
                  <a:lnTo>
                    <a:pt x="862" y="906"/>
                  </a:lnTo>
                  <a:lnTo>
                    <a:pt x="862" y="906"/>
                  </a:lnTo>
                  <a:lnTo>
                    <a:pt x="865" y="906"/>
                  </a:lnTo>
                  <a:lnTo>
                    <a:pt x="868" y="906"/>
                  </a:lnTo>
                  <a:lnTo>
                    <a:pt x="868" y="906"/>
                  </a:lnTo>
                  <a:lnTo>
                    <a:pt x="870" y="904"/>
                  </a:lnTo>
                  <a:lnTo>
                    <a:pt x="873" y="904"/>
                  </a:lnTo>
                  <a:lnTo>
                    <a:pt x="873" y="906"/>
                  </a:lnTo>
                  <a:lnTo>
                    <a:pt x="876" y="906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6" y="909"/>
                  </a:lnTo>
                  <a:lnTo>
                    <a:pt x="878" y="909"/>
                  </a:lnTo>
                  <a:lnTo>
                    <a:pt x="878" y="909"/>
                  </a:lnTo>
                  <a:lnTo>
                    <a:pt x="881" y="912"/>
                  </a:lnTo>
                  <a:lnTo>
                    <a:pt x="881" y="912"/>
                  </a:lnTo>
                  <a:lnTo>
                    <a:pt x="884" y="912"/>
                  </a:lnTo>
                  <a:lnTo>
                    <a:pt x="886" y="914"/>
                  </a:lnTo>
                  <a:lnTo>
                    <a:pt x="886" y="914"/>
                  </a:lnTo>
                  <a:lnTo>
                    <a:pt x="889" y="917"/>
                  </a:lnTo>
                  <a:lnTo>
                    <a:pt x="889" y="917"/>
                  </a:lnTo>
                  <a:lnTo>
                    <a:pt x="889" y="917"/>
                  </a:lnTo>
                  <a:lnTo>
                    <a:pt x="892" y="920"/>
                  </a:lnTo>
                  <a:lnTo>
                    <a:pt x="892" y="920"/>
                  </a:lnTo>
                  <a:lnTo>
                    <a:pt x="892" y="920"/>
                  </a:lnTo>
                  <a:lnTo>
                    <a:pt x="894" y="917"/>
                  </a:lnTo>
                  <a:lnTo>
                    <a:pt x="897" y="917"/>
                  </a:lnTo>
                  <a:lnTo>
                    <a:pt x="897" y="917"/>
                  </a:lnTo>
                  <a:lnTo>
                    <a:pt x="897" y="917"/>
                  </a:lnTo>
                  <a:lnTo>
                    <a:pt x="900" y="914"/>
                  </a:lnTo>
                  <a:lnTo>
                    <a:pt x="900" y="914"/>
                  </a:lnTo>
                  <a:lnTo>
                    <a:pt x="902" y="914"/>
                  </a:lnTo>
                  <a:lnTo>
                    <a:pt x="902" y="912"/>
                  </a:lnTo>
                  <a:lnTo>
                    <a:pt x="902" y="912"/>
                  </a:lnTo>
                  <a:lnTo>
                    <a:pt x="905" y="912"/>
                  </a:lnTo>
                  <a:lnTo>
                    <a:pt x="908" y="912"/>
                  </a:lnTo>
                  <a:lnTo>
                    <a:pt x="908" y="912"/>
                  </a:lnTo>
                  <a:lnTo>
                    <a:pt x="910" y="912"/>
                  </a:lnTo>
                  <a:lnTo>
                    <a:pt x="910" y="912"/>
                  </a:lnTo>
                  <a:lnTo>
                    <a:pt x="910" y="914"/>
                  </a:lnTo>
                  <a:lnTo>
                    <a:pt x="908" y="914"/>
                  </a:lnTo>
                  <a:lnTo>
                    <a:pt x="908" y="914"/>
                  </a:lnTo>
                  <a:lnTo>
                    <a:pt x="908" y="917"/>
                  </a:lnTo>
                  <a:lnTo>
                    <a:pt x="908" y="917"/>
                  </a:lnTo>
                  <a:lnTo>
                    <a:pt x="910" y="920"/>
                  </a:lnTo>
                  <a:lnTo>
                    <a:pt x="910" y="920"/>
                  </a:lnTo>
                  <a:lnTo>
                    <a:pt x="910" y="920"/>
                  </a:lnTo>
                  <a:lnTo>
                    <a:pt x="908" y="922"/>
                  </a:lnTo>
                  <a:lnTo>
                    <a:pt x="910" y="922"/>
                  </a:lnTo>
                  <a:lnTo>
                    <a:pt x="910" y="925"/>
                  </a:lnTo>
                  <a:lnTo>
                    <a:pt x="913" y="925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3" y="928"/>
                  </a:lnTo>
                  <a:lnTo>
                    <a:pt x="916" y="928"/>
                  </a:lnTo>
                  <a:lnTo>
                    <a:pt x="916" y="930"/>
                  </a:lnTo>
                  <a:lnTo>
                    <a:pt x="918" y="930"/>
                  </a:lnTo>
                  <a:lnTo>
                    <a:pt x="918" y="930"/>
                  </a:lnTo>
                  <a:lnTo>
                    <a:pt x="916" y="933"/>
                  </a:lnTo>
                  <a:lnTo>
                    <a:pt x="916" y="933"/>
                  </a:lnTo>
                  <a:lnTo>
                    <a:pt x="913" y="936"/>
                  </a:lnTo>
                  <a:lnTo>
                    <a:pt x="910" y="936"/>
                  </a:lnTo>
                  <a:lnTo>
                    <a:pt x="910" y="936"/>
                  </a:lnTo>
                  <a:lnTo>
                    <a:pt x="910" y="938"/>
                  </a:lnTo>
                  <a:lnTo>
                    <a:pt x="910" y="938"/>
                  </a:lnTo>
                  <a:lnTo>
                    <a:pt x="910" y="941"/>
                  </a:lnTo>
                  <a:lnTo>
                    <a:pt x="913" y="941"/>
                  </a:lnTo>
                  <a:lnTo>
                    <a:pt x="913" y="944"/>
                  </a:lnTo>
                  <a:lnTo>
                    <a:pt x="913" y="946"/>
                  </a:lnTo>
                  <a:lnTo>
                    <a:pt x="913" y="946"/>
                  </a:lnTo>
                  <a:lnTo>
                    <a:pt x="913" y="946"/>
                  </a:lnTo>
                  <a:lnTo>
                    <a:pt x="913" y="949"/>
                  </a:lnTo>
                  <a:lnTo>
                    <a:pt x="913" y="952"/>
                  </a:lnTo>
                  <a:lnTo>
                    <a:pt x="913" y="952"/>
                  </a:lnTo>
                  <a:lnTo>
                    <a:pt x="910" y="952"/>
                  </a:lnTo>
                  <a:lnTo>
                    <a:pt x="910" y="954"/>
                  </a:lnTo>
                  <a:lnTo>
                    <a:pt x="910" y="954"/>
                  </a:lnTo>
                  <a:lnTo>
                    <a:pt x="910" y="954"/>
                  </a:lnTo>
                  <a:lnTo>
                    <a:pt x="910" y="957"/>
                  </a:lnTo>
                  <a:lnTo>
                    <a:pt x="913" y="960"/>
                  </a:lnTo>
                  <a:lnTo>
                    <a:pt x="910" y="960"/>
                  </a:lnTo>
                  <a:lnTo>
                    <a:pt x="910" y="962"/>
                  </a:lnTo>
                  <a:lnTo>
                    <a:pt x="910" y="962"/>
                  </a:lnTo>
                  <a:lnTo>
                    <a:pt x="910" y="962"/>
                  </a:lnTo>
                  <a:lnTo>
                    <a:pt x="910" y="965"/>
                  </a:lnTo>
                  <a:lnTo>
                    <a:pt x="910" y="968"/>
                  </a:lnTo>
                  <a:lnTo>
                    <a:pt x="910" y="968"/>
                  </a:lnTo>
                  <a:lnTo>
                    <a:pt x="910" y="970"/>
                  </a:lnTo>
                  <a:lnTo>
                    <a:pt x="910" y="970"/>
                  </a:lnTo>
                  <a:lnTo>
                    <a:pt x="910" y="973"/>
                  </a:lnTo>
                  <a:lnTo>
                    <a:pt x="913" y="973"/>
                  </a:lnTo>
                  <a:lnTo>
                    <a:pt x="913" y="976"/>
                  </a:lnTo>
                  <a:lnTo>
                    <a:pt x="913" y="976"/>
                  </a:lnTo>
                  <a:lnTo>
                    <a:pt x="913" y="976"/>
                  </a:lnTo>
                  <a:lnTo>
                    <a:pt x="910" y="976"/>
                  </a:lnTo>
                  <a:lnTo>
                    <a:pt x="910" y="976"/>
                  </a:lnTo>
                  <a:lnTo>
                    <a:pt x="913" y="978"/>
                  </a:lnTo>
                  <a:lnTo>
                    <a:pt x="913" y="981"/>
                  </a:lnTo>
                  <a:lnTo>
                    <a:pt x="913" y="981"/>
                  </a:lnTo>
                  <a:lnTo>
                    <a:pt x="916" y="984"/>
                  </a:lnTo>
                  <a:lnTo>
                    <a:pt x="916" y="984"/>
                  </a:lnTo>
                  <a:lnTo>
                    <a:pt x="918" y="986"/>
                  </a:lnTo>
                  <a:lnTo>
                    <a:pt x="918" y="992"/>
                  </a:lnTo>
                  <a:lnTo>
                    <a:pt x="918" y="994"/>
                  </a:lnTo>
                  <a:lnTo>
                    <a:pt x="921" y="994"/>
                  </a:lnTo>
                  <a:lnTo>
                    <a:pt x="924" y="1000"/>
                  </a:lnTo>
                  <a:lnTo>
                    <a:pt x="921" y="1000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8" y="1003"/>
                  </a:lnTo>
                  <a:lnTo>
                    <a:pt x="916" y="1005"/>
                  </a:lnTo>
                  <a:lnTo>
                    <a:pt x="916" y="1005"/>
                  </a:lnTo>
                  <a:lnTo>
                    <a:pt x="916" y="1008"/>
                  </a:lnTo>
                  <a:lnTo>
                    <a:pt x="913" y="1008"/>
                  </a:lnTo>
                  <a:lnTo>
                    <a:pt x="913" y="1008"/>
                  </a:lnTo>
                  <a:lnTo>
                    <a:pt x="910" y="1011"/>
                  </a:lnTo>
                  <a:lnTo>
                    <a:pt x="910" y="1011"/>
                  </a:lnTo>
                  <a:lnTo>
                    <a:pt x="910" y="1011"/>
                  </a:lnTo>
                  <a:lnTo>
                    <a:pt x="908" y="1013"/>
                  </a:lnTo>
                  <a:lnTo>
                    <a:pt x="908" y="1013"/>
                  </a:lnTo>
                  <a:lnTo>
                    <a:pt x="908" y="1016"/>
                  </a:lnTo>
                  <a:lnTo>
                    <a:pt x="908" y="1016"/>
                  </a:lnTo>
                  <a:lnTo>
                    <a:pt x="908" y="1019"/>
                  </a:lnTo>
                  <a:lnTo>
                    <a:pt x="908" y="1019"/>
                  </a:lnTo>
                  <a:lnTo>
                    <a:pt x="905" y="1019"/>
                  </a:lnTo>
                  <a:lnTo>
                    <a:pt x="905" y="1021"/>
                  </a:lnTo>
                  <a:lnTo>
                    <a:pt x="905" y="1021"/>
                  </a:lnTo>
                  <a:lnTo>
                    <a:pt x="905" y="1021"/>
                  </a:lnTo>
                  <a:lnTo>
                    <a:pt x="902" y="1024"/>
                  </a:lnTo>
                  <a:lnTo>
                    <a:pt x="902" y="1024"/>
                  </a:lnTo>
                  <a:lnTo>
                    <a:pt x="900" y="1027"/>
                  </a:lnTo>
                  <a:lnTo>
                    <a:pt x="900" y="1027"/>
                  </a:lnTo>
                  <a:lnTo>
                    <a:pt x="897" y="1027"/>
                  </a:lnTo>
                  <a:lnTo>
                    <a:pt x="897" y="1027"/>
                  </a:lnTo>
                  <a:lnTo>
                    <a:pt x="894" y="1027"/>
                  </a:lnTo>
                  <a:lnTo>
                    <a:pt x="894" y="1027"/>
                  </a:lnTo>
                  <a:lnTo>
                    <a:pt x="892" y="1029"/>
                  </a:lnTo>
                  <a:lnTo>
                    <a:pt x="892" y="1032"/>
                  </a:lnTo>
                  <a:lnTo>
                    <a:pt x="889" y="1032"/>
                  </a:lnTo>
                  <a:lnTo>
                    <a:pt x="886" y="1032"/>
                  </a:lnTo>
                  <a:lnTo>
                    <a:pt x="884" y="1032"/>
                  </a:lnTo>
                  <a:lnTo>
                    <a:pt x="884" y="1032"/>
                  </a:lnTo>
                  <a:lnTo>
                    <a:pt x="881" y="1035"/>
                  </a:lnTo>
                  <a:lnTo>
                    <a:pt x="881" y="1035"/>
                  </a:lnTo>
                  <a:lnTo>
                    <a:pt x="878" y="1037"/>
                  </a:lnTo>
                  <a:lnTo>
                    <a:pt x="878" y="1037"/>
                  </a:lnTo>
                  <a:lnTo>
                    <a:pt x="878" y="1040"/>
                  </a:lnTo>
                  <a:lnTo>
                    <a:pt x="878" y="1040"/>
                  </a:lnTo>
                  <a:lnTo>
                    <a:pt x="878" y="1043"/>
                  </a:lnTo>
                  <a:lnTo>
                    <a:pt x="878" y="1043"/>
                  </a:lnTo>
                  <a:lnTo>
                    <a:pt x="878" y="1043"/>
                  </a:lnTo>
                  <a:lnTo>
                    <a:pt x="876" y="1045"/>
                  </a:lnTo>
                  <a:lnTo>
                    <a:pt x="876" y="1048"/>
                  </a:lnTo>
                  <a:lnTo>
                    <a:pt x="876" y="1048"/>
                  </a:lnTo>
                  <a:lnTo>
                    <a:pt x="873" y="1051"/>
                  </a:lnTo>
                  <a:lnTo>
                    <a:pt x="873" y="1051"/>
                  </a:lnTo>
                  <a:lnTo>
                    <a:pt x="873" y="1051"/>
                  </a:lnTo>
                  <a:lnTo>
                    <a:pt x="873" y="1053"/>
                  </a:lnTo>
                  <a:lnTo>
                    <a:pt x="873" y="1053"/>
                  </a:lnTo>
                  <a:lnTo>
                    <a:pt x="870" y="1056"/>
                  </a:lnTo>
                  <a:lnTo>
                    <a:pt x="870" y="1056"/>
                  </a:lnTo>
                  <a:lnTo>
                    <a:pt x="868" y="1053"/>
                  </a:lnTo>
                  <a:lnTo>
                    <a:pt x="865" y="1056"/>
                  </a:lnTo>
                  <a:lnTo>
                    <a:pt x="865" y="1056"/>
                  </a:lnTo>
                  <a:lnTo>
                    <a:pt x="862" y="1056"/>
                  </a:lnTo>
                  <a:lnTo>
                    <a:pt x="862" y="1056"/>
                  </a:lnTo>
                  <a:lnTo>
                    <a:pt x="860" y="1059"/>
                  </a:lnTo>
                  <a:lnTo>
                    <a:pt x="860" y="1059"/>
                  </a:lnTo>
                  <a:lnTo>
                    <a:pt x="857" y="1061"/>
                  </a:lnTo>
                  <a:lnTo>
                    <a:pt x="857" y="1061"/>
                  </a:lnTo>
                  <a:lnTo>
                    <a:pt x="857" y="1064"/>
                  </a:lnTo>
                  <a:lnTo>
                    <a:pt x="857" y="1064"/>
                  </a:lnTo>
                  <a:lnTo>
                    <a:pt x="857" y="1067"/>
                  </a:lnTo>
                  <a:lnTo>
                    <a:pt x="854" y="1067"/>
                  </a:lnTo>
                  <a:lnTo>
                    <a:pt x="854" y="1069"/>
                  </a:lnTo>
                  <a:lnTo>
                    <a:pt x="852" y="1069"/>
                  </a:lnTo>
                  <a:lnTo>
                    <a:pt x="852" y="1072"/>
                  </a:lnTo>
                  <a:lnTo>
                    <a:pt x="854" y="1072"/>
                  </a:lnTo>
                  <a:lnTo>
                    <a:pt x="854" y="1075"/>
                  </a:lnTo>
                  <a:lnTo>
                    <a:pt x="854" y="1075"/>
                  </a:lnTo>
                  <a:lnTo>
                    <a:pt x="854" y="1077"/>
                  </a:lnTo>
                  <a:lnTo>
                    <a:pt x="857" y="1077"/>
                  </a:lnTo>
                  <a:lnTo>
                    <a:pt x="854" y="1077"/>
                  </a:lnTo>
                  <a:lnTo>
                    <a:pt x="854" y="1080"/>
                  </a:lnTo>
                  <a:lnTo>
                    <a:pt x="852" y="1080"/>
                  </a:lnTo>
                  <a:lnTo>
                    <a:pt x="852" y="1083"/>
                  </a:lnTo>
                  <a:lnTo>
                    <a:pt x="852" y="1083"/>
                  </a:lnTo>
                  <a:lnTo>
                    <a:pt x="852" y="1085"/>
                  </a:lnTo>
                  <a:lnTo>
                    <a:pt x="849" y="1085"/>
                  </a:lnTo>
                  <a:lnTo>
                    <a:pt x="846" y="1088"/>
                  </a:lnTo>
                  <a:lnTo>
                    <a:pt x="849" y="1088"/>
                  </a:lnTo>
                  <a:lnTo>
                    <a:pt x="846" y="1093"/>
                  </a:lnTo>
                  <a:lnTo>
                    <a:pt x="844" y="1093"/>
                  </a:lnTo>
                  <a:lnTo>
                    <a:pt x="841" y="1093"/>
                  </a:lnTo>
                  <a:lnTo>
                    <a:pt x="841" y="1091"/>
                  </a:lnTo>
                  <a:lnTo>
                    <a:pt x="838" y="1093"/>
                  </a:lnTo>
                  <a:lnTo>
                    <a:pt x="838" y="1091"/>
                  </a:lnTo>
                  <a:lnTo>
                    <a:pt x="838" y="1091"/>
                  </a:lnTo>
                  <a:lnTo>
                    <a:pt x="838" y="1093"/>
                  </a:lnTo>
                  <a:lnTo>
                    <a:pt x="838" y="1093"/>
                  </a:lnTo>
                  <a:lnTo>
                    <a:pt x="838" y="1093"/>
                  </a:lnTo>
                  <a:lnTo>
                    <a:pt x="841" y="1096"/>
                  </a:lnTo>
                  <a:lnTo>
                    <a:pt x="838" y="1099"/>
                  </a:lnTo>
                  <a:lnTo>
                    <a:pt x="841" y="1099"/>
                  </a:lnTo>
                  <a:lnTo>
                    <a:pt x="841" y="1101"/>
                  </a:lnTo>
                  <a:lnTo>
                    <a:pt x="841" y="1101"/>
                  </a:lnTo>
                  <a:lnTo>
                    <a:pt x="841" y="1101"/>
                  </a:lnTo>
                  <a:lnTo>
                    <a:pt x="841" y="1104"/>
                  </a:lnTo>
                  <a:lnTo>
                    <a:pt x="841" y="1104"/>
                  </a:lnTo>
                  <a:lnTo>
                    <a:pt x="841" y="1107"/>
                  </a:lnTo>
                  <a:lnTo>
                    <a:pt x="841" y="1109"/>
                  </a:lnTo>
                  <a:lnTo>
                    <a:pt x="841" y="1112"/>
                  </a:lnTo>
                  <a:lnTo>
                    <a:pt x="838" y="1112"/>
                  </a:lnTo>
                  <a:lnTo>
                    <a:pt x="838" y="1112"/>
                  </a:lnTo>
                  <a:lnTo>
                    <a:pt x="841" y="1115"/>
                  </a:lnTo>
                  <a:lnTo>
                    <a:pt x="838" y="1115"/>
                  </a:lnTo>
                  <a:lnTo>
                    <a:pt x="841" y="1117"/>
                  </a:lnTo>
                  <a:lnTo>
                    <a:pt x="841" y="1120"/>
                  </a:lnTo>
                  <a:lnTo>
                    <a:pt x="844" y="1120"/>
                  </a:lnTo>
                  <a:lnTo>
                    <a:pt x="844" y="1120"/>
                  </a:lnTo>
                  <a:lnTo>
                    <a:pt x="846" y="1123"/>
                  </a:lnTo>
                  <a:lnTo>
                    <a:pt x="846" y="1123"/>
                  </a:lnTo>
                  <a:lnTo>
                    <a:pt x="846" y="1125"/>
                  </a:lnTo>
                  <a:lnTo>
                    <a:pt x="846" y="1128"/>
                  </a:lnTo>
                  <a:lnTo>
                    <a:pt x="846" y="1128"/>
                  </a:lnTo>
                  <a:lnTo>
                    <a:pt x="846" y="1128"/>
                  </a:lnTo>
                  <a:lnTo>
                    <a:pt x="846" y="1131"/>
                  </a:lnTo>
                  <a:lnTo>
                    <a:pt x="846" y="1133"/>
                  </a:lnTo>
                  <a:lnTo>
                    <a:pt x="846" y="1133"/>
                  </a:lnTo>
                  <a:lnTo>
                    <a:pt x="844" y="1133"/>
                  </a:lnTo>
                  <a:lnTo>
                    <a:pt x="844" y="1133"/>
                  </a:lnTo>
                  <a:lnTo>
                    <a:pt x="841" y="1133"/>
                  </a:lnTo>
                  <a:lnTo>
                    <a:pt x="841" y="1136"/>
                  </a:lnTo>
                  <a:lnTo>
                    <a:pt x="838" y="1136"/>
                  </a:lnTo>
                  <a:lnTo>
                    <a:pt x="838" y="1139"/>
                  </a:lnTo>
                  <a:lnTo>
                    <a:pt x="838" y="1139"/>
                  </a:lnTo>
                  <a:lnTo>
                    <a:pt x="838" y="1139"/>
                  </a:lnTo>
                  <a:lnTo>
                    <a:pt x="836" y="1139"/>
                  </a:lnTo>
                  <a:lnTo>
                    <a:pt x="833" y="1133"/>
                  </a:lnTo>
                  <a:lnTo>
                    <a:pt x="825" y="1131"/>
                  </a:lnTo>
                  <a:lnTo>
                    <a:pt x="822" y="1128"/>
                  </a:lnTo>
                  <a:lnTo>
                    <a:pt x="817" y="1125"/>
                  </a:lnTo>
                  <a:lnTo>
                    <a:pt x="817" y="1123"/>
                  </a:lnTo>
                  <a:lnTo>
                    <a:pt x="817" y="1123"/>
                  </a:lnTo>
                  <a:lnTo>
                    <a:pt x="820" y="1123"/>
                  </a:lnTo>
                  <a:lnTo>
                    <a:pt x="820" y="1120"/>
                  </a:lnTo>
                  <a:lnTo>
                    <a:pt x="817" y="1120"/>
                  </a:lnTo>
                  <a:lnTo>
                    <a:pt x="817" y="1120"/>
                  </a:lnTo>
                  <a:lnTo>
                    <a:pt x="814" y="1117"/>
                  </a:lnTo>
                  <a:lnTo>
                    <a:pt x="814" y="1117"/>
                  </a:lnTo>
                  <a:lnTo>
                    <a:pt x="814" y="1115"/>
                  </a:lnTo>
                  <a:lnTo>
                    <a:pt x="817" y="1115"/>
                  </a:lnTo>
                  <a:lnTo>
                    <a:pt x="814" y="1115"/>
                  </a:lnTo>
                  <a:lnTo>
                    <a:pt x="812" y="1115"/>
                  </a:lnTo>
                  <a:lnTo>
                    <a:pt x="812" y="1112"/>
                  </a:lnTo>
                  <a:lnTo>
                    <a:pt x="814" y="1112"/>
                  </a:lnTo>
                  <a:lnTo>
                    <a:pt x="814" y="1109"/>
                  </a:lnTo>
                  <a:lnTo>
                    <a:pt x="817" y="1107"/>
                  </a:lnTo>
                  <a:lnTo>
                    <a:pt x="814" y="1107"/>
                  </a:lnTo>
                  <a:lnTo>
                    <a:pt x="812" y="1104"/>
                  </a:lnTo>
                  <a:lnTo>
                    <a:pt x="812" y="1104"/>
                  </a:lnTo>
                  <a:lnTo>
                    <a:pt x="812" y="1101"/>
                  </a:lnTo>
                  <a:lnTo>
                    <a:pt x="809" y="1099"/>
                  </a:lnTo>
                  <a:lnTo>
                    <a:pt x="806" y="1099"/>
                  </a:lnTo>
                  <a:lnTo>
                    <a:pt x="804" y="1099"/>
                  </a:lnTo>
                  <a:lnTo>
                    <a:pt x="804" y="1096"/>
                  </a:lnTo>
                  <a:lnTo>
                    <a:pt x="801" y="1096"/>
                  </a:lnTo>
                  <a:lnTo>
                    <a:pt x="801" y="1096"/>
                  </a:lnTo>
                  <a:lnTo>
                    <a:pt x="801" y="1096"/>
                  </a:lnTo>
                  <a:lnTo>
                    <a:pt x="804" y="1093"/>
                  </a:lnTo>
                  <a:lnTo>
                    <a:pt x="801" y="1093"/>
                  </a:lnTo>
                  <a:lnTo>
                    <a:pt x="801" y="1093"/>
                  </a:lnTo>
                  <a:lnTo>
                    <a:pt x="801" y="1091"/>
                  </a:lnTo>
                  <a:lnTo>
                    <a:pt x="801" y="1091"/>
                  </a:lnTo>
                  <a:lnTo>
                    <a:pt x="798" y="1091"/>
                  </a:lnTo>
                  <a:lnTo>
                    <a:pt x="798" y="1091"/>
                  </a:lnTo>
                  <a:lnTo>
                    <a:pt x="798" y="1091"/>
                  </a:lnTo>
                  <a:lnTo>
                    <a:pt x="798" y="1088"/>
                  </a:lnTo>
                  <a:lnTo>
                    <a:pt x="798" y="1088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5"/>
                  </a:lnTo>
                  <a:lnTo>
                    <a:pt x="798" y="1083"/>
                  </a:lnTo>
                  <a:lnTo>
                    <a:pt x="798" y="1083"/>
                  </a:lnTo>
                  <a:lnTo>
                    <a:pt x="798" y="1083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798" y="1080"/>
                  </a:lnTo>
                  <a:lnTo>
                    <a:pt x="801" y="1080"/>
                  </a:lnTo>
                  <a:lnTo>
                    <a:pt x="798" y="1077"/>
                  </a:lnTo>
                  <a:lnTo>
                    <a:pt x="798" y="1077"/>
                  </a:lnTo>
                  <a:lnTo>
                    <a:pt x="798" y="1075"/>
                  </a:lnTo>
                  <a:lnTo>
                    <a:pt x="798" y="1075"/>
                  </a:lnTo>
                  <a:lnTo>
                    <a:pt x="796" y="1075"/>
                  </a:lnTo>
                  <a:lnTo>
                    <a:pt x="796" y="1077"/>
                  </a:lnTo>
                  <a:lnTo>
                    <a:pt x="793" y="1075"/>
                  </a:lnTo>
                  <a:lnTo>
                    <a:pt x="790" y="1075"/>
                  </a:lnTo>
                  <a:lnTo>
                    <a:pt x="790" y="1077"/>
                  </a:lnTo>
                  <a:lnTo>
                    <a:pt x="788" y="1077"/>
                  </a:lnTo>
                  <a:lnTo>
                    <a:pt x="788" y="1077"/>
                  </a:lnTo>
                  <a:lnTo>
                    <a:pt x="785" y="1077"/>
                  </a:lnTo>
                  <a:lnTo>
                    <a:pt x="785" y="1077"/>
                  </a:lnTo>
                  <a:lnTo>
                    <a:pt x="782" y="1077"/>
                  </a:lnTo>
                  <a:lnTo>
                    <a:pt x="782" y="1077"/>
                  </a:lnTo>
                  <a:lnTo>
                    <a:pt x="782" y="1075"/>
                  </a:lnTo>
                  <a:lnTo>
                    <a:pt x="780" y="1075"/>
                  </a:lnTo>
                  <a:lnTo>
                    <a:pt x="780" y="1075"/>
                  </a:lnTo>
                  <a:lnTo>
                    <a:pt x="780" y="1075"/>
                  </a:lnTo>
                  <a:lnTo>
                    <a:pt x="777" y="1075"/>
                  </a:lnTo>
                  <a:lnTo>
                    <a:pt x="777" y="1075"/>
                  </a:lnTo>
                  <a:lnTo>
                    <a:pt x="777" y="1077"/>
                  </a:lnTo>
                  <a:lnTo>
                    <a:pt x="777" y="1077"/>
                  </a:lnTo>
                  <a:lnTo>
                    <a:pt x="777" y="1080"/>
                  </a:lnTo>
                  <a:lnTo>
                    <a:pt x="777" y="1080"/>
                  </a:lnTo>
                  <a:lnTo>
                    <a:pt x="774" y="1080"/>
                  </a:lnTo>
                  <a:lnTo>
                    <a:pt x="774" y="1083"/>
                  </a:lnTo>
                  <a:lnTo>
                    <a:pt x="777" y="1085"/>
                  </a:lnTo>
                  <a:lnTo>
                    <a:pt x="777" y="1085"/>
                  </a:lnTo>
                  <a:lnTo>
                    <a:pt x="774" y="1085"/>
                  </a:lnTo>
                  <a:lnTo>
                    <a:pt x="774" y="1085"/>
                  </a:lnTo>
                  <a:lnTo>
                    <a:pt x="774" y="1085"/>
                  </a:lnTo>
                  <a:lnTo>
                    <a:pt x="774" y="1088"/>
                  </a:lnTo>
                  <a:lnTo>
                    <a:pt x="772" y="1088"/>
                  </a:lnTo>
                  <a:lnTo>
                    <a:pt x="772" y="1091"/>
                  </a:lnTo>
                  <a:lnTo>
                    <a:pt x="772" y="1091"/>
                  </a:lnTo>
                  <a:lnTo>
                    <a:pt x="769" y="1091"/>
                  </a:lnTo>
                  <a:lnTo>
                    <a:pt x="772" y="1093"/>
                  </a:lnTo>
                  <a:lnTo>
                    <a:pt x="769" y="1093"/>
                  </a:lnTo>
                  <a:lnTo>
                    <a:pt x="769" y="1093"/>
                  </a:lnTo>
                  <a:lnTo>
                    <a:pt x="769" y="1096"/>
                  </a:lnTo>
                  <a:lnTo>
                    <a:pt x="769" y="1096"/>
                  </a:lnTo>
                  <a:lnTo>
                    <a:pt x="769" y="1099"/>
                  </a:lnTo>
                  <a:lnTo>
                    <a:pt x="766" y="1101"/>
                  </a:lnTo>
                  <a:lnTo>
                    <a:pt x="766" y="1101"/>
                  </a:lnTo>
                  <a:lnTo>
                    <a:pt x="766" y="1104"/>
                  </a:lnTo>
                  <a:lnTo>
                    <a:pt x="766" y="1107"/>
                  </a:lnTo>
                  <a:lnTo>
                    <a:pt x="766" y="1107"/>
                  </a:lnTo>
                  <a:lnTo>
                    <a:pt x="764" y="1104"/>
                  </a:lnTo>
                  <a:lnTo>
                    <a:pt x="761" y="1107"/>
                  </a:lnTo>
                  <a:lnTo>
                    <a:pt x="758" y="1107"/>
                  </a:lnTo>
                  <a:lnTo>
                    <a:pt x="756" y="1107"/>
                  </a:lnTo>
                  <a:lnTo>
                    <a:pt x="756" y="1109"/>
                  </a:lnTo>
                  <a:lnTo>
                    <a:pt x="753" y="1109"/>
                  </a:lnTo>
                  <a:lnTo>
                    <a:pt x="750" y="1107"/>
                  </a:lnTo>
                  <a:lnTo>
                    <a:pt x="748" y="1107"/>
                  </a:lnTo>
                  <a:lnTo>
                    <a:pt x="745" y="1112"/>
                  </a:lnTo>
                  <a:lnTo>
                    <a:pt x="745" y="1112"/>
                  </a:lnTo>
                  <a:lnTo>
                    <a:pt x="742" y="1115"/>
                  </a:lnTo>
                  <a:lnTo>
                    <a:pt x="740" y="1112"/>
                  </a:lnTo>
                  <a:lnTo>
                    <a:pt x="740" y="1115"/>
                  </a:lnTo>
                  <a:lnTo>
                    <a:pt x="734" y="1109"/>
                  </a:lnTo>
                  <a:lnTo>
                    <a:pt x="732" y="1107"/>
                  </a:lnTo>
                  <a:lnTo>
                    <a:pt x="732" y="1107"/>
                  </a:lnTo>
                  <a:lnTo>
                    <a:pt x="729" y="1107"/>
                  </a:lnTo>
                  <a:lnTo>
                    <a:pt x="729" y="1109"/>
                  </a:lnTo>
                  <a:lnTo>
                    <a:pt x="726" y="1109"/>
                  </a:lnTo>
                  <a:lnTo>
                    <a:pt x="726" y="1109"/>
                  </a:lnTo>
                  <a:lnTo>
                    <a:pt x="723" y="1109"/>
                  </a:lnTo>
                  <a:lnTo>
                    <a:pt x="721" y="1107"/>
                  </a:lnTo>
                  <a:lnTo>
                    <a:pt x="718" y="1107"/>
                  </a:lnTo>
                  <a:lnTo>
                    <a:pt x="715" y="1107"/>
                  </a:lnTo>
                  <a:lnTo>
                    <a:pt x="713" y="1107"/>
                  </a:lnTo>
                  <a:lnTo>
                    <a:pt x="713" y="1107"/>
                  </a:lnTo>
                  <a:lnTo>
                    <a:pt x="710" y="1107"/>
                  </a:lnTo>
                  <a:lnTo>
                    <a:pt x="707" y="1107"/>
                  </a:lnTo>
                  <a:lnTo>
                    <a:pt x="705" y="1107"/>
                  </a:lnTo>
                  <a:lnTo>
                    <a:pt x="702" y="1107"/>
                  </a:lnTo>
                  <a:lnTo>
                    <a:pt x="702" y="1107"/>
                  </a:lnTo>
                  <a:lnTo>
                    <a:pt x="699" y="1104"/>
                  </a:lnTo>
                  <a:lnTo>
                    <a:pt x="697" y="1104"/>
                  </a:lnTo>
                  <a:lnTo>
                    <a:pt x="694" y="1104"/>
                  </a:lnTo>
                  <a:lnTo>
                    <a:pt x="691" y="1104"/>
                  </a:lnTo>
                  <a:lnTo>
                    <a:pt x="691" y="1104"/>
                  </a:lnTo>
                  <a:lnTo>
                    <a:pt x="689" y="1104"/>
                  </a:lnTo>
                  <a:lnTo>
                    <a:pt x="689" y="1104"/>
                  </a:lnTo>
                  <a:lnTo>
                    <a:pt x="659" y="1184"/>
                  </a:lnTo>
                  <a:lnTo>
                    <a:pt x="659" y="1184"/>
                  </a:lnTo>
                  <a:lnTo>
                    <a:pt x="659" y="1187"/>
                  </a:lnTo>
                  <a:lnTo>
                    <a:pt x="662" y="1187"/>
                  </a:lnTo>
                  <a:lnTo>
                    <a:pt x="662" y="1187"/>
                  </a:lnTo>
                  <a:lnTo>
                    <a:pt x="662" y="1190"/>
                  </a:lnTo>
                  <a:lnTo>
                    <a:pt x="665" y="1190"/>
                  </a:lnTo>
                  <a:lnTo>
                    <a:pt x="665" y="1190"/>
                  </a:lnTo>
                  <a:lnTo>
                    <a:pt x="667" y="1190"/>
                  </a:lnTo>
                  <a:lnTo>
                    <a:pt x="667" y="1190"/>
                  </a:lnTo>
                  <a:lnTo>
                    <a:pt x="670" y="1190"/>
                  </a:lnTo>
                  <a:lnTo>
                    <a:pt x="670" y="1187"/>
                  </a:lnTo>
                  <a:lnTo>
                    <a:pt x="670" y="1187"/>
                  </a:lnTo>
                  <a:lnTo>
                    <a:pt x="670" y="1190"/>
                  </a:lnTo>
                  <a:lnTo>
                    <a:pt x="673" y="1190"/>
                  </a:lnTo>
                  <a:lnTo>
                    <a:pt x="673" y="1190"/>
                  </a:lnTo>
                  <a:lnTo>
                    <a:pt x="673" y="1192"/>
                  </a:lnTo>
                  <a:lnTo>
                    <a:pt x="670" y="1195"/>
                  </a:lnTo>
                  <a:lnTo>
                    <a:pt x="670" y="1195"/>
                  </a:lnTo>
                  <a:lnTo>
                    <a:pt x="667" y="1198"/>
                  </a:lnTo>
                  <a:lnTo>
                    <a:pt x="667" y="1203"/>
                  </a:lnTo>
                  <a:lnTo>
                    <a:pt x="667" y="1206"/>
                  </a:lnTo>
                  <a:lnTo>
                    <a:pt x="670" y="1208"/>
                  </a:lnTo>
                  <a:lnTo>
                    <a:pt x="673" y="1208"/>
                  </a:lnTo>
                  <a:lnTo>
                    <a:pt x="675" y="1208"/>
                  </a:lnTo>
                  <a:lnTo>
                    <a:pt x="675" y="1206"/>
                  </a:lnTo>
                  <a:lnTo>
                    <a:pt x="678" y="1206"/>
                  </a:lnTo>
                  <a:lnTo>
                    <a:pt x="678" y="1206"/>
                  </a:lnTo>
                  <a:lnTo>
                    <a:pt x="678" y="1206"/>
                  </a:lnTo>
                  <a:lnTo>
                    <a:pt x="683" y="1208"/>
                  </a:lnTo>
                  <a:lnTo>
                    <a:pt x="683" y="1208"/>
                  </a:lnTo>
                  <a:lnTo>
                    <a:pt x="683" y="1211"/>
                  </a:lnTo>
                  <a:lnTo>
                    <a:pt x="683" y="1214"/>
                  </a:lnTo>
                  <a:lnTo>
                    <a:pt x="681" y="1216"/>
                  </a:lnTo>
                  <a:lnTo>
                    <a:pt x="681" y="1216"/>
                  </a:lnTo>
                  <a:lnTo>
                    <a:pt x="681" y="1216"/>
                  </a:lnTo>
                  <a:lnTo>
                    <a:pt x="683" y="1219"/>
                  </a:lnTo>
                  <a:lnTo>
                    <a:pt x="683" y="1219"/>
                  </a:lnTo>
                  <a:lnTo>
                    <a:pt x="683" y="1222"/>
                  </a:lnTo>
                  <a:lnTo>
                    <a:pt x="681" y="1222"/>
                  </a:lnTo>
                  <a:lnTo>
                    <a:pt x="681" y="1222"/>
                  </a:lnTo>
                  <a:lnTo>
                    <a:pt x="683" y="1224"/>
                  </a:lnTo>
                  <a:lnTo>
                    <a:pt x="683" y="1227"/>
                  </a:lnTo>
                  <a:lnTo>
                    <a:pt x="683" y="1230"/>
                  </a:lnTo>
                  <a:lnTo>
                    <a:pt x="681" y="1230"/>
                  </a:lnTo>
                  <a:lnTo>
                    <a:pt x="681" y="1230"/>
                  </a:lnTo>
                  <a:lnTo>
                    <a:pt x="681" y="1230"/>
                  </a:lnTo>
                  <a:lnTo>
                    <a:pt x="689" y="1230"/>
                  </a:lnTo>
                  <a:lnTo>
                    <a:pt x="689" y="1246"/>
                  </a:lnTo>
                  <a:lnTo>
                    <a:pt x="673" y="1248"/>
                  </a:lnTo>
                  <a:lnTo>
                    <a:pt x="673" y="1256"/>
                  </a:lnTo>
                  <a:lnTo>
                    <a:pt x="675" y="1256"/>
                  </a:lnTo>
                  <a:lnTo>
                    <a:pt x="675" y="1264"/>
                  </a:lnTo>
                  <a:lnTo>
                    <a:pt x="673" y="1267"/>
                  </a:lnTo>
                  <a:lnTo>
                    <a:pt x="670" y="1267"/>
                  </a:lnTo>
                  <a:lnTo>
                    <a:pt x="670" y="1264"/>
                  </a:lnTo>
                  <a:lnTo>
                    <a:pt x="667" y="1264"/>
                  </a:lnTo>
                  <a:lnTo>
                    <a:pt x="667" y="1264"/>
                  </a:lnTo>
                  <a:lnTo>
                    <a:pt x="665" y="1270"/>
                  </a:lnTo>
                  <a:lnTo>
                    <a:pt x="667" y="1270"/>
                  </a:lnTo>
                  <a:lnTo>
                    <a:pt x="667" y="1275"/>
                  </a:lnTo>
                  <a:lnTo>
                    <a:pt x="665" y="1275"/>
                  </a:lnTo>
                  <a:lnTo>
                    <a:pt x="665" y="1278"/>
                  </a:lnTo>
                  <a:lnTo>
                    <a:pt x="662" y="1280"/>
                  </a:lnTo>
                  <a:lnTo>
                    <a:pt x="659" y="1280"/>
                  </a:lnTo>
                  <a:lnTo>
                    <a:pt x="659" y="1280"/>
                  </a:lnTo>
                  <a:lnTo>
                    <a:pt x="657" y="1278"/>
                  </a:lnTo>
                  <a:lnTo>
                    <a:pt x="657" y="1275"/>
                  </a:lnTo>
                  <a:lnTo>
                    <a:pt x="651" y="1275"/>
                  </a:lnTo>
                  <a:lnTo>
                    <a:pt x="646" y="1283"/>
                  </a:lnTo>
                  <a:lnTo>
                    <a:pt x="643" y="1283"/>
                  </a:lnTo>
                  <a:lnTo>
                    <a:pt x="643" y="1299"/>
                  </a:lnTo>
                  <a:lnTo>
                    <a:pt x="638" y="1299"/>
                  </a:lnTo>
                  <a:lnTo>
                    <a:pt x="638" y="1302"/>
                  </a:lnTo>
                  <a:lnTo>
                    <a:pt x="635" y="1302"/>
                  </a:lnTo>
                  <a:lnTo>
                    <a:pt x="635" y="1304"/>
                  </a:lnTo>
                  <a:lnTo>
                    <a:pt x="633" y="1307"/>
                  </a:lnTo>
                  <a:lnTo>
                    <a:pt x="633" y="1310"/>
                  </a:lnTo>
                  <a:lnTo>
                    <a:pt x="630" y="1310"/>
                  </a:lnTo>
                  <a:lnTo>
                    <a:pt x="633" y="1312"/>
                  </a:lnTo>
                  <a:lnTo>
                    <a:pt x="635" y="1315"/>
                  </a:lnTo>
                  <a:lnTo>
                    <a:pt x="635" y="1315"/>
                  </a:lnTo>
                  <a:lnTo>
                    <a:pt x="630" y="1321"/>
                  </a:lnTo>
                  <a:lnTo>
                    <a:pt x="635" y="1323"/>
                  </a:lnTo>
                  <a:lnTo>
                    <a:pt x="635" y="1326"/>
                  </a:lnTo>
                  <a:lnTo>
                    <a:pt x="635" y="1329"/>
                  </a:lnTo>
                  <a:lnTo>
                    <a:pt x="633" y="1329"/>
                  </a:lnTo>
                  <a:lnTo>
                    <a:pt x="635" y="1329"/>
                  </a:lnTo>
                  <a:lnTo>
                    <a:pt x="635" y="1331"/>
                  </a:lnTo>
                  <a:lnTo>
                    <a:pt x="635" y="1334"/>
                  </a:lnTo>
                  <a:lnTo>
                    <a:pt x="635" y="1334"/>
                  </a:lnTo>
                  <a:lnTo>
                    <a:pt x="635" y="1334"/>
                  </a:lnTo>
                  <a:lnTo>
                    <a:pt x="635" y="1337"/>
                  </a:lnTo>
                  <a:lnTo>
                    <a:pt x="635" y="1339"/>
                  </a:lnTo>
                  <a:lnTo>
                    <a:pt x="635" y="1339"/>
                  </a:lnTo>
                  <a:lnTo>
                    <a:pt x="635" y="1342"/>
                  </a:lnTo>
                  <a:lnTo>
                    <a:pt x="638" y="1342"/>
                  </a:lnTo>
                  <a:lnTo>
                    <a:pt x="638" y="1342"/>
                  </a:lnTo>
                  <a:lnTo>
                    <a:pt x="638" y="1345"/>
                  </a:lnTo>
                  <a:lnTo>
                    <a:pt x="638" y="1347"/>
                  </a:lnTo>
                  <a:lnTo>
                    <a:pt x="638" y="1347"/>
                  </a:lnTo>
                  <a:lnTo>
                    <a:pt x="641" y="1347"/>
                  </a:lnTo>
                  <a:lnTo>
                    <a:pt x="641" y="1350"/>
                  </a:lnTo>
                  <a:lnTo>
                    <a:pt x="641" y="1350"/>
                  </a:lnTo>
                  <a:lnTo>
                    <a:pt x="641" y="1353"/>
                  </a:lnTo>
                  <a:lnTo>
                    <a:pt x="641" y="1353"/>
                  </a:lnTo>
                  <a:lnTo>
                    <a:pt x="638" y="1355"/>
                  </a:lnTo>
                  <a:lnTo>
                    <a:pt x="638" y="1355"/>
                  </a:lnTo>
                  <a:lnTo>
                    <a:pt x="635" y="1355"/>
                  </a:lnTo>
                  <a:lnTo>
                    <a:pt x="635" y="1353"/>
                  </a:lnTo>
                  <a:lnTo>
                    <a:pt x="630" y="1355"/>
                  </a:lnTo>
                  <a:lnTo>
                    <a:pt x="630" y="1355"/>
                  </a:lnTo>
                  <a:lnTo>
                    <a:pt x="630" y="1358"/>
                  </a:lnTo>
                  <a:lnTo>
                    <a:pt x="630" y="1358"/>
                  </a:lnTo>
                  <a:lnTo>
                    <a:pt x="627" y="1355"/>
                  </a:lnTo>
                  <a:lnTo>
                    <a:pt x="627" y="1355"/>
                  </a:lnTo>
                  <a:lnTo>
                    <a:pt x="625" y="1355"/>
                  </a:lnTo>
                  <a:lnTo>
                    <a:pt x="625" y="1358"/>
                  </a:lnTo>
                  <a:lnTo>
                    <a:pt x="627" y="1361"/>
                  </a:lnTo>
                  <a:lnTo>
                    <a:pt x="627" y="1363"/>
                  </a:lnTo>
                  <a:lnTo>
                    <a:pt x="627" y="1366"/>
                  </a:lnTo>
                  <a:lnTo>
                    <a:pt x="627" y="1366"/>
                  </a:lnTo>
                  <a:lnTo>
                    <a:pt x="627" y="1369"/>
                  </a:lnTo>
                  <a:lnTo>
                    <a:pt x="627" y="1371"/>
                  </a:lnTo>
                  <a:lnTo>
                    <a:pt x="627" y="1371"/>
                  </a:lnTo>
                  <a:lnTo>
                    <a:pt x="627" y="1374"/>
                  </a:lnTo>
                  <a:lnTo>
                    <a:pt x="625" y="1374"/>
                  </a:lnTo>
                  <a:lnTo>
                    <a:pt x="625" y="1374"/>
                  </a:lnTo>
                  <a:lnTo>
                    <a:pt x="627" y="1374"/>
                  </a:lnTo>
                  <a:lnTo>
                    <a:pt x="627" y="1374"/>
                  </a:lnTo>
                  <a:lnTo>
                    <a:pt x="627" y="1377"/>
                  </a:lnTo>
                  <a:lnTo>
                    <a:pt x="627" y="1377"/>
                  </a:lnTo>
                  <a:lnTo>
                    <a:pt x="627" y="1379"/>
                  </a:lnTo>
                  <a:lnTo>
                    <a:pt x="625" y="1379"/>
                  </a:lnTo>
                  <a:lnTo>
                    <a:pt x="625" y="1379"/>
                  </a:lnTo>
                  <a:lnTo>
                    <a:pt x="622" y="1379"/>
                  </a:lnTo>
                  <a:lnTo>
                    <a:pt x="622" y="1382"/>
                  </a:lnTo>
                  <a:lnTo>
                    <a:pt x="622" y="1382"/>
                  </a:lnTo>
                  <a:lnTo>
                    <a:pt x="625" y="1382"/>
                  </a:lnTo>
                  <a:lnTo>
                    <a:pt x="625" y="1385"/>
                  </a:lnTo>
                  <a:lnTo>
                    <a:pt x="625" y="1385"/>
                  </a:lnTo>
                  <a:lnTo>
                    <a:pt x="630" y="1387"/>
                  </a:lnTo>
                  <a:lnTo>
                    <a:pt x="630" y="1390"/>
                  </a:lnTo>
                  <a:lnTo>
                    <a:pt x="630" y="1393"/>
                  </a:lnTo>
                  <a:lnTo>
                    <a:pt x="630" y="1393"/>
                  </a:lnTo>
                  <a:lnTo>
                    <a:pt x="630" y="1395"/>
                  </a:lnTo>
                  <a:lnTo>
                    <a:pt x="630" y="1398"/>
                  </a:lnTo>
                  <a:lnTo>
                    <a:pt x="630" y="1398"/>
                  </a:lnTo>
                  <a:lnTo>
                    <a:pt x="630" y="1398"/>
                  </a:lnTo>
                  <a:lnTo>
                    <a:pt x="627" y="1401"/>
                  </a:lnTo>
                  <a:lnTo>
                    <a:pt x="627" y="1401"/>
                  </a:lnTo>
                  <a:lnTo>
                    <a:pt x="627" y="1403"/>
                  </a:lnTo>
                  <a:lnTo>
                    <a:pt x="627" y="1403"/>
                  </a:lnTo>
                  <a:lnTo>
                    <a:pt x="625" y="1406"/>
                  </a:lnTo>
                  <a:lnTo>
                    <a:pt x="625" y="1406"/>
                  </a:lnTo>
                  <a:lnTo>
                    <a:pt x="625" y="1409"/>
                  </a:lnTo>
                  <a:lnTo>
                    <a:pt x="625" y="1409"/>
                  </a:lnTo>
                  <a:lnTo>
                    <a:pt x="625" y="1409"/>
                  </a:lnTo>
                  <a:lnTo>
                    <a:pt x="622" y="1411"/>
                  </a:lnTo>
                  <a:lnTo>
                    <a:pt x="622" y="1411"/>
                  </a:lnTo>
                  <a:lnTo>
                    <a:pt x="622" y="1414"/>
                  </a:lnTo>
                  <a:lnTo>
                    <a:pt x="622" y="1414"/>
                  </a:lnTo>
                  <a:lnTo>
                    <a:pt x="622" y="1417"/>
                  </a:lnTo>
                  <a:lnTo>
                    <a:pt x="622" y="1417"/>
                  </a:lnTo>
                  <a:lnTo>
                    <a:pt x="622" y="1419"/>
                  </a:lnTo>
                  <a:lnTo>
                    <a:pt x="622" y="1422"/>
                  </a:lnTo>
                  <a:lnTo>
                    <a:pt x="622" y="1422"/>
                  </a:lnTo>
                  <a:lnTo>
                    <a:pt x="622" y="1422"/>
                  </a:lnTo>
                  <a:lnTo>
                    <a:pt x="619" y="1425"/>
                  </a:lnTo>
                  <a:lnTo>
                    <a:pt x="619" y="1425"/>
                  </a:lnTo>
                  <a:lnTo>
                    <a:pt x="619" y="1425"/>
                  </a:lnTo>
                  <a:lnTo>
                    <a:pt x="619" y="1427"/>
                  </a:lnTo>
                  <a:lnTo>
                    <a:pt x="622" y="1430"/>
                  </a:lnTo>
                  <a:lnTo>
                    <a:pt x="619" y="1430"/>
                  </a:lnTo>
                  <a:lnTo>
                    <a:pt x="609" y="1425"/>
                  </a:lnTo>
                  <a:lnTo>
                    <a:pt x="609" y="1427"/>
                  </a:lnTo>
                  <a:lnTo>
                    <a:pt x="603" y="1427"/>
                  </a:lnTo>
                  <a:lnTo>
                    <a:pt x="601" y="1427"/>
                  </a:lnTo>
                  <a:lnTo>
                    <a:pt x="598" y="1427"/>
                  </a:lnTo>
                  <a:lnTo>
                    <a:pt x="595" y="1425"/>
                  </a:lnTo>
                  <a:lnTo>
                    <a:pt x="595" y="1425"/>
                  </a:lnTo>
                  <a:lnTo>
                    <a:pt x="593" y="1425"/>
                  </a:lnTo>
                  <a:lnTo>
                    <a:pt x="593" y="1425"/>
                  </a:lnTo>
                  <a:lnTo>
                    <a:pt x="593" y="1427"/>
                  </a:lnTo>
                  <a:lnTo>
                    <a:pt x="593" y="1430"/>
                  </a:lnTo>
                  <a:lnTo>
                    <a:pt x="593" y="1430"/>
                  </a:lnTo>
                  <a:lnTo>
                    <a:pt x="593" y="1430"/>
                  </a:lnTo>
                  <a:lnTo>
                    <a:pt x="593" y="1433"/>
                  </a:lnTo>
                  <a:lnTo>
                    <a:pt x="590" y="1433"/>
                  </a:lnTo>
                  <a:lnTo>
                    <a:pt x="590" y="1433"/>
                  </a:lnTo>
                  <a:lnTo>
                    <a:pt x="590" y="1435"/>
                  </a:lnTo>
                  <a:lnTo>
                    <a:pt x="590" y="1438"/>
                  </a:lnTo>
                  <a:lnTo>
                    <a:pt x="590" y="1438"/>
                  </a:lnTo>
                  <a:lnTo>
                    <a:pt x="587" y="1438"/>
                  </a:lnTo>
                  <a:lnTo>
                    <a:pt x="587" y="1441"/>
                  </a:lnTo>
                  <a:lnTo>
                    <a:pt x="587" y="1443"/>
                  </a:lnTo>
                  <a:lnTo>
                    <a:pt x="585" y="1443"/>
                  </a:lnTo>
                  <a:lnTo>
                    <a:pt x="585" y="1443"/>
                  </a:lnTo>
                  <a:lnTo>
                    <a:pt x="582" y="1441"/>
                  </a:lnTo>
                  <a:lnTo>
                    <a:pt x="582" y="1441"/>
                  </a:lnTo>
                  <a:lnTo>
                    <a:pt x="579" y="1441"/>
                  </a:lnTo>
                  <a:lnTo>
                    <a:pt x="579" y="1441"/>
                  </a:lnTo>
                  <a:lnTo>
                    <a:pt x="577" y="1441"/>
                  </a:lnTo>
                  <a:lnTo>
                    <a:pt x="577" y="1441"/>
                  </a:lnTo>
                  <a:lnTo>
                    <a:pt x="574" y="1443"/>
                  </a:lnTo>
                  <a:lnTo>
                    <a:pt x="574" y="1443"/>
                  </a:lnTo>
                  <a:lnTo>
                    <a:pt x="574" y="1446"/>
                  </a:lnTo>
                  <a:lnTo>
                    <a:pt x="571" y="1446"/>
                  </a:lnTo>
                  <a:lnTo>
                    <a:pt x="571" y="1449"/>
                  </a:lnTo>
                  <a:lnTo>
                    <a:pt x="571" y="1451"/>
                  </a:lnTo>
                  <a:lnTo>
                    <a:pt x="571" y="1454"/>
                  </a:lnTo>
                  <a:lnTo>
                    <a:pt x="571" y="1457"/>
                  </a:lnTo>
                  <a:lnTo>
                    <a:pt x="574" y="1457"/>
                  </a:lnTo>
                  <a:lnTo>
                    <a:pt x="574" y="1457"/>
                  </a:lnTo>
                  <a:lnTo>
                    <a:pt x="577" y="1459"/>
                  </a:lnTo>
                  <a:lnTo>
                    <a:pt x="579" y="1459"/>
                  </a:lnTo>
                  <a:lnTo>
                    <a:pt x="582" y="1459"/>
                  </a:lnTo>
                  <a:lnTo>
                    <a:pt x="582" y="1459"/>
                  </a:lnTo>
                  <a:lnTo>
                    <a:pt x="582" y="1462"/>
                  </a:lnTo>
                  <a:lnTo>
                    <a:pt x="582" y="1462"/>
                  </a:lnTo>
                  <a:lnTo>
                    <a:pt x="585" y="1465"/>
                  </a:lnTo>
                  <a:lnTo>
                    <a:pt x="585" y="1465"/>
                  </a:lnTo>
                  <a:lnTo>
                    <a:pt x="587" y="1467"/>
                  </a:lnTo>
                  <a:lnTo>
                    <a:pt x="587" y="1467"/>
                  </a:lnTo>
                  <a:lnTo>
                    <a:pt x="587" y="1470"/>
                  </a:lnTo>
                  <a:lnTo>
                    <a:pt x="590" y="1470"/>
                  </a:lnTo>
                  <a:lnTo>
                    <a:pt x="590" y="1473"/>
                  </a:lnTo>
                  <a:lnTo>
                    <a:pt x="593" y="1473"/>
                  </a:lnTo>
                  <a:lnTo>
                    <a:pt x="595" y="1473"/>
                  </a:lnTo>
                  <a:lnTo>
                    <a:pt x="595" y="1475"/>
                  </a:lnTo>
                  <a:lnTo>
                    <a:pt x="595" y="1478"/>
                  </a:lnTo>
                  <a:lnTo>
                    <a:pt x="595" y="1481"/>
                  </a:lnTo>
                  <a:lnTo>
                    <a:pt x="595" y="1481"/>
                  </a:lnTo>
                  <a:lnTo>
                    <a:pt x="595" y="1481"/>
                  </a:lnTo>
                  <a:lnTo>
                    <a:pt x="598" y="1481"/>
                  </a:lnTo>
                  <a:lnTo>
                    <a:pt x="598" y="1484"/>
                  </a:lnTo>
                  <a:lnTo>
                    <a:pt x="601" y="1486"/>
                  </a:lnTo>
                  <a:lnTo>
                    <a:pt x="603" y="1489"/>
                  </a:lnTo>
                  <a:lnTo>
                    <a:pt x="606" y="1489"/>
                  </a:lnTo>
                  <a:lnTo>
                    <a:pt x="606" y="1492"/>
                  </a:lnTo>
                  <a:lnTo>
                    <a:pt x="611" y="1494"/>
                  </a:lnTo>
                  <a:lnTo>
                    <a:pt x="614" y="1500"/>
                  </a:lnTo>
                  <a:lnTo>
                    <a:pt x="614" y="1500"/>
                  </a:lnTo>
                  <a:lnTo>
                    <a:pt x="614" y="1502"/>
                  </a:lnTo>
                  <a:lnTo>
                    <a:pt x="614" y="1502"/>
                  </a:lnTo>
                  <a:lnTo>
                    <a:pt x="617" y="1505"/>
                  </a:lnTo>
                  <a:lnTo>
                    <a:pt x="619" y="1505"/>
                  </a:lnTo>
                  <a:lnTo>
                    <a:pt x="619" y="1508"/>
                  </a:lnTo>
                  <a:lnTo>
                    <a:pt x="619" y="1508"/>
                  </a:lnTo>
                  <a:lnTo>
                    <a:pt x="622" y="1510"/>
                  </a:lnTo>
                  <a:lnTo>
                    <a:pt x="622" y="1510"/>
                  </a:lnTo>
                  <a:lnTo>
                    <a:pt x="625" y="1513"/>
                  </a:lnTo>
                  <a:lnTo>
                    <a:pt x="625" y="1513"/>
                  </a:lnTo>
                  <a:lnTo>
                    <a:pt x="627" y="1510"/>
                  </a:lnTo>
                  <a:lnTo>
                    <a:pt x="627" y="1510"/>
                  </a:lnTo>
                  <a:lnTo>
                    <a:pt x="627" y="1516"/>
                  </a:lnTo>
                  <a:lnTo>
                    <a:pt x="633" y="1513"/>
                  </a:lnTo>
                  <a:lnTo>
                    <a:pt x="633" y="1516"/>
                  </a:lnTo>
                  <a:lnTo>
                    <a:pt x="630" y="1516"/>
                  </a:lnTo>
                  <a:lnTo>
                    <a:pt x="630" y="1518"/>
                  </a:lnTo>
                  <a:lnTo>
                    <a:pt x="630" y="1518"/>
                  </a:lnTo>
                  <a:lnTo>
                    <a:pt x="630" y="1521"/>
                  </a:lnTo>
                  <a:lnTo>
                    <a:pt x="630" y="1521"/>
                  </a:lnTo>
                  <a:lnTo>
                    <a:pt x="627" y="1521"/>
                  </a:lnTo>
                  <a:lnTo>
                    <a:pt x="627" y="1524"/>
                  </a:lnTo>
                  <a:lnTo>
                    <a:pt x="627" y="1524"/>
                  </a:lnTo>
                  <a:lnTo>
                    <a:pt x="625" y="1524"/>
                  </a:lnTo>
                  <a:lnTo>
                    <a:pt x="625" y="1524"/>
                  </a:lnTo>
                  <a:lnTo>
                    <a:pt x="622" y="1524"/>
                  </a:lnTo>
                  <a:lnTo>
                    <a:pt x="622" y="1524"/>
                  </a:lnTo>
                  <a:lnTo>
                    <a:pt x="619" y="1526"/>
                  </a:lnTo>
                  <a:lnTo>
                    <a:pt x="617" y="1524"/>
                  </a:lnTo>
                  <a:lnTo>
                    <a:pt x="617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6"/>
                  </a:lnTo>
                  <a:lnTo>
                    <a:pt x="614" y="1524"/>
                  </a:lnTo>
                  <a:lnTo>
                    <a:pt x="614" y="1524"/>
                  </a:lnTo>
                  <a:lnTo>
                    <a:pt x="611" y="1524"/>
                  </a:lnTo>
                  <a:lnTo>
                    <a:pt x="609" y="1524"/>
                  </a:lnTo>
                  <a:lnTo>
                    <a:pt x="611" y="1521"/>
                  </a:lnTo>
                  <a:lnTo>
                    <a:pt x="609" y="1521"/>
                  </a:lnTo>
                  <a:lnTo>
                    <a:pt x="606" y="1521"/>
                  </a:lnTo>
                  <a:lnTo>
                    <a:pt x="606" y="1521"/>
                  </a:lnTo>
                  <a:lnTo>
                    <a:pt x="606" y="1518"/>
                  </a:lnTo>
                  <a:lnTo>
                    <a:pt x="606" y="1518"/>
                  </a:lnTo>
                  <a:lnTo>
                    <a:pt x="603" y="1521"/>
                  </a:lnTo>
                  <a:lnTo>
                    <a:pt x="603" y="1521"/>
                  </a:lnTo>
                  <a:lnTo>
                    <a:pt x="603" y="1524"/>
                  </a:lnTo>
                  <a:lnTo>
                    <a:pt x="603" y="1524"/>
                  </a:lnTo>
                  <a:lnTo>
                    <a:pt x="603" y="1526"/>
                  </a:lnTo>
                  <a:lnTo>
                    <a:pt x="603" y="1526"/>
                  </a:lnTo>
                  <a:lnTo>
                    <a:pt x="601" y="1526"/>
                  </a:lnTo>
                  <a:lnTo>
                    <a:pt x="601" y="1526"/>
                  </a:lnTo>
                  <a:lnTo>
                    <a:pt x="598" y="1529"/>
                  </a:lnTo>
                  <a:lnTo>
                    <a:pt x="598" y="1532"/>
                  </a:lnTo>
                  <a:lnTo>
                    <a:pt x="598" y="1532"/>
                  </a:lnTo>
                  <a:lnTo>
                    <a:pt x="598" y="1532"/>
                  </a:lnTo>
                  <a:lnTo>
                    <a:pt x="595" y="1532"/>
                  </a:lnTo>
                  <a:lnTo>
                    <a:pt x="595" y="1532"/>
                  </a:lnTo>
                  <a:lnTo>
                    <a:pt x="593" y="1532"/>
                  </a:lnTo>
                  <a:lnTo>
                    <a:pt x="590" y="1532"/>
                  </a:lnTo>
                  <a:lnTo>
                    <a:pt x="590" y="1529"/>
                  </a:lnTo>
                  <a:lnTo>
                    <a:pt x="587" y="1529"/>
                  </a:lnTo>
                  <a:lnTo>
                    <a:pt x="587" y="1529"/>
                  </a:lnTo>
                  <a:lnTo>
                    <a:pt x="585" y="1529"/>
                  </a:lnTo>
                  <a:lnTo>
                    <a:pt x="582" y="1529"/>
                  </a:lnTo>
                  <a:lnTo>
                    <a:pt x="582" y="1529"/>
                  </a:lnTo>
                  <a:lnTo>
                    <a:pt x="579" y="1529"/>
                  </a:lnTo>
                  <a:lnTo>
                    <a:pt x="579" y="1529"/>
                  </a:lnTo>
                  <a:lnTo>
                    <a:pt x="577" y="1529"/>
                  </a:lnTo>
                  <a:lnTo>
                    <a:pt x="574" y="1526"/>
                  </a:lnTo>
                  <a:lnTo>
                    <a:pt x="574" y="1529"/>
                  </a:lnTo>
                  <a:lnTo>
                    <a:pt x="571" y="1529"/>
                  </a:lnTo>
                  <a:lnTo>
                    <a:pt x="571" y="1532"/>
                  </a:lnTo>
                  <a:lnTo>
                    <a:pt x="571" y="1532"/>
                  </a:lnTo>
                  <a:lnTo>
                    <a:pt x="571" y="1534"/>
                  </a:lnTo>
                  <a:lnTo>
                    <a:pt x="569" y="1534"/>
                  </a:lnTo>
                  <a:lnTo>
                    <a:pt x="566" y="1534"/>
                  </a:lnTo>
                  <a:lnTo>
                    <a:pt x="566" y="1534"/>
                  </a:lnTo>
                  <a:lnTo>
                    <a:pt x="563" y="1534"/>
                  </a:lnTo>
                  <a:lnTo>
                    <a:pt x="563" y="1537"/>
                  </a:lnTo>
                  <a:lnTo>
                    <a:pt x="563" y="1540"/>
                  </a:lnTo>
                  <a:lnTo>
                    <a:pt x="561" y="1540"/>
                  </a:lnTo>
                  <a:lnTo>
                    <a:pt x="558" y="1540"/>
                  </a:lnTo>
                  <a:lnTo>
                    <a:pt x="558" y="1542"/>
                  </a:lnTo>
                  <a:lnTo>
                    <a:pt x="558" y="1542"/>
                  </a:lnTo>
                  <a:lnTo>
                    <a:pt x="553" y="1537"/>
                  </a:lnTo>
                  <a:lnTo>
                    <a:pt x="553" y="1534"/>
                  </a:lnTo>
                  <a:lnTo>
                    <a:pt x="550" y="1534"/>
                  </a:lnTo>
                  <a:lnTo>
                    <a:pt x="547" y="1532"/>
                  </a:lnTo>
                  <a:lnTo>
                    <a:pt x="545" y="1534"/>
                  </a:lnTo>
                  <a:lnTo>
                    <a:pt x="542" y="1540"/>
                  </a:lnTo>
                  <a:lnTo>
                    <a:pt x="539" y="1540"/>
                  </a:lnTo>
                  <a:lnTo>
                    <a:pt x="539" y="1540"/>
                  </a:lnTo>
                  <a:lnTo>
                    <a:pt x="534" y="1540"/>
                  </a:lnTo>
                  <a:lnTo>
                    <a:pt x="534" y="1537"/>
                  </a:lnTo>
                  <a:lnTo>
                    <a:pt x="534" y="1540"/>
                  </a:lnTo>
                  <a:lnTo>
                    <a:pt x="531" y="1540"/>
                  </a:lnTo>
                  <a:lnTo>
                    <a:pt x="529" y="1540"/>
                  </a:lnTo>
                  <a:lnTo>
                    <a:pt x="521" y="1540"/>
                  </a:lnTo>
                  <a:lnTo>
                    <a:pt x="521" y="1542"/>
                  </a:lnTo>
                  <a:lnTo>
                    <a:pt x="518" y="1542"/>
                  </a:lnTo>
                  <a:lnTo>
                    <a:pt x="515" y="1545"/>
                  </a:lnTo>
                  <a:lnTo>
                    <a:pt x="513" y="1545"/>
                  </a:lnTo>
                  <a:lnTo>
                    <a:pt x="513" y="1548"/>
                  </a:lnTo>
                  <a:lnTo>
                    <a:pt x="510" y="1550"/>
                  </a:lnTo>
                  <a:lnTo>
                    <a:pt x="515" y="1550"/>
                  </a:lnTo>
                  <a:lnTo>
                    <a:pt x="518" y="1553"/>
                  </a:lnTo>
                  <a:lnTo>
                    <a:pt x="518" y="1556"/>
                  </a:lnTo>
                  <a:lnTo>
                    <a:pt x="515" y="1556"/>
                  </a:lnTo>
                  <a:lnTo>
                    <a:pt x="515" y="1558"/>
                  </a:lnTo>
                  <a:lnTo>
                    <a:pt x="513" y="1561"/>
                  </a:lnTo>
                  <a:lnTo>
                    <a:pt x="513" y="1561"/>
                  </a:lnTo>
                  <a:lnTo>
                    <a:pt x="513" y="1564"/>
                  </a:lnTo>
                  <a:lnTo>
                    <a:pt x="513" y="1564"/>
                  </a:lnTo>
                  <a:lnTo>
                    <a:pt x="513" y="1564"/>
                  </a:lnTo>
                  <a:lnTo>
                    <a:pt x="513" y="1566"/>
                  </a:lnTo>
                  <a:lnTo>
                    <a:pt x="513" y="1569"/>
                  </a:lnTo>
                  <a:lnTo>
                    <a:pt x="510" y="1569"/>
                  </a:lnTo>
                  <a:lnTo>
                    <a:pt x="513" y="1572"/>
                  </a:lnTo>
                  <a:lnTo>
                    <a:pt x="513" y="1572"/>
                  </a:lnTo>
                  <a:lnTo>
                    <a:pt x="513" y="1574"/>
                  </a:lnTo>
                  <a:lnTo>
                    <a:pt x="510" y="1574"/>
                  </a:lnTo>
                  <a:lnTo>
                    <a:pt x="510" y="1577"/>
                  </a:lnTo>
                  <a:lnTo>
                    <a:pt x="510" y="1580"/>
                  </a:lnTo>
                  <a:lnTo>
                    <a:pt x="507" y="1580"/>
                  </a:lnTo>
                  <a:lnTo>
                    <a:pt x="507" y="1582"/>
                  </a:lnTo>
                  <a:lnTo>
                    <a:pt x="507" y="1585"/>
                  </a:lnTo>
                  <a:lnTo>
                    <a:pt x="505" y="1588"/>
                  </a:lnTo>
                  <a:lnTo>
                    <a:pt x="505" y="1588"/>
                  </a:lnTo>
                  <a:lnTo>
                    <a:pt x="505" y="1585"/>
                  </a:lnTo>
                  <a:lnTo>
                    <a:pt x="502" y="1585"/>
                  </a:lnTo>
                  <a:lnTo>
                    <a:pt x="502" y="1585"/>
                  </a:lnTo>
                  <a:lnTo>
                    <a:pt x="499" y="1585"/>
                  </a:lnTo>
                  <a:lnTo>
                    <a:pt x="497" y="1585"/>
                  </a:lnTo>
                  <a:lnTo>
                    <a:pt x="497" y="1585"/>
                  </a:lnTo>
                  <a:lnTo>
                    <a:pt x="494" y="1585"/>
                  </a:lnTo>
                  <a:lnTo>
                    <a:pt x="494" y="1588"/>
                  </a:lnTo>
                  <a:lnTo>
                    <a:pt x="494" y="1588"/>
                  </a:lnTo>
                  <a:lnTo>
                    <a:pt x="491" y="1588"/>
                  </a:lnTo>
                  <a:lnTo>
                    <a:pt x="491" y="1590"/>
                  </a:lnTo>
                  <a:lnTo>
                    <a:pt x="489" y="1590"/>
                  </a:lnTo>
                  <a:lnTo>
                    <a:pt x="489" y="1590"/>
                  </a:lnTo>
                  <a:lnTo>
                    <a:pt x="486" y="1593"/>
                  </a:lnTo>
                  <a:lnTo>
                    <a:pt x="486" y="1593"/>
                  </a:lnTo>
                  <a:lnTo>
                    <a:pt x="486" y="1596"/>
                  </a:lnTo>
                  <a:lnTo>
                    <a:pt x="486" y="1596"/>
                  </a:lnTo>
                  <a:lnTo>
                    <a:pt x="483" y="1598"/>
                  </a:lnTo>
                  <a:lnTo>
                    <a:pt x="486" y="1601"/>
                  </a:lnTo>
                  <a:lnTo>
                    <a:pt x="483" y="1601"/>
                  </a:lnTo>
                  <a:lnTo>
                    <a:pt x="483" y="1601"/>
                  </a:lnTo>
                  <a:lnTo>
                    <a:pt x="483" y="1604"/>
                  </a:lnTo>
                  <a:lnTo>
                    <a:pt x="483" y="1606"/>
                  </a:lnTo>
                  <a:lnTo>
                    <a:pt x="483" y="1606"/>
                  </a:lnTo>
                  <a:lnTo>
                    <a:pt x="480" y="1609"/>
                  </a:lnTo>
                  <a:lnTo>
                    <a:pt x="480" y="1609"/>
                  </a:lnTo>
                  <a:lnTo>
                    <a:pt x="478" y="1609"/>
                  </a:lnTo>
                  <a:lnTo>
                    <a:pt x="478" y="1609"/>
                  </a:lnTo>
                  <a:lnTo>
                    <a:pt x="475" y="1612"/>
                  </a:lnTo>
                  <a:lnTo>
                    <a:pt x="475" y="1612"/>
                  </a:lnTo>
                  <a:lnTo>
                    <a:pt x="475" y="1612"/>
                  </a:lnTo>
                  <a:lnTo>
                    <a:pt x="475" y="1614"/>
                  </a:lnTo>
                  <a:lnTo>
                    <a:pt x="475" y="1614"/>
                  </a:lnTo>
                  <a:lnTo>
                    <a:pt x="475" y="1620"/>
                  </a:lnTo>
                  <a:lnTo>
                    <a:pt x="472" y="1620"/>
                  </a:lnTo>
                  <a:lnTo>
                    <a:pt x="467" y="1625"/>
                  </a:lnTo>
                  <a:lnTo>
                    <a:pt x="467" y="1628"/>
                  </a:lnTo>
                  <a:lnTo>
                    <a:pt x="467" y="1628"/>
                  </a:lnTo>
                  <a:lnTo>
                    <a:pt x="464" y="1628"/>
                  </a:lnTo>
                  <a:lnTo>
                    <a:pt x="462" y="1630"/>
                  </a:lnTo>
                  <a:lnTo>
                    <a:pt x="462" y="1630"/>
                  </a:lnTo>
                  <a:lnTo>
                    <a:pt x="462" y="1630"/>
                  </a:lnTo>
                  <a:lnTo>
                    <a:pt x="462" y="1633"/>
                  </a:lnTo>
                  <a:lnTo>
                    <a:pt x="464" y="1636"/>
                  </a:lnTo>
                  <a:lnTo>
                    <a:pt x="462" y="1636"/>
                  </a:lnTo>
                  <a:lnTo>
                    <a:pt x="462" y="1638"/>
                  </a:lnTo>
                  <a:lnTo>
                    <a:pt x="462" y="1641"/>
                  </a:lnTo>
                  <a:lnTo>
                    <a:pt x="459" y="1641"/>
                  </a:lnTo>
                  <a:lnTo>
                    <a:pt x="459" y="1644"/>
                  </a:lnTo>
                  <a:lnTo>
                    <a:pt x="459" y="1644"/>
                  </a:lnTo>
                  <a:lnTo>
                    <a:pt x="459" y="1647"/>
                  </a:lnTo>
                  <a:lnTo>
                    <a:pt x="459" y="1647"/>
                  </a:lnTo>
                  <a:lnTo>
                    <a:pt x="459" y="1649"/>
                  </a:lnTo>
                  <a:lnTo>
                    <a:pt x="459" y="1652"/>
                  </a:lnTo>
                  <a:lnTo>
                    <a:pt x="456" y="1652"/>
                  </a:lnTo>
                  <a:lnTo>
                    <a:pt x="454" y="1655"/>
                  </a:lnTo>
                  <a:lnTo>
                    <a:pt x="454" y="1655"/>
                  </a:lnTo>
                  <a:lnTo>
                    <a:pt x="454" y="1655"/>
                  </a:lnTo>
                  <a:lnTo>
                    <a:pt x="448" y="1655"/>
                  </a:lnTo>
                  <a:lnTo>
                    <a:pt x="448" y="1655"/>
                  </a:lnTo>
                  <a:lnTo>
                    <a:pt x="446" y="1655"/>
                  </a:lnTo>
                  <a:lnTo>
                    <a:pt x="443" y="1657"/>
                  </a:lnTo>
                  <a:lnTo>
                    <a:pt x="443" y="1657"/>
                  </a:lnTo>
                  <a:lnTo>
                    <a:pt x="440" y="1657"/>
                  </a:lnTo>
                  <a:lnTo>
                    <a:pt x="438" y="1657"/>
                  </a:lnTo>
                  <a:lnTo>
                    <a:pt x="438" y="1660"/>
                  </a:lnTo>
                  <a:lnTo>
                    <a:pt x="438" y="1660"/>
                  </a:lnTo>
                  <a:lnTo>
                    <a:pt x="435" y="1663"/>
                  </a:lnTo>
                  <a:lnTo>
                    <a:pt x="432" y="1665"/>
                  </a:lnTo>
                  <a:lnTo>
                    <a:pt x="432" y="1665"/>
                  </a:lnTo>
                  <a:lnTo>
                    <a:pt x="432" y="1668"/>
                  </a:lnTo>
                  <a:lnTo>
                    <a:pt x="430" y="1668"/>
                  </a:lnTo>
                  <a:lnTo>
                    <a:pt x="427" y="1668"/>
                  </a:lnTo>
                  <a:lnTo>
                    <a:pt x="427" y="1671"/>
                  </a:lnTo>
                  <a:lnTo>
                    <a:pt x="424" y="1671"/>
                  </a:lnTo>
                  <a:lnTo>
                    <a:pt x="424" y="1673"/>
                  </a:lnTo>
                  <a:lnTo>
                    <a:pt x="424" y="1676"/>
                  </a:lnTo>
                  <a:lnTo>
                    <a:pt x="422" y="1679"/>
                  </a:lnTo>
                  <a:lnTo>
                    <a:pt x="419" y="1679"/>
                  </a:lnTo>
                  <a:lnTo>
                    <a:pt x="419" y="1679"/>
                  </a:lnTo>
                  <a:lnTo>
                    <a:pt x="416" y="1679"/>
                  </a:lnTo>
                  <a:lnTo>
                    <a:pt x="414" y="1681"/>
                  </a:lnTo>
                  <a:lnTo>
                    <a:pt x="414" y="1684"/>
                  </a:lnTo>
                  <a:lnTo>
                    <a:pt x="411" y="1687"/>
                  </a:lnTo>
                  <a:lnTo>
                    <a:pt x="408" y="1687"/>
                  </a:lnTo>
                  <a:lnTo>
                    <a:pt x="408" y="1687"/>
                  </a:lnTo>
                  <a:lnTo>
                    <a:pt x="408" y="1684"/>
                  </a:lnTo>
                  <a:lnTo>
                    <a:pt x="406" y="1684"/>
                  </a:lnTo>
                  <a:lnTo>
                    <a:pt x="406" y="1684"/>
                  </a:lnTo>
                  <a:lnTo>
                    <a:pt x="403" y="1684"/>
                  </a:lnTo>
                  <a:lnTo>
                    <a:pt x="400" y="1684"/>
                  </a:lnTo>
                  <a:lnTo>
                    <a:pt x="400" y="1684"/>
                  </a:lnTo>
                  <a:lnTo>
                    <a:pt x="398" y="1684"/>
                  </a:lnTo>
                  <a:lnTo>
                    <a:pt x="398" y="1687"/>
                  </a:lnTo>
                  <a:lnTo>
                    <a:pt x="395" y="1687"/>
                  </a:lnTo>
                  <a:lnTo>
                    <a:pt x="395" y="1689"/>
                  </a:lnTo>
                  <a:lnTo>
                    <a:pt x="392" y="1689"/>
                  </a:lnTo>
                  <a:lnTo>
                    <a:pt x="392" y="1689"/>
                  </a:lnTo>
                  <a:lnTo>
                    <a:pt x="390" y="1689"/>
                  </a:lnTo>
                  <a:lnTo>
                    <a:pt x="390" y="1689"/>
                  </a:lnTo>
                  <a:lnTo>
                    <a:pt x="387" y="1689"/>
                  </a:lnTo>
                  <a:lnTo>
                    <a:pt x="387" y="1689"/>
                  </a:lnTo>
                  <a:lnTo>
                    <a:pt x="384" y="1689"/>
                  </a:lnTo>
                  <a:lnTo>
                    <a:pt x="379" y="1689"/>
                  </a:lnTo>
                  <a:lnTo>
                    <a:pt x="379" y="1689"/>
                  </a:lnTo>
                  <a:lnTo>
                    <a:pt x="379" y="1687"/>
                  </a:lnTo>
                  <a:lnTo>
                    <a:pt x="376" y="1687"/>
                  </a:lnTo>
                  <a:lnTo>
                    <a:pt x="376" y="1689"/>
                  </a:lnTo>
                  <a:lnTo>
                    <a:pt x="374" y="1687"/>
                  </a:lnTo>
                  <a:lnTo>
                    <a:pt x="374" y="1687"/>
                  </a:lnTo>
                  <a:lnTo>
                    <a:pt x="371" y="1687"/>
                  </a:lnTo>
                  <a:lnTo>
                    <a:pt x="368" y="1689"/>
                  </a:lnTo>
                  <a:lnTo>
                    <a:pt x="366" y="1689"/>
                  </a:lnTo>
                  <a:lnTo>
                    <a:pt x="363" y="1689"/>
                  </a:lnTo>
                  <a:lnTo>
                    <a:pt x="363" y="1692"/>
                  </a:lnTo>
                  <a:lnTo>
                    <a:pt x="360" y="1692"/>
                  </a:lnTo>
                  <a:lnTo>
                    <a:pt x="360" y="1689"/>
                  </a:lnTo>
                  <a:lnTo>
                    <a:pt x="360" y="1689"/>
                  </a:lnTo>
                  <a:lnTo>
                    <a:pt x="358" y="1689"/>
                  </a:lnTo>
                  <a:lnTo>
                    <a:pt x="355" y="1689"/>
                  </a:lnTo>
                  <a:lnTo>
                    <a:pt x="355" y="1687"/>
                  </a:lnTo>
                  <a:lnTo>
                    <a:pt x="355" y="1687"/>
                  </a:lnTo>
                  <a:lnTo>
                    <a:pt x="352" y="1684"/>
                  </a:lnTo>
                  <a:lnTo>
                    <a:pt x="352" y="1681"/>
                  </a:lnTo>
                  <a:lnTo>
                    <a:pt x="350" y="1681"/>
                  </a:lnTo>
                  <a:lnTo>
                    <a:pt x="347" y="1681"/>
                  </a:lnTo>
                  <a:lnTo>
                    <a:pt x="347" y="1681"/>
                  </a:lnTo>
                  <a:lnTo>
                    <a:pt x="344" y="1681"/>
                  </a:lnTo>
                  <a:lnTo>
                    <a:pt x="344" y="1681"/>
                  </a:lnTo>
                  <a:lnTo>
                    <a:pt x="342" y="1681"/>
                  </a:lnTo>
                  <a:lnTo>
                    <a:pt x="339" y="1681"/>
                  </a:lnTo>
                  <a:lnTo>
                    <a:pt x="339" y="1681"/>
                  </a:lnTo>
                  <a:lnTo>
                    <a:pt x="336" y="1679"/>
                  </a:lnTo>
                  <a:lnTo>
                    <a:pt x="336" y="1679"/>
                  </a:lnTo>
                  <a:lnTo>
                    <a:pt x="334" y="1679"/>
                  </a:lnTo>
                  <a:lnTo>
                    <a:pt x="331" y="1676"/>
                  </a:lnTo>
                  <a:lnTo>
                    <a:pt x="331" y="1676"/>
                  </a:lnTo>
                  <a:lnTo>
                    <a:pt x="328" y="1676"/>
                  </a:lnTo>
                  <a:lnTo>
                    <a:pt x="326" y="1676"/>
                  </a:lnTo>
                  <a:lnTo>
                    <a:pt x="326" y="1676"/>
                  </a:lnTo>
                  <a:lnTo>
                    <a:pt x="323" y="1676"/>
                  </a:lnTo>
                  <a:lnTo>
                    <a:pt x="320" y="1676"/>
                  </a:lnTo>
                  <a:lnTo>
                    <a:pt x="318" y="1676"/>
                  </a:lnTo>
                  <a:lnTo>
                    <a:pt x="315" y="1679"/>
                  </a:lnTo>
                  <a:lnTo>
                    <a:pt x="312" y="1676"/>
                  </a:lnTo>
                  <a:lnTo>
                    <a:pt x="312" y="1676"/>
                  </a:lnTo>
                  <a:lnTo>
                    <a:pt x="310" y="1676"/>
                  </a:lnTo>
                  <a:lnTo>
                    <a:pt x="310" y="1676"/>
                  </a:lnTo>
                  <a:lnTo>
                    <a:pt x="307" y="1673"/>
                  </a:lnTo>
                  <a:lnTo>
                    <a:pt x="307" y="1671"/>
                  </a:lnTo>
                  <a:lnTo>
                    <a:pt x="304" y="1671"/>
                  </a:lnTo>
                  <a:lnTo>
                    <a:pt x="302" y="1673"/>
                  </a:lnTo>
                  <a:lnTo>
                    <a:pt x="296" y="1673"/>
                  </a:lnTo>
                  <a:lnTo>
                    <a:pt x="294" y="1676"/>
                  </a:lnTo>
                  <a:lnTo>
                    <a:pt x="291" y="1676"/>
                  </a:lnTo>
                  <a:lnTo>
                    <a:pt x="291" y="1673"/>
                  </a:lnTo>
                  <a:lnTo>
                    <a:pt x="291" y="1673"/>
                  </a:lnTo>
                  <a:lnTo>
                    <a:pt x="288" y="1671"/>
                  </a:lnTo>
                  <a:lnTo>
                    <a:pt x="288" y="1668"/>
                  </a:lnTo>
                  <a:lnTo>
                    <a:pt x="286" y="1665"/>
                  </a:lnTo>
                  <a:lnTo>
                    <a:pt x="286" y="1663"/>
                  </a:lnTo>
                  <a:lnTo>
                    <a:pt x="286" y="1657"/>
                  </a:lnTo>
                  <a:lnTo>
                    <a:pt x="283" y="1657"/>
                  </a:lnTo>
                  <a:lnTo>
                    <a:pt x="280" y="1657"/>
                  </a:lnTo>
                  <a:lnTo>
                    <a:pt x="280" y="1655"/>
                  </a:lnTo>
                  <a:lnTo>
                    <a:pt x="278" y="1655"/>
                  </a:lnTo>
                  <a:lnTo>
                    <a:pt x="275" y="1652"/>
                  </a:lnTo>
                  <a:lnTo>
                    <a:pt x="275" y="1647"/>
                  </a:lnTo>
                  <a:lnTo>
                    <a:pt x="272" y="1647"/>
                  </a:lnTo>
                  <a:lnTo>
                    <a:pt x="272" y="1644"/>
                  </a:lnTo>
                  <a:lnTo>
                    <a:pt x="275" y="1641"/>
                  </a:lnTo>
                  <a:lnTo>
                    <a:pt x="275" y="1641"/>
                  </a:lnTo>
                  <a:lnTo>
                    <a:pt x="275" y="1641"/>
                  </a:lnTo>
                  <a:lnTo>
                    <a:pt x="278" y="1638"/>
                  </a:lnTo>
                  <a:lnTo>
                    <a:pt x="278" y="1636"/>
                  </a:lnTo>
                  <a:lnTo>
                    <a:pt x="280" y="1636"/>
                  </a:lnTo>
                  <a:lnTo>
                    <a:pt x="283" y="1633"/>
                  </a:lnTo>
                  <a:lnTo>
                    <a:pt x="283" y="1630"/>
                  </a:lnTo>
                  <a:lnTo>
                    <a:pt x="283" y="1628"/>
                  </a:lnTo>
                  <a:lnTo>
                    <a:pt x="283" y="1625"/>
                  </a:lnTo>
                  <a:lnTo>
                    <a:pt x="286" y="1622"/>
                  </a:lnTo>
                  <a:lnTo>
                    <a:pt x="286" y="1622"/>
                  </a:lnTo>
                  <a:lnTo>
                    <a:pt x="288" y="1620"/>
                  </a:lnTo>
                  <a:lnTo>
                    <a:pt x="288" y="1617"/>
                  </a:lnTo>
                  <a:lnTo>
                    <a:pt x="291" y="1617"/>
                  </a:lnTo>
                  <a:lnTo>
                    <a:pt x="291" y="1614"/>
                  </a:lnTo>
                  <a:lnTo>
                    <a:pt x="294" y="1612"/>
                  </a:lnTo>
                  <a:lnTo>
                    <a:pt x="296" y="1609"/>
                  </a:lnTo>
                  <a:lnTo>
                    <a:pt x="299" y="1609"/>
                  </a:lnTo>
                  <a:lnTo>
                    <a:pt x="302" y="1609"/>
                  </a:lnTo>
                  <a:lnTo>
                    <a:pt x="304" y="1606"/>
                  </a:lnTo>
                  <a:lnTo>
                    <a:pt x="307" y="1606"/>
                  </a:lnTo>
                  <a:lnTo>
                    <a:pt x="310" y="1606"/>
                  </a:lnTo>
                  <a:lnTo>
                    <a:pt x="312" y="1606"/>
                  </a:lnTo>
                  <a:lnTo>
                    <a:pt x="315" y="1606"/>
                  </a:lnTo>
                  <a:lnTo>
                    <a:pt x="318" y="1606"/>
                  </a:lnTo>
                  <a:lnTo>
                    <a:pt x="328" y="1604"/>
                  </a:lnTo>
                  <a:lnTo>
                    <a:pt x="328" y="1601"/>
                  </a:lnTo>
                  <a:lnTo>
                    <a:pt x="326" y="1601"/>
                  </a:lnTo>
                  <a:lnTo>
                    <a:pt x="326" y="1601"/>
                  </a:lnTo>
                  <a:lnTo>
                    <a:pt x="323" y="1598"/>
                  </a:lnTo>
                  <a:lnTo>
                    <a:pt x="323" y="1596"/>
                  </a:lnTo>
                  <a:lnTo>
                    <a:pt x="320" y="1596"/>
                  </a:lnTo>
                  <a:lnTo>
                    <a:pt x="323" y="1593"/>
                  </a:lnTo>
                  <a:lnTo>
                    <a:pt x="323" y="1590"/>
                  </a:lnTo>
                  <a:lnTo>
                    <a:pt x="326" y="1588"/>
                  </a:lnTo>
                  <a:lnTo>
                    <a:pt x="328" y="1588"/>
                  </a:lnTo>
                  <a:lnTo>
                    <a:pt x="331" y="1585"/>
                  </a:lnTo>
                  <a:lnTo>
                    <a:pt x="331" y="1582"/>
                  </a:lnTo>
                  <a:lnTo>
                    <a:pt x="331" y="1582"/>
                  </a:lnTo>
                  <a:lnTo>
                    <a:pt x="331" y="1582"/>
                  </a:lnTo>
                  <a:lnTo>
                    <a:pt x="331" y="1580"/>
                  </a:lnTo>
                  <a:lnTo>
                    <a:pt x="331" y="1577"/>
                  </a:lnTo>
                  <a:lnTo>
                    <a:pt x="334" y="1577"/>
                  </a:lnTo>
                  <a:lnTo>
                    <a:pt x="334" y="1574"/>
                  </a:lnTo>
                  <a:lnTo>
                    <a:pt x="336" y="1572"/>
                  </a:lnTo>
                  <a:lnTo>
                    <a:pt x="331" y="1569"/>
                  </a:lnTo>
                  <a:lnTo>
                    <a:pt x="331" y="1566"/>
                  </a:lnTo>
                  <a:lnTo>
                    <a:pt x="331" y="1564"/>
                  </a:lnTo>
                  <a:lnTo>
                    <a:pt x="331" y="1561"/>
                  </a:lnTo>
                  <a:lnTo>
                    <a:pt x="331" y="1561"/>
                  </a:lnTo>
                  <a:lnTo>
                    <a:pt x="334" y="1558"/>
                  </a:lnTo>
                  <a:lnTo>
                    <a:pt x="334" y="1558"/>
                  </a:lnTo>
                  <a:lnTo>
                    <a:pt x="336" y="1558"/>
                  </a:lnTo>
                  <a:lnTo>
                    <a:pt x="336" y="1558"/>
                  </a:lnTo>
                  <a:lnTo>
                    <a:pt x="339" y="1558"/>
                  </a:lnTo>
                  <a:lnTo>
                    <a:pt x="342" y="1558"/>
                  </a:lnTo>
                  <a:lnTo>
                    <a:pt x="344" y="1558"/>
                  </a:lnTo>
                  <a:lnTo>
                    <a:pt x="347" y="1556"/>
                  </a:lnTo>
                  <a:lnTo>
                    <a:pt x="350" y="1553"/>
                  </a:lnTo>
                  <a:lnTo>
                    <a:pt x="350" y="1553"/>
                  </a:lnTo>
                  <a:lnTo>
                    <a:pt x="352" y="1550"/>
                  </a:lnTo>
                  <a:lnTo>
                    <a:pt x="355" y="1548"/>
                  </a:lnTo>
                  <a:lnTo>
                    <a:pt x="355" y="1545"/>
                  </a:lnTo>
                  <a:lnTo>
                    <a:pt x="358" y="1542"/>
                  </a:lnTo>
                  <a:lnTo>
                    <a:pt x="358" y="1540"/>
                  </a:lnTo>
                  <a:lnTo>
                    <a:pt x="360" y="1540"/>
                  </a:lnTo>
                  <a:lnTo>
                    <a:pt x="360" y="1537"/>
                  </a:lnTo>
                  <a:lnTo>
                    <a:pt x="363" y="1537"/>
                  </a:lnTo>
                  <a:lnTo>
                    <a:pt x="360" y="1534"/>
                  </a:lnTo>
                  <a:lnTo>
                    <a:pt x="360" y="1534"/>
                  </a:lnTo>
                  <a:lnTo>
                    <a:pt x="360" y="1532"/>
                  </a:lnTo>
                  <a:lnTo>
                    <a:pt x="360" y="1529"/>
                  </a:lnTo>
                  <a:lnTo>
                    <a:pt x="358" y="1529"/>
                  </a:lnTo>
                  <a:lnTo>
                    <a:pt x="355" y="1529"/>
                  </a:lnTo>
                  <a:lnTo>
                    <a:pt x="355" y="1529"/>
                  </a:lnTo>
                  <a:lnTo>
                    <a:pt x="352" y="1526"/>
                  </a:lnTo>
                  <a:lnTo>
                    <a:pt x="350" y="1524"/>
                  </a:lnTo>
                  <a:lnTo>
                    <a:pt x="350" y="1524"/>
                  </a:lnTo>
                  <a:lnTo>
                    <a:pt x="347" y="1521"/>
                  </a:lnTo>
                  <a:lnTo>
                    <a:pt x="344" y="1521"/>
                  </a:lnTo>
                  <a:lnTo>
                    <a:pt x="344" y="1518"/>
                  </a:lnTo>
                  <a:lnTo>
                    <a:pt x="344" y="1518"/>
                  </a:lnTo>
                  <a:lnTo>
                    <a:pt x="342" y="1516"/>
                  </a:lnTo>
                  <a:lnTo>
                    <a:pt x="342" y="1513"/>
                  </a:lnTo>
                  <a:lnTo>
                    <a:pt x="342" y="1513"/>
                  </a:lnTo>
                  <a:lnTo>
                    <a:pt x="339" y="1513"/>
                  </a:lnTo>
                  <a:lnTo>
                    <a:pt x="339" y="1510"/>
                  </a:lnTo>
                  <a:lnTo>
                    <a:pt x="339" y="1508"/>
                  </a:lnTo>
                  <a:lnTo>
                    <a:pt x="342" y="1508"/>
                  </a:lnTo>
                  <a:lnTo>
                    <a:pt x="342" y="1505"/>
                  </a:lnTo>
                  <a:lnTo>
                    <a:pt x="342" y="1502"/>
                  </a:lnTo>
                  <a:lnTo>
                    <a:pt x="339" y="1502"/>
                  </a:lnTo>
                  <a:lnTo>
                    <a:pt x="336" y="1502"/>
                  </a:lnTo>
                  <a:lnTo>
                    <a:pt x="334" y="1500"/>
                  </a:lnTo>
                  <a:lnTo>
                    <a:pt x="334" y="1497"/>
                  </a:lnTo>
                  <a:lnTo>
                    <a:pt x="334" y="1494"/>
                  </a:lnTo>
                  <a:lnTo>
                    <a:pt x="334" y="1492"/>
                  </a:lnTo>
                  <a:lnTo>
                    <a:pt x="334" y="1489"/>
                  </a:lnTo>
                  <a:lnTo>
                    <a:pt x="334" y="1489"/>
                  </a:lnTo>
                  <a:lnTo>
                    <a:pt x="334" y="1486"/>
                  </a:lnTo>
                  <a:lnTo>
                    <a:pt x="336" y="1484"/>
                  </a:lnTo>
                  <a:lnTo>
                    <a:pt x="336" y="1481"/>
                  </a:lnTo>
                  <a:lnTo>
                    <a:pt x="339" y="1478"/>
                  </a:lnTo>
                  <a:lnTo>
                    <a:pt x="339" y="1475"/>
                  </a:lnTo>
                  <a:lnTo>
                    <a:pt x="342" y="1473"/>
                  </a:lnTo>
                  <a:lnTo>
                    <a:pt x="342" y="1470"/>
                  </a:lnTo>
                  <a:lnTo>
                    <a:pt x="342" y="1467"/>
                  </a:lnTo>
                  <a:lnTo>
                    <a:pt x="342" y="1467"/>
                  </a:lnTo>
                  <a:lnTo>
                    <a:pt x="342" y="1465"/>
                  </a:lnTo>
                  <a:lnTo>
                    <a:pt x="339" y="1462"/>
                  </a:lnTo>
                  <a:lnTo>
                    <a:pt x="339" y="1459"/>
                  </a:lnTo>
                  <a:lnTo>
                    <a:pt x="339" y="1459"/>
                  </a:lnTo>
                  <a:lnTo>
                    <a:pt x="336" y="1454"/>
                  </a:lnTo>
                  <a:lnTo>
                    <a:pt x="334" y="1449"/>
                  </a:lnTo>
                  <a:lnTo>
                    <a:pt x="334" y="1446"/>
                  </a:lnTo>
                  <a:lnTo>
                    <a:pt x="331" y="1443"/>
                  </a:lnTo>
                  <a:lnTo>
                    <a:pt x="328" y="1438"/>
                  </a:lnTo>
                  <a:lnTo>
                    <a:pt x="326" y="1435"/>
                  </a:lnTo>
                  <a:lnTo>
                    <a:pt x="326" y="1433"/>
                  </a:lnTo>
                  <a:lnTo>
                    <a:pt x="326" y="1430"/>
                  </a:lnTo>
                  <a:lnTo>
                    <a:pt x="326" y="1430"/>
                  </a:lnTo>
                  <a:lnTo>
                    <a:pt x="326" y="1427"/>
                  </a:lnTo>
                  <a:lnTo>
                    <a:pt x="326" y="1425"/>
                  </a:lnTo>
                  <a:lnTo>
                    <a:pt x="323" y="1422"/>
                  </a:lnTo>
                  <a:lnTo>
                    <a:pt x="320" y="1422"/>
                  </a:lnTo>
                  <a:lnTo>
                    <a:pt x="320" y="1419"/>
                  </a:lnTo>
                  <a:lnTo>
                    <a:pt x="318" y="1417"/>
                  </a:lnTo>
                  <a:lnTo>
                    <a:pt x="312" y="1414"/>
                  </a:lnTo>
                  <a:lnTo>
                    <a:pt x="310" y="1411"/>
                  </a:lnTo>
                  <a:lnTo>
                    <a:pt x="310" y="1411"/>
                  </a:lnTo>
                  <a:lnTo>
                    <a:pt x="307" y="1409"/>
                  </a:lnTo>
                  <a:lnTo>
                    <a:pt x="307" y="1406"/>
                  </a:lnTo>
                  <a:lnTo>
                    <a:pt x="307" y="1406"/>
                  </a:lnTo>
                  <a:lnTo>
                    <a:pt x="310" y="1401"/>
                  </a:lnTo>
                  <a:lnTo>
                    <a:pt x="310" y="1398"/>
                  </a:lnTo>
                  <a:lnTo>
                    <a:pt x="310" y="1398"/>
                  </a:lnTo>
                  <a:lnTo>
                    <a:pt x="310" y="1398"/>
                  </a:lnTo>
                  <a:lnTo>
                    <a:pt x="310" y="1395"/>
                  </a:lnTo>
                  <a:lnTo>
                    <a:pt x="310" y="1395"/>
                  </a:lnTo>
                  <a:lnTo>
                    <a:pt x="310" y="1393"/>
                  </a:lnTo>
                  <a:lnTo>
                    <a:pt x="310" y="1393"/>
                  </a:lnTo>
                  <a:lnTo>
                    <a:pt x="307" y="1393"/>
                  </a:lnTo>
                  <a:lnTo>
                    <a:pt x="299" y="1390"/>
                  </a:lnTo>
                  <a:lnTo>
                    <a:pt x="299" y="1387"/>
                  </a:lnTo>
                  <a:lnTo>
                    <a:pt x="296" y="1385"/>
                  </a:lnTo>
                  <a:lnTo>
                    <a:pt x="296" y="1387"/>
                  </a:lnTo>
                  <a:lnTo>
                    <a:pt x="296" y="1387"/>
                  </a:lnTo>
                  <a:lnTo>
                    <a:pt x="294" y="1387"/>
                  </a:lnTo>
                  <a:lnTo>
                    <a:pt x="291" y="1387"/>
                  </a:lnTo>
                  <a:lnTo>
                    <a:pt x="288" y="1387"/>
                  </a:lnTo>
                  <a:lnTo>
                    <a:pt x="286" y="1387"/>
                  </a:lnTo>
                  <a:lnTo>
                    <a:pt x="283" y="1387"/>
                  </a:lnTo>
                  <a:lnTo>
                    <a:pt x="286" y="1385"/>
                  </a:lnTo>
                  <a:lnTo>
                    <a:pt x="286" y="1382"/>
                  </a:lnTo>
                  <a:lnTo>
                    <a:pt x="288" y="1379"/>
                  </a:lnTo>
                  <a:lnTo>
                    <a:pt x="286" y="1371"/>
                  </a:lnTo>
                  <a:lnTo>
                    <a:pt x="283" y="1369"/>
                  </a:lnTo>
                  <a:lnTo>
                    <a:pt x="283" y="1371"/>
                  </a:lnTo>
                  <a:lnTo>
                    <a:pt x="280" y="1371"/>
                  </a:lnTo>
                  <a:lnTo>
                    <a:pt x="280" y="1369"/>
                  </a:lnTo>
                  <a:lnTo>
                    <a:pt x="278" y="1371"/>
                  </a:lnTo>
                  <a:lnTo>
                    <a:pt x="278" y="1371"/>
                  </a:lnTo>
                  <a:lnTo>
                    <a:pt x="275" y="1369"/>
                  </a:lnTo>
                  <a:lnTo>
                    <a:pt x="272" y="1369"/>
                  </a:lnTo>
                  <a:lnTo>
                    <a:pt x="272" y="1369"/>
                  </a:lnTo>
                  <a:lnTo>
                    <a:pt x="272" y="1369"/>
                  </a:lnTo>
                  <a:lnTo>
                    <a:pt x="272" y="1366"/>
                  </a:lnTo>
                  <a:lnTo>
                    <a:pt x="270" y="1363"/>
                  </a:lnTo>
                  <a:lnTo>
                    <a:pt x="270" y="1363"/>
                  </a:lnTo>
                  <a:lnTo>
                    <a:pt x="267" y="1363"/>
                  </a:lnTo>
                  <a:lnTo>
                    <a:pt x="264" y="1366"/>
                  </a:lnTo>
                  <a:lnTo>
                    <a:pt x="264" y="1366"/>
                  </a:lnTo>
                  <a:lnTo>
                    <a:pt x="262" y="1363"/>
                  </a:lnTo>
                  <a:lnTo>
                    <a:pt x="259" y="1363"/>
                  </a:lnTo>
                  <a:lnTo>
                    <a:pt x="256" y="1363"/>
                  </a:lnTo>
                  <a:lnTo>
                    <a:pt x="256" y="1366"/>
                  </a:lnTo>
                  <a:lnTo>
                    <a:pt x="254" y="1366"/>
                  </a:lnTo>
                  <a:lnTo>
                    <a:pt x="254" y="1369"/>
                  </a:lnTo>
                  <a:lnTo>
                    <a:pt x="251" y="1369"/>
                  </a:lnTo>
                  <a:lnTo>
                    <a:pt x="245" y="1369"/>
                  </a:lnTo>
                  <a:lnTo>
                    <a:pt x="243" y="1374"/>
                  </a:lnTo>
                  <a:lnTo>
                    <a:pt x="243" y="1374"/>
                  </a:lnTo>
                  <a:lnTo>
                    <a:pt x="240" y="1371"/>
                  </a:lnTo>
                  <a:lnTo>
                    <a:pt x="240" y="1369"/>
                  </a:lnTo>
                  <a:lnTo>
                    <a:pt x="240" y="1369"/>
                  </a:lnTo>
                  <a:lnTo>
                    <a:pt x="240" y="1369"/>
                  </a:lnTo>
                  <a:lnTo>
                    <a:pt x="237" y="1369"/>
                  </a:lnTo>
                  <a:lnTo>
                    <a:pt x="237" y="1366"/>
                  </a:lnTo>
                  <a:lnTo>
                    <a:pt x="235" y="1366"/>
                  </a:lnTo>
                  <a:lnTo>
                    <a:pt x="235" y="1369"/>
                  </a:lnTo>
                  <a:lnTo>
                    <a:pt x="229" y="1369"/>
                  </a:lnTo>
                  <a:lnTo>
                    <a:pt x="229" y="1374"/>
                  </a:lnTo>
                  <a:lnTo>
                    <a:pt x="227" y="1374"/>
                  </a:lnTo>
                  <a:lnTo>
                    <a:pt x="224" y="1369"/>
                  </a:lnTo>
                  <a:lnTo>
                    <a:pt x="219" y="1369"/>
                  </a:lnTo>
                  <a:lnTo>
                    <a:pt x="216" y="1361"/>
                  </a:lnTo>
                  <a:lnTo>
                    <a:pt x="208" y="1363"/>
                  </a:lnTo>
                  <a:lnTo>
                    <a:pt x="208" y="1361"/>
                  </a:lnTo>
                  <a:lnTo>
                    <a:pt x="211" y="1358"/>
                  </a:lnTo>
                  <a:lnTo>
                    <a:pt x="205" y="1350"/>
                  </a:lnTo>
                  <a:lnTo>
                    <a:pt x="208" y="1342"/>
                  </a:lnTo>
                  <a:lnTo>
                    <a:pt x="200" y="1342"/>
                  </a:lnTo>
                  <a:lnTo>
                    <a:pt x="200" y="1339"/>
                  </a:lnTo>
                  <a:lnTo>
                    <a:pt x="200" y="1337"/>
                  </a:lnTo>
                  <a:lnTo>
                    <a:pt x="200" y="1337"/>
                  </a:lnTo>
                  <a:lnTo>
                    <a:pt x="200" y="1334"/>
                  </a:lnTo>
                  <a:lnTo>
                    <a:pt x="197" y="1334"/>
                  </a:lnTo>
                  <a:lnTo>
                    <a:pt x="192" y="1334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89" y="1329"/>
                  </a:lnTo>
                  <a:lnTo>
                    <a:pt x="187" y="1329"/>
                  </a:lnTo>
                  <a:lnTo>
                    <a:pt x="187" y="1329"/>
                  </a:lnTo>
                  <a:lnTo>
                    <a:pt x="187" y="1326"/>
                  </a:lnTo>
                  <a:lnTo>
                    <a:pt x="187" y="1326"/>
                  </a:lnTo>
                  <a:lnTo>
                    <a:pt x="189" y="1323"/>
                  </a:lnTo>
                  <a:lnTo>
                    <a:pt x="189" y="1321"/>
                  </a:lnTo>
                  <a:lnTo>
                    <a:pt x="192" y="1321"/>
                  </a:lnTo>
                  <a:lnTo>
                    <a:pt x="192" y="1318"/>
                  </a:lnTo>
                  <a:lnTo>
                    <a:pt x="195" y="1318"/>
                  </a:lnTo>
                  <a:lnTo>
                    <a:pt x="197" y="1315"/>
                  </a:lnTo>
                  <a:lnTo>
                    <a:pt x="197" y="1315"/>
                  </a:lnTo>
                  <a:lnTo>
                    <a:pt x="197" y="1312"/>
                  </a:lnTo>
                  <a:lnTo>
                    <a:pt x="200" y="1312"/>
                  </a:lnTo>
                  <a:lnTo>
                    <a:pt x="203" y="1310"/>
                  </a:lnTo>
                  <a:lnTo>
                    <a:pt x="203" y="1310"/>
                  </a:lnTo>
                  <a:lnTo>
                    <a:pt x="205" y="1307"/>
                  </a:lnTo>
                  <a:lnTo>
                    <a:pt x="205" y="1307"/>
                  </a:lnTo>
                  <a:lnTo>
                    <a:pt x="208" y="1307"/>
                  </a:lnTo>
                  <a:lnTo>
                    <a:pt x="211" y="1307"/>
                  </a:lnTo>
                  <a:lnTo>
                    <a:pt x="213" y="1304"/>
                  </a:lnTo>
                  <a:lnTo>
                    <a:pt x="216" y="1304"/>
                  </a:lnTo>
                  <a:lnTo>
                    <a:pt x="216" y="1304"/>
                  </a:lnTo>
                  <a:lnTo>
                    <a:pt x="216" y="1304"/>
                  </a:lnTo>
                  <a:lnTo>
                    <a:pt x="219" y="1302"/>
                  </a:lnTo>
                  <a:lnTo>
                    <a:pt x="219" y="1302"/>
                  </a:lnTo>
                  <a:lnTo>
                    <a:pt x="221" y="1302"/>
                  </a:lnTo>
                  <a:lnTo>
                    <a:pt x="221" y="1299"/>
                  </a:lnTo>
                  <a:lnTo>
                    <a:pt x="221" y="1299"/>
                  </a:lnTo>
                  <a:lnTo>
                    <a:pt x="224" y="1299"/>
                  </a:lnTo>
                  <a:lnTo>
                    <a:pt x="224" y="1299"/>
                  </a:lnTo>
                  <a:lnTo>
                    <a:pt x="227" y="1299"/>
                  </a:lnTo>
                  <a:lnTo>
                    <a:pt x="229" y="1299"/>
                  </a:lnTo>
                  <a:lnTo>
                    <a:pt x="229" y="1296"/>
                  </a:lnTo>
                  <a:lnTo>
                    <a:pt x="229" y="1294"/>
                  </a:lnTo>
                  <a:lnTo>
                    <a:pt x="229" y="1294"/>
                  </a:lnTo>
                  <a:lnTo>
                    <a:pt x="229" y="1294"/>
                  </a:lnTo>
                  <a:lnTo>
                    <a:pt x="232" y="1294"/>
                  </a:lnTo>
                  <a:lnTo>
                    <a:pt x="232" y="1291"/>
                  </a:lnTo>
                  <a:lnTo>
                    <a:pt x="232" y="1288"/>
                  </a:lnTo>
                  <a:lnTo>
                    <a:pt x="232" y="1288"/>
                  </a:lnTo>
                  <a:lnTo>
                    <a:pt x="229" y="1288"/>
                  </a:lnTo>
                  <a:lnTo>
                    <a:pt x="229" y="1286"/>
                  </a:lnTo>
                  <a:lnTo>
                    <a:pt x="227" y="1286"/>
                  </a:lnTo>
                  <a:lnTo>
                    <a:pt x="227" y="1283"/>
                  </a:lnTo>
                  <a:lnTo>
                    <a:pt x="227" y="1283"/>
                  </a:lnTo>
                  <a:lnTo>
                    <a:pt x="227" y="1283"/>
                  </a:lnTo>
                  <a:lnTo>
                    <a:pt x="224" y="1280"/>
                  </a:lnTo>
                  <a:lnTo>
                    <a:pt x="224" y="1280"/>
                  </a:lnTo>
                  <a:lnTo>
                    <a:pt x="224" y="1278"/>
                  </a:lnTo>
                  <a:lnTo>
                    <a:pt x="224" y="1278"/>
                  </a:lnTo>
                  <a:lnTo>
                    <a:pt x="224" y="1275"/>
                  </a:lnTo>
                  <a:lnTo>
                    <a:pt x="224" y="1272"/>
                  </a:lnTo>
                  <a:lnTo>
                    <a:pt x="221" y="1272"/>
                  </a:lnTo>
                  <a:lnTo>
                    <a:pt x="224" y="1272"/>
                  </a:lnTo>
                  <a:lnTo>
                    <a:pt x="224" y="1272"/>
                  </a:lnTo>
                  <a:lnTo>
                    <a:pt x="227" y="1270"/>
                  </a:lnTo>
                  <a:lnTo>
                    <a:pt x="227" y="1270"/>
                  </a:lnTo>
                  <a:lnTo>
                    <a:pt x="224" y="1270"/>
                  </a:lnTo>
                  <a:lnTo>
                    <a:pt x="221" y="1264"/>
                  </a:lnTo>
                  <a:lnTo>
                    <a:pt x="221" y="1262"/>
                  </a:lnTo>
                  <a:lnTo>
                    <a:pt x="221" y="1262"/>
                  </a:lnTo>
                  <a:lnTo>
                    <a:pt x="219" y="1262"/>
                  </a:lnTo>
                  <a:lnTo>
                    <a:pt x="219" y="1259"/>
                  </a:lnTo>
                  <a:lnTo>
                    <a:pt x="219" y="1259"/>
                  </a:lnTo>
                  <a:lnTo>
                    <a:pt x="216" y="1259"/>
                  </a:lnTo>
                  <a:lnTo>
                    <a:pt x="216" y="1259"/>
                  </a:lnTo>
                  <a:lnTo>
                    <a:pt x="219" y="1256"/>
                  </a:lnTo>
                  <a:lnTo>
                    <a:pt x="219" y="1256"/>
                  </a:lnTo>
                  <a:lnTo>
                    <a:pt x="213" y="1254"/>
                  </a:lnTo>
                  <a:lnTo>
                    <a:pt x="216" y="1246"/>
                  </a:lnTo>
                  <a:lnTo>
                    <a:pt x="213" y="1246"/>
                  </a:lnTo>
                  <a:lnTo>
                    <a:pt x="208" y="1243"/>
                  </a:lnTo>
                  <a:lnTo>
                    <a:pt x="205" y="1238"/>
                  </a:lnTo>
                  <a:lnTo>
                    <a:pt x="197" y="1238"/>
                  </a:lnTo>
                  <a:lnTo>
                    <a:pt x="197" y="1232"/>
                  </a:lnTo>
                  <a:lnTo>
                    <a:pt x="192" y="1232"/>
                  </a:lnTo>
                  <a:lnTo>
                    <a:pt x="192" y="1227"/>
                  </a:lnTo>
                  <a:lnTo>
                    <a:pt x="192" y="1227"/>
                  </a:lnTo>
                  <a:lnTo>
                    <a:pt x="192" y="1222"/>
                  </a:lnTo>
                  <a:lnTo>
                    <a:pt x="189" y="1222"/>
                  </a:lnTo>
                  <a:lnTo>
                    <a:pt x="187" y="1216"/>
                  </a:lnTo>
                  <a:lnTo>
                    <a:pt x="189" y="1214"/>
                  </a:lnTo>
                  <a:lnTo>
                    <a:pt x="197" y="1214"/>
                  </a:lnTo>
                  <a:lnTo>
                    <a:pt x="197" y="1208"/>
                  </a:lnTo>
                  <a:lnTo>
                    <a:pt x="200" y="1208"/>
                  </a:lnTo>
                  <a:lnTo>
                    <a:pt x="203" y="1203"/>
                  </a:lnTo>
                  <a:lnTo>
                    <a:pt x="195" y="1203"/>
                  </a:lnTo>
                  <a:lnTo>
                    <a:pt x="197" y="1192"/>
                  </a:lnTo>
                  <a:lnTo>
                    <a:pt x="195" y="119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6" name="Freeform 8882">
              <a:extLst>
                <a:ext uri="{FF2B5EF4-FFF2-40B4-BE49-F238E27FC236}">
                  <a16:creationId xmlns:a16="http://schemas.microsoft.com/office/drawing/2014/main" id="{24A3B67C-FB86-4A45-9D74-1921496C9BD4}"/>
                </a:ext>
              </a:extLst>
            </p:cNvPr>
            <p:cNvSpPr/>
            <p:nvPr/>
          </p:nvSpPr>
          <p:spPr bwMode="auto">
            <a:xfrm>
              <a:off x="5409404" y="1482728"/>
              <a:ext cx="1979612" cy="1862137"/>
            </a:xfrm>
            <a:custGeom>
              <a:avLst/>
              <a:gdLst>
                <a:gd name="T0" fmla="*/ 1143 w 1247"/>
                <a:gd name="T1" fmla="*/ 508 h 1173"/>
                <a:gd name="T2" fmla="*/ 1202 w 1247"/>
                <a:gd name="T3" fmla="*/ 601 h 1173"/>
                <a:gd name="T4" fmla="*/ 1180 w 1247"/>
                <a:gd name="T5" fmla="*/ 767 h 1173"/>
                <a:gd name="T6" fmla="*/ 1135 w 1247"/>
                <a:gd name="T7" fmla="*/ 876 h 1173"/>
                <a:gd name="T8" fmla="*/ 1025 w 1247"/>
                <a:gd name="T9" fmla="*/ 930 h 1173"/>
                <a:gd name="T10" fmla="*/ 956 w 1247"/>
                <a:gd name="T11" fmla="*/ 951 h 1173"/>
                <a:gd name="T12" fmla="*/ 847 w 1247"/>
                <a:gd name="T13" fmla="*/ 930 h 1173"/>
                <a:gd name="T14" fmla="*/ 774 w 1247"/>
                <a:gd name="T15" fmla="*/ 903 h 1173"/>
                <a:gd name="T16" fmla="*/ 692 w 1247"/>
                <a:gd name="T17" fmla="*/ 938 h 1173"/>
                <a:gd name="T18" fmla="*/ 609 w 1247"/>
                <a:gd name="T19" fmla="*/ 1005 h 1173"/>
                <a:gd name="T20" fmla="*/ 521 w 1247"/>
                <a:gd name="T21" fmla="*/ 1088 h 1173"/>
                <a:gd name="T22" fmla="*/ 371 w 1247"/>
                <a:gd name="T23" fmla="*/ 1160 h 1173"/>
                <a:gd name="T24" fmla="*/ 200 w 1247"/>
                <a:gd name="T25" fmla="*/ 1157 h 1173"/>
                <a:gd name="T26" fmla="*/ 139 w 1247"/>
                <a:gd name="T27" fmla="*/ 1082 h 1173"/>
                <a:gd name="T28" fmla="*/ 102 w 1247"/>
                <a:gd name="T29" fmla="*/ 919 h 1173"/>
                <a:gd name="T30" fmla="*/ 19 w 1247"/>
                <a:gd name="T31" fmla="*/ 882 h 1173"/>
                <a:gd name="T32" fmla="*/ 51 w 1247"/>
                <a:gd name="T33" fmla="*/ 812 h 1173"/>
                <a:gd name="T34" fmla="*/ 40 w 1247"/>
                <a:gd name="T35" fmla="*/ 700 h 1173"/>
                <a:gd name="T36" fmla="*/ 120 w 1247"/>
                <a:gd name="T37" fmla="*/ 652 h 1173"/>
                <a:gd name="T38" fmla="*/ 144 w 1247"/>
                <a:gd name="T39" fmla="*/ 764 h 1173"/>
                <a:gd name="T40" fmla="*/ 166 w 1247"/>
                <a:gd name="T41" fmla="*/ 761 h 1173"/>
                <a:gd name="T42" fmla="*/ 171 w 1247"/>
                <a:gd name="T43" fmla="*/ 868 h 1173"/>
                <a:gd name="T44" fmla="*/ 176 w 1247"/>
                <a:gd name="T45" fmla="*/ 866 h 1173"/>
                <a:gd name="T46" fmla="*/ 179 w 1247"/>
                <a:gd name="T47" fmla="*/ 748 h 1173"/>
                <a:gd name="T48" fmla="*/ 166 w 1247"/>
                <a:gd name="T49" fmla="*/ 615 h 1173"/>
                <a:gd name="T50" fmla="*/ 128 w 1247"/>
                <a:gd name="T51" fmla="*/ 537 h 1173"/>
                <a:gd name="T52" fmla="*/ 126 w 1247"/>
                <a:gd name="T53" fmla="*/ 484 h 1173"/>
                <a:gd name="T54" fmla="*/ 232 w 1247"/>
                <a:gd name="T55" fmla="*/ 465 h 1173"/>
                <a:gd name="T56" fmla="*/ 347 w 1247"/>
                <a:gd name="T57" fmla="*/ 452 h 1173"/>
                <a:gd name="T58" fmla="*/ 361 w 1247"/>
                <a:gd name="T59" fmla="*/ 462 h 1173"/>
                <a:gd name="T60" fmla="*/ 329 w 1247"/>
                <a:gd name="T61" fmla="*/ 395 h 1173"/>
                <a:gd name="T62" fmla="*/ 361 w 1247"/>
                <a:gd name="T63" fmla="*/ 395 h 1173"/>
                <a:gd name="T64" fmla="*/ 326 w 1247"/>
                <a:gd name="T65" fmla="*/ 345 h 1173"/>
                <a:gd name="T66" fmla="*/ 355 w 1247"/>
                <a:gd name="T67" fmla="*/ 350 h 1173"/>
                <a:gd name="T68" fmla="*/ 371 w 1247"/>
                <a:gd name="T69" fmla="*/ 318 h 1173"/>
                <a:gd name="T70" fmla="*/ 425 w 1247"/>
                <a:gd name="T71" fmla="*/ 280 h 1173"/>
                <a:gd name="T72" fmla="*/ 478 w 1247"/>
                <a:gd name="T73" fmla="*/ 256 h 1173"/>
                <a:gd name="T74" fmla="*/ 577 w 1247"/>
                <a:gd name="T75" fmla="*/ 227 h 1173"/>
                <a:gd name="T76" fmla="*/ 553 w 1247"/>
                <a:gd name="T77" fmla="*/ 206 h 1173"/>
                <a:gd name="T78" fmla="*/ 601 w 1247"/>
                <a:gd name="T79" fmla="*/ 208 h 1173"/>
                <a:gd name="T80" fmla="*/ 628 w 1247"/>
                <a:gd name="T81" fmla="*/ 232 h 1173"/>
                <a:gd name="T82" fmla="*/ 678 w 1247"/>
                <a:gd name="T83" fmla="*/ 224 h 1173"/>
                <a:gd name="T84" fmla="*/ 729 w 1247"/>
                <a:gd name="T85" fmla="*/ 190 h 1173"/>
                <a:gd name="T86" fmla="*/ 729 w 1247"/>
                <a:gd name="T87" fmla="*/ 171 h 1173"/>
                <a:gd name="T88" fmla="*/ 777 w 1247"/>
                <a:gd name="T89" fmla="*/ 158 h 1173"/>
                <a:gd name="T90" fmla="*/ 801 w 1247"/>
                <a:gd name="T91" fmla="*/ 158 h 1173"/>
                <a:gd name="T92" fmla="*/ 782 w 1247"/>
                <a:gd name="T93" fmla="*/ 107 h 1173"/>
                <a:gd name="T94" fmla="*/ 823 w 1247"/>
                <a:gd name="T95" fmla="*/ 35 h 1173"/>
                <a:gd name="T96" fmla="*/ 884 w 1247"/>
                <a:gd name="T97" fmla="*/ 11 h 1173"/>
                <a:gd name="T98" fmla="*/ 908 w 1247"/>
                <a:gd name="T99" fmla="*/ 56 h 1173"/>
                <a:gd name="T100" fmla="*/ 919 w 1247"/>
                <a:gd name="T101" fmla="*/ 75 h 1173"/>
                <a:gd name="T102" fmla="*/ 959 w 1247"/>
                <a:gd name="T103" fmla="*/ 77 h 1173"/>
                <a:gd name="T104" fmla="*/ 948 w 1247"/>
                <a:gd name="T105" fmla="*/ 128 h 1173"/>
                <a:gd name="T106" fmla="*/ 991 w 1247"/>
                <a:gd name="T107" fmla="*/ 104 h 1173"/>
                <a:gd name="T108" fmla="*/ 1076 w 1247"/>
                <a:gd name="T109" fmla="*/ 88 h 1173"/>
                <a:gd name="T110" fmla="*/ 1111 w 1247"/>
                <a:gd name="T111" fmla="*/ 136 h 1173"/>
                <a:gd name="T112" fmla="*/ 1140 w 1247"/>
                <a:gd name="T113" fmla="*/ 160 h 1173"/>
                <a:gd name="T114" fmla="*/ 1162 w 1247"/>
                <a:gd name="T115" fmla="*/ 155 h 1173"/>
                <a:gd name="T116" fmla="*/ 1143 w 1247"/>
                <a:gd name="T117" fmla="*/ 184 h 1173"/>
                <a:gd name="T118" fmla="*/ 1170 w 1247"/>
                <a:gd name="T119" fmla="*/ 278 h 1173"/>
                <a:gd name="T120" fmla="*/ 1092 w 1247"/>
                <a:gd name="T121" fmla="*/ 374 h 1173"/>
                <a:gd name="T122" fmla="*/ 969 w 1247"/>
                <a:gd name="T123" fmla="*/ 556 h 1173"/>
                <a:gd name="T124" fmla="*/ 1084 w 1247"/>
                <a:gd name="T125" fmla="*/ 484 h 1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7" h="1173" extrusionOk="0">
                  <a:moveTo>
                    <a:pt x="1135" y="435"/>
                  </a:moveTo>
                  <a:lnTo>
                    <a:pt x="1138" y="438"/>
                  </a:lnTo>
                  <a:lnTo>
                    <a:pt x="1140" y="438"/>
                  </a:lnTo>
                  <a:lnTo>
                    <a:pt x="1140" y="438"/>
                  </a:lnTo>
                  <a:lnTo>
                    <a:pt x="1143" y="438"/>
                  </a:lnTo>
                  <a:lnTo>
                    <a:pt x="1143" y="438"/>
                  </a:lnTo>
                  <a:lnTo>
                    <a:pt x="1143" y="438"/>
                  </a:lnTo>
                  <a:lnTo>
                    <a:pt x="1146" y="441"/>
                  </a:lnTo>
                  <a:lnTo>
                    <a:pt x="1146" y="443"/>
                  </a:lnTo>
                  <a:lnTo>
                    <a:pt x="1146" y="443"/>
                  </a:lnTo>
                  <a:lnTo>
                    <a:pt x="1146" y="443"/>
                  </a:lnTo>
                  <a:lnTo>
                    <a:pt x="1148" y="443"/>
                  </a:lnTo>
                  <a:lnTo>
                    <a:pt x="1148" y="443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6" y="446"/>
                  </a:lnTo>
                  <a:lnTo>
                    <a:pt x="1143" y="449"/>
                  </a:lnTo>
                  <a:lnTo>
                    <a:pt x="1143" y="449"/>
                  </a:lnTo>
                  <a:lnTo>
                    <a:pt x="1140" y="452"/>
                  </a:lnTo>
                  <a:lnTo>
                    <a:pt x="1140" y="452"/>
                  </a:lnTo>
                  <a:lnTo>
                    <a:pt x="1138" y="452"/>
                  </a:lnTo>
                  <a:lnTo>
                    <a:pt x="1135" y="452"/>
                  </a:lnTo>
                  <a:lnTo>
                    <a:pt x="1135" y="454"/>
                  </a:lnTo>
                  <a:lnTo>
                    <a:pt x="1135" y="454"/>
                  </a:lnTo>
                  <a:lnTo>
                    <a:pt x="1138" y="454"/>
                  </a:lnTo>
                  <a:lnTo>
                    <a:pt x="1135" y="457"/>
                  </a:lnTo>
                  <a:lnTo>
                    <a:pt x="1135" y="457"/>
                  </a:lnTo>
                  <a:lnTo>
                    <a:pt x="1135" y="457"/>
                  </a:lnTo>
                  <a:lnTo>
                    <a:pt x="1132" y="460"/>
                  </a:lnTo>
                  <a:lnTo>
                    <a:pt x="1132" y="462"/>
                  </a:lnTo>
                  <a:lnTo>
                    <a:pt x="1132" y="462"/>
                  </a:lnTo>
                  <a:lnTo>
                    <a:pt x="1132" y="465"/>
                  </a:lnTo>
                  <a:lnTo>
                    <a:pt x="1130" y="468"/>
                  </a:lnTo>
                  <a:lnTo>
                    <a:pt x="1130" y="468"/>
                  </a:lnTo>
                  <a:lnTo>
                    <a:pt x="1130" y="470"/>
                  </a:lnTo>
                  <a:lnTo>
                    <a:pt x="1127" y="470"/>
                  </a:lnTo>
                  <a:lnTo>
                    <a:pt x="1127" y="473"/>
                  </a:lnTo>
                  <a:lnTo>
                    <a:pt x="1124" y="473"/>
                  </a:lnTo>
                  <a:lnTo>
                    <a:pt x="1124" y="473"/>
                  </a:lnTo>
                  <a:lnTo>
                    <a:pt x="1122" y="473"/>
                  </a:lnTo>
                  <a:lnTo>
                    <a:pt x="1122" y="473"/>
                  </a:lnTo>
                  <a:lnTo>
                    <a:pt x="1119" y="473"/>
                  </a:lnTo>
                  <a:lnTo>
                    <a:pt x="1119" y="473"/>
                  </a:lnTo>
                  <a:lnTo>
                    <a:pt x="1119" y="473"/>
                  </a:lnTo>
                  <a:lnTo>
                    <a:pt x="1116" y="473"/>
                  </a:lnTo>
                  <a:lnTo>
                    <a:pt x="1116" y="473"/>
                  </a:lnTo>
                  <a:lnTo>
                    <a:pt x="1116" y="473"/>
                  </a:lnTo>
                  <a:lnTo>
                    <a:pt x="1114" y="473"/>
                  </a:lnTo>
                  <a:lnTo>
                    <a:pt x="1116" y="476"/>
                  </a:lnTo>
                  <a:lnTo>
                    <a:pt x="1116" y="476"/>
                  </a:lnTo>
                  <a:lnTo>
                    <a:pt x="1116" y="476"/>
                  </a:lnTo>
                  <a:lnTo>
                    <a:pt x="1119" y="478"/>
                  </a:lnTo>
                  <a:lnTo>
                    <a:pt x="1119" y="478"/>
                  </a:lnTo>
                  <a:lnTo>
                    <a:pt x="1119" y="478"/>
                  </a:lnTo>
                  <a:lnTo>
                    <a:pt x="1122" y="478"/>
                  </a:lnTo>
                  <a:lnTo>
                    <a:pt x="1124" y="481"/>
                  </a:lnTo>
                  <a:lnTo>
                    <a:pt x="1124" y="481"/>
                  </a:lnTo>
                  <a:lnTo>
                    <a:pt x="1127" y="481"/>
                  </a:lnTo>
                  <a:lnTo>
                    <a:pt x="1130" y="481"/>
                  </a:lnTo>
                  <a:lnTo>
                    <a:pt x="1130" y="481"/>
                  </a:lnTo>
                  <a:lnTo>
                    <a:pt x="1130" y="484"/>
                  </a:lnTo>
                  <a:lnTo>
                    <a:pt x="1132" y="484"/>
                  </a:lnTo>
                  <a:lnTo>
                    <a:pt x="1132" y="486"/>
                  </a:lnTo>
                  <a:lnTo>
                    <a:pt x="1135" y="486"/>
                  </a:lnTo>
                  <a:lnTo>
                    <a:pt x="1135" y="486"/>
                  </a:lnTo>
                  <a:lnTo>
                    <a:pt x="1132" y="489"/>
                  </a:lnTo>
                  <a:lnTo>
                    <a:pt x="1132" y="489"/>
                  </a:lnTo>
                  <a:lnTo>
                    <a:pt x="1130" y="492"/>
                  </a:lnTo>
                  <a:lnTo>
                    <a:pt x="1130" y="492"/>
                  </a:lnTo>
                  <a:lnTo>
                    <a:pt x="1127" y="494"/>
                  </a:lnTo>
                  <a:lnTo>
                    <a:pt x="1127" y="494"/>
                  </a:lnTo>
                  <a:lnTo>
                    <a:pt x="1127" y="497"/>
                  </a:lnTo>
                  <a:lnTo>
                    <a:pt x="1127" y="497"/>
                  </a:lnTo>
                  <a:lnTo>
                    <a:pt x="1127" y="497"/>
                  </a:lnTo>
                  <a:lnTo>
                    <a:pt x="1130" y="497"/>
                  </a:lnTo>
                  <a:lnTo>
                    <a:pt x="1130" y="497"/>
                  </a:lnTo>
                  <a:lnTo>
                    <a:pt x="1130" y="497"/>
                  </a:lnTo>
                  <a:lnTo>
                    <a:pt x="1132" y="497"/>
                  </a:lnTo>
                  <a:lnTo>
                    <a:pt x="1132" y="497"/>
                  </a:lnTo>
                  <a:lnTo>
                    <a:pt x="1132" y="497"/>
                  </a:lnTo>
                  <a:lnTo>
                    <a:pt x="1135" y="497"/>
                  </a:lnTo>
                  <a:lnTo>
                    <a:pt x="1135" y="497"/>
                  </a:lnTo>
                  <a:lnTo>
                    <a:pt x="1138" y="497"/>
                  </a:lnTo>
                  <a:lnTo>
                    <a:pt x="1140" y="497"/>
                  </a:lnTo>
                  <a:lnTo>
                    <a:pt x="1143" y="497"/>
                  </a:lnTo>
                  <a:lnTo>
                    <a:pt x="1143" y="497"/>
                  </a:lnTo>
                  <a:lnTo>
                    <a:pt x="1143" y="500"/>
                  </a:lnTo>
                  <a:lnTo>
                    <a:pt x="1143" y="500"/>
                  </a:lnTo>
                  <a:lnTo>
                    <a:pt x="1143" y="502"/>
                  </a:lnTo>
                  <a:lnTo>
                    <a:pt x="1143" y="502"/>
                  </a:lnTo>
                  <a:lnTo>
                    <a:pt x="1140" y="502"/>
                  </a:lnTo>
                  <a:lnTo>
                    <a:pt x="1140" y="505"/>
                  </a:lnTo>
                  <a:lnTo>
                    <a:pt x="1140" y="505"/>
                  </a:lnTo>
                  <a:lnTo>
                    <a:pt x="1143" y="505"/>
                  </a:lnTo>
                  <a:lnTo>
                    <a:pt x="1143" y="508"/>
                  </a:lnTo>
                  <a:lnTo>
                    <a:pt x="1146" y="508"/>
                  </a:lnTo>
                  <a:lnTo>
                    <a:pt x="1146" y="508"/>
                  </a:lnTo>
                  <a:lnTo>
                    <a:pt x="1146" y="510"/>
                  </a:lnTo>
                  <a:lnTo>
                    <a:pt x="1146" y="513"/>
                  </a:lnTo>
                  <a:lnTo>
                    <a:pt x="1143" y="513"/>
                  </a:lnTo>
                  <a:lnTo>
                    <a:pt x="1143" y="513"/>
                  </a:lnTo>
                  <a:lnTo>
                    <a:pt x="1140" y="516"/>
                  </a:lnTo>
                  <a:lnTo>
                    <a:pt x="1140" y="516"/>
                  </a:lnTo>
                  <a:lnTo>
                    <a:pt x="1140" y="518"/>
                  </a:lnTo>
                  <a:lnTo>
                    <a:pt x="1143" y="521"/>
                  </a:lnTo>
                  <a:lnTo>
                    <a:pt x="1148" y="521"/>
                  </a:lnTo>
                  <a:lnTo>
                    <a:pt x="1148" y="521"/>
                  </a:lnTo>
                  <a:lnTo>
                    <a:pt x="1148" y="524"/>
                  </a:lnTo>
                  <a:lnTo>
                    <a:pt x="1146" y="524"/>
                  </a:lnTo>
                  <a:lnTo>
                    <a:pt x="1146" y="526"/>
                  </a:lnTo>
                  <a:lnTo>
                    <a:pt x="1143" y="526"/>
                  </a:lnTo>
                  <a:lnTo>
                    <a:pt x="1143" y="526"/>
                  </a:lnTo>
                  <a:lnTo>
                    <a:pt x="1143" y="529"/>
                  </a:lnTo>
                  <a:lnTo>
                    <a:pt x="1143" y="532"/>
                  </a:lnTo>
                  <a:lnTo>
                    <a:pt x="1143" y="532"/>
                  </a:lnTo>
                  <a:lnTo>
                    <a:pt x="1146" y="534"/>
                  </a:lnTo>
                  <a:lnTo>
                    <a:pt x="1146" y="534"/>
                  </a:lnTo>
                  <a:lnTo>
                    <a:pt x="1146" y="537"/>
                  </a:lnTo>
                  <a:lnTo>
                    <a:pt x="1146" y="540"/>
                  </a:lnTo>
                  <a:lnTo>
                    <a:pt x="1143" y="540"/>
                  </a:lnTo>
                  <a:lnTo>
                    <a:pt x="1143" y="540"/>
                  </a:lnTo>
                  <a:lnTo>
                    <a:pt x="1143" y="540"/>
                  </a:lnTo>
                  <a:lnTo>
                    <a:pt x="1146" y="542"/>
                  </a:lnTo>
                  <a:lnTo>
                    <a:pt x="1146" y="545"/>
                  </a:lnTo>
                  <a:lnTo>
                    <a:pt x="1146" y="548"/>
                  </a:lnTo>
                  <a:lnTo>
                    <a:pt x="1148" y="550"/>
                  </a:lnTo>
                  <a:lnTo>
                    <a:pt x="1148" y="550"/>
                  </a:lnTo>
                  <a:lnTo>
                    <a:pt x="1148" y="553"/>
                  </a:lnTo>
                  <a:lnTo>
                    <a:pt x="1151" y="556"/>
                  </a:lnTo>
                  <a:lnTo>
                    <a:pt x="1151" y="556"/>
                  </a:lnTo>
                  <a:lnTo>
                    <a:pt x="1151" y="556"/>
                  </a:lnTo>
                  <a:lnTo>
                    <a:pt x="1154" y="556"/>
                  </a:lnTo>
                  <a:lnTo>
                    <a:pt x="1156" y="556"/>
                  </a:lnTo>
                  <a:lnTo>
                    <a:pt x="1156" y="556"/>
                  </a:lnTo>
                  <a:lnTo>
                    <a:pt x="1156" y="558"/>
                  </a:lnTo>
                  <a:lnTo>
                    <a:pt x="1154" y="558"/>
                  </a:lnTo>
                  <a:lnTo>
                    <a:pt x="1154" y="561"/>
                  </a:lnTo>
                  <a:lnTo>
                    <a:pt x="1156" y="561"/>
                  </a:lnTo>
                  <a:lnTo>
                    <a:pt x="1156" y="561"/>
                  </a:lnTo>
                  <a:lnTo>
                    <a:pt x="1159" y="561"/>
                  </a:lnTo>
                  <a:lnTo>
                    <a:pt x="1159" y="561"/>
                  </a:lnTo>
                  <a:lnTo>
                    <a:pt x="1162" y="561"/>
                  </a:lnTo>
                  <a:lnTo>
                    <a:pt x="1164" y="561"/>
                  </a:lnTo>
                  <a:lnTo>
                    <a:pt x="1167" y="564"/>
                  </a:lnTo>
                  <a:lnTo>
                    <a:pt x="1167" y="564"/>
                  </a:lnTo>
                  <a:lnTo>
                    <a:pt x="1170" y="566"/>
                  </a:lnTo>
                  <a:lnTo>
                    <a:pt x="1170" y="566"/>
                  </a:lnTo>
                  <a:lnTo>
                    <a:pt x="1172" y="566"/>
                  </a:lnTo>
                  <a:lnTo>
                    <a:pt x="1172" y="569"/>
                  </a:lnTo>
                  <a:lnTo>
                    <a:pt x="1170" y="572"/>
                  </a:lnTo>
                  <a:lnTo>
                    <a:pt x="1167" y="572"/>
                  </a:lnTo>
                  <a:lnTo>
                    <a:pt x="1167" y="572"/>
                  </a:lnTo>
                  <a:lnTo>
                    <a:pt x="1167" y="574"/>
                  </a:lnTo>
                  <a:lnTo>
                    <a:pt x="1164" y="574"/>
                  </a:lnTo>
                  <a:lnTo>
                    <a:pt x="1164" y="577"/>
                  </a:lnTo>
                  <a:lnTo>
                    <a:pt x="1164" y="577"/>
                  </a:lnTo>
                  <a:lnTo>
                    <a:pt x="1164" y="577"/>
                  </a:lnTo>
                  <a:lnTo>
                    <a:pt x="1164" y="580"/>
                  </a:lnTo>
                  <a:lnTo>
                    <a:pt x="1164" y="580"/>
                  </a:lnTo>
                  <a:lnTo>
                    <a:pt x="1164" y="582"/>
                  </a:lnTo>
                  <a:lnTo>
                    <a:pt x="1164" y="582"/>
                  </a:lnTo>
                  <a:lnTo>
                    <a:pt x="1167" y="585"/>
                  </a:lnTo>
                  <a:lnTo>
                    <a:pt x="1167" y="585"/>
                  </a:lnTo>
                  <a:lnTo>
                    <a:pt x="1170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2" y="585"/>
                  </a:lnTo>
                  <a:lnTo>
                    <a:pt x="1175" y="588"/>
                  </a:lnTo>
                  <a:lnTo>
                    <a:pt x="1175" y="588"/>
                  </a:lnTo>
                  <a:lnTo>
                    <a:pt x="1180" y="588"/>
                  </a:lnTo>
                  <a:lnTo>
                    <a:pt x="1183" y="585"/>
                  </a:lnTo>
                  <a:lnTo>
                    <a:pt x="1183" y="585"/>
                  </a:lnTo>
                  <a:lnTo>
                    <a:pt x="1186" y="585"/>
                  </a:lnTo>
                  <a:lnTo>
                    <a:pt x="1186" y="585"/>
                  </a:lnTo>
                  <a:lnTo>
                    <a:pt x="1188" y="588"/>
                  </a:lnTo>
                  <a:lnTo>
                    <a:pt x="1188" y="590"/>
                  </a:lnTo>
                  <a:lnTo>
                    <a:pt x="1188" y="590"/>
                  </a:lnTo>
                  <a:lnTo>
                    <a:pt x="1191" y="593"/>
                  </a:lnTo>
                  <a:lnTo>
                    <a:pt x="1188" y="596"/>
                  </a:lnTo>
                  <a:lnTo>
                    <a:pt x="1188" y="596"/>
                  </a:lnTo>
                  <a:lnTo>
                    <a:pt x="1188" y="598"/>
                  </a:lnTo>
                  <a:lnTo>
                    <a:pt x="1191" y="598"/>
                  </a:lnTo>
                  <a:lnTo>
                    <a:pt x="1191" y="598"/>
                  </a:lnTo>
                  <a:lnTo>
                    <a:pt x="1194" y="598"/>
                  </a:lnTo>
                  <a:lnTo>
                    <a:pt x="1194" y="598"/>
                  </a:lnTo>
                  <a:lnTo>
                    <a:pt x="1191" y="601"/>
                  </a:lnTo>
                  <a:lnTo>
                    <a:pt x="1194" y="601"/>
                  </a:lnTo>
                  <a:lnTo>
                    <a:pt x="1196" y="601"/>
                  </a:lnTo>
                  <a:lnTo>
                    <a:pt x="1196" y="604"/>
                  </a:lnTo>
                  <a:lnTo>
                    <a:pt x="1199" y="604"/>
                  </a:lnTo>
                  <a:lnTo>
                    <a:pt x="1202" y="601"/>
                  </a:lnTo>
                  <a:lnTo>
                    <a:pt x="1202" y="604"/>
                  </a:lnTo>
                  <a:lnTo>
                    <a:pt x="1204" y="606"/>
                  </a:lnTo>
                  <a:lnTo>
                    <a:pt x="1218" y="681"/>
                  </a:lnTo>
                  <a:lnTo>
                    <a:pt x="1218" y="681"/>
                  </a:lnTo>
                  <a:lnTo>
                    <a:pt x="1220" y="681"/>
                  </a:lnTo>
                  <a:lnTo>
                    <a:pt x="1220" y="681"/>
                  </a:lnTo>
                  <a:lnTo>
                    <a:pt x="1223" y="681"/>
                  </a:lnTo>
                  <a:lnTo>
                    <a:pt x="1226" y="684"/>
                  </a:lnTo>
                  <a:lnTo>
                    <a:pt x="1228" y="684"/>
                  </a:lnTo>
                  <a:lnTo>
                    <a:pt x="1228" y="687"/>
                  </a:lnTo>
                  <a:lnTo>
                    <a:pt x="1231" y="687"/>
                  </a:lnTo>
                  <a:lnTo>
                    <a:pt x="1234" y="687"/>
                  </a:lnTo>
                  <a:lnTo>
                    <a:pt x="1234" y="689"/>
                  </a:lnTo>
                  <a:lnTo>
                    <a:pt x="1236" y="689"/>
                  </a:lnTo>
                  <a:lnTo>
                    <a:pt x="1239" y="692"/>
                  </a:lnTo>
                  <a:lnTo>
                    <a:pt x="1239" y="692"/>
                  </a:lnTo>
                  <a:lnTo>
                    <a:pt x="1239" y="692"/>
                  </a:lnTo>
                  <a:lnTo>
                    <a:pt x="1242" y="692"/>
                  </a:lnTo>
                  <a:lnTo>
                    <a:pt x="1242" y="689"/>
                  </a:lnTo>
                  <a:lnTo>
                    <a:pt x="1244" y="689"/>
                  </a:lnTo>
                  <a:lnTo>
                    <a:pt x="1244" y="692"/>
                  </a:lnTo>
                  <a:lnTo>
                    <a:pt x="1247" y="695"/>
                  </a:lnTo>
                  <a:lnTo>
                    <a:pt x="1247" y="695"/>
                  </a:lnTo>
                  <a:lnTo>
                    <a:pt x="1247" y="697"/>
                  </a:lnTo>
                  <a:lnTo>
                    <a:pt x="1247" y="700"/>
                  </a:lnTo>
                  <a:lnTo>
                    <a:pt x="1247" y="703"/>
                  </a:lnTo>
                  <a:lnTo>
                    <a:pt x="1244" y="703"/>
                  </a:lnTo>
                  <a:lnTo>
                    <a:pt x="1244" y="703"/>
                  </a:lnTo>
                  <a:lnTo>
                    <a:pt x="1242" y="703"/>
                  </a:lnTo>
                  <a:lnTo>
                    <a:pt x="1242" y="705"/>
                  </a:lnTo>
                  <a:lnTo>
                    <a:pt x="1242" y="708"/>
                  </a:lnTo>
                  <a:lnTo>
                    <a:pt x="1247" y="711"/>
                  </a:lnTo>
                  <a:lnTo>
                    <a:pt x="1247" y="713"/>
                  </a:lnTo>
                  <a:lnTo>
                    <a:pt x="1244" y="713"/>
                  </a:lnTo>
                  <a:lnTo>
                    <a:pt x="1244" y="713"/>
                  </a:lnTo>
                  <a:lnTo>
                    <a:pt x="1244" y="713"/>
                  </a:lnTo>
                  <a:lnTo>
                    <a:pt x="1244" y="716"/>
                  </a:lnTo>
                  <a:lnTo>
                    <a:pt x="1242" y="716"/>
                  </a:lnTo>
                  <a:lnTo>
                    <a:pt x="1239" y="716"/>
                  </a:lnTo>
                  <a:lnTo>
                    <a:pt x="1239" y="716"/>
                  </a:lnTo>
                  <a:lnTo>
                    <a:pt x="1239" y="719"/>
                  </a:lnTo>
                  <a:lnTo>
                    <a:pt x="1236" y="721"/>
                  </a:lnTo>
                  <a:lnTo>
                    <a:pt x="1236" y="721"/>
                  </a:lnTo>
                  <a:lnTo>
                    <a:pt x="1236" y="724"/>
                  </a:lnTo>
                  <a:lnTo>
                    <a:pt x="1234" y="724"/>
                  </a:lnTo>
                  <a:lnTo>
                    <a:pt x="1234" y="724"/>
                  </a:lnTo>
                  <a:lnTo>
                    <a:pt x="1234" y="721"/>
                  </a:lnTo>
                  <a:lnTo>
                    <a:pt x="1231" y="719"/>
                  </a:lnTo>
                  <a:lnTo>
                    <a:pt x="1228" y="719"/>
                  </a:lnTo>
                  <a:lnTo>
                    <a:pt x="1228" y="721"/>
                  </a:lnTo>
                  <a:lnTo>
                    <a:pt x="1228" y="721"/>
                  </a:lnTo>
                  <a:lnTo>
                    <a:pt x="1226" y="724"/>
                  </a:lnTo>
                  <a:lnTo>
                    <a:pt x="1226" y="724"/>
                  </a:lnTo>
                  <a:lnTo>
                    <a:pt x="1226" y="727"/>
                  </a:lnTo>
                  <a:lnTo>
                    <a:pt x="1226" y="727"/>
                  </a:lnTo>
                  <a:lnTo>
                    <a:pt x="1226" y="729"/>
                  </a:lnTo>
                  <a:lnTo>
                    <a:pt x="1226" y="729"/>
                  </a:lnTo>
                  <a:lnTo>
                    <a:pt x="1223" y="732"/>
                  </a:lnTo>
                  <a:lnTo>
                    <a:pt x="1220" y="732"/>
                  </a:lnTo>
                  <a:lnTo>
                    <a:pt x="1220" y="732"/>
                  </a:lnTo>
                  <a:lnTo>
                    <a:pt x="1220" y="732"/>
                  </a:lnTo>
                  <a:lnTo>
                    <a:pt x="1218" y="732"/>
                  </a:lnTo>
                  <a:lnTo>
                    <a:pt x="1218" y="735"/>
                  </a:lnTo>
                  <a:lnTo>
                    <a:pt x="1215" y="735"/>
                  </a:lnTo>
                  <a:lnTo>
                    <a:pt x="1215" y="737"/>
                  </a:lnTo>
                  <a:lnTo>
                    <a:pt x="1210" y="737"/>
                  </a:lnTo>
                  <a:lnTo>
                    <a:pt x="1210" y="737"/>
                  </a:lnTo>
                  <a:lnTo>
                    <a:pt x="1210" y="740"/>
                  </a:lnTo>
                  <a:lnTo>
                    <a:pt x="1210" y="740"/>
                  </a:lnTo>
                  <a:lnTo>
                    <a:pt x="1210" y="743"/>
                  </a:lnTo>
                  <a:lnTo>
                    <a:pt x="1210" y="745"/>
                  </a:lnTo>
                  <a:lnTo>
                    <a:pt x="1207" y="745"/>
                  </a:lnTo>
                  <a:lnTo>
                    <a:pt x="1204" y="748"/>
                  </a:lnTo>
                  <a:lnTo>
                    <a:pt x="1204" y="745"/>
                  </a:lnTo>
                  <a:lnTo>
                    <a:pt x="1202" y="748"/>
                  </a:lnTo>
                  <a:lnTo>
                    <a:pt x="1202" y="748"/>
                  </a:lnTo>
                  <a:lnTo>
                    <a:pt x="1199" y="748"/>
                  </a:lnTo>
                  <a:lnTo>
                    <a:pt x="1199" y="751"/>
                  </a:lnTo>
                  <a:lnTo>
                    <a:pt x="1196" y="751"/>
                  </a:lnTo>
                  <a:lnTo>
                    <a:pt x="1196" y="751"/>
                  </a:lnTo>
                  <a:lnTo>
                    <a:pt x="1194" y="753"/>
                  </a:lnTo>
                  <a:lnTo>
                    <a:pt x="1194" y="753"/>
                  </a:lnTo>
                  <a:lnTo>
                    <a:pt x="1194" y="756"/>
                  </a:lnTo>
                  <a:lnTo>
                    <a:pt x="1194" y="756"/>
                  </a:lnTo>
                  <a:lnTo>
                    <a:pt x="1191" y="756"/>
                  </a:lnTo>
                  <a:lnTo>
                    <a:pt x="1191" y="756"/>
                  </a:lnTo>
                  <a:lnTo>
                    <a:pt x="1188" y="756"/>
                  </a:lnTo>
                  <a:lnTo>
                    <a:pt x="1188" y="756"/>
                  </a:lnTo>
                  <a:lnTo>
                    <a:pt x="1186" y="753"/>
                  </a:lnTo>
                  <a:lnTo>
                    <a:pt x="1186" y="756"/>
                  </a:lnTo>
                  <a:lnTo>
                    <a:pt x="1183" y="756"/>
                  </a:lnTo>
                  <a:lnTo>
                    <a:pt x="1183" y="759"/>
                  </a:lnTo>
                  <a:lnTo>
                    <a:pt x="1180" y="759"/>
                  </a:lnTo>
                  <a:lnTo>
                    <a:pt x="1180" y="761"/>
                  </a:lnTo>
                  <a:lnTo>
                    <a:pt x="1178" y="761"/>
                  </a:lnTo>
                  <a:lnTo>
                    <a:pt x="1178" y="764"/>
                  </a:lnTo>
                  <a:lnTo>
                    <a:pt x="1180" y="767"/>
                  </a:lnTo>
                  <a:lnTo>
                    <a:pt x="1178" y="767"/>
                  </a:lnTo>
                  <a:lnTo>
                    <a:pt x="1175" y="770"/>
                  </a:lnTo>
                  <a:lnTo>
                    <a:pt x="1175" y="770"/>
                  </a:lnTo>
                  <a:lnTo>
                    <a:pt x="1172" y="770"/>
                  </a:lnTo>
                  <a:lnTo>
                    <a:pt x="1172" y="772"/>
                  </a:lnTo>
                  <a:lnTo>
                    <a:pt x="1170" y="772"/>
                  </a:lnTo>
                  <a:lnTo>
                    <a:pt x="1170" y="775"/>
                  </a:lnTo>
                  <a:lnTo>
                    <a:pt x="1170" y="775"/>
                  </a:lnTo>
                  <a:lnTo>
                    <a:pt x="1167" y="775"/>
                  </a:lnTo>
                  <a:lnTo>
                    <a:pt x="1167" y="780"/>
                  </a:lnTo>
                  <a:lnTo>
                    <a:pt x="1167" y="780"/>
                  </a:lnTo>
                  <a:lnTo>
                    <a:pt x="1167" y="783"/>
                  </a:lnTo>
                  <a:lnTo>
                    <a:pt x="1170" y="786"/>
                  </a:lnTo>
                  <a:lnTo>
                    <a:pt x="1170" y="786"/>
                  </a:lnTo>
                  <a:lnTo>
                    <a:pt x="1170" y="786"/>
                  </a:lnTo>
                  <a:lnTo>
                    <a:pt x="1170" y="788"/>
                  </a:lnTo>
                  <a:lnTo>
                    <a:pt x="1170" y="788"/>
                  </a:lnTo>
                  <a:lnTo>
                    <a:pt x="1167" y="788"/>
                  </a:lnTo>
                  <a:lnTo>
                    <a:pt x="1167" y="791"/>
                  </a:lnTo>
                  <a:lnTo>
                    <a:pt x="1170" y="791"/>
                  </a:lnTo>
                  <a:lnTo>
                    <a:pt x="1170" y="794"/>
                  </a:lnTo>
                  <a:lnTo>
                    <a:pt x="1170" y="794"/>
                  </a:lnTo>
                  <a:lnTo>
                    <a:pt x="1170" y="796"/>
                  </a:lnTo>
                  <a:lnTo>
                    <a:pt x="1172" y="796"/>
                  </a:lnTo>
                  <a:lnTo>
                    <a:pt x="1172" y="796"/>
                  </a:lnTo>
                  <a:lnTo>
                    <a:pt x="1175" y="796"/>
                  </a:lnTo>
                  <a:lnTo>
                    <a:pt x="1178" y="799"/>
                  </a:lnTo>
                  <a:lnTo>
                    <a:pt x="1178" y="799"/>
                  </a:lnTo>
                  <a:lnTo>
                    <a:pt x="1178" y="802"/>
                  </a:lnTo>
                  <a:lnTo>
                    <a:pt x="1178" y="802"/>
                  </a:lnTo>
                  <a:lnTo>
                    <a:pt x="1175" y="802"/>
                  </a:lnTo>
                  <a:lnTo>
                    <a:pt x="1175" y="802"/>
                  </a:lnTo>
                  <a:lnTo>
                    <a:pt x="1172" y="802"/>
                  </a:lnTo>
                  <a:lnTo>
                    <a:pt x="1170" y="802"/>
                  </a:lnTo>
                  <a:lnTo>
                    <a:pt x="1170" y="804"/>
                  </a:lnTo>
                  <a:lnTo>
                    <a:pt x="1170" y="802"/>
                  </a:lnTo>
                  <a:lnTo>
                    <a:pt x="1167" y="802"/>
                  </a:lnTo>
                  <a:lnTo>
                    <a:pt x="1167" y="804"/>
                  </a:lnTo>
                  <a:lnTo>
                    <a:pt x="1167" y="804"/>
                  </a:lnTo>
                  <a:lnTo>
                    <a:pt x="1164" y="804"/>
                  </a:lnTo>
                  <a:lnTo>
                    <a:pt x="1162" y="804"/>
                  </a:lnTo>
                  <a:lnTo>
                    <a:pt x="1162" y="807"/>
                  </a:lnTo>
                  <a:lnTo>
                    <a:pt x="1159" y="807"/>
                  </a:lnTo>
                  <a:lnTo>
                    <a:pt x="1156" y="810"/>
                  </a:lnTo>
                  <a:lnTo>
                    <a:pt x="1154" y="810"/>
                  </a:lnTo>
                  <a:lnTo>
                    <a:pt x="1154" y="810"/>
                  </a:lnTo>
                  <a:lnTo>
                    <a:pt x="1151" y="812"/>
                  </a:lnTo>
                  <a:lnTo>
                    <a:pt x="1154" y="815"/>
                  </a:lnTo>
                  <a:lnTo>
                    <a:pt x="1154" y="823"/>
                  </a:lnTo>
                  <a:lnTo>
                    <a:pt x="1154" y="823"/>
                  </a:lnTo>
                  <a:lnTo>
                    <a:pt x="1154" y="826"/>
                  </a:lnTo>
                  <a:lnTo>
                    <a:pt x="1151" y="826"/>
                  </a:lnTo>
                  <a:lnTo>
                    <a:pt x="1148" y="828"/>
                  </a:lnTo>
                  <a:lnTo>
                    <a:pt x="1146" y="828"/>
                  </a:lnTo>
                  <a:lnTo>
                    <a:pt x="1146" y="828"/>
                  </a:lnTo>
                  <a:lnTo>
                    <a:pt x="1146" y="831"/>
                  </a:lnTo>
                  <a:lnTo>
                    <a:pt x="1146" y="834"/>
                  </a:lnTo>
                  <a:lnTo>
                    <a:pt x="1146" y="834"/>
                  </a:lnTo>
                  <a:lnTo>
                    <a:pt x="1146" y="836"/>
                  </a:lnTo>
                  <a:lnTo>
                    <a:pt x="1148" y="836"/>
                  </a:lnTo>
                  <a:lnTo>
                    <a:pt x="1148" y="839"/>
                  </a:lnTo>
                  <a:lnTo>
                    <a:pt x="1148" y="842"/>
                  </a:lnTo>
                  <a:lnTo>
                    <a:pt x="1148" y="842"/>
                  </a:lnTo>
                  <a:lnTo>
                    <a:pt x="1151" y="844"/>
                  </a:lnTo>
                  <a:lnTo>
                    <a:pt x="1151" y="844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56" y="847"/>
                  </a:lnTo>
                  <a:lnTo>
                    <a:pt x="1156" y="850"/>
                  </a:lnTo>
                  <a:lnTo>
                    <a:pt x="1156" y="850"/>
                  </a:lnTo>
                  <a:lnTo>
                    <a:pt x="1154" y="852"/>
                  </a:lnTo>
                  <a:lnTo>
                    <a:pt x="1154" y="852"/>
                  </a:lnTo>
                  <a:lnTo>
                    <a:pt x="1154" y="855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0"/>
                  </a:lnTo>
                  <a:lnTo>
                    <a:pt x="1154" y="863"/>
                  </a:lnTo>
                  <a:lnTo>
                    <a:pt x="1154" y="863"/>
                  </a:lnTo>
                  <a:lnTo>
                    <a:pt x="1154" y="866"/>
                  </a:lnTo>
                  <a:lnTo>
                    <a:pt x="1154" y="866"/>
                  </a:lnTo>
                  <a:lnTo>
                    <a:pt x="1154" y="868"/>
                  </a:lnTo>
                  <a:lnTo>
                    <a:pt x="1154" y="871"/>
                  </a:lnTo>
                  <a:lnTo>
                    <a:pt x="1154" y="871"/>
                  </a:lnTo>
                  <a:lnTo>
                    <a:pt x="1154" y="871"/>
                  </a:lnTo>
                  <a:lnTo>
                    <a:pt x="1154" y="874"/>
                  </a:lnTo>
                  <a:lnTo>
                    <a:pt x="1151" y="876"/>
                  </a:lnTo>
                  <a:lnTo>
                    <a:pt x="1151" y="876"/>
                  </a:lnTo>
                  <a:lnTo>
                    <a:pt x="1148" y="876"/>
                  </a:lnTo>
                  <a:lnTo>
                    <a:pt x="1148" y="879"/>
                  </a:lnTo>
                  <a:lnTo>
                    <a:pt x="1146" y="879"/>
                  </a:lnTo>
                  <a:lnTo>
                    <a:pt x="1146" y="879"/>
                  </a:lnTo>
                  <a:lnTo>
                    <a:pt x="1143" y="879"/>
                  </a:lnTo>
                  <a:lnTo>
                    <a:pt x="1140" y="879"/>
                  </a:lnTo>
                  <a:lnTo>
                    <a:pt x="1140" y="879"/>
                  </a:lnTo>
                  <a:lnTo>
                    <a:pt x="1138" y="879"/>
                  </a:lnTo>
                  <a:lnTo>
                    <a:pt x="1138" y="876"/>
                  </a:lnTo>
                  <a:lnTo>
                    <a:pt x="1135" y="876"/>
                  </a:lnTo>
                  <a:lnTo>
                    <a:pt x="1138" y="874"/>
                  </a:lnTo>
                  <a:lnTo>
                    <a:pt x="1138" y="874"/>
                  </a:lnTo>
                  <a:lnTo>
                    <a:pt x="1138" y="871"/>
                  </a:lnTo>
                  <a:lnTo>
                    <a:pt x="1138" y="871"/>
                  </a:lnTo>
                  <a:lnTo>
                    <a:pt x="1135" y="871"/>
                  </a:lnTo>
                  <a:lnTo>
                    <a:pt x="1132" y="871"/>
                  </a:lnTo>
                  <a:lnTo>
                    <a:pt x="1132" y="871"/>
                  </a:lnTo>
                  <a:lnTo>
                    <a:pt x="1130" y="871"/>
                  </a:lnTo>
                  <a:lnTo>
                    <a:pt x="1127" y="874"/>
                  </a:lnTo>
                  <a:lnTo>
                    <a:pt x="1124" y="874"/>
                  </a:lnTo>
                  <a:lnTo>
                    <a:pt x="1122" y="874"/>
                  </a:lnTo>
                  <a:lnTo>
                    <a:pt x="1122" y="874"/>
                  </a:lnTo>
                  <a:lnTo>
                    <a:pt x="1119" y="874"/>
                  </a:lnTo>
                  <a:lnTo>
                    <a:pt x="1116" y="874"/>
                  </a:lnTo>
                  <a:lnTo>
                    <a:pt x="1114" y="874"/>
                  </a:lnTo>
                  <a:lnTo>
                    <a:pt x="1111" y="874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6" y="876"/>
                  </a:lnTo>
                  <a:lnTo>
                    <a:pt x="1106" y="879"/>
                  </a:lnTo>
                  <a:lnTo>
                    <a:pt x="1106" y="879"/>
                  </a:lnTo>
                  <a:lnTo>
                    <a:pt x="1106" y="882"/>
                  </a:lnTo>
                  <a:lnTo>
                    <a:pt x="1106" y="882"/>
                  </a:lnTo>
                  <a:lnTo>
                    <a:pt x="1103" y="882"/>
                  </a:lnTo>
                  <a:lnTo>
                    <a:pt x="1103" y="882"/>
                  </a:lnTo>
                  <a:lnTo>
                    <a:pt x="1106" y="884"/>
                  </a:lnTo>
                  <a:lnTo>
                    <a:pt x="1103" y="884"/>
                  </a:lnTo>
                  <a:lnTo>
                    <a:pt x="1103" y="887"/>
                  </a:lnTo>
                  <a:lnTo>
                    <a:pt x="1103" y="887"/>
                  </a:lnTo>
                  <a:lnTo>
                    <a:pt x="1103" y="890"/>
                  </a:lnTo>
                  <a:lnTo>
                    <a:pt x="1103" y="890"/>
                  </a:lnTo>
                  <a:lnTo>
                    <a:pt x="1103" y="892"/>
                  </a:lnTo>
                  <a:lnTo>
                    <a:pt x="1100" y="895"/>
                  </a:lnTo>
                  <a:lnTo>
                    <a:pt x="1100" y="895"/>
                  </a:lnTo>
                  <a:lnTo>
                    <a:pt x="1098" y="895"/>
                  </a:lnTo>
                  <a:lnTo>
                    <a:pt x="1098" y="895"/>
                  </a:lnTo>
                  <a:lnTo>
                    <a:pt x="1095" y="895"/>
                  </a:lnTo>
                  <a:lnTo>
                    <a:pt x="1092" y="895"/>
                  </a:lnTo>
                  <a:lnTo>
                    <a:pt x="1092" y="895"/>
                  </a:lnTo>
                  <a:lnTo>
                    <a:pt x="1090" y="898"/>
                  </a:lnTo>
                  <a:lnTo>
                    <a:pt x="1090" y="898"/>
                  </a:lnTo>
                  <a:lnTo>
                    <a:pt x="1087" y="900"/>
                  </a:lnTo>
                  <a:lnTo>
                    <a:pt x="1084" y="900"/>
                  </a:lnTo>
                  <a:lnTo>
                    <a:pt x="1082" y="903"/>
                  </a:lnTo>
                  <a:lnTo>
                    <a:pt x="1082" y="906"/>
                  </a:lnTo>
                  <a:lnTo>
                    <a:pt x="1079" y="906"/>
                  </a:lnTo>
                  <a:lnTo>
                    <a:pt x="1076" y="906"/>
                  </a:lnTo>
                  <a:lnTo>
                    <a:pt x="1074" y="908"/>
                  </a:lnTo>
                  <a:lnTo>
                    <a:pt x="1071" y="908"/>
                  </a:lnTo>
                  <a:lnTo>
                    <a:pt x="1071" y="911"/>
                  </a:lnTo>
                  <a:lnTo>
                    <a:pt x="1071" y="911"/>
                  </a:lnTo>
                  <a:lnTo>
                    <a:pt x="1068" y="914"/>
                  </a:lnTo>
                  <a:lnTo>
                    <a:pt x="1066" y="914"/>
                  </a:lnTo>
                  <a:lnTo>
                    <a:pt x="1066" y="916"/>
                  </a:lnTo>
                  <a:lnTo>
                    <a:pt x="1063" y="916"/>
                  </a:lnTo>
                  <a:lnTo>
                    <a:pt x="1060" y="916"/>
                  </a:lnTo>
                  <a:lnTo>
                    <a:pt x="1060" y="916"/>
                  </a:lnTo>
                  <a:lnTo>
                    <a:pt x="1058" y="916"/>
                  </a:lnTo>
                  <a:lnTo>
                    <a:pt x="1055" y="919"/>
                  </a:lnTo>
                  <a:lnTo>
                    <a:pt x="1055" y="919"/>
                  </a:lnTo>
                  <a:lnTo>
                    <a:pt x="1052" y="919"/>
                  </a:lnTo>
                  <a:lnTo>
                    <a:pt x="1052" y="916"/>
                  </a:lnTo>
                  <a:lnTo>
                    <a:pt x="1052" y="916"/>
                  </a:lnTo>
                  <a:lnTo>
                    <a:pt x="1052" y="914"/>
                  </a:lnTo>
                  <a:lnTo>
                    <a:pt x="1050" y="914"/>
                  </a:lnTo>
                  <a:lnTo>
                    <a:pt x="1050" y="914"/>
                  </a:lnTo>
                  <a:lnTo>
                    <a:pt x="1047" y="914"/>
                  </a:lnTo>
                  <a:lnTo>
                    <a:pt x="1047" y="914"/>
                  </a:lnTo>
                  <a:lnTo>
                    <a:pt x="1044" y="914"/>
                  </a:lnTo>
                  <a:lnTo>
                    <a:pt x="1044" y="916"/>
                  </a:lnTo>
                  <a:lnTo>
                    <a:pt x="1044" y="916"/>
                  </a:lnTo>
                  <a:lnTo>
                    <a:pt x="1044" y="919"/>
                  </a:lnTo>
                  <a:lnTo>
                    <a:pt x="1042" y="919"/>
                  </a:lnTo>
                  <a:lnTo>
                    <a:pt x="1039" y="919"/>
                  </a:lnTo>
                  <a:lnTo>
                    <a:pt x="1039" y="919"/>
                  </a:lnTo>
                  <a:lnTo>
                    <a:pt x="1036" y="919"/>
                  </a:lnTo>
                  <a:lnTo>
                    <a:pt x="1036" y="919"/>
                  </a:lnTo>
                  <a:lnTo>
                    <a:pt x="1033" y="919"/>
                  </a:lnTo>
                  <a:lnTo>
                    <a:pt x="1033" y="919"/>
                  </a:lnTo>
                  <a:lnTo>
                    <a:pt x="1031" y="919"/>
                  </a:lnTo>
                  <a:lnTo>
                    <a:pt x="1031" y="922"/>
                  </a:lnTo>
                  <a:lnTo>
                    <a:pt x="1031" y="922"/>
                  </a:lnTo>
                  <a:lnTo>
                    <a:pt x="1031" y="924"/>
                  </a:lnTo>
                  <a:lnTo>
                    <a:pt x="1031" y="924"/>
                  </a:lnTo>
                  <a:lnTo>
                    <a:pt x="1028" y="924"/>
                  </a:lnTo>
                  <a:lnTo>
                    <a:pt x="1028" y="924"/>
                  </a:lnTo>
                  <a:lnTo>
                    <a:pt x="1028" y="924"/>
                  </a:lnTo>
                  <a:lnTo>
                    <a:pt x="1025" y="924"/>
                  </a:lnTo>
                  <a:lnTo>
                    <a:pt x="1025" y="924"/>
                  </a:lnTo>
                  <a:lnTo>
                    <a:pt x="1023" y="924"/>
                  </a:lnTo>
                  <a:lnTo>
                    <a:pt x="1023" y="924"/>
                  </a:lnTo>
                  <a:lnTo>
                    <a:pt x="1023" y="924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3" y="927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0"/>
                  </a:lnTo>
                  <a:lnTo>
                    <a:pt x="1025" y="933"/>
                  </a:lnTo>
                  <a:lnTo>
                    <a:pt x="1025" y="933"/>
                  </a:lnTo>
                  <a:lnTo>
                    <a:pt x="1025" y="933"/>
                  </a:lnTo>
                  <a:lnTo>
                    <a:pt x="1025" y="935"/>
                  </a:lnTo>
                  <a:lnTo>
                    <a:pt x="1023" y="935"/>
                  </a:lnTo>
                  <a:lnTo>
                    <a:pt x="1023" y="935"/>
                  </a:lnTo>
                  <a:lnTo>
                    <a:pt x="1023" y="938"/>
                  </a:lnTo>
                  <a:lnTo>
                    <a:pt x="1020" y="938"/>
                  </a:lnTo>
                  <a:lnTo>
                    <a:pt x="1020" y="938"/>
                  </a:lnTo>
                  <a:lnTo>
                    <a:pt x="1017" y="941"/>
                  </a:lnTo>
                  <a:lnTo>
                    <a:pt x="1017" y="941"/>
                  </a:lnTo>
                  <a:lnTo>
                    <a:pt x="1017" y="941"/>
                  </a:lnTo>
                  <a:lnTo>
                    <a:pt x="1015" y="941"/>
                  </a:lnTo>
                  <a:lnTo>
                    <a:pt x="1015" y="943"/>
                  </a:lnTo>
                  <a:lnTo>
                    <a:pt x="1012" y="943"/>
                  </a:lnTo>
                  <a:lnTo>
                    <a:pt x="1012" y="941"/>
                  </a:lnTo>
                  <a:lnTo>
                    <a:pt x="1012" y="941"/>
                  </a:lnTo>
                  <a:lnTo>
                    <a:pt x="1009" y="943"/>
                  </a:lnTo>
                  <a:lnTo>
                    <a:pt x="1009" y="943"/>
                  </a:lnTo>
                  <a:lnTo>
                    <a:pt x="1009" y="943"/>
                  </a:lnTo>
                  <a:lnTo>
                    <a:pt x="1007" y="943"/>
                  </a:lnTo>
                  <a:lnTo>
                    <a:pt x="1007" y="946"/>
                  </a:lnTo>
                  <a:lnTo>
                    <a:pt x="1007" y="946"/>
                  </a:lnTo>
                  <a:lnTo>
                    <a:pt x="1004" y="943"/>
                  </a:lnTo>
                  <a:lnTo>
                    <a:pt x="1004" y="943"/>
                  </a:lnTo>
                  <a:lnTo>
                    <a:pt x="1004" y="943"/>
                  </a:lnTo>
                  <a:lnTo>
                    <a:pt x="1001" y="941"/>
                  </a:lnTo>
                  <a:lnTo>
                    <a:pt x="1004" y="941"/>
                  </a:lnTo>
                  <a:lnTo>
                    <a:pt x="1004" y="938"/>
                  </a:lnTo>
                  <a:lnTo>
                    <a:pt x="1004" y="938"/>
                  </a:lnTo>
                  <a:lnTo>
                    <a:pt x="1001" y="935"/>
                  </a:lnTo>
                  <a:lnTo>
                    <a:pt x="1001" y="935"/>
                  </a:lnTo>
                  <a:lnTo>
                    <a:pt x="1001" y="935"/>
                  </a:lnTo>
                  <a:lnTo>
                    <a:pt x="999" y="935"/>
                  </a:lnTo>
                  <a:lnTo>
                    <a:pt x="999" y="935"/>
                  </a:lnTo>
                  <a:lnTo>
                    <a:pt x="996" y="935"/>
                  </a:lnTo>
                  <a:lnTo>
                    <a:pt x="996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5"/>
                  </a:lnTo>
                  <a:lnTo>
                    <a:pt x="993" y="933"/>
                  </a:lnTo>
                  <a:lnTo>
                    <a:pt x="991" y="933"/>
                  </a:lnTo>
                  <a:lnTo>
                    <a:pt x="991" y="933"/>
                  </a:lnTo>
                  <a:lnTo>
                    <a:pt x="988" y="933"/>
                  </a:lnTo>
                  <a:lnTo>
                    <a:pt x="988" y="933"/>
                  </a:lnTo>
                  <a:lnTo>
                    <a:pt x="988" y="933"/>
                  </a:lnTo>
                  <a:lnTo>
                    <a:pt x="985" y="933"/>
                  </a:lnTo>
                  <a:lnTo>
                    <a:pt x="985" y="933"/>
                  </a:lnTo>
                  <a:lnTo>
                    <a:pt x="985" y="933"/>
                  </a:lnTo>
                  <a:lnTo>
                    <a:pt x="983" y="935"/>
                  </a:lnTo>
                  <a:lnTo>
                    <a:pt x="980" y="935"/>
                  </a:lnTo>
                  <a:lnTo>
                    <a:pt x="980" y="935"/>
                  </a:lnTo>
                  <a:lnTo>
                    <a:pt x="977" y="935"/>
                  </a:lnTo>
                  <a:lnTo>
                    <a:pt x="975" y="935"/>
                  </a:lnTo>
                  <a:lnTo>
                    <a:pt x="975" y="935"/>
                  </a:lnTo>
                  <a:lnTo>
                    <a:pt x="972" y="935"/>
                  </a:lnTo>
                  <a:lnTo>
                    <a:pt x="972" y="935"/>
                  </a:lnTo>
                  <a:lnTo>
                    <a:pt x="972" y="935"/>
                  </a:lnTo>
                  <a:lnTo>
                    <a:pt x="969" y="938"/>
                  </a:lnTo>
                  <a:lnTo>
                    <a:pt x="969" y="938"/>
                  </a:lnTo>
                  <a:lnTo>
                    <a:pt x="969" y="938"/>
                  </a:lnTo>
                  <a:lnTo>
                    <a:pt x="969" y="941"/>
                  </a:lnTo>
                  <a:lnTo>
                    <a:pt x="969" y="941"/>
                  </a:lnTo>
                  <a:lnTo>
                    <a:pt x="969" y="941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3"/>
                  </a:lnTo>
                  <a:lnTo>
                    <a:pt x="969" y="946"/>
                  </a:lnTo>
                  <a:lnTo>
                    <a:pt x="969" y="946"/>
                  </a:lnTo>
                  <a:lnTo>
                    <a:pt x="969" y="946"/>
                  </a:lnTo>
                  <a:lnTo>
                    <a:pt x="967" y="946"/>
                  </a:lnTo>
                  <a:lnTo>
                    <a:pt x="967" y="949"/>
                  </a:lnTo>
                  <a:lnTo>
                    <a:pt x="967" y="949"/>
                  </a:lnTo>
                  <a:lnTo>
                    <a:pt x="967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4" y="949"/>
                  </a:lnTo>
                  <a:lnTo>
                    <a:pt x="961" y="949"/>
                  </a:lnTo>
                  <a:lnTo>
                    <a:pt x="961" y="949"/>
                  </a:lnTo>
                  <a:lnTo>
                    <a:pt x="961" y="946"/>
                  </a:lnTo>
                  <a:lnTo>
                    <a:pt x="961" y="946"/>
                  </a:lnTo>
                  <a:lnTo>
                    <a:pt x="959" y="946"/>
                  </a:lnTo>
                  <a:lnTo>
                    <a:pt x="959" y="946"/>
                  </a:lnTo>
                  <a:lnTo>
                    <a:pt x="959" y="949"/>
                  </a:lnTo>
                  <a:lnTo>
                    <a:pt x="959" y="949"/>
                  </a:lnTo>
                  <a:lnTo>
                    <a:pt x="956" y="949"/>
                  </a:lnTo>
                  <a:lnTo>
                    <a:pt x="956" y="949"/>
                  </a:lnTo>
                  <a:lnTo>
                    <a:pt x="956" y="951"/>
                  </a:lnTo>
                  <a:lnTo>
                    <a:pt x="956" y="951"/>
                  </a:lnTo>
                  <a:lnTo>
                    <a:pt x="956" y="951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4"/>
                  </a:lnTo>
                  <a:lnTo>
                    <a:pt x="953" y="957"/>
                  </a:lnTo>
                  <a:lnTo>
                    <a:pt x="953" y="957"/>
                  </a:lnTo>
                  <a:lnTo>
                    <a:pt x="953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51" y="957"/>
                  </a:lnTo>
                  <a:lnTo>
                    <a:pt x="948" y="957"/>
                  </a:lnTo>
                  <a:lnTo>
                    <a:pt x="948" y="957"/>
                  </a:lnTo>
                  <a:lnTo>
                    <a:pt x="945" y="957"/>
                  </a:lnTo>
                  <a:lnTo>
                    <a:pt x="945" y="954"/>
                  </a:lnTo>
                  <a:lnTo>
                    <a:pt x="943" y="954"/>
                  </a:lnTo>
                  <a:lnTo>
                    <a:pt x="943" y="951"/>
                  </a:lnTo>
                  <a:lnTo>
                    <a:pt x="940" y="951"/>
                  </a:lnTo>
                  <a:lnTo>
                    <a:pt x="937" y="951"/>
                  </a:lnTo>
                  <a:lnTo>
                    <a:pt x="937" y="949"/>
                  </a:lnTo>
                  <a:lnTo>
                    <a:pt x="937" y="949"/>
                  </a:lnTo>
                  <a:lnTo>
                    <a:pt x="937" y="946"/>
                  </a:lnTo>
                  <a:lnTo>
                    <a:pt x="937" y="943"/>
                  </a:lnTo>
                  <a:lnTo>
                    <a:pt x="935" y="943"/>
                  </a:lnTo>
                  <a:lnTo>
                    <a:pt x="935" y="946"/>
                  </a:lnTo>
                  <a:lnTo>
                    <a:pt x="935" y="946"/>
                  </a:lnTo>
                  <a:lnTo>
                    <a:pt x="932" y="946"/>
                  </a:lnTo>
                  <a:lnTo>
                    <a:pt x="932" y="946"/>
                  </a:lnTo>
                  <a:lnTo>
                    <a:pt x="929" y="946"/>
                  </a:lnTo>
                  <a:lnTo>
                    <a:pt x="929" y="946"/>
                  </a:lnTo>
                  <a:lnTo>
                    <a:pt x="929" y="946"/>
                  </a:lnTo>
                  <a:lnTo>
                    <a:pt x="927" y="946"/>
                  </a:lnTo>
                  <a:lnTo>
                    <a:pt x="927" y="946"/>
                  </a:lnTo>
                  <a:lnTo>
                    <a:pt x="927" y="946"/>
                  </a:lnTo>
                  <a:lnTo>
                    <a:pt x="924" y="946"/>
                  </a:lnTo>
                  <a:lnTo>
                    <a:pt x="924" y="946"/>
                  </a:lnTo>
                  <a:lnTo>
                    <a:pt x="921" y="946"/>
                  </a:lnTo>
                  <a:lnTo>
                    <a:pt x="921" y="949"/>
                  </a:lnTo>
                  <a:lnTo>
                    <a:pt x="919" y="949"/>
                  </a:lnTo>
                  <a:lnTo>
                    <a:pt x="919" y="951"/>
                  </a:lnTo>
                  <a:lnTo>
                    <a:pt x="916" y="951"/>
                  </a:lnTo>
                  <a:lnTo>
                    <a:pt x="916" y="951"/>
                  </a:lnTo>
                  <a:lnTo>
                    <a:pt x="916" y="954"/>
                  </a:lnTo>
                  <a:lnTo>
                    <a:pt x="916" y="954"/>
                  </a:lnTo>
                  <a:lnTo>
                    <a:pt x="913" y="954"/>
                  </a:lnTo>
                  <a:lnTo>
                    <a:pt x="913" y="954"/>
                  </a:lnTo>
                  <a:lnTo>
                    <a:pt x="913" y="954"/>
                  </a:lnTo>
                  <a:lnTo>
                    <a:pt x="911" y="954"/>
                  </a:lnTo>
                  <a:lnTo>
                    <a:pt x="911" y="954"/>
                  </a:lnTo>
                  <a:lnTo>
                    <a:pt x="908" y="954"/>
                  </a:lnTo>
                  <a:lnTo>
                    <a:pt x="905" y="951"/>
                  </a:lnTo>
                  <a:lnTo>
                    <a:pt x="905" y="951"/>
                  </a:lnTo>
                  <a:lnTo>
                    <a:pt x="905" y="951"/>
                  </a:lnTo>
                  <a:lnTo>
                    <a:pt x="903" y="951"/>
                  </a:lnTo>
                  <a:lnTo>
                    <a:pt x="900" y="949"/>
                  </a:lnTo>
                  <a:lnTo>
                    <a:pt x="897" y="949"/>
                  </a:lnTo>
                  <a:lnTo>
                    <a:pt x="895" y="946"/>
                  </a:lnTo>
                  <a:lnTo>
                    <a:pt x="892" y="946"/>
                  </a:lnTo>
                  <a:lnTo>
                    <a:pt x="889" y="946"/>
                  </a:lnTo>
                  <a:lnTo>
                    <a:pt x="889" y="943"/>
                  </a:lnTo>
                  <a:lnTo>
                    <a:pt x="884" y="941"/>
                  </a:lnTo>
                  <a:lnTo>
                    <a:pt x="884" y="941"/>
                  </a:lnTo>
                  <a:lnTo>
                    <a:pt x="887" y="941"/>
                  </a:lnTo>
                  <a:lnTo>
                    <a:pt x="887" y="938"/>
                  </a:lnTo>
                  <a:lnTo>
                    <a:pt x="887" y="938"/>
                  </a:lnTo>
                  <a:lnTo>
                    <a:pt x="884" y="935"/>
                  </a:lnTo>
                  <a:lnTo>
                    <a:pt x="884" y="938"/>
                  </a:lnTo>
                  <a:lnTo>
                    <a:pt x="884" y="935"/>
                  </a:lnTo>
                  <a:lnTo>
                    <a:pt x="881" y="935"/>
                  </a:lnTo>
                  <a:lnTo>
                    <a:pt x="881" y="935"/>
                  </a:lnTo>
                  <a:lnTo>
                    <a:pt x="881" y="935"/>
                  </a:lnTo>
                  <a:lnTo>
                    <a:pt x="879" y="933"/>
                  </a:lnTo>
                  <a:lnTo>
                    <a:pt x="879" y="933"/>
                  </a:lnTo>
                  <a:lnTo>
                    <a:pt x="876" y="933"/>
                  </a:lnTo>
                  <a:lnTo>
                    <a:pt x="876" y="930"/>
                  </a:lnTo>
                  <a:lnTo>
                    <a:pt x="873" y="930"/>
                  </a:lnTo>
                  <a:lnTo>
                    <a:pt x="871" y="930"/>
                  </a:lnTo>
                  <a:lnTo>
                    <a:pt x="868" y="927"/>
                  </a:lnTo>
                  <a:lnTo>
                    <a:pt x="868" y="927"/>
                  </a:lnTo>
                  <a:lnTo>
                    <a:pt x="865" y="927"/>
                  </a:lnTo>
                  <a:lnTo>
                    <a:pt x="865" y="930"/>
                  </a:lnTo>
                  <a:lnTo>
                    <a:pt x="865" y="930"/>
                  </a:lnTo>
                  <a:lnTo>
                    <a:pt x="863" y="933"/>
                  </a:lnTo>
                  <a:lnTo>
                    <a:pt x="863" y="933"/>
                  </a:lnTo>
                  <a:lnTo>
                    <a:pt x="860" y="933"/>
                  </a:lnTo>
                  <a:lnTo>
                    <a:pt x="860" y="933"/>
                  </a:lnTo>
                  <a:lnTo>
                    <a:pt x="860" y="933"/>
                  </a:lnTo>
                  <a:lnTo>
                    <a:pt x="857" y="933"/>
                  </a:lnTo>
                  <a:lnTo>
                    <a:pt x="855" y="933"/>
                  </a:lnTo>
                  <a:lnTo>
                    <a:pt x="855" y="933"/>
                  </a:lnTo>
                  <a:lnTo>
                    <a:pt x="855" y="933"/>
                  </a:lnTo>
                  <a:lnTo>
                    <a:pt x="852" y="933"/>
                  </a:lnTo>
                  <a:lnTo>
                    <a:pt x="852" y="933"/>
                  </a:lnTo>
                  <a:lnTo>
                    <a:pt x="852" y="933"/>
                  </a:lnTo>
                  <a:lnTo>
                    <a:pt x="849" y="930"/>
                  </a:lnTo>
                  <a:lnTo>
                    <a:pt x="849" y="930"/>
                  </a:lnTo>
                  <a:lnTo>
                    <a:pt x="847" y="930"/>
                  </a:lnTo>
                  <a:lnTo>
                    <a:pt x="847" y="930"/>
                  </a:lnTo>
                  <a:lnTo>
                    <a:pt x="847" y="930"/>
                  </a:lnTo>
                  <a:lnTo>
                    <a:pt x="844" y="930"/>
                  </a:lnTo>
                  <a:lnTo>
                    <a:pt x="844" y="930"/>
                  </a:lnTo>
                  <a:lnTo>
                    <a:pt x="841" y="930"/>
                  </a:lnTo>
                  <a:lnTo>
                    <a:pt x="841" y="930"/>
                  </a:lnTo>
                  <a:lnTo>
                    <a:pt x="841" y="927"/>
                  </a:lnTo>
                  <a:lnTo>
                    <a:pt x="839" y="927"/>
                  </a:lnTo>
                  <a:lnTo>
                    <a:pt x="839" y="930"/>
                  </a:lnTo>
                  <a:lnTo>
                    <a:pt x="836" y="930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6" y="927"/>
                  </a:lnTo>
                  <a:lnTo>
                    <a:pt x="833" y="927"/>
                  </a:lnTo>
                  <a:lnTo>
                    <a:pt x="833" y="924"/>
                  </a:lnTo>
                  <a:lnTo>
                    <a:pt x="833" y="924"/>
                  </a:lnTo>
                  <a:lnTo>
                    <a:pt x="831" y="924"/>
                  </a:lnTo>
                  <a:lnTo>
                    <a:pt x="831" y="924"/>
                  </a:lnTo>
                  <a:lnTo>
                    <a:pt x="831" y="924"/>
                  </a:lnTo>
                  <a:lnTo>
                    <a:pt x="828" y="924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27"/>
                  </a:lnTo>
                  <a:lnTo>
                    <a:pt x="828" y="930"/>
                  </a:lnTo>
                  <a:lnTo>
                    <a:pt x="828" y="930"/>
                  </a:lnTo>
                  <a:lnTo>
                    <a:pt x="828" y="930"/>
                  </a:lnTo>
                  <a:lnTo>
                    <a:pt x="825" y="930"/>
                  </a:lnTo>
                  <a:lnTo>
                    <a:pt x="825" y="933"/>
                  </a:lnTo>
                  <a:lnTo>
                    <a:pt x="825" y="933"/>
                  </a:lnTo>
                  <a:lnTo>
                    <a:pt x="825" y="933"/>
                  </a:lnTo>
                  <a:lnTo>
                    <a:pt x="823" y="933"/>
                  </a:lnTo>
                  <a:lnTo>
                    <a:pt x="823" y="935"/>
                  </a:lnTo>
                  <a:lnTo>
                    <a:pt x="823" y="935"/>
                  </a:lnTo>
                  <a:lnTo>
                    <a:pt x="823" y="938"/>
                  </a:lnTo>
                  <a:lnTo>
                    <a:pt x="823" y="938"/>
                  </a:lnTo>
                  <a:lnTo>
                    <a:pt x="820" y="938"/>
                  </a:lnTo>
                  <a:lnTo>
                    <a:pt x="820" y="935"/>
                  </a:lnTo>
                  <a:lnTo>
                    <a:pt x="820" y="935"/>
                  </a:lnTo>
                  <a:lnTo>
                    <a:pt x="817" y="935"/>
                  </a:lnTo>
                  <a:lnTo>
                    <a:pt x="817" y="935"/>
                  </a:lnTo>
                  <a:lnTo>
                    <a:pt x="817" y="933"/>
                  </a:lnTo>
                  <a:lnTo>
                    <a:pt x="817" y="933"/>
                  </a:lnTo>
                  <a:lnTo>
                    <a:pt x="817" y="933"/>
                  </a:lnTo>
                  <a:lnTo>
                    <a:pt x="815" y="930"/>
                  </a:lnTo>
                  <a:lnTo>
                    <a:pt x="815" y="930"/>
                  </a:lnTo>
                  <a:lnTo>
                    <a:pt x="815" y="927"/>
                  </a:lnTo>
                  <a:lnTo>
                    <a:pt x="815" y="927"/>
                  </a:lnTo>
                  <a:lnTo>
                    <a:pt x="815" y="927"/>
                  </a:lnTo>
                  <a:lnTo>
                    <a:pt x="815" y="924"/>
                  </a:lnTo>
                  <a:lnTo>
                    <a:pt x="817" y="924"/>
                  </a:lnTo>
                  <a:lnTo>
                    <a:pt x="817" y="924"/>
                  </a:lnTo>
                  <a:lnTo>
                    <a:pt x="817" y="922"/>
                  </a:lnTo>
                  <a:lnTo>
                    <a:pt x="817" y="922"/>
                  </a:lnTo>
                  <a:lnTo>
                    <a:pt x="817" y="919"/>
                  </a:lnTo>
                  <a:lnTo>
                    <a:pt x="815" y="919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2" y="916"/>
                  </a:lnTo>
                  <a:lnTo>
                    <a:pt x="812" y="914"/>
                  </a:lnTo>
                  <a:lnTo>
                    <a:pt x="812" y="914"/>
                  </a:lnTo>
                  <a:lnTo>
                    <a:pt x="812" y="911"/>
                  </a:lnTo>
                  <a:lnTo>
                    <a:pt x="812" y="911"/>
                  </a:lnTo>
                  <a:lnTo>
                    <a:pt x="812" y="911"/>
                  </a:lnTo>
                  <a:lnTo>
                    <a:pt x="812" y="908"/>
                  </a:lnTo>
                  <a:lnTo>
                    <a:pt x="809" y="906"/>
                  </a:lnTo>
                  <a:lnTo>
                    <a:pt x="807" y="906"/>
                  </a:lnTo>
                  <a:lnTo>
                    <a:pt x="804" y="906"/>
                  </a:lnTo>
                  <a:lnTo>
                    <a:pt x="801" y="906"/>
                  </a:lnTo>
                  <a:lnTo>
                    <a:pt x="798" y="903"/>
                  </a:lnTo>
                  <a:lnTo>
                    <a:pt x="796" y="900"/>
                  </a:lnTo>
                  <a:lnTo>
                    <a:pt x="796" y="903"/>
                  </a:lnTo>
                  <a:lnTo>
                    <a:pt x="793" y="903"/>
                  </a:lnTo>
                  <a:lnTo>
                    <a:pt x="793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3"/>
                  </a:lnTo>
                  <a:lnTo>
                    <a:pt x="790" y="900"/>
                  </a:lnTo>
                  <a:lnTo>
                    <a:pt x="788" y="900"/>
                  </a:lnTo>
                  <a:lnTo>
                    <a:pt x="788" y="900"/>
                  </a:lnTo>
                  <a:lnTo>
                    <a:pt x="788" y="900"/>
                  </a:lnTo>
                  <a:lnTo>
                    <a:pt x="785" y="900"/>
                  </a:lnTo>
                  <a:lnTo>
                    <a:pt x="785" y="900"/>
                  </a:lnTo>
                  <a:lnTo>
                    <a:pt x="782" y="900"/>
                  </a:lnTo>
                  <a:lnTo>
                    <a:pt x="780" y="900"/>
                  </a:lnTo>
                  <a:lnTo>
                    <a:pt x="780" y="898"/>
                  </a:lnTo>
                  <a:lnTo>
                    <a:pt x="777" y="898"/>
                  </a:lnTo>
                  <a:lnTo>
                    <a:pt x="777" y="900"/>
                  </a:lnTo>
                  <a:lnTo>
                    <a:pt x="777" y="900"/>
                  </a:lnTo>
                  <a:lnTo>
                    <a:pt x="774" y="900"/>
                  </a:lnTo>
                  <a:lnTo>
                    <a:pt x="774" y="900"/>
                  </a:lnTo>
                  <a:lnTo>
                    <a:pt x="774" y="903"/>
                  </a:lnTo>
                  <a:lnTo>
                    <a:pt x="774" y="903"/>
                  </a:lnTo>
                  <a:lnTo>
                    <a:pt x="774" y="903"/>
                  </a:lnTo>
                  <a:lnTo>
                    <a:pt x="774" y="906"/>
                  </a:lnTo>
                  <a:lnTo>
                    <a:pt x="772" y="906"/>
                  </a:lnTo>
                  <a:lnTo>
                    <a:pt x="774" y="906"/>
                  </a:lnTo>
                  <a:lnTo>
                    <a:pt x="774" y="906"/>
                  </a:lnTo>
                  <a:lnTo>
                    <a:pt x="777" y="906"/>
                  </a:lnTo>
                  <a:lnTo>
                    <a:pt x="774" y="908"/>
                  </a:lnTo>
                  <a:lnTo>
                    <a:pt x="774" y="911"/>
                  </a:lnTo>
                  <a:lnTo>
                    <a:pt x="774" y="911"/>
                  </a:lnTo>
                  <a:lnTo>
                    <a:pt x="772" y="911"/>
                  </a:lnTo>
                  <a:lnTo>
                    <a:pt x="772" y="914"/>
                  </a:lnTo>
                  <a:lnTo>
                    <a:pt x="772" y="914"/>
                  </a:lnTo>
                  <a:lnTo>
                    <a:pt x="774" y="914"/>
                  </a:lnTo>
                  <a:lnTo>
                    <a:pt x="774" y="914"/>
                  </a:lnTo>
                  <a:lnTo>
                    <a:pt x="774" y="916"/>
                  </a:lnTo>
                  <a:lnTo>
                    <a:pt x="774" y="916"/>
                  </a:lnTo>
                  <a:lnTo>
                    <a:pt x="774" y="919"/>
                  </a:lnTo>
                  <a:lnTo>
                    <a:pt x="774" y="919"/>
                  </a:lnTo>
                  <a:lnTo>
                    <a:pt x="772" y="922"/>
                  </a:lnTo>
                  <a:lnTo>
                    <a:pt x="772" y="922"/>
                  </a:lnTo>
                  <a:lnTo>
                    <a:pt x="769" y="922"/>
                  </a:lnTo>
                  <a:lnTo>
                    <a:pt x="769" y="919"/>
                  </a:lnTo>
                  <a:lnTo>
                    <a:pt x="769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6" y="919"/>
                  </a:lnTo>
                  <a:lnTo>
                    <a:pt x="764" y="919"/>
                  </a:lnTo>
                  <a:lnTo>
                    <a:pt x="764" y="916"/>
                  </a:lnTo>
                  <a:lnTo>
                    <a:pt x="761" y="919"/>
                  </a:lnTo>
                  <a:lnTo>
                    <a:pt x="761" y="919"/>
                  </a:lnTo>
                  <a:lnTo>
                    <a:pt x="761" y="919"/>
                  </a:lnTo>
                  <a:lnTo>
                    <a:pt x="758" y="919"/>
                  </a:lnTo>
                  <a:lnTo>
                    <a:pt x="758" y="919"/>
                  </a:lnTo>
                  <a:lnTo>
                    <a:pt x="758" y="919"/>
                  </a:lnTo>
                  <a:lnTo>
                    <a:pt x="756" y="919"/>
                  </a:lnTo>
                  <a:lnTo>
                    <a:pt x="756" y="919"/>
                  </a:lnTo>
                  <a:lnTo>
                    <a:pt x="753" y="919"/>
                  </a:lnTo>
                  <a:lnTo>
                    <a:pt x="750" y="919"/>
                  </a:lnTo>
                  <a:lnTo>
                    <a:pt x="750" y="919"/>
                  </a:lnTo>
                  <a:lnTo>
                    <a:pt x="750" y="916"/>
                  </a:lnTo>
                  <a:lnTo>
                    <a:pt x="750" y="919"/>
                  </a:lnTo>
                  <a:lnTo>
                    <a:pt x="748" y="919"/>
                  </a:lnTo>
                  <a:lnTo>
                    <a:pt x="748" y="922"/>
                  </a:lnTo>
                  <a:lnTo>
                    <a:pt x="745" y="922"/>
                  </a:lnTo>
                  <a:lnTo>
                    <a:pt x="745" y="922"/>
                  </a:lnTo>
                  <a:lnTo>
                    <a:pt x="742" y="922"/>
                  </a:lnTo>
                  <a:lnTo>
                    <a:pt x="742" y="919"/>
                  </a:lnTo>
                  <a:lnTo>
                    <a:pt x="742" y="919"/>
                  </a:lnTo>
                  <a:lnTo>
                    <a:pt x="742" y="916"/>
                  </a:lnTo>
                  <a:lnTo>
                    <a:pt x="740" y="916"/>
                  </a:lnTo>
                  <a:lnTo>
                    <a:pt x="740" y="916"/>
                  </a:lnTo>
                  <a:lnTo>
                    <a:pt x="740" y="916"/>
                  </a:lnTo>
                  <a:lnTo>
                    <a:pt x="737" y="916"/>
                  </a:lnTo>
                  <a:lnTo>
                    <a:pt x="734" y="916"/>
                  </a:lnTo>
                  <a:lnTo>
                    <a:pt x="734" y="914"/>
                  </a:lnTo>
                  <a:lnTo>
                    <a:pt x="732" y="914"/>
                  </a:lnTo>
                  <a:lnTo>
                    <a:pt x="729" y="914"/>
                  </a:lnTo>
                  <a:lnTo>
                    <a:pt x="726" y="916"/>
                  </a:lnTo>
                  <a:lnTo>
                    <a:pt x="726" y="914"/>
                  </a:lnTo>
                  <a:lnTo>
                    <a:pt x="724" y="914"/>
                  </a:lnTo>
                  <a:lnTo>
                    <a:pt x="724" y="914"/>
                  </a:lnTo>
                  <a:lnTo>
                    <a:pt x="724" y="916"/>
                  </a:lnTo>
                  <a:lnTo>
                    <a:pt x="721" y="916"/>
                  </a:lnTo>
                  <a:lnTo>
                    <a:pt x="721" y="919"/>
                  </a:lnTo>
                  <a:lnTo>
                    <a:pt x="721" y="919"/>
                  </a:lnTo>
                  <a:lnTo>
                    <a:pt x="721" y="922"/>
                  </a:lnTo>
                  <a:lnTo>
                    <a:pt x="718" y="922"/>
                  </a:lnTo>
                  <a:lnTo>
                    <a:pt x="718" y="924"/>
                  </a:lnTo>
                  <a:lnTo>
                    <a:pt x="718" y="924"/>
                  </a:lnTo>
                  <a:lnTo>
                    <a:pt x="718" y="924"/>
                  </a:lnTo>
                  <a:lnTo>
                    <a:pt x="716" y="927"/>
                  </a:lnTo>
                  <a:lnTo>
                    <a:pt x="716" y="930"/>
                  </a:lnTo>
                  <a:lnTo>
                    <a:pt x="713" y="930"/>
                  </a:lnTo>
                  <a:lnTo>
                    <a:pt x="713" y="930"/>
                  </a:lnTo>
                  <a:lnTo>
                    <a:pt x="713" y="930"/>
                  </a:lnTo>
                  <a:lnTo>
                    <a:pt x="710" y="930"/>
                  </a:lnTo>
                  <a:lnTo>
                    <a:pt x="710" y="930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8" y="927"/>
                  </a:lnTo>
                  <a:lnTo>
                    <a:pt x="705" y="927"/>
                  </a:lnTo>
                  <a:lnTo>
                    <a:pt x="705" y="927"/>
                  </a:lnTo>
                  <a:lnTo>
                    <a:pt x="702" y="927"/>
                  </a:lnTo>
                  <a:lnTo>
                    <a:pt x="702" y="927"/>
                  </a:lnTo>
                  <a:lnTo>
                    <a:pt x="702" y="927"/>
                  </a:lnTo>
                  <a:lnTo>
                    <a:pt x="700" y="930"/>
                  </a:lnTo>
                  <a:lnTo>
                    <a:pt x="700" y="930"/>
                  </a:lnTo>
                  <a:lnTo>
                    <a:pt x="700" y="930"/>
                  </a:lnTo>
                  <a:lnTo>
                    <a:pt x="694" y="930"/>
                  </a:lnTo>
                  <a:lnTo>
                    <a:pt x="694" y="933"/>
                  </a:lnTo>
                  <a:lnTo>
                    <a:pt x="694" y="933"/>
                  </a:lnTo>
                  <a:lnTo>
                    <a:pt x="694" y="935"/>
                  </a:lnTo>
                  <a:lnTo>
                    <a:pt x="694" y="935"/>
                  </a:lnTo>
                  <a:lnTo>
                    <a:pt x="694" y="938"/>
                  </a:lnTo>
                  <a:lnTo>
                    <a:pt x="694" y="938"/>
                  </a:lnTo>
                  <a:lnTo>
                    <a:pt x="692" y="938"/>
                  </a:lnTo>
                  <a:lnTo>
                    <a:pt x="692" y="938"/>
                  </a:lnTo>
                  <a:lnTo>
                    <a:pt x="692" y="941"/>
                  </a:lnTo>
                  <a:lnTo>
                    <a:pt x="689" y="941"/>
                  </a:lnTo>
                  <a:lnTo>
                    <a:pt x="689" y="941"/>
                  </a:lnTo>
                  <a:lnTo>
                    <a:pt x="686" y="943"/>
                  </a:lnTo>
                  <a:lnTo>
                    <a:pt x="686" y="943"/>
                  </a:lnTo>
                  <a:lnTo>
                    <a:pt x="684" y="943"/>
                  </a:lnTo>
                  <a:lnTo>
                    <a:pt x="684" y="943"/>
                  </a:lnTo>
                  <a:lnTo>
                    <a:pt x="684" y="943"/>
                  </a:lnTo>
                  <a:lnTo>
                    <a:pt x="681" y="943"/>
                  </a:lnTo>
                  <a:lnTo>
                    <a:pt x="681" y="941"/>
                  </a:lnTo>
                  <a:lnTo>
                    <a:pt x="678" y="941"/>
                  </a:lnTo>
                  <a:lnTo>
                    <a:pt x="676" y="941"/>
                  </a:lnTo>
                  <a:lnTo>
                    <a:pt x="676" y="941"/>
                  </a:lnTo>
                  <a:lnTo>
                    <a:pt x="673" y="943"/>
                  </a:lnTo>
                  <a:lnTo>
                    <a:pt x="673" y="943"/>
                  </a:lnTo>
                  <a:lnTo>
                    <a:pt x="673" y="943"/>
                  </a:lnTo>
                  <a:lnTo>
                    <a:pt x="673" y="946"/>
                  </a:lnTo>
                  <a:lnTo>
                    <a:pt x="673" y="946"/>
                  </a:lnTo>
                  <a:lnTo>
                    <a:pt x="673" y="949"/>
                  </a:lnTo>
                  <a:lnTo>
                    <a:pt x="670" y="949"/>
                  </a:lnTo>
                  <a:lnTo>
                    <a:pt x="670" y="949"/>
                  </a:lnTo>
                  <a:lnTo>
                    <a:pt x="670" y="951"/>
                  </a:lnTo>
                  <a:lnTo>
                    <a:pt x="670" y="951"/>
                  </a:lnTo>
                  <a:lnTo>
                    <a:pt x="668" y="954"/>
                  </a:lnTo>
                  <a:lnTo>
                    <a:pt x="668" y="954"/>
                  </a:lnTo>
                  <a:lnTo>
                    <a:pt x="668" y="954"/>
                  </a:lnTo>
                  <a:lnTo>
                    <a:pt x="665" y="954"/>
                  </a:lnTo>
                  <a:lnTo>
                    <a:pt x="665" y="954"/>
                  </a:lnTo>
                  <a:lnTo>
                    <a:pt x="662" y="954"/>
                  </a:lnTo>
                  <a:lnTo>
                    <a:pt x="662" y="954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0" y="959"/>
                  </a:lnTo>
                  <a:lnTo>
                    <a:pt x="657" y="959"/>
                  </a:lnTo>
                  <a:lnTo>
                    <a:pt x="657" y="962"/>
                  </a:lnTo>
                  <a:lnTo>
                    <a:pt x="657" y="962"/>
                  </a:lnTo>
                  <a:lnTo>
                    <a:pt x="654" y="962"/>
                  </a:lnTo>
                  <a:lnTo>
                    <a:pt x="654" y="962"/>
                  </a:lnTo>
                  <a:lnTo>
                    <a:pt x="654" y="962"/>
                  </a:lnTo>
                  <a:lnTo>
                    <a:pt x="652" y="962"/>
                  </a:lnTo>
                  <a:lnTo>
                    <a:pt x="652" y="965"/>
                  </a:lnTo>
                  <a:lnTo>
                    <a:pt x="649" y="965"/>
                  </a:lnTo>
                  <a:lnTo>
                    <a:pt x="649" y="965"/>
                  </a:lnTo>
                  <a:lnTo>
                    <a:pt x="649" y="965"/>
                  </a:lnTo>
                  <a:lnTo>
                    <a:pt x="646" y="967"/>
                  </a:lnTo>
                  <a:lnTo>
                    <a:pt x="646" y="967"/>
                  </a:lnTo>
                  <a:lnTo>
                    <a:pt x="644" y="967"/>
                  </a:lnTo>
                  <a:lnTo>
                    <a:pt x="644" y="967"/>
                  </a:lnTo>
                  <a:lnTo>
                    <a:pt x="641" y="967"/>
                  </a:lnTo>
                  <a:lnTo>
                    <a:pt x="641" y="967"/>
                  </a:lnTo>
                  <a:lnTo>
                    <a:pt x="638" y="970"/>
                  </a:lnTo>
                  <a:lnTo>
                    <a:pt x="638" y="970"/>
                  </a:lnTo>
                  <a:lnTo>
                    <a:pt x="636" y="970"/>
                  </a:lnTo>
                  <a:lnTo>
                    <a:pt x="633" y="970"/>
                  </a:lnTo>
                  <a:lnTo>
                    <a:pt x="633" y="970"/>
                  </a:lnTo>
                  <a:lnTo>
                    <a:pt x="630" y="970"/>
                  </a:lnTo>
                  <a:lnTo>
                    <a:pt x="630" y="970"/>
                  </a:lnTo>
                  <a:lnTo>
                    <a:pt x="628" y="973"/>
                  </a:lnTo>
                  <a:lnTo>
                    <a:pt x="628" y="973"/>
                  </a:lnTo>
                  <a:lnTo>
                    <a:pt x="625" y="973"/>
                  </a:lnTo>
                  <a:lnTo>
                    <a:pt x="625" y="973"/>
                  </a:lnTo>
                  <a:lnTo>
                    <a:pt x="625" y="973"/>
                  </a:lnTo>
                  <a:lnTo>
                    <a:pt x="622" y="975"/>
                  </a:lnTo>
                  <a:lnTo>
                    <a:pt x="622" y="975"/>
                  </a:lnTo>
                  <a:lnTo>
                    <a:pt x="620" y="975"/>
                  </a:lnTo>
                  <a:lnTo>
                    <a:pt x="620" y="975"/>
                  </a:lnTo>
                  <a:lnTo>
                    <a:pt x="620" y="978"/>
                  </a:lnTo>
                  <a:lnTo>
                    <a:pt x="620" y="978"/>
                  </a:lnTo>
                  <a:lnTo>
                    <a:pt x="617" y="978"/>
                  </a:lnTo>
                  <a:lnTo>
                    <a:pt x="617" y="978"/>
                  </a:lnTo>
                  <a:lnTo>
                    <a:pt x="614" y="981"/>
                  </a:lnTo>
                  <a:lnTo>
                    <a:pt x="614" y="981"/>
                  </a:lnTo>
                  <a:lnTo>
                    <a:pt x="612" y="983"/>
                  </a:lnTo>
                  <a:lnTo>
                    <a:pt x="612" y="986"/>
                  </a:lnTo>
                  <a:lnTo>
                    <a:pt x="612" y="986"/>
                  </a:lnTo>
                  <a:lnTo>
                    <a:pt x="612" y="989"/>
                  </a:lnTo>
                  <a:lnTo>
                    <a:pt x="612" y="989"/>
                  </a:lnTo>
                  <a:lnTo>
                    <a:pt x="609" y="989"/>
                  </a:lnTo>
                  <a:lnTo>
                    <a:pt x="609" y="991"/>
                  </a:lnTo>
                  <a:lnTo>
                    <a:pt x="606" y="994"/>
                  </a:lnTo>
                  <a:lnTo>
                    <a:pt x="601" y="997"/>
                  </a:lnTo>
                  <a:lnTo>
                    <a:pt x="601" y="997"/>
                  </a:lnTo>
                  <a:lnTo>
                    <a:pt x="601" y="999"/>
                  </a:lnTo>
                  <a:lnTo>
                    <a:pt x="604" y="999"/>
                  </a:lnTo>
                  <a:lnTo>
                    <a:pt x="604" y="999"/>
                  </a:lnTo>
                  <a:lnTo>
                    <a:pt x="604" y="999"/>
                  </a:lnTo>
                  <a:lnTo>
                    <a:pt x="604" y="1002"/>
                  </a:lnTo>
                  <a:lnTo>
                    <a:pt x="604" y="1002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6" y="1005"/>
                  </a:lnTo>
                  <a:lnTo>
                    <a:pt x="609" y="1005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9" y="1007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6" y="1010"/>
                  </a:lnTo>
                  <a:lnTo>
                    <a:pt x="604" y="1010"/>
                  </a:lnTo>
                  <a:lnTo>
                    <a:pt x="601" y="1013"/>
                  </a:lnTo>
                  <a:lnTo>
                    <a:pt x="601" y="1013"/>
                  </a:lnTo>
                  <a:lnTo>
                    <a:pt x="598" y="1013"/>
                  </a:lnTo>
                  <a:lnTo>
                    <a:pt x="598" y="1013"/>
                  </a:lnTo>
                  <a:lnTo>
                    <a:pt x="598" y="1013"/>
                  </a:lnTo>
                  <a:lnTo>
                    <a:pt x="596" y="1013"/>
                  </a:lnTo>
                  <a:lnTo>
                    <a:pt x="598" y="1015"/>
                  </a:lnTo>
                  <a:lnTo>
                    <a:pt x="598" y="1015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6" y="1018"/>
                  </a:lnTo>
                  <a:lnTo>
                    <a:pt x="593" y="1018"/>
                  </a:lnTo>
                  <a:lnTo>
                    <a:pt x="593" y="1021"/>
                  </a:lnTo>
                  <a:lnTo>
                    <a:pt x="593" y="1021"/>
                  </a:lnTo>
                  <a:lnTo>
                    <a:pt x="593" y="1021"/>
                  </a:lnTo>
                  <a:lnTo>
                    <a:pt x="593" y="1023"/>
                  </a:lnTo>
                  <a:lnTo>
                    <a:pt x="593" y="1023"/>
                  </a:lnTo>
                  <a:lnTo>
                    <a:pt x="593" y="1023"/>
                  </a:lnTo>
                  <a:lnTo>
                    <a:pt x="593" y="1026"/>
                  </a:lnTo>
                  <a:lnTo>
                    <a:pt x="590" y="1026"/>
                  </a:lnTo>
                  <a:lnTo>
                    <a:pt x="590" y="1026"/>
                  </a:lnTo>
                  <a:lnTo>
                    <a:pt x="590" y="1026"/>
                  </a:lnTo>
                  <a:lnTo>
                    <a:pt x="588" y="1026"/>
                  </a:lnTo>
                  <a:lnTo>
                    <a:pt x="588" y="1029"/>
                  </a:lnTo>
                  <a:lnTo>
                    <a:pt x="588" y="1029"/>
                  </a:lnTo>
                  <a:lnTo>
                    <a:pt x="588" y="1029"/>
                  </a:lnTo>
                  <a:lnTo>
                    <a:pt x="588" y="1031"/>
                  </a:lnTo>
                  <a:lnTo>
                    <a:pt x="585" y="1031"/>
                  </a:lnTo>
                  <a:lnTo>
                    <a:pt x="585" y="1034"/>
                  </a:lnTo>
                  <a:lnTo>
                    <a:pt x="585" y="1034"/>
                  </a:lnTo>
                  <a:lnTo>
                    <a:pt x="585" y="1037"/>
                  </a:lnTo>
                  <a:lnTo>
                    <a:pt x="585" y="1037"/>
                  </a:lnTo>
                  <a:lnTo>
                    <a:pt x="582" y="1037"/>
                  </a:lnTo>
                  <a:lnTo>
                    <a:pt x="582" y="1039"/>
                  </a:lnTo>
                  <a:lnTo>
                    <a:pt x="582" y="1039"/>
                  </a:lnTo>
                  <a:lnTo>
                    <a:pt x="582" y="1039"/>
                  </a:lnTo>
                  <a:lnTo>
                    <a:pt x="580" y="1042"/>
                  </a:lnTo>
                  <a:lnTo>
                    <a:pt x="580" y="1042"/>
                  </a:lnTo>
                  <a:lnTo>
                    <a:pt x="580" y="1045"/>
                  </a:lnTo>
                  <a:lnTo>
                    <a:pt x="580" y="1045"/>
                  </a:lnTo>
                  <a:lnTo>
                    <a:pt x="574" y="1050"/>
                  </a:lnTo>
                  <a:lnTo>
                    <a:pt x="577" y="1053"/>
                  </a:lnTo>
                  <a:lnTo>
                    <a:pt x="580" y="1055"/>
                  </a:lnTo>
                  <a:lnTo>
                    <a:pt x="580" y="1058"/>
                  </a:lnTo>
                  <a:lnTo>
                    <a:pt x="580" y="1061"/>
                  </a:lnTo>
                  <a:lnTo>
                    <a:pt x="580" y="1061"/>
                  </a:lnTo>
                  <a:lnTo>
                    <a:pt x="580" y="1063"/>
                  </a:lnTo>
                  <a:lnTo>
                    <a:pt x="577" y="1066"/>
                  </a:lnTo>
                  <a:lnTo>
                    <a:pt x="577" y="1066"/>
                  </a:lnTo>
                  <a:lnTo>
                    <a:pt x="577" y="1069"/>
                  </a:lnTo>
                  <a:lnTo>
                    <a:pt x="577" y="1071"/>
                  </a:lnTo>
                  <a:lnTo>
                    <a:pt x="574" y="1071"/>
                  </a:lnTo>
                  <a:lnTo>
                    <a:pt x="574" y="1071"/>
                  </a:lnTo>
                  <a:lnTo>
                    <a:pt x="572" y="1071"/>
                  </a:lnTo>
                  <a:lnTo>
                    <a:pt x="569" y="1071"/>
                  </a:lnTo>
                  <a:lnTo>
                    <a:pt x="569" y="1071"/>
                  </a:lnTo>
                  <a:lnTo>
                    <a:pt x="566" y="1069"/>
                  </a:lnTo>
                  <a:lnTo>
                    <a:pt x="564" y="1069"/>
                  </a:lnTo>
                  <a:lnTo>
                    <a:pt x="561" y="1066"/>
                  </a:lnTo>
                  <a:lnTo>
                    <a:pt x="561" y="1066"/>
                  </a:lnTo>
                  <a:lnTo>
                    <a:pt x="558" y="1066"/>
                  </a:lnTo>
                  <a:lnTo>
                    <a:pt x="555" y="1066"/>
                  </a:lnTo>
                  <a:lnTo>
                    <a:pt x="553" y="1063"/>
                  </a:lnTo>
                  <a:lnTo>
                    <a:pt x="553" y="1063"/>
                  </a:lnTo>
                  <a:lnTo>
                    <a:pt x="550" y="1063"/>
                  </a:lnTo>
                  <a:lnTo>
                    <a:pt x="547" y="1063"/>
                  </a:lnTo>
                  <a:lnTo>
                    <a:pt x="542" y="1061"/>
                  </a:lnTo>
                  <a:lnTo>
                    <a:pt x="542" y="1061"/>
                  </a:lnTo>
                  <a:lnTo>
                    <a:pt x="537" y="1061"/>
                  </a:lnTo>
                  <a:lnTo>
                    <a:pt x="537" y="1063"/>
                  </a:lnTo>
                  <a:lnTo>
                    <a:pt x="534" y="1063"/>
                  </a:lnTo>
                  <a:lnTo>
                    <a:pt x="531" y="1063"/>
                  </a:lnTo>
                  <a:lnTo>
                    <a:pt x="529" y="1066"/>
                  </a:lnTo>
                  <a:lnTo>
                    <a:pt x="529" y="1069"/>
                  </a:lnTo>
                  <a:lnTo>
                    <a:pt x="529" y="1069"/>
                  </a:lnTo>
                  <a:lnTo>
                    <a:pt x="529" y="1071"/>
                  </a:lnTo>
                  <a:lnTo>
                    <a:pt x="526" y="1074"/>
                  </a:lnTo>
                  <a:lnTo>
                    <a:pt x="526" y="1074"/>
                  </a:lnTo>
                  <a:lnTo>
                    <a:pt x="526" y="1074"/>
                  </a:lnTo>
                  <a:lnTo>
                    <a:pt x="523" y="1077"/>
                  </a:lnTo>
                  <a:lnTo>
                    <a:pt x="523" y="1077"/>
                  </a:lnTo>
                  <a:lnTo>
                    <a:pt x="521" y="1082"/>
                  </a:lnTo>
                  <a:lnTo>
                    <a:pt x="521" y="1085"/>
                  </a:lnTo>
                  <a:lnTo>
                    <a:pt x="521" y="1088"/>
                  </a:lnTo>
                  <a:lnTo>
                    <a:pt x="521" y="1090"/>
                  </a:lnTo>
                  <a:lnTo>
                    <a:pt x="518" y="1093"/>
                  </a:lnTo>
                  <a:lnTo>
                    <a:pt x="518" y="1093"/>
                  </a:lnTo>
                  <a:lnTo>
                    <a:pt x="515" y="1096"/>
                  </a:lnTo>
                  <a:lnTo>
                    <a:pt x="515" y="1098"/>
                  </a:lnTo>
                  <a:lnTo>
                    <a:pt x="513" y="1101"/>
                  </a:lnTo>
                  <a:lnTo>
                    <a:pt x="510" y="1104"/>
                  </a:lnTo>
                  <a:lnTo>
                    <a:pt x="507" y="1106"/>
                  </a:lnTo>
                  <a:lnTo>
                    <a:pt x="505" y="1106"/>
                  </a:lnTo>
                  <a:lnTo>
                    <a:pt x="502" y="1109"/>
                  </a:lnTo>
                  <a:lnTo>
                    <a:pt x="502" y="1109"/>
                  </a:lnTo>
                  <a:lnTo>
                    <a:pt x="499" y="1112"/>
                  </a:lnTo>
                  <a:lnTo>
                    <a:pt x="499" y="1114"/>
                  </a:lnTo>
                  <a:lnTo>
                    <a:pt x="497" y="1114"/>
                  </a:lnTo>
                  <a:lnTo>
                    <a:pt x="497" y="1114"/>
                  </a:lnTo>
                  <a:lnTo>
                    <a:pt x="494" y="1120"/>
                  </a:lnTo>
                  <a:lnTo>
                    <a:pt x="491" y="1120"/>
                  </a:lnTo>
                  <a:lnTo>
                    <a:pt x="491" y="1122"/>
                  </a:lnTo>
                  <a:lnTo>
                    <a:pt x="489" y="1125"/>
                  </a:lnTo>
                  <a:lnTo>
                    <a:pt x="486" y="1125"/>
                  </a:lnTo>
                  <a:lnTo>
                    <a:pt x="483" y="1128"/>
                  </a:lnTo>
                  <a:lnTo>
                    <a:pt x="483" y="1128"/>
                  </a:lnTo>
                  <a:lnTo>
                    <a:pt x="483" y="1130"/>
                  </a:lnTo>
                  <a:lnTo>
                    <a:pt x="483" y="1133"/>
                  </a:lnTo>
                  <a:lnTo>
                    <a:pt x="483" y="1136"/>
                  </a:lnTo>
                  <a:lnTo>
                    <a:pt x="483" y="1138"/>
                  </a:lnTo>
                  <a:lnTo>
                    <a:pt x="481" y="1141"/>
                  </a:lnTo>
                  <a:lnTo>
                    <a:pt x="478" y="1144"/>
                  </a:lnTo>
                  <a:lnTo>
                    <a:pt x="478" y="1144"/>
                  </a:lnTo>
                  <a:lnTo>
                    <a:pt x="478" y="1146"/>
                  </a:lnTo>
                  <a:lnTo>
                    <a:pt x="475" y="1149"/>
                  </a:lnTo>
                  <a:lnTo>
                    <a:pt x="475" y="1152"/>
                  </a:lnTo>
                  <a:lnTo>
                    <a:pt x="473" y="1152"/>
                  </a:lnTo>
                  <a:lnTo>
                    <a:pt x="473" y="1152"/>
                  </a:lnTo>
                  <a:lnTo>
                    <a:pt x="470" y="1154"/>
                  </a:lnTo>
                  <a:lnTo>
                    <a:pt x="470" y="1154"/>
                  </a:lnTo>
                  <a:lnTo>
                    <a:pt x="470" y="1157"/>
                  </a:lnTo>
                  <a:lnTo>
                    <a:pt x="467" y="1157"/>
                  </a:lnTo>
                  <a:lnTo>
                    <a:pt x="467" y="1160"/>
                  </a:lnTo>
                  <a:lnTo>
                    <a:pt x="465" y="1160"/>
                  </a:lnTo>
                  <a:lnTo>
                    <a:pt x="465" y="1160"/>
                  </a:lnTo>
                  <a:lnTo>
                    <a:pt x="465" y="1162"/>
                  </a:lnTo>
                  <a:lnTo>
                    <a:pt x="462" y="1162"/>
                  </a:lnTo>
                  <a:lnTo>
                    <a:pt x="462" y="1165"/>
                  </a:lnTo>
                  <a:lnTo>
                    <a:pt x="459" y="1165"/>
                  </a:lnTo>
                  <a:lnTo>
                    <a:pt x="459" y="1165"/>
                  </a:lnTo>
                  <a:lnTo>
                    <a:pt x="457" y="1165"/>
                  </a:lnTo>
                  <a:lnTo>
                    <a:pt x="457" y="1165"/>
                  </a:lnTo>
                  <a:lnTo>
                    <a:pt x="454" y="1165"/>
                  </a:lnTo>
                  <a:lnTo>
                    <a:pt x="454" y="1162"/>
                  </a:lnTo>
                  <a:lnTo>
                    <a:pt x="454" y="1162"/>
                  </a:lnTo>
                  <a:lnTo>
                    <a:pt x="451" y="1162"/>
                  </a:lnTo>
                  <a:lnTo>
                    <a:pt x="449" y="1165"/>
                  </a:lnTo>
                  <a:lnTo>
                    <a:pt x="449" y="1165"/>
                  </a:lnTo>
                  <a:lnTo>
                    <a:pt x="443" y="1170"/>
                  </a:lnTo>
                  <a:lnTo>
                    <a:pt x="443" y="1170"/>
                  </a:lnTo>
                  <a:lnTo>
                    <a:pt x="443" y="1170"/>
                  </a:lnTo>
                  <a:lnTo>
                    <a:pt x="441" y="1170"/>
                  </a:lnTo>
                  <a:lnTo>
                    <a:pt x="438" y="1170"/>
                  </a:lnTo>
                  <a:lnTo>
                    <a:pt x="435" y="1170"/>
                  </a:lnTo>
                  <a:lnTo>
                    <a:pt x="435" y="1170"/>
                  </a:lnTo>
                  <a:lnTo>
                    <a:pt x="433" y="1170"/>
                  </a:lnTo>
                  <a:lnTo>
                    <a:pt x="433" y="1173"/>
                  </a:lnTo>
                  <a:lnTo>
                    <a:pt x="430" y="1173"/>
                  </a:lnTo>
                  <a:lnTo>
                    <a:pt x="427" y="1173"/>
                  </a:lnTo>
                  <a:lnTo>
                    <a:pt x="427" y="1173"/>
                  </a:lnTo>
                  <a:lnTo>
                    <a:pt x="427" y="1173"/>
                  </a:lnTo>
                  <a:lnTo>
                    <a:pt x="425" y="1170"/>
                  </a:lnTo>
                  <a:lnTo>
                    <a:pt x="425" y="1170"/>
                  </a:lnTo>
                  <a:lnTo>
                    <a:pt x="422" y="1170"/>
                  </a:lnTo>
                  <a:lnTo>
                    <a:pt x="422" y="1170"/>
                  </a:lnTo>
                  <a:lnTo>
                    <a:pt x="419" y="1170"/>
                  </a:lnTo>
                  <a:lnTo>
                    <a:pt x="419" y="1168"/>
                  </a:lnTo>
                  <a:lnTo>
                    <a:pt x="417" y="1168"/>
                  </a:lnTo>
                  <a:lnTo>
                    <a:pt x="414" y="1168"/>
                  </a:lnTo>
                  <a:lnTo>
                    <a:pt x="411" y="1165"/>
                  </a:lnTo>
                  <a:lnTo>
                    <a:pt x="411" y="1165"/>
                  </a:lnTo>
                  <a:lnTo>
                    <a:pt x="409" y="1162"/>
                  </a:lnTo>
                  <a:lnTo>
                    <a:pt x="409" y="1162"/>
                  </a:lnTo>
                  <a:lnTo>
                    <a:pt x="406" y="1162"/>
                  </a:lnTo>
                  <a:lnTo>
                    <a:pt x="403" y="1162"/>
                  </a:lnTo>
                  <a:lnTo>
                    <a:pt x="401" y="1162"/>
                  </a:lnTo>
                  <a:lnTo>
                    <a:pt x="393" y="1162"/>
                  </a:lnTo>
                  <a:lnTo>
                    <a:pt x="393" y="1165"/>
                  </a:lnTo>
                  <a:lnTo>
                    <a:pt x="387" y="1165"/>
                  </a:lnTo>
                  <a:lnTo>
                    <a:pt x="387" y="1165"/>
                  </a:lnTo>
                  <a:lnTo>
                    <a:pt x="387" y="1168"/>
                  </a:lnTo>
                  <a:lnTo>
                    <a:pt x="385" y="1168"/>
                  </a:lnTo>
                  <a:lnTo>
                    <a:pt x="385" y="1165"/>
                  </a:lnTo>
                  <a:lnTo>
                    <a:pt x="382" y="1162"/>
                  </a:lnTo>
                  <a:lnTo>
                    <a:pt x="382" y="1162"/>
                  </a:lnTo>
                  <a:lnTo>
                    <a:pt x="379" y="1160"/>
                  </a:lnTo>
                  <a:lnTo>
                    <a:pt x="377" y="1157"/>
                  </a:lnTo>
                  <a:lnTo>
                    <a:pt x="379" y="1157"/>
                  </a:lnTo>
                  <a:lnTo>
                    <a:pt x="377" y="1154"/>
                  </a:lnTo>
                  <a:lnTo>
                    <a:pt x="371" y="1160"/>
                  </a:lnTo>
                  <a:lnTo>
                    <a:pt x="371" y="1160"/>
                  </a:lnTo>
                  <a:lnTo>
                    <a:pt x="371" y="1162"/>
                  </a:lnTo>
                  <a:lnTo>
                    <a:pt x="371" y="1165"/>
                  </a:lnTo>
                  <a:lnTo>
                    <a:pt x="369" y="1168"/>
                  </a:lnTo>
                  <a:lnTo>
                    <a:pt x="369" y="1170"/>
                  </a:lnTo>
                  <a:lnTo>
                    <a:pt x="366" y="1170"/>
                  </a:lnTo>
                  <a:lnTo>
                    <a:pt x="363" y="1170"/>
                  </a:lnTo>
                  <a:lnTo>
                    <a:pt x="358" y="1170"/>
                  </a:lnTo>
                  <a:lnTo>
                    <a:pt x="358" y="1168"/>
                  </a:lnTo>
                  <a:lnTo>
                    <a:pt x="353" y="1165"/>
                  </a:lnTo>
                  <a:lnTo>
                    <a:pt x="350" y="1165"/>
                  </a:lnTo>
                  <a:lnTo>
                    <a:pt x="347" y="1168"/>
                  </a:lnTo>
                  <a:lnTo>
                    <a:pt x="345" y="1168"/>
                  </a:lnTo>
                  <a:lnTo>
                    <a:pt x="342" y="1165"/>
                  </a:lnTo>
                  <a:lnTo>
                    <a:pt x="339" y="1165"/>
                  </a:lnTo>
                  <a:lnTo>
                    <a:pt x="337" y="1165"/>
                  </a:lnTo>
                  <a:lnTo>
                    <a:pt x="337" y="1165"/>
                  </a:lnTo>
                  <a:lnTo>
                    <a:pt x="334" y="1168"/>
                  </a:lnTo>
                  <a:lnTo>
                    <a:pt x="334" y="1165"/>
                  </a:lnTo>
                  <a:lnTo>
                    <a:pt x="331" y="1165"/>
                  </a:lnTo>
                  <a:lnTo>
                    <a:pt x="331" y="1165"/>
                  </a:lnTo>
                  <a:lnTo>
                    <a:pt x="329" y="1165"/>
                  </a:lnTo>
                  <a:lnTo>
                    <a:pt x="329" y="1168"/>
                  </a:lnTo>
                  <a:lnTo>
                    <a:pt x="326" y="1168"/>
                  </a:lnTo>
                  <a:lnTo>
                    <a:pt x="326" y="1168"/>
                  </a:lnTo>
                  <a:lnTo>
                    <a:pt x="326" y="1162"/>
                  </a:lnTo>
                  <a:lnTo>
                    <a:pt x="320" y="1162"/>
                  </a:lnTo>
                  <a:lnTo>
                    <a:pt x="318" y="1168"/>
                  </a:lnTo>
                  <a:lnTo>
                    <a:pt x="312" y="1170"/>
                  </a:lnTo>
                  <a:lnTo>
                    <a:pt x="302" y="1170"/>
                  </a:lnTo>
                  <a:lnTo>
                    <a:pt x="278" y="1136"/>
                  </a:lnTo>
                  <a:lnTo>
                    <a:pt x="270" y="1082"/>
                  </a:lnTo>
                  <a:lnTo>
                    <a:pt x="254" y="1085"/>
                  </a:lnTo>
                  <a:lnTo>
                    <a:pt x="240" y="1085"/>
                  </a:lnTo>
                  <a:lnTo>
                    <a:pt x="238" y="1088"/>
                  </a:lnTo>
                  <a:lnTo>
                    <a:pt x="238" y="1088"/>
                  </a:lnTo>
                  <a:lnTo>
                    <a:pt x="235" y="1090"/>
                  </a:lnTo>
                  <a:lnTo>
                    <a:pt x="235" y="1093"/>
                  </a:lnTo>
                  <a:lnTo>
                    <a:pt x="235" y="1093"/>
                  </a:lnTo>
                  <a:lnTo>
                    <a:pt x="235" y="1096"/>
                  </a:lnTo>
                  <a:lnTo>
                    <a:pt x="235" y="1098"/>
                  </a:lnTo>
                  <a:lnTo>
                    <a:pt x="232" y="1104"/>
                  </a:lnTo>
                  <a:lnTo>
                    <a:pt x="232" y="1104"/>
                  </a:lnTo>
                  <a:lnTo>
                    <a:pt x="230" y="1101"/>
                  </a:lnTo>
                  <a:lnTo>
                    <a:pt x="230" y="1104"/>
                  </a:lnTo>
                  <a:lnTo>
                    <a:pt x="227" y="1104"/>
                  </a:lnTo>
                  <a:lnTo>
                    <a:pt x="227" y="1104"/>
                  </a:lnTo>
                  <a:lnTo>
                    <a:pt x="224" y="1106"/>
                  </a:lnTo>
                  <a:lnTo>
                    <a:pt x="224" y="1109"/>
                  </a:lnTo>
                  <a:lnTo>
                    <a:pt x="224" y="1109"/>
                  </a:lnTo>
                  <a:lnTo>
                    <a:pt x="222" y="1112"/>
                  </a:lnTo>
                  <a:lnTo>
                    <a:pt x="222" y="1112"/>
                  </a:lnTo>
                  <a:lnTo>
                    <a:pt x="222" y="1112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16" y="1117"/>
                  </a:lnTo>
                  <a:lnTo>
                    <a:pt x="214" y="1117"/>
                  </a:lnTo>
                  <a:lnTo>
                    <a:pt x="214" y="1120"/>
                  </a:lnTo>
                  <a:lnTo>
                    <a:pt x="211" y="1122"/>
                  </a:lnTo>
                  <a:lnTo>
                    <a:pt x="211" y="1122"/>
                  </a:lnTo>
                  <a:lnTo>
                    <a:pt x="208" y="1122"/>
                  </a:lnTo>
                  <a:lnTo>
                    <a:pt x="211" y="1125"/>
                  </a:lnTo>
                  <a:lnTo>
                    <a:pt x="211" y="1125"/>
                  </a:lnTo>
                  <a:lnTo>
                    <a:pt x="214" y="1128"/>
                  </a:lnTo>
                  <a:lnTo>
                    <a:pt x="214" y="1128"/>
                  </a:lnTo>
                  <a:lnTo>
                    <a:pt x="214" y="1128"/>
                  </a:lnTo>
                  <a:lnTo>
                    <a:pt x="216" y="1128"/>
                  </a:lnTo>
                  <a:lnTo>
                    <a:pt x="216" y="1128"/>
                  </a:lnTo>
                  <a:lnTo>
                    <a:pt x="219" y="1130"/>
                  </a:lnTo>
                  <a:lnTo>
                    <a:pt x="219" y="1130"/>
                  </a:lnTo>
                  <a:lnTo>
                    <a:pt x="216" y="1133"/>
                  </a:lnTo>
                  <a:lnTo>
                    <a:pt x="216" y="1133"/>
                  </a:lnTo>
                  <a:lnTo>
                    <a:pt x="216" y="1136"/>
                  </a:lnTo>
                  <a:lnTo>
                    <a:pt x="214" y="1138"/>
                  </a:lnTo>
                  <a:lnTo>
                    <a:pt x="214" y="1138"/>
                  </a:lnTo>
                  <a:lnTo>
                    <a:pt x="211" y="1136"/>
                  </a:lnTo>
                  <a:lnTo>
                    <a:pt x="211" y="1136"/>
                  </a:lnTo>
                  <a:lnTo>
                    <a:pt x="211" y="1138"/>
                  </a:lnTo>
                  <a:lnTo>
                    <a:pt x="211" y="1138"/>
                  </a:lnTo>
                  <a:lnTo>
                    <a:pt x="211" y="1138"/>
                  </a:lnTo>
                  <a:lnTo>
                    <a:pt x="208" y="1141"/>
                  </a:lnTo>
                  <a:lnTo>
                    <a:pt x="206" y="1141"/>
                  </a:lnTo>
                  <a:lnTo>
                    <a:pt x="203" y="1141"/>
                  </a:lnTo>
                  <a:lnTo>
                    <a:pt x="206" y="1144"/>
                  </a:lnTo>
                  <a:lnTo>
                    <a:pt x="203" y="1146"/>
                  </a:lnTo>
                  <a:lnTo>
                    <a:pt x="203" y="1146"/>
                  </a:lnTo>
                  <a:lnTo>
                    <a:pt x="200" y="1149"/>
                  </a:lnTo>
                  <a:lnTo>
                    <a:pt x="203" y="1149"/>
                  </a:lnTo>
                  <a:lnTo>
                    <a:pt x="203" y="1152"/>
                  </a:lnTo>
                  <a:lnTo>
                    <a:pt x="203" y="1152"/>
                  </a:lnTo>
                  <a:lnTo>
                    <a:pt x="200" y="1152"/>
                  </a:lnTo>
                  <a:lnTo>
                    <a:pt x="200" y="1152"/>
                  </a:lnTo>
                  <a:lnTo>
                    <a:pt x="198" y="1154"/>
                  </a:lnTo>
                  <a:lnTo>
                    <a:pt x="198" y="1154"/>
                  </a:lnTo>
                  <a:lnTo>
                    <a:pt x="198" y="1157"/>
                  </a:lnTo>
                  <a:lnTo>
                    <a:pt x="198" y="1157"/>
                  </a:lnTo>
                  <a:lnTo>
                    <a:pt x="200" y="1157"/>
                  </a:lnTo>
                  <a:lnTo>
                    <a:pt x="203" y="1160"/>
                  </a:lnTo>
                  <a:lnTo>
                    <a:pt x="203" y="1160"/>
                  </a:lnTo>
                  <a:lnTo>
                    <a:pt x="206" y="1160"/>
                  </a:lnTo>
                  <a:lnTo>
                    <a:pt x="206" y="1160"/>
                  </a:lnTo>
                  <a:lnTo>
                    <a:pt x="208" y="1160"/>
                  </a:lnTo>
                  <a:lnTo>
                    <a:pt x="208" y="1160"/>
                  </a:lnTo>
                  <a:lnTo>
                    <a:pt x="206" y="1160"/>
                  </a:lnTo>
                  <a:lnTo>
                    <a:pt x="206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3" y="1162"/>
                  </a:lnTo>
                  <a:lnTo>
                    <a:pt x="200" y="1162"/>
                  </a:lnTo>
                  <a:lnTo>
                    <a:pt x="200" y="1162"/>
                  </a:lnTo>
                  <a:lnTo>
                    <a:pt x="200" y="1165"/>
                  </a:lnTo>
                  <a:lnTo>
                    <a:pt x="200" y="1165"/>
                  </a:lnTo>
                  <a:lnTo>
                    <a:pt x="200" y="1165"/>
                  </a:lnTo>
                  <a:lnTo>
                    <a:pt x="198" y="1168"/>
                  </a:lnTo>
                  <a:lnTo>
                    <a:pt x="198" y="1168"/>
                  </a:lnTo>
                  <a:lnTo>
                    <a:pt x="195" y="1168"/>
                  </a:lnTo>
                  <a:lnTo>
                    <a:pt x="195" y="1170"/>
                  </a:lnTo>
                  <a:lnTo>
                    <a:pt x="192" y="1170"/>
                  </a:lnTo>
                  <a:lnTo>
                    <a:pt x="192" y="1173"/>
                  </a:lnTo>
                  <a:lnTo>
                    <a:pt x="190" y="1170"/>
                  </a:lnTo>
                  <a:lnTo>
                    <a:pt x="190" y="1170"/>
                  </a:lnTo>
                  <a:lnTo>
                    <a:pt x="187" y="1170"/>
                  </a:lnTo>
                  <a:lnTo>
                    <a:pt x="187" y="1168"/>
                  </a:lnTo>
                  <a:lnTo>
                    <a:pt x="187" y="1168"/>
                  </a:lnTo>
                  <a:lnTo>
                    <a:pt x="187" y="1165"/>
                  </a:lnTo>
                  <a:lnTo>
                    <a:pt x="187" y="1162"/>
                  </a:lnTo>
                  <a:lnTo>
                    <a:pt x="187" y="1162"/>
                  </a:lnTo>
                  <a:lnTo>
                    <a:pt x="187" y="1160"/>
                  </a:lnTo>
                  <a:lnTo>
                    <a:pt x="184" y="1160"/>
                  </a:lnTo>
                  <a:lnTo>
                    <a:pt x="184" y="1160"/>
                  </a:lnTo>
                  <a:lnTo>
                    <a:pt x="182" y="1157"/>
                  </a:lnTo>
                  <a:lnTo>
                    <a:pt x="182" y="1154"/>
                  </a:lnTo>
                  <a:lnTo>
                    <a:pt x="179" y="1157"/>
                  </a:lnTo>
                  <a:lnTo>
                    <a:pt x="179" y="1157"/>
                  </a:lnTo>
                  <a:lnTo>
                    <a:pt x="176" y="1154"/>
                  </a:lnTo>
                  <a:lnTo>
                    <a:pt x="176" y="1154"/>
                  </a:lnTo>
                  <a:lnTo>
                    <a:pt x="176" y="1152"/>
                  </a:lnTo>
                  <a:lnTo>
                    <a:pt x="176" y="1149"/>
                  </a:lnTo>
                  <a:lnTo>
                    <a:pt x="176" y="1146"/>
                  </a:lnTo>
                  <a:lnTo>
                    <a:pt x="176" y="1146"/>
                  </a:lnTo>
                  <a:lnTo>
                    <a:pt x="176" y="1146"/>
                  </a:lnTo>
                  <a:lnTo>
                    <a:pt x="179" y="1144"/>
                  </a:lnTo>
                  <a:lnTo>
                    <a:pt x="179" y="1144"/>
                  </a:lnTo>
                  <a:lnTo>
                    <a:pt x="176" y="1144"/>
                  </a:lnTo>
                  <a:lnTo>
                    <a:pt x="179" y="1141"/>
                  </a:lnTo>
                  <a:lnTo>
                    <a:pt x="176" y="1141"/>
                  </a:lnTo>
                  <a:lnTo>
                    <a:pt x="176" y="1141"/>
                  </a:lnTo>
                  <a:lnTo>
                    <a:pt x="174" y="1138"/>
                  </a:lnTo>
                  <a:lnTo>
                    <a:pt x="171" y="1138"/>
                  </a:lnTo>
                  <a:lnTo>
                    <a:pt x="171" y="1136"/>
                  </a:lnTo>
                  <a:lnTo>
                    <a:pt x="171" y="1133"/>
                  </a:lnTo>
                  <a:lnTo>
                    <a:pt x="171" y="1130"/>
                  </a:lnTo>
                  <a:lnTo>
                    <a:pt x="171" y="1130"/>
                  </a:lnTo>
                  <a:lnTo>
                    <a:pt x="168" y="1128"/>
                  </a:lnTo>
                  <a:lnTo>
                    <a:pt x="168" y="1128"/>
                  </a:lnTo>
                  <a:lnTo>
                    <a:pt x="168" y="1125"/>
                  </a:lnTo>
                  <a:lnTo>
                    <a:pt x="166" y="1125"/>
                  </a:lnTo>
                  <a:lnTo>
                    <a:pt x="163" y="1122"/>
                  </a:lnTo>
                  <a:lnTo>
                    <a:pt x="163" y="1125"/>
                  </a:lnTo>
                  <a:lnTo>
                    <a:pt x="160" y="1125"/>
                  </a:lnTo>
                  <a:lnTo>
                    <a:pt x="160" y="1122"/>
                  </a:lnTo>
                  <a:lnTo>
                    <a:pt x="158" y="1122"/>
                  </a:lnTo>
                  <a:lnTo>
                    <a:pt x="155" y="1122"/>
                  </a:lnTo>
                  <a:lnTo>
                    <a:pt x="152" y="1122"/>
                  </a:lnTo>
                  <a:lnTo>
                    <a:pt x="152" y="1122"/>
                  </a:lnTo>
                  <a:lnTo>
                    <a:pt x="155" y="1120"/>
                  </a:lnTo>
                  <a:lnTo>
                    <a:pt x="155" y="1120"/>
                  </a:lnTo>
                  <a:lnTo>
                    <a:pt x="155" y="1114"/>
                  </a:lnTo>
                  <a:lnTo>
                    <a:pt x="155" y="1114"/>
                  </a:lnTo>
                  <a:lnTo>
                    <a:pt x="155" y="1114"/>
                  </a:lnTo>
                  <a:lnTo>
                    <a:pt x="155" y="1109"/>
                  </a:lnTo>
                  <a:lnTo>
                    <a:pt x="152" y="1106"/>
                  </a:lnTo>
                  <a:lnTo>
                    <a:pt x="152" y="1106"/>
                  </a:lnTo>
                  <a:lnTo>
                    <a:pt x="152" y="1104"/>
                  </a:lnTo>
                  <a:lnTo>
                    <a:pt x="150" y="1101"/>
                  </a:lnTo>
                  <a:lnTo>
                    <a:pt x="150" y="1101"/>
                  </a:lnTo>
                  <a:lnTo>
                    <a:pt x="147" y="1101"/>
                  </a:lnTo>
                  <a:lnTo>
                    <a:pt x="147" y="1098"/>
                  </a:lnTo>
                  <a:lnTo>
                    <a:pt x="144" y="1098"/>
                  </a:lnTo>
                  <a:lnTo>
                    <a:pt x="144" y="1096"/>
                  </a:lnTo>
                  <a:lnTo>
                    <a:pt x="144" y="1093"/>
                  </a:lnTo>
                  <a:lnTo>
                    <a:pt x="147" y="1090"/>
                  </a:lnTo>
                  <a:lnTo>
                    <a:pt x="147" y="1090"/>
                  </a:lnTo>
                  <a:lnTo>
                    <a:pt x="144" y="1088"/>
                  </a:lnTo>
                  <a:lnTo>
                    <a:pt x="144" y="1090"/>
                  </a:lnTo>
                  <a:lnTo>
                    <a:pt x="142" y="1090"/>
                  </a:lnTo>
                  <a:lnTo>
                    <a:pt x="142" y="1090"/>
                  </a:lnTo>
                  <a:lnTo>
                    <a:pt x="142" y="1088"/>
                  </a:lnTo>
                  <a:lnTo>
                    <a:pt x="142" y="1085"/>
                  </a:lnTo>
                  <a:lnTo>
                    <a:pt x="142" y="1082"/>
                  </a:lnTo>
                  <a:lnTo>
                    <a:pt x="142" y="1082"/>
                  </a:lnTo>
                  <a:lnTo>
                    <a:pt x="139" y="1082"/>
                  </a:lnTo>
                  <a:lnTo>
                    <a:pt x="139" y="1082"/>
                  </a:lnTo>
                  <a:lnTo>
                    <a:pt x="136" y="1082"/>
                  </a:lnTo>
                  <a:lnTo>
                    <a:pt x="136" y="1085"/>
                  </a:lnTo>
                  <a:lnTo>
                    <a:pt x="136" y="1082"/>
                  </a:lnTo>
                  <a:lnTo>
                    <a:pt x="136" y="1082"/>
                  </a:lnTo>
                  <a:lnTo>
                    <a:pt x="134" y="1082"/>
                  </a:lnTo>
                  <a:lnTo>
                    <a:pt x="134" y="1082"/>
                  </a:lnTo>
                  <a:lnTo>
                    <a:pt x="134" y="1082"/>
                  </a:lnTo>
                  <a:lnTo>
                    <a:pt x="131" y="1082"/>
                  </a:lnTo>
                  <a:lnTo>
                    <a:pt x="134" y="1079"/>
                  </a:lnTo>
                  <a:lnTo>
                    <a:pt x="134" y="1077"/>
                  </a:lnTo>
                  <a:lnTo>
                    <a:pt x="134" y="1077"/>
                  </a:lnTo>
                  <a:lnTo>
                    <a:pt x="134" y="1077"/>
                  </a:lnTo>
                  <a:lnTo>
                    <a:pt x="136" y="1077"/>
                  </a:lnTo>
                  <a:lnTo>
                    <a:pt x="136" y="1074"/>
                  </a:lnTo>
                  <a:lnTo>
                    <a:pt x="136" y="1074"/>
                  </a:lnTo>
                  <a:lnTo>
                    <a:pt x="139" y="1074"/>
                  </a:lnTo>
                  <a:lnTo>
                    <a:pt x="139" y="1074"/>
                  </a:lnTo>
                  <a:lnTo>
                    <a:pt x="142" y="1074"/>
                  </a:lnTo>
                  <a:lnTo>
                    <a:pt x="142" y="1071"/>
                  </a:lnTo>
                  <a:lnTo>
                    <a:pt x="144" y="1069"/>
                  </a:lnTo>
                  <a:lnTo>
                    <a:pt x="144" y="1069"/>
                  </a:lnTo>
                  <a:lnTo>
                    <a:pt x="144" y="1066"/>
                  </a:lnTo>
                  <a:lnTo>
                    <a:pt x="142" y="1063"/>
                  </a:lnTo>
                  <a:lnTo>
                    <a:pt x="142" y="1061"/>
                  </a:lnTo>
                  <a:lnTo>
                    <a:pt x="139" y="1061"/>
                  </a:lnTo>
                  <a:lnTo>
                    <a:pt x="139" y="1061"/>
                  </a:lnTo>
                  <a:lnTo>
                    <a:pt x="136" y="1058"/>
                  </a:lnTo>
                  <a:lnTo>
                    <a:pt x="136" y="1058"/>
                  </a:lnTo>
                  <a:lnTo>
                    <a:pt x="136" y="1058"/>
                  </a:lnTo>
                  <a:lnTo>
                    <a:pt x="128" y="1053"/>
                  </a:lnTo>
                  <a:lnTo>
                    <a:pt x="123" y="1050"/>
                  </a:lnTo>
                  <a:lnTo>
                    <a:pt x="120" y="1047"/>
                  </a:lnTo>
                  <a:lnTo>
                    <a:pt x="120" y="1047"/>
                  </a:lnTo>
                  <a:lnTo>
                    <a:pt x="120" y="1047"/>
                  </a:lnTo>
                  <a:lnTo>
                    <a:pt x="120" y="1045"/>
                  </a:lnTo>
                  <a:lnTo>
                    <a:pt x="120" y="1039"/>
                  </a:lnTo>
                  <a:lnTo>
                    <a:pt x="120" y="1037"/>
                  </a:lnTo>
                  <a:lnTo>
                    <a:pt x="123" y="1037"/>
                  </a:lnTo>
                  <a:lnTo>
                    <a:pt x="123" y="1034"/>
                  </a:lnTo>
                  <a:lnTo>
                    <a:pt x="123" y="1029"/>
                  </a:lnTo>
                  <a:lnTo>
                    <a:pt x="123" y="1023"/>
                  </a:lnTo>
                  <a:lnTo>
                    <a:pt x="123" y="1021"/>
                  </a:lnTo>
                  <a:lnTo>
                    <a:pt x="123" y="1015"/>
                  </a:lnTo>
                  <a:lnTo>
                    <a:pt x="123" y="1013"/>
                  </a:lnTo>
                  <a:lnTo>
                    <a:pt x="123" y="1013"/>
                  </a:lnTo>
                  <a:lnTo>
                    <a:pt x="126" y="1013"/>
                  </a:lnTo>
                  <a:lnTo>
                    <a:pt x="128" y="1013"/>
                  </a:lnTo>
                  <a:lnTo>
                    <a:pt x="131" y="1013"/>
                  </a:lnTo>
                  <a:lnTo>
                    <a:pt x="134" y="1010"/>
                  </a:lnTo>
                  <a:lnTo>
                    <a:pt x="134" y="1007"/>
                  </a:lnTo>
                  <a:lnTo>
                    <a:pt x="134" y="1005"/>
                  </a:lnTo>
                  <a:lnTo>
                    <a:pt x="134" y="999"/>
                  </a:lnTo>
                  <a:lnTo>
                    <a:pt x="131" y="997"/>
                  </a:lnTo>
                  <a:lnTo>
                    <a:pt x="128" y="994"/>
                  </a:lnTo>
                  <a:lnTo>
                    <a:pt x="123" y="991"/>
                  </a:lnTo>
                  <a:lnTo>
                    <a:pt x="123" y="991"/>
                  </a:lnTo>
                  <a:lnTo>
                    <a:pt x="123" y="989"/>
                  </a:lnTo>
                  <a:lnTo>
                    <a:pt x="123" y="983"/>
                  </a:lnTo>
                  <a:lnTo>
                    <a:pt x="123" y="981"/>
                  </a:lnTo>
                  <a:lnTo>
                    <a:pt x="123" y="975"/>
                  </a:lnTo>
                  <a:lnTo>
                    <a:pt x="123" y="973"/>
                  </a:lnTo>
                  <a:lnTo>
                    <a:pt x="120" y="970"/>
                  </a:lnTo>
                  <a:lnTo>
                    <a:pt x="118" y="967"/>
                  </a:lnTo>
                  <a:lnTo>
                    <a:pt x="118" y="965"/>
                  </a:lnTo>
                  <a:lnTo>
                    <a:pt x="118" y="965"/>
                  </a:lnTo>
                  <a:lnTo>
                    <a:pt x="118" y="962"/>
                  </a:lnTo>
                  <a:lnTo>
                    <a:pt x="120" y="962"/>
                  </a:lnTo>
                  <a:lnTo>
                    <a:pt x="123" y="962"/>
                  </a:lnTo>
                  <a:lnTo>
                    <a:pt x="123" y="959"/>
                  </a:lnTo>
                  <a:lnTo>
                    <a:pt x="126" y="959"/>
                  </a:lnTo>
                  <a:lnTo>
                    <a:pt x="123" y="957"/>
                  </a:lnTo>
                  <a:lnTo>
                    <a:pt x="123" y="957"/>
                  </a:lnTo>
                  <a:lnTo>
                    <a:pt x="123" y="954"/>
                  </a:lnTo>
                  <a:lnTo>
                    <a:pt x="126" y="954"/>
                  </a:lnTo>
                  <a:lnTo>
                    <a:pt x="123" y="951"/>
                  </a:lnTo>
                  <a:lnTo>
                    <a:pt x="120" y="951"/>
                  </a:lnTo>
                  <a:lnTo>
                    <a:pt x="118" y="951"/>
                  </a:lnTo>
                  <a:lnTo>
                    <a:pt x="115" y="951"/>
                  </a:lnTo>
                  <a:lnTo>
                    <a:pt x="112" y="951"/>
                  </a:lnTo>
                  <a:lnTo>
                    <a:pt x="110" y="951"/>
                  </a:lnTo>
                  <a:lnTo>
                    <a:pt x="107" y="949"/>
                  </a:lnTo>
                  <a:lnTo>
                    <a:pt x="104" y="949"/>
                  </a:lnTo>
                  <a:lnTo>
                    <a:pt x="102" y="946"/>
                  </a:lnTo>
                  <a:lnTo>
                    <a:pt x="99" y="946"/>
                  </a:lnTo>
                  <a:lnTo>
                    <a:pt x="102" y="943"/>
                  </a:lnTo>
                  <a:lnTo>
                    <a:pt x="102" y="941"/>
                  </a:lnTo>
                  <a:lnTo>
                    <a:pt x="102" y="941"/>
                  </a:lnTo>
                  <a:lnTo>
                    <a:pt x="104" y="938"/>
                  </a:lnTo>
                  <a:lnTo>
                    <a:pt x="107" y="935"/>
                  </a:lnTo>
                  <a:lnTo>
                    <a:pt x="107" y="933"/>
                  </a:lnTo>
                  <a:lnTo>
                    <a:pt x="110" y="930"/>
                  </a:lnTo>
                  <a:lnTo>
                    <a:pt x="110" y="930"/>
                  </a:lnTo>
                  <a:lnTo>
                    <a:pt x="107" y="927"/>
                  </a:lnTo>
                  <a:lnTo>
                    <a:pt x="107" y="924"/>
                  </a:lnTo>
                  <a:lnTo>
                    <a:pt x="104" y="922"/>
                  </a:lnTo>
                  <a:lnTo>
                    <a:pt x="104" y="919"/>
                  </a:lnTo>
                  <a:lnTo>
                    <a:pt x="102" y="919"/>
                  </a:lnTo>
                  <a:lnTo>
                    <a:pt x="99" y="919"/>
                  </a:lnTo>
                  <a:lnTo>
                    <a:pt x="96" y="919"/>
                  </a:lnTo>
                  <a:lnTo>
                    <a:pt x="96" y="919"/>
                  </a:lnTo>
                  <a:lnTo>
                    <a:pt x="96" y="922"/>
                  </a:lnTo>
                  <a:lnTo>
                    <a:pt x="96" y="927"/>
                  </a:lnTo>
                  <a:lnTo>
                    <a:pt x="94" y="930"/>
                  </a:lnTo>
                  <a:lnTo>
                    <a:pt x="96" y="930"/>
                  </a:lnTo>
                  <a:lnTo>
                    <a:pt x="96" y="933"/>
                  </a:lnTo>
                  <a:lnTo>
                    <a:pt x="96" y="935"/>
                  </a:lnTo>
                  <a:lnTo>
                    <a:pt x="94" y="935"/>
                  </a:lnTo>
                  <a:lnTo>
                    <a:pt x="91" y="938"/>
                  </a:lnTo>
                  <a:lnTo>
                    <a:pt x="88" y="938"/>
                  </a:lnTo>
                  <a:lnTo>
                    <a:pt x="86" y="938"/>
                  </a:lnTo>
                  <a:lnTo>
                    <a:pt x="86" y="938"/>
                  </a:lnTo>
                  <a:lnTo>
                    <a:pt x="83" y="938"/>
                  </a:lnTo>
                  <a:lnTo>
                    <a:pt x="86" y="935"/>
                  </a:lnTo>
                  <a:lnTo>
                    <a:pt x="86" y="935"/>
                  </a:lnTo>
                  <a:lnTo>
                    <a:pt x="86" y="935"/>
                  </a:lnTo>
                  <a:lnTo>
                    <a:pt x="83" y="933"/>
                  </a:lnTo>
                  <a:lnTo>
                    <a:pt x="83" y="933"/>
                  </a:lnTo>
                  <a:lnTo>
                    <a:pt x="80" y="935"/>
                  </a:lnTo>
                  <a:lnTo>
                    <a:pt x="77" y="935"/>
                  </a:lnTo>
                  <a:lnTo>
                    <a:pt x="77" y="935"/>
                  </a:lnTo>
                  <a:lnTo>
                    <a:pt x="75" y="938"/>
                  </a:lnTo>
                  <a:lnTo>
                    <a:pt x="75" y="938"/>
                  </a:lnTo>
                  <a:lnTo>
                    <a:pt x="72" y="938"/>
                  </a:lnTo>
                  <a:lnTo>
                    <a:pt x="69" y="938"/>
                  </a:lnTo>
                  <a:lnTo>
                    <a:pt x="67" y="938"/>
                  </a:lnTo>
                  <a:lnTo>
                    <a:pt x="67" y="938"/>
                  </a:lnTo>
                  <a:lnTo>
                    <a:pt x="67" y="935"/>
                  </a:lnTo>
                  <a:lnTo>
                    <a:pt x="64" y="935"/>
                  </a:lnTo>
                  <a:lnTo>
                    <a:pt x="64" y="933"/>
                  </a:lnTo>
                  <a:lnTo>
                    <a:pt x="61" y="933"/>
                  </a:lnTo>
                  <a:lnTo>
                    <a:pt x="61" y="930"/>
                  </a:lnTo>
                  <a:lnTo>
                    <a:pt x="61" y="927"/>
                  </a:lnTo>
                  <a:lnTo>
                    <a:pt x="59" y="927"/>
                  </a:lnTo>
                  <a:lnTo>
                    <a:pt x="59" y="927"/>
                  </a:lnTo>
                  <a:lnTo>
                    <a:pt x="56" y="927"/>
                  </a:lnTo>
                  <a:lnTo>
                    <a:pt x="53" y="924"/>
                  </a:lnTo>
                  <a:lnTo>
                    <a:pt x="53" y="927"/>
                  </a:lnTo>
                  <a:lnTo>
                    <a:pt x="53" y="924"/>
                  </a:lnTo>
                  <a:lnTo>
                    <a:pt x="51" y="924"/>
                  </a:lnTo>
                  <a:lnTo>
                    <a:pt x="51" y="924"/>
                  </a:lnTo>
                  <a:lnTo>
                    <a:pt x="48" y="922"/>
                  </a:lnTo>
                  <a:lnTo>
                    <a:pt x="45" y="922"/>
                  </a:lnTo>
                  <a:lnTo>
                    <a:pt x="45" y="922"/>
                  </a:lnTo>
                  <a:lnTo>
                    <a:pt x="43" y="922"/>
                  </a:lnTo>
                  <a:lnTo>
                    <a:pt x="43" y="919"/>
                  </a:lnTo>
                  <a:lnTo>
                    <a:pt x="43" y="919"/>
                  </a:lnTo>
                  <a:lnTo>
                    <a:pt x="40" y="919"/>
                  </a:lnTo>
                  <a:lnTo>
                    <a:pt x="37" y="919"/>
                  </a:lnTo>
                  <a:lnTo>
                    <a:pt x="37" y="919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7" y="916"/>
                  </a:lnTo>
                  <a:lnTo>
                    <a:pt x="35" y="916"/>
                  </a:lnTo>
                  <a:lnTo>
                    <a:pt x="35" y="916"/>
                  </a:lnTo>
                  <a:lnTo>
                    <a:pt x="32" y="916"/>
                  </a:lnTo>
                  <a:lnTo>
                    <a:pt x="32" y="916"/>
                  </a:lnTo>
                  <a:lnTo>
                    <a:pt x="32" y="919"/>
                  </a:lnTo>
                  <a:lnTo>
                    <a:pt x="32" y="919"/>
                  </a:lnTo>
                  <a:lnTo>
                    <a:pt x="29" y="916"/>
                  </a:lnTo>
                  <a:lnTo>
                    <a:pt x="29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6"/>
                  </a:lnTo>
                  <a:lnTo>
                    <a:pt x="27" y="914"/>
                  </a:lnTo>
                  <a:lnTo>
                    <a:pt x="27" y="914"/>
                  </a:lnTo>
                  <a:lnTo>
                    <a:pt x="24" y="911"/>
                  </a:lnTo>
                  <a:lnTo>
                    <a:pt x="27" y="908"/>
                  </a:lnTo>
                  <a:lnTo>
                    <a:pt x="27" y="908"/>
                  </a:lnTo>
                  <a:lnTo>
                    <a:pt x="24" y="908"/>
                  </a:lnTo>
                  <a:lnTo>
                    <a:pt x="21" y="908"/>
                  </a:lnTo>
                  <a:lnTo>
                    <a:pt x="21" y="906"/>
                  </a:lnTo>
                  <a:lnTo>
                    <a:pt x="21" y="906"/>
                  </a:lnTo>
                  <a:lnTo>
                    <a:pt x="21" y="903"/>
                  </a:lnTo>
                  <a:lnTo>
                    <a:pt x="21" y="903"/>
                  </a:lnTo>
                  <a:lnTo>
                    <a:pt x="21" y="900"/>
                  </a:lnTo>
                  <a:lnTo>
                    <a:pt x="19" y="900"/>
                  </a:lnTo>
                  <a:lnTo>
                    <a:pt x="19" y="900"/>
                  </a:lnTo>
                  <a:lnTo>
                    <a:pt x="21" y="898"/>
                  </a:lnTo>
                  <a:lnTo>
                    <a:pt x="21" y="898"/>
                  </a:lnTo>
                  <a:lnTo>
                    <a:pt x="21" y="895"/>
                  </a:lnTo>
                  <a:lnTo>
                    <a:pt x="21" y="892"/>
                  </a:lnTo>
                  <a:lnTo>
                    <a:pt x="21" y="892"/>
                  </a:lnTo>
                  <a:lnTo>
                    <a:pt x="21" y="890"/>
                  </a:lnTo>
                  <a:lnTo>
                    <a:pt x="21" y="887"/>
                  </a:lnTo>
                  <a:lnTo>
                    <a:pt x="19" y="887"/>
                  </a:lnTo>
                  <a:lnTo>
                    <a:pt x="19" y="887"/>
                  </a:lnTo>
                  <a:lnTo>
                    <a:pt x="16" y="884"/>
                  </a:lnTo>
                  <a:lnTo>
                    <a:pt x="19" y="884"/>
                  </a:lnTo>
                  <a:lnTo>
                    <a:pt x="19" y="884"/>
                  </a:lnTo>
                  <a:lnTo>
                    <a:pt x="19" y="882"/>
                  </a:lnTo>
                  <a:lnTo>
                    <a:pt x="19" y="882"/>
                  </a:lnTo>
                  <a:lnTo>
                    <a:pt x="19" y="882"/>
                  </a:lnTo>
                  <a:lnTo>
                    <a:pt x="16" y="882"/>
                  </a:lnTo>
                  <a:lnTo>
                    <a:pt x="16" y="882"/>
                  </a:lnTo>
                  <a:lnTo>
                    <a:pt x="16" y="882"/>
                  </a:lnTo>
                  <a:lnTo>
                    <a:pt x="13" y="882"/>
                  </a:lnTo>
                  <a:lnTo>
                    <a:pt x="13" y="879"/>
                  </a:lnTo>
                  <a:lnTo>
                    <a:pt x="13" y="879"/>
                  </a:lnTo>
                  <a:lnTo>
                    <a:pt x="11" y="876"/>
                  </a:lnTo>
                  <a:lnTo>
                    <a:pt x="11" y="876"/>
                  </a:lnTo>
                  <a:lnTo>
                    <a:pt x="8" y="876"/>
                  </a:lnTo>
                  <a:lnTo>
                    <a:pt x="5" y="876"/>
                  </a:lnTo>
                  <a:lnTo>
                    <a:pt x="5" y="874"/>
                  </a:lnTo>
                  <a:lnTo>
                    <a:pt x="5" y="874"/>
                  </a:lnTo>
                  <a:lnTo>
                    <a:pt x="3" y="874"/>
                  </a:lnTo>
                  <a:lnTo>
                    <a:pt x="3" y="874"/>
                  </a:lnTo>
                  <a:lnTo>
                    <a:pt x="5" y="874"/>
                  </a:lnTo>
                  <a:lnTo>
                    <a:pt x="8" y="871"/>
                  </a:lnTo>
                  <a:lnTo>
                    <a:pt x="8" y="871"/>
                  </a:lnTo>
                  <a:lnTo>
                    <a:pt x="8" y="868"/>
                  </a:lnTo>
                  <a:lnTo>
                    <a:pt x="5" y="868"/>
                  </a:lnTo>
                  <a:lnTo>
                    <a:pt x="5" y="868"/>
                  </a:lnTo>
                  <a:lnTo>
                    <a:pt x="8" y="866"/>
                  </a:lnTo>
                  <a:lnTo>
                    <a:pt x="8" y="866"/>
                  </a:lnTo>
                  <a:lnTo>
                    <a:pt x="5" y="863"/>
                  </a:lnTo>
                  <a:lnTo>
                    <a:pt x="3" y="863"/>
                  </a:lnTo>
                  <a:lnTo>
                    <a:pt x="3" y="863"/>
                  </a:lnTo>
                  <a:lnTo>
                    <a:pt x="3" y="860"/>
                  </a:lnTo>
                  <a:lnTo>
                    <a:pt x="5" y="860"/>
                  </a:lnTo>
                  <a:lnTo>
                    <a:pt x="5" y="858"/>
                  </a:lnTo>
                  <a:lnTo>
                    <a:pt x="3" y="858"/>
                  </a:lnTo>
                  <a:lnTo>
                    <a:pt x="3" y="858"/>
                  </a:lnTo>
                  <a:lnTo>
                    <a:pt x="0" y="855"/>
                  </a:lnTo>
                  <a:lnTo>
                    <a:pt x="0" y="855"/>
                  </a:lnTo>
                  <a:lnTo>
                    <a:pt x="0" y="852"/>
                  </a:lnTo>
                  <a:lnTo>
                    <a:pt x="3" y="852"/>
                  </a:lnTo>
                  <a:lnTo>
                    <a:pt x="3" y="852"/>
                  </a:lnTo>
                  <a:lnTo>
                    <a:pt x="5" y="852"/>
                  </a:lnTo>
                  <a:lnTo>
                    <a:pt x="5" y="852"/>
                  </a:lnTo>
                  <a:lnTo>
                    <a:pt x="8" y="850"/>
                  </a:lnTo>
                  <a:lnTo>
                    <a:pt x="8" y="850"/>
                  </a:lnTo>
                  <a:lnTo>
                    <a:pt x="11" y="850"/>
                  </a:lnTo>
                  <a:lnTo>
                    <a:pt x="11" y="850"/>
                  </a:lnTo>
                  <a:lnTo>
                    <a:pt x="13" y="847"/>
                  </a:lnTo>
                  <a:lnTo>
                    <a:pt x="13" y="847"/>
                  </a:lnTo>
                  <a:lnTo>
                    <a:pt x="13" y="847"/>
                  </a:lnTo>
                  <a:lnTo>
                    <a:pt x="13" y="844"/>
                  </a:lnTo>
                  <a:lnTo>
                    <a:pt x="13" y="844"/>
                  </a:lnTo>
                  <a:lnTo>
                    <a:pt x="13" y="842"/>
                  </a:lnTo>
                  <a:lnTo>
                    <a:pt x="13" y="842"/>
                  </a:lnTo>
                  <a:lnTo>
                    <a:pt x="13" y="842"/>
                  </a:lnTo>
                  <a:lnTo>
                    <a:pt x="13" y="839"/>
                  </a:lnTo>
                  <a:lnTo>
                    <a:pt x="16" y="842"/>
                  </a:lnTo>
                  <a:lnTo>
                    <a:pt x="16" y="842"/>
                  </a:lnTo>
                  <a:lnTo>
                    <a:pt x="16" y="839"/>
                  </a:lnTo>
                  <a:lnTo>
                    <a:pt x="16" y="839"/>
                  </a:lnTo>
                  <a:lnTo>
                    <a:pt x="16" y="836"/>
                  </a:lnTo>
                  <a:lnTo>
                    <a:pt x="19" y="836"/>
                  </a:lnTo>
                  <a:lnTo>
                    <a:pt x="19" y="839"/>
                  </a:lnTo>
                  <a:lnTo>
                    <a:pt x="21" y="839"/>
                  </a:lnTo>
                  <a:lnTo>
                    <a:pt x="21" y="839"/>
                  </a:lnTo>
                  <a:lnTo>
                    <a:pt x="21" y="839"/>
                  </a:lnTo>
                  <a:lnTo>
                    <a:pt x="21" y="836"/>
                  </a:lnTo>
                  <a:lnTo>
                    <a:pt x="21" y="834"/>
                  </a:lnTo>
                  <a:lnTo>
                    <a:pt x="21" y="834"/>
                  </a:lnTo>
                  <a:lnTo>
                    <a:pt x="24" y="831"/>
                  </a:lnTo>
                  <a:lnTo>
                    <a:pt x="21" y="828"/>
                  </a:lnTo>
                  <a:lnTo>
                    <a:pt x="21" y="828"/>
                  </a:lnTo>
                  <a:lnTo>
                    <a:pt x="24" y="826"/>
                  </a:lnTo>
                  <a:lnTo>
                    <a:pt x="24" y="826"/>
                  </a:lnTo>
                  <a:lnTo>
                    <a:pt x="27" y="828"/>
                  </a:lnTo>
                  <a:lnTo>
                    <a:pt x="27" y="828"/>
                  </a:lnTo>
                  <a:lnTo>
                    <a:pt x="27" y="828"/>
                  </a:lnTo>
                  <a:lnTo>
                    <a:pt x="24" y="831"/>
                  </a:lnTo>
                  <a:lnTo>
                    <a:pt x="27" y="831"/>
                  </a:lnTo>
                  <a:lnTo>
                    <a:pt x="27" y="831"/>
                  </a:lnTo>
                  <a:lnTo>
                    <a:pt x="27" y="834"/>
                  </a:lnTo>
                  <a:lnTo>
                    <a:pt x="29" y="834"/>
                  </a:lnTo>
                  <a:lnTo>
                    <a:pt x="29" y="831"/>
                  </a:lnTo>
                  <a:lnTo>
                    <a:pt x="32" y="831"/>
                  </a:lnTo>
                  <a:lnTo>
                    <a:pt x="32" y="828"/>
                  </a:lnTo>
                  <a:lnTo>
                    <a:pt x="32" y="828"/>
                  </a:lnTo>
                  <a:lnTo>
                    <a:pt x="35" y="826"/>
                  </a:lnTo>
                  <a:lnTo>
                    <a:pt x="35" y="823"/>
                  </a:lnTo>
                  <a:lnTo>
                    <a:pt x="37" y="820"/>
                  </a:lnTo>
                  <a:lnTo>
                    <a:pt x="37" y="820"/>
                  </a:lnTo>
                  <a:lnTo>
                    <a:pt x="40" y="820"/>
                  </a:lnTo>
                  <a:lnTo>
                    <a:pt x="43" y="820"/>
                  </a:lnTo>
                  <a:lnTo>
                    <a:pt x="40" y="818"/>
                  </a:lnTo>
                  <a:lnTo>
                    <a:pt x="40" y="818"/>
                  </a:lnTo>
                  <a:lnTo>
                    <a:pt x="40" y="815"/>
                  </a:lnTo>
                  <a:lnTo>
                    <a:pt x="43" y="815"/>
                  </a:lnTo>
                  <a:lnTo>
                    <a:pt x="43" y="815"/>
                  </a:lnTo>
                  <a:lnTo>
                    <a:pt x="43" y="818"/>
                  </a:lnTo>
                  <a:lnTo>
                    <a:pt x="45" y="818"/>
                  </a:lnTo>
                  <a:lnTo>
                    <a:pt x="48" y="818"/>
                  </a:lnTo>
                  <a:lnTo>
                    <a:pt x="48" y="818"/>
                  </a:lnTo>
                  <a:lnTo>
                    <a:pt x="48" y="815"/>
                  </a:lnTo>
                  <a:lnTo>
                    <a:pt x="51" y="812"/>
                  </a:lnTo>
                  <a:lnTo>
                    <a:pt x="51" y="812"/>
                  </a:lnTo>
                  <a:lnTo>
                    <a:pt x="53" y="812"/>
                  </a:lnTo>
                  <a:lnTo>
                    <a:pt x="53" y="812"/>
                  </a:lnTo>
                  <a:lnTo>
                    <a:pt x="56" y="810"/>
                  </a:lnTo>
                  <a:lnTo>
                    <a:pt x="56" y="810"/>
                  </a:lnTo>
                  <a:lnTo>
                    <a:pt x="56" y="807"/>
                  </a:lnTo>
                  <a:lnTo>
                    <a:pt x="56" y="807"/>
                  </a:lnTo>
                  <a:lnTo>
                    <a:pt x="56" y="807"/>
                  </a:lnTo>
                  <a:lnTo>
                    <a:pt x="59" y="807"/>
                  </a:lnTo>
                  <a:lnTo>
                    <a:pt x="59" y="807"/>
                  </a:lnTo>
                  <a:lnTo>
                    <a:pt x="59" y="807"/>
                  </a:lnTo>
                  <a:lnTo>
                    <a:pt x="61" y="807"/>
                  </a:lnTo>
                  <a:lnTo>
                    <a:pt x="61" y="804"/>
                  </a:lnTo>
                  <a:lnTo>
                    <a:pt x="61" y="804"/>
                  </a:lnTo>
                  <a:lnTo>
                    <a:pt x="61" y="802"/>
                  </a:lnTo>
                  <a:lnTo>
                    <a:pt x="61" y="802"/>
                  </a:lnTo>
                  <a:lnTo>
                    <a:pt x="61" y="804"/>
                  </a:lnTo>
                  <a:lnTo>
                    <a:pt x="64" y="804"/>
                  </a:lnTo>
                  <a:lnTo>
                    <a:pt x="67" y="802"/>
                  </a:lnTo>
                  <a:lnTo>
                    <a:pt x="67" y="802"/>
                  </a:lnTo>
                  <a:lnTo>
                    <a:pt x="67" y="802"/>
                  </a:lnTo>
                  <a:lnTo>
                    <a:pt x="69" y="802"/>
                  </a:lnTo>
                  <a:lnTo>
                    <a:pt x="72" y="802"/>
                  </a:lnTo>
                  <a:lnTo>
                    <a:pt x="75" y="802"/>
                  </a:lnTo>
                  <a:lnTo>
                    <a:pt x="77" y="804"/>
                  </a:lnTo>
                  <a:lnTo>
                    <a:pt x="77" y="807"/>
                  </a:lnTo>
                  <a:lnTo>
                    <a:pt x="77" y="807"/>
                  </a:lnTo>
                  <a:lnTo>
                    <a:pt x="80" y="807"/>
                  </a:lnTo>
                  <a:lnTo>
                    <a:pt x="80" y="810"/>
                  </a:lnTo>
                  <a:lnTo>
                    <a:pt x="80" y="810"/>
                  </a:lnTo>
                  <a:lnTo>
                    <a:pt x="77" y="810"/>
                  </a:lnTo>
                  <a:lnTo>
                    <a:pt x="80" y="810"/>
                  </a:lnTo>
                  <a:lnTo>
                    <a:pt x="83" y="810"/>
                  </a:lnTo>
                  <a:lnTo>
                    <a:pt x="83" y="810"/>
                  </a:lnTo>
                  <a:lnTo>
                    <a:pt x="83" y="807"/>
                  </a:lnTo>
                  <a:lnTo>
                    <a:pt x="83" y="810"/>
                  </a:lnTo>
                  <a:lnTo>
                    <a:pt x="86" y="807"/>
                  </a:lnTo>
                  <a:lnTo>
                    <a:pt x="86" y="807"/>
                  </a:lnTo>
                  <a:lnTo>
                    <a:pt x="86" y="804"/>
                  </a:lnTo>
                  <a:lnTo>
                    <a:pt x="83" y="807"/>
                  </a:lnTo>
                  <a:lnTo>
                    <a:pt x="83" y="804"/>
                  </a:lnTo>
                  <a:lnTo>
                    <a:pt x="80" y="804"/>
                  </a:lnTo>
                  <a:lnTo>
                    <a:pt x="80" y="804"/>
                  </a:lnTo>
                  <a:lnTo>
                    <a:pt x="80" y="802"/>
                  </a:lnTo>
                  <a:lnTo>
                    <a:pt x="80" y="799"/>
                  </a:lnTo>
                  <a:lnTo>
                    <a:pt x="77" y="799"/>
                  </a:lnTo>
                  <a:lnTo>
                    <a:pt x="77" y="799"/>
                  </a:lnTo>
                  <a:lnTo>
                    <a:pt x="77" y="796"/>
                  </a:lnTo>
                  <a:lnTo>
                    <a:pt x="80" y="796"/>
                  </a:lnTo>
                  <a:lnTo>
                    <a:pt x="80" y="796"/>
                  </a:lnTo>
                  <a:lnTo>
                    <a:pt x="83" y="794"/>
                  </a:lnTo>
                  <a:lnTo>
                    <a:pt x="83" y="791"/>
                  </a:lnTo>
                  <a:lnTo>
                    <a:pt x="83" y="791"/>
                  </a:lnTo>
                  <a:lnTo>
                    <a:pt x="83" y="788"/>
                  </a:lnTo>
                  <a:lnTo>
                    <a:pt x="86" y="788"/>
                  </a:lnTo>
                  <a:lnTo>
                    <a:pt x="86" y="786"/>
                  </a:lnTo>
                  <a:lnTo>
                    <a:pt x="86" y="783"/>
                  </a:lnTo>
                  <a:lnTo>
                    <a:pt x="88" y="783"/>
                  </a:lnTo>
                  <a:lnTo>
                    <a:pt x="86" y="783"/>
                  </a:lnTo>
                  <a:lnTo>
                    <a:pt x="86" y="780"/>
                  </a:lnTo>
                  <a:lnTo>
                    <a:pt x="86" y="778"/>
                  </a:lnTo>
                  <a:lnTo>
                    <a:pt x="86" y="778"/>
                  </a:lnTo>
                  <a:lnTo>
                    <a:pt x="83" y="778"/>
                  </a:lnTo>
                  <a:lnTo>
                    <a:pt x="83" y="778"/>
                  </a:lnTo>
                  <a:lnTo>
                    <a:pt x="83" y="775"/>
                  </a:lnTo>
                  <a:lnTo>
                    <a:pt x="80" y="775"/>
                  </a:lnTo>
                  <a:lnTo>
                    <a:pt x="80" y="772"/>
                  </a:lnTo>
                  <a:lnTo>
                    <a:pt x="83" y="770"/>
                  </a:lnTo>
                  <a:lnTo>
                    <a:pt x="83" y="770"/>
                  </a:lnTo>
                  <a:lnTo>
                    <a:pt x="86" y="767"/>
                  </a:lnTo>
                  <a:lnTo>
                    <a:pt x="88" y="767"/>
                  </a:lnTo>
                  <a:lnTo>
                    <a:pt x="86" y="764"/>
                  </a:lnTo>
                  <a:lnTo>
                    <a:pt x="86" y="761"/>
                  </a:lnTo>
                  <a:lnTo>
                    <a:pt x="86" y="761"/>
                  </a:lnTo>
                  <a:lnTo>
                    <a:pt x="86" y="759"/>
                  </a:lnTo>
                  <a:lnTo>
                    <a:pt x="83" y="756"/>
                  </a:lnTo>
                  <a:lnTo>
                    <a:pt x="86" y="751"/>
                  </a:lnTo>
                  <a:lnTo>
                    <a:pt x="86" y="748"/>
                  </a:lnTo>
                  <a:lnTo>
                    <a:pt x="86" y="743"/>
                  </a:lnTo>
                  <a:lnTo>
                    <a:pt x="86" y="740"/>
                  </a:lnTo>
                  <a:lnTo>
                    <a:pt x="83" y="737"/>
                  </a:lnTo>
                  <a:lnTo>
                    <a:pt x="83" y="735"/>
                  </a:lnTo>
                  <a:lnTo>
                    <a:pt x="80" y="735"/>
                  </a:lnTo>
                  <a:lnTo>
                    <a:pt x="75" y="732"/>
                  </a:lnTo>
                  <a:lnTo>
                    <a:pt x="69" y="729"/>
                  </a:lnTo>
                  <a:lnTo>
                    <a:pt x="67" y="727"/>
                  </a:lnTo>
                  <a:lnTo>
                    <a:pt x="64" y="727"/>
                  </a:lnTo>
                  <a:lnTo>
                    <a:pt x="64" y="724"/>
                  </a:lnTo>
                  <a:lnTo>
                    <a:pt x="61" y="721"/>
                  </a:lnTo>
                  <a:lnTo>
                    <a:pt x="59" y="719"/>
                  </a:lnTo>
                  <a:lnTo>
                    <a:pt x="59" y="713"/>
                  </a:lnTo>
                  <a:lnTo>
                    <a:pt x="56" y="711"/>
                  </a:lnTo>
                  <a:lnTo>
                    <a:pt x="53" y="705"/>
                  </a:lnTo>
                  <a:lnTo>
                    <a:pt x="51" y="703"/>
                  </a:lnTo>
                  <a:lnTo>
                    <a:pt x="45" y="703"/>
                  </a:lnTo>
                  <a:lnTo>
                    <a:pt x="43" y="700"/>
                  </a:lnTo>
                  <a:lnTo>
                    <a:pt x="40" y="700"/>
                  </a:lnTo>
                  <a:lnTo>
                    <a:pt x="40" y="695"/>
                  </a:lnTo>
                  <a:lnTo>
                    <a:pt x="40" y="692"/>
                  </a:lnTo>
                  <a:lnTo>
                    <a:pt x="40" y="689"/>
                  </a:lnTo>
                  <a:lnTo>
                    <a:pt x="43" y="687"/>
                  </a:lnTo>
                  <a:lnTo>
                    <a:pt x="43" y="687"/>
                  </a:lnTo>
                  <a:lnTo>
                    <a:pt x="45" y="684"/>
                  </a:lnTo>
                  <a:lnTo>
                    <a:pt x="48" y="681"/>
                  </a:lnTo>
                  <a:lnTo>
                    <a:pt x="51" y="679"/>
                  </a:lnTo>
                  <a:lnTo>
                    <a:pt x="51" y="676"/>
                  </a:lnTo>
                  <a:lnTo>
                    <a:pt x="51" y="673"/>
                  </a:lnTo>
                  <a:lnTo>
                    <a:pt x="51" y="671"/>
                  </a:lnTo>
                  <a:lnTo>
                    <a:pt x="53" y="668"/>
                  </a:lnTo>
                  <a:lnTo>
                    <a:pt x="56" y="668"/>
                  </a:lnTo>
                  <a:lnTo>
                    <a:pt x="59" y="665"/>
                  </a:lnTo>
                  <a:lnTo>
                    <a:pt x="64" y="665"/>
                  </a:lnTo>
                  <a:lnTo>
                    <a:pt x="67" y="663"/>
                  </a:lnTo>
                  <a:lnTo>
                    <a:pt x="69" y="663"/>
                  </a:lnTo>
                  <a:lnTo>
                    <a:pt x="75" y="663"/>
                  </a:lnTo>
                  <a:lnTo>
                    <a:pt x="77" y="663"/>
                  </a:lnTo>
                  <a:lnTo>
                    <a:pt x="77" y="660"/>
                  </a:lnTo>
                  <a:lnTo>
                    <a:pt x="83" y="655"/>
                  </a:lnTo>
                  <a:lnTo>
                    <a:pt x="83" y="647"/>
                  </a:lnTo>
                  <a:lnTo>
                    <a:pt x="86" y="641"/>
                  </a:lnTo>
                  <a:lnTo>
                    <a:pt x="86" y="639"/>
                  </a:lnTo>
                  <a:lnTo>
                    <a:pt x="80" y="625"/>
                  </a:lnTo>
                  <a:lnTo>
                    <a:pt x="75" y="620"/>
                  </a:lnTo>
                  <a:lnTo>
                    <a:pt x="67" y="615"/>
                  </a:lnTo>
                  <a:lnTo>
                    <a:pt x="64" y="609"/>
                  </a:lnTo>
                  <a:lnTo>
                    <a:pt x="61" y="606"/>
                  </a:lnTo>
                  <a:lnTo>
                    <a:pt x="56" y="601"/>
                  </a:lnTo>
                  <a:lnTo>
                    <a:pt x="53" y="601"/>
                  </a:lnTo>
                  <a:lnTo>
                    <a:pt x="53" y="598"/>
                  </a:lnTo>
                  <a:lnTo>
                    <a:pt x="51" y="596"/>
                  </a:lnTo>
                  <a:lnTo>
                    <a:pt x="45" y="593"/>
                  </a:lnTo>
                  <a:lnTo>
                    <a:pt x="43" y="590"/>
                  </a:lnTo>
                  <a:lnTo>
                    <a:pt x="40" y="588"/>
                  </a:lnTo>
                  <a:lnTo>
                    <a:pt x="37" y="585"/>
                  </a:lnTo>
                  <a:lnTo>
                    <a:pt x="37" y="582"/>
                  </a:lnTo>
                  <a:lnTo>
                    <a:pt x="37" y="580"/>
                  </a:lnTo>
                  <a:lnTo>
                    <a:pt x="37" y="580"/>
                  </a:lnTo>
                  <a:lnTo>
                    <a:pt x="37" y="580"/>
                  </a:lnTo>
                  <a:lnTo>
                    <a:pt x="37" y="577"/>
                  </a:lnTo>
                  <a:lnTo>
                    <a:pt x="40" y="577"/>
                  </a:lnTo>
                  <a:lnTo>
                    <a:pt x="43" y="580"/>
                  </a:lnTo>
                  <a:lnTo>
                    <a:pt x="45" y="580"/>
                  </a:lnTo>
                  <a:lnTo>
                    <a:pt x="51" y="582"/>
                  </a:lnTo>
                  <a:lnTo>
                    <a:pt x="56" y="582"/>
                  </a:lnTo>
                  <a:lnTo>
                    <a:pt x="59" y="585"/>
                  </a:lnTo>
                  <a:lnTo>
                    <a:pt x="64" y="585"/>
                  </a:lnTo>
                  <a:lnTo>
                    <a:pt x="69" y="588"/>
                  </a:lnTo>
                  <a:lnTo>
                    <a:pt x="72" y="590"/>
                  </a:lnTo>
                  <a:lnTo>
                    <a:pt x="77" y="593"/>
                  </a:lnTo>
                  <a:lnTo>
                    <a:pt x="80" y="596"/>
                  </a:lnTo>
                  <a:lnTo>
                    <a:pt x="80" y="598"/>
                  </a:lnTo>
                  <a:lnTo>
                    <a:pt x="83" y="604"/>
                  </a:lnTo>
                  <a:lnTo>
                    <a:pt x="86" y="609"/>
                  </a:lnTo>
                  <a:lnTo>
                    <a:pt x="88" y="612"/>
                  </a:lnTo>
                  <a:lnTo>
                    <a:pt x="94" y="612"/>
                  </a:lnTo>
                  <a:lnTo>
                    <a:pt x="96" y="617"/>
                  </a:lnTo>
                  <a:lnTo>
                    <a:pt x="99" y="617"/>
                  </a:lnTo>
                  <a:lnTo>
                    <a:pt x="99" y="617"/>
                  </a:lnTo>
                  <a:lnTo>
                    <a:pt x="104" y="623"/>
                  </a:lnTo>
                  <a:lnTo>
                    <a:pt x="107" y="625"/>
                  </a:lnTo>
                  <a:lnTo>
                    <a:pt x="110" y="625"/>
                  </a:lnTo>
                  <a:lnTo>
                    <a:pt x="110" y="625"/>
                  </a:lnTo>
                  <a:lnTo>
                    <a:pt x="112" y="625"/>
                  </a:lnTo>
                  <a:lnTo>
                    <a:pt x="112" y="633"/>
                  </a:lnTo>
                  <a:lnTo>
                    <a:pt x="112" y="633"/>
                  </a:lnTo>
                  <a:lnTo>
                    <a:pt x="112" y="633"/>
                  </a:lnTo>
                  <a:lnTo>
                    <a:pt x="110" y="633"/>
                  </a:lnTo>
                  <a:lnTo>
                    <a:pt x="110" y="633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31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10" y="628"/>
                  </a:lnTo>
                  <a:lnTo>
                    <a:pt x="107" y="628"/>
                  </a:lnTo>
                  <a:lnTo>
                    <a:pt x="107" y="628"/>
                  </a:lnTo>
                  <a:lnTo>
                    <a:pt x="107" y="628"/>
                  </a:lnTo>
                  <a:lnTo>
                    <a:pt x="107" y="631"/>
                  </a:lnTo>
                  <a:lnTo>
                    <a:pt x="107" y="633"/>
                  </a:lnTo>
                  <a:lnTo>
                    <a:pt x="107" y="633"/>
                  </a:lnTo>
                  <a:lnTo>
                    <a:pt x="110" y="633"/>
                  </a:lnTo>
                  <a:lnTo>
                    <a:pt x="112" y="636"/>
                  </a:lnTo>
                  <a:lnTo>
                    <a:pt x="112" y="636"/>
                  </a:lnTo>
                  <a:lnTo>
                    <a:pt x="112" y="639"/>
                  </a:lnTo>
                  <a:lnTo>
                    <a:pt x="115" y="641"/>
                  </a:lnTo>
                  <a:lnTo>
                    <a:pt x="118" y="644"/>
                  </a:lnTo>
                  <a:lnTo>
                    <a:pt x="118" y="647"/>
                  </a:lnTo>
                  <a:lnTo>
                    <a:pt x="118" y="647"/>
                  </a:lnTo>
                  <a:lnTo>
                    <a:pt x="120" y="649"/>
                  </a:lnTo>
                  <a:lnTo>
                    <a:pt x="120" y="652"/>
                  </a:lnTo>
                  <a:lnTo>
                    <a:pt x="120" y="649"/>
                  </a:lnTo>
                  <a:lnTo>
                    <a:pt x="120" y="652"/>
                  </a:lnTo>
                  <a:lnTo>
                    <a:pt x="123" y="652"/>
                  </a:lnTo>
                  <a:lnTo>
                    <a:pt x="123" y="655"/>
                  </a:lnTo>
                  <a:lnTo>
                    <a:pt x="123" y="655"/>
                  </a:lnTo>
                  <a:lnTo>
                    <a:pt x="123" y="657"/>
                  </a:lnTo>
                  <a:lnTo>
                    <a:pt x="123" y="663"/>
                  </a:lnTo>
                  <a:lnTo>
                    <a:pt x="126" y="665"/>
                  </a:lnTo>
                  <a:lnTo>
                    <a:pt x="128" y="665"/>
                  </a:lnTo>
                  <a:lnTo>
                    <a:pt x="128" y="668"/>
                  </a:lnTo>
                  <a:lnTo>
                    <a:pt x="131" y="671"/>
                  </a:lnTo>
                  <a:lnTo>
                    <a:pt x="134" y="671"/>
                  </a:lnTo>
                  <a:lnTo>
                    <a:pt x="134" y="673"/>
                  </a:lnTo>
                  <a:lnTo>
                    <a:pt x="139" y="676"/>
                  </a:lnTo>
                  <a:lnTo>
                    <a:pt x="142" y="676"/>
                  </a:lnTo>
                  <a:lnTo>
                    <a:pt x="147" y="676"/>
                  </a:lnTo>
                  <a:lnTo>
                    <a:pt x="150" y="676"/>
                  </a:lnTo>
                  <a:lnTo>
                    <a:pt x="155" y="676"/>
                  </a:lnTo>
                  <a:lnTo>
                    <a:pt x="158" y="676"/>
                  </a:lnTo>
                  <a:lnTo>
                    <a:pt x="160" y="676"/>
                  </a:lnTo>
                  <a:lnTo>
                    <a:pt x="166" y="673"/>
                  </a:lnTo>
                  <a:lnTo>
                    <a:pt x="168" y="673"/>
                  </a:lnTo>
                  <a:lnTo>
                    <a:pt x="171" y="671"/>
                  </a:lnTo>
                  <a:lnTo>
                    <a:pt x="174" y="671"/>
                  </a:lnTo>
                  <a:lnTo>
                    <a:pt x="176" y="671"/>
                  </a:lnTo>
                  <a:lnTo>
                    <a:pt x="179" y="671"/>
                  </a:lnTo>
                  <a:lnTo>
                    <a:pt x="179" y="671"/>
                  </a:lnTo>
                  <a:lnTo>
                    <a:pt x="182" y="671"/>
                  </a:lnTo>
                  <a:lnTo>
                    <a:pt x="182" y="673"/>
                  </a:lnTo>
                  <a:lnTo>
                    <a:pt x="182" y="676"/>
                  </a:lnTo>
                  <a:lnTo>
                    <a:pt x="182" y="676"/>
                  </a:lnTo>
                  <a:lnTo>
                    <a:pt x="184" y="676"/>
                  </a:lnTo>
                  <a:lnTo>
                    <a:pt x="184" y="676"/>
                  </a:lnTo>
                  <a:lnTo>
                    <a:pt x="190" y="679"/>
                  </a:lnTo>
                  <a:lnTo>
                    <a:pt x="190" y="679"/>
                  </a:lnTo>
                  <a:lnTo>
                    <a:pt x="190" y="679"/>
                  </a:lnTo>
                  <a:lnTo>
                    <a:pt x="192" y="681"/>
                  </a:lnTo>
                  <a:lnTo>
                    <a:pt x="192" y="684"/>
                  </a:lnTo>
                  <a:lnTo>
                    <a:pt x="192" y="684"/>
                  </a:lnTo>
                  <a:lnTo>
                    <a:pt x="192" y="687"/>
                  </a:lnTo>
                  <a:lnTo>
                    <a:pt x="190" y="689"/>
                  </a:lnTo>
                  <a:lnTo>
                    <a:pt x="190" y="689"/>
                  </a:lnTo>
                  <a:lnTo>
                    <a:pt x="187" y="692"/>
                  </a:lnTo>
                  <a:lnTo>
                    <a:pt x="187" y="695"/>
                  </a:lnTo>
                  <a:lnTo>
                    <a:pt x="184" y="697"/>
                  </a:lnTo>
                  <a:lnTo>
                    <a:pt x="184" y="697"/>
                  </a:lnTo>
                  <a:lnTo>
                    <a:pt x="182" y="697"/>
                  </a:lnTo>
                  <a:lnTo>
                    <a:pt x="179" y="697"/>
                  </a:lnTo>
                  <a:lnTo>
                    <a:pt x="176" y="700"/>
                  </a:lnTo>
                  <a:lnTo>
                    <a:pt x="179" y="700"/>
                  </a:lnTo>
                  <a:lnTo>
                    <a:pt x="176" y="705"/>
                  </a:lnTo>
                  <a:lnTo>
                    <a:pt x="176" y="708"/>
                  </a:lnTo>
                  <a:lnTo>
                    <a:pt x="176" y="708"/>
                  </a:lnTo>
                  <a:lnTo>
                    <a:pt x="176" y="711"/>
                  </a:lnTo>
                  <a:lnTo>
                    <a:pt x="176" y="711"/>
                  </a:lnTo>
                  <a:lnTo>
                    <a:pt x="179" y="713"/>
                  </a:lnTo>
                  <a:lnTo>
                    <a:pt x="179" y="713"/>
                  </a:lnTo>
                  <a:lnTo>
                    <a:pt x="179" y="713"/>
                  </a:lnTo>
                  <a:lnTo>
                    <a:pt x="176" y="713"/>
                  </a:lnTo>
                  <a:lnTo>
                    <a:pt x="174" y="713"/>
                  </a:lnTo>
                  <a:lnTo>
                    <a:pt x="174" y="713"/>
                  </a:lnTo>
                  <a:lnTo>
                    <a:pt x="171" y="716"/>
                  </a:lnTo>
                  <a:lnTo>
                    <a:pt x="166" y="716"/>
                  </a:lnTo>
                  <a:lnTo>
                    <a:pt x="163" y="719"/>
                  </a:lnTo>
                  <a:lnTo>
                    <a:pt x="160" y="719"/>
                  </a:lnTo>
                  <a:lnTo>
                    <a:pt x="155" y="721"/>
                  </a:lnTo>
                  <a:lnTo>
                    <a:pt x="152" y="721"/>
                  </a:lnTo>
                  <a:lnTo>
                    <a:pt x="150" y="724"/>
                  </a:lnTo>
                  <a:lnTo>
                    <a:pt x="150" y="724"/>
                  </a:lnTo>
                  <a:lnTo>
                    <a:pt x="150" y="727"/>
                  </a:lnTo>
                  <a:lnTo>
                    <a:pt x="150" y="729"/>
                  </a:lnTo>
                  <a:lnTo>
                    <a:pt x="150" y="732"/>
                  </a:lnTo>
                  <a:lnTo>
                    <a:pt x="150" y="732"/>
                  </a:lnTo>
                  <a:lnTo>
                    <a:pt x="147" y="735"/>
                  </a:lnTo>
                  <a:lnTo>
                    <a:pt x="150" y="740"/>
                  </a:lnTo>
                  <a:lnTo>
                    <a:pt x="150" y="743"/>
                  </a:lnTo>
                  <a:lnTo>
                    <a:pt x="150" y="745"/>
                  </a:lnTo>
                  <a:lnTo>
                    <a:pt x="150" y="745"/>
                  </a:lnTo>
                  <a:lnTo>
                    <a:pt x="150" y="745"/>
                  </a:lnTo>
                  <a:lnTo>
                    <a:pt x="147" y="748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4" y="751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3"/>
                  </a:lnTo>
                  <a:lnTo>
                    <a:pt x="142" y="756"/>
                  </a:lnTo>
                  <a:lnTo>
                    <a:pt x="144" y="756"/>
                  </a:lnTo>
                  <a:lnTo>
                    <a:pt x="144" y="756"/>
                  </a:lnTo>
                  <a:lnTo>
                    <a:pt x="142" y="759"/>
                  </a:lnTo>
                  <a:lnTo>
                    <a:pt x="142" y="759"/>
                  </a:lnTo>
                  <a:lnTo>
                    <a:pt x="142" y="759"/>
                  </a:lnTo>
                  <a:lnTo>
                    <a:pt x="142" y="761"/>
                  </a:lnTo>
                  <a:lnTo>
                    <a:pt x="144" y="761"/>
                  </a:lnTo>
                  <a:lnTo>
                    <a:pt x="144" y="764"/>
                  </a:lnTo>
                  <a:lnTo>
                    <a:pt x="144" y="764"/>
                  </a:lnTo>
                  <a:lnTo>
                    <a:pt x="144" y="767"/>
                  </a:lnTo>
                  <a:lnTo>
                    <a:pt x="144" y="770"/>
                  </a:lnTo>
                  <a:lnTo>
                    <a:pt x="144" y="772"/>
                  </a:lnTo>
                  <a:lnTo>
                    <a:pt x="144" y="772"/>
                  </a:lnTo>
                  <a:lnTo>
                    <a:pt x="144" y="772"/>
                  </a:lnTo>
                  <a:lnTo>
                    <a:pt x="144" y="775"/>
                  </a:lnTo>
                  <a:lnTo>
                    <a:pt x="147" y="778"/>
                  </a:lnTo>
                  <a:lnTo>
                    <a:pt x="147" y="778"/>
                  </a:lnTo>
                  <a:lnTo>
                    <a:pt x="147" y="780"/>
                  </a:lnTo>
                  <a:lnTo>
                    <a:pt x="144" y="780"/>
                  </a:lnTo>
                  <a:lnTo>
                    <a:pt x="144" y="783"/>
                  </a:lnTo>
                  <a:lnTo>
                    <a:pt x="144" y="783"/>
                  </a:lnTo>
                  <a:lnTo>
                    <a:pt x="142" y="783"/>
                  </a:lnTo>
                  <a:lnTo>
                    <a:pt x="142" y="786"/>
                  </a:lnTo>
                  <a:lnTo>
                    <a:pt x="139" y="786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39" y="791"/>
                  </a:lnTo>
                  <a:lnTo>
                    <a:pt x="139" y="791"/>
                  </a:lnTo>
                  <a:lnTo>
                    <a:pt x="139" y="788"/>
                  </a:lnTo>
                  <a:lnTo>
                    <a:pt x="139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2" y="788"/>
                  </a:lnTo>
                  <a:lnTo>
                    <a:pt x="144" y="788"/>
                  </a:lnTo>
                  <a:lnTo>
                    <a:pt x="144" y="788"/>
                  </a:lnTo>
                  <a:lnTo>
                    <a:pt x="142" y="791"/>
                  </a:lnTo>
                  <a:lnTo>
                    <a:pt x="144" y="791"/>
                  </a:lnTo>
                  <a:lnTo>
                    <a:pt x="144" y="791"/>
                  </a:lnTo>
                  <a:lnTo>
                    <a:pt x="144" y="794"/>
                  </a:lnTo>
                  <a:lnTo>
                    <a:pt x="144" y="794"/>
                  </a:lnTo>
                  <a:lnTo>
                    <a:pt x="144" y="794"/>
                  </a:lnTo>
                  <a:lnTo>
                    <a:pt x="144" y="796"/>
                  </a:lnTo>
                  <a:lnTo>
                    <a:pt x="144" y="796"/>
                  </a:lnTo>
                  <a:lnTo>
                    <a:pt x="144" y="796"/>
                  </a:lnTo>
                  <a:lnTo>
                    <a:pt x="144" y="799"/>
                  </a:lnTo>
                  <a:lnTo>
                    <a:pt x="144" y="799"/>
                  </a:lnTo>
                  <a:lnTo>
                    <a:pt x="147" y="796"/>
                  </a:lnTo>
                  <a:lnTo>
                    <a:pt x="147" y="796"/>
                  </a:lnTo>
                  <a:lnTo>
                    <a:pt x="147" y="794"/>
                  </a:lnTo>
                  <a:lnTo>
                    <a:pt x="144" y="791"/>
                  </a:lnTo>
                  <a:lnTo>
                    <a:pt x="144" y="791"/>
                  </a:lnTo>
                  <a:lnTo>
                    <a:pt x="144" y="788"/>
                  </a:lnTo>
                  <a:lnTo>
                    <a:pt x="147" y="788"/>
                  </a:lnTo>
                  <a:lnTo>
                    <a:pt x="147" y="788"/>
                  </a:lnTo>
                  <a:lnTo>
                    <a:pt x="147" y="788"/>
                  </a:lnTo>
                  <a:lnTo>
                    <a:pt x="147" y="786"/>
                  </a:lnTo>
                  <a:lnTo>
                    <a:pt x="150" y="786"/>
                  </a:lnTo>
                  <a:lnTo>
                    <a:pt x="150" y="783"/>
                  </a:lnTo>
                  <a:lnTo>
                    <a:pt x="150" y="783"/>
                  </a:lnTo>
                  <a:lnTo>
                    <a:pt x="150" y="780"/>
                  </a:lnTo>
                  <a:lnTo>
                    <a:pt x="150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2" y="780"/>
                  </a:lnTo>
                  <a:lnTo>
                    <a:pt x="150" y="778"/>
                  </a:lnTo>
                  <a:lnTo>
                    <a:pt x="150" y="778"/>
                  </a:lnTo>
                  <a:lnTo>
                    <a:pt x="150" y="778"/>
                  </a:lnTo>
                  <a:lnTo>
                    <a:pt x="150" y="775"/>
                  </a:lnTo>
                  <a:lnTo>
                    <a:pt x="152" y="775"/>
                  </a:lnTo>
                  <a:lnTo>
                    <a:pt x="152" y="772"/>
                  </a:lnTo>
                  <a:lnTo>
                    <a:pt x="155" y="770"/>
                  </a:lnTo>
                  <a:lnTo>
                    <a:pt x="152" y="770"/>
                  </a:lnTo>
                  <a:lnTo>
                    <a:pt x="152" y="767"/>
                  </a:lnTo>
                  <a:lnTo>
                    <a:pt x="155" y="767"/>
                  </a:lnTo>
                  <a:lnTo>
                    <a:pt x="155" y="767"/>
                  </a:lnTo>
                  <a:lnTo>
                    <a:pt x="155" y="764"/>
                  </a:lnTo>
                  <a:lnTo>
                    <a:pt x="158" y="764"/>
                  </a:lnTo>
                  <a:lnTo>
                    <a:pt x="158" y="764"/>
                  </a:lnTo>
                  <a:lnTo>
                    <a:pt x="158" y="761"/>
                  </a:lnTo>
                  <a:lnTo>
                    <a:pt x="158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1"/>
                  </a:lnTo>
                  <a:lnTo>
                    <a:pt x="160" y="764"/>
                  </a:lnTo>
                  <a:lnTo>
                    <a:pt x="163" y="764"/>
                  </a:lnTo>
                  <a:lnTo>
                    <a:pt x="163" y="761"/>
                  </a:lnTo>
                  <a:lnTo>
                    <a:pt x="163" y="761"/>
                  </a:lnTo>
                  <a:lnTo>
                    <a:pt x="166" y="761"/>
                  </a:lnTo>
                  <a:lnTo>
                    <a:pt x="166" y="764"/>
                  </a:lnTo>
                  <a:lnTo>
                    <a:pt x="166" y="764"/>
                  </a:lnTo>
                  <a:lnTo>
                    <a:pt x="163" y="764"/>
                  </a:lnTo>
                  <a:lnTo>
                    <a:pt x="163" y="767"/>
                  </a:lnTo>
                  <a:lnTo>
                    <a:pt x="163" y="767"/>
                  </a:lnTo>
                  <a:lnTo>
                    <a:pt x="166" y="767"/>
                  </a:lnTo>
                  <a:lnTo>
                    <a:pt x="166" y="767"/>
                  </a:lnTo>
                  <a:lnTo>
                    <a:pt x="166" y="764"/>
                  </a:lnTo>
                  <a:lnTo>
                    <a:pt x="166" y="764"/>
                  </a:lnTo>
                  <a:lnTo>
                    <a:pt x="166" y="761"/>
                  </a:lnTo>
                  <a:lnTo>
                    <a:pt x="166" y="761"/>
                  </a:lnTo>
                  <a:lnTo>
                    <a:pt x="166" y="759"/>
                  </a:lnTo>
                  <a:lnTo>
                    <a:pt x="166" y="759"/>
                  </a:lnTo>
                  <a:lnTo>
                    <a:pt x="166" y="759"/>
                  </a:lnTo>
                  <a:lnTo>
                    <a:pt x="168" y="759"/>
                  </a:lnTo>
                  <a:lnTo>
                    <a:pt x="168" y="759"/>
                  </a:lnTo>
                  <a:lnTo>
                    <a:pt x="168" y="759"/>
                  </a:lnTo>
                  <a:lnTo>
                    <a:pt x="168" y="761"/>
                  </a:lnTo>
                  <a:lnTo>
                    <a:pt x="168" y="764"/>
                  </a:lnTo>
                  <a:lnTo>
                    <a:pt x="168" y="764"/>
                  </a:lnTo>
                  <a:lnTo>
                    <a:pt x="168" y="764"/>
                  </a:lnTo>
                  <a:lnTo>
                    <a:pt x="168" y="767"/>
                  </a:lnTo>
                  <a:lnTo>
                    <a:pt x="168" y="767"/>
                  </a:lnTo>
                  <a:lnTo>
                    <a:pt x="171" y="770"/>
                  </a:lnTo>
                  <a:lnTo>
                    <a:pt x="171" y="770"/>
                  </a:lnTo>
                  <a:lnTo>
                    <a:pt x="171" y="770"/>
                  </a:lnTo>
                  <a:lnTo>
                    <a:pt x="174" y="772"/>
                  </a:lnTo>
                  <a:lnTo>
                    <a:pt x="174" y="772"/>
                  </a:lnTo>
                  <a:lnTo>
                    <a:pt x="174" y="772"/>
                  </a:lnTo>
                  <a:lnTo>
                    <a:pt x="174" y="775"/>
                  </a:lnTo>
                  <a:lnTo>
                    <a:pt x="174" y="775"/>
                  </a:lnTo>
                  <a:lnTo>
                    <a:pt x="174" y="778"/>
                  </a:lnTo>
                  <a:lnTo>
                    <a:pt x="174" y="778"/>
                  </a:lnTo>
                  <a:lnTo>
                    <a:pt x="174" y="780"/>
                  </a:lnTo>
                  <a:lnTo>
                    <a:pt x="174" y="780"/>
                  </a:lnTo>
                  <a:lnTo>
                    <a:pt x="174" y="780"/>
                  </a:lnTo>
                  <a:lnTo>
                    <a:pt x="171" y="780"/>
                  </a:lnTo>
                  <a:lnTo>
                    <a:pt x="171" y="783"/>
                  </a:lnTo>
                  <a:lnTo>
                    <a:pt x="174" y="783"/>
                  </a:lnTo>
                  <a:lnTo>
                    <a:pt x="174" y="786"/>
                  </a:lnTo>
                  <a:lnTo>
                    <a:pt x="171" y="786"/>
                  </a:lnTo>
                  <a:lnTo>
                    <a:pt x="171" y="788"/>
                  </a:lnTo>
                  <a:lnTo>
                    <a:pt x="171" y="791"/>
                  </a:lnTo>
                  <a:lnTo>
                    <a:pt x="168" y="794"/>
                  </a:lnTo>
                  <a:lnTo>
                    <a:pt x="168" y="794"/>
                  </a:lnTo>
                  <a:lnTo>
                    <a:pt x="168" y="796"/>
                  </a:lnTo>
                  <a:lnTo>
                    <a:pt x="168" y="799"/>
                  </a:lnTo>
                  <a:lnTo>
                    <a:pt x="168" y="799"/>
                  </a:lnTo>
                  <a:lnTo>
                    <a:pt x="168" y="802"/>
                  </a:lnTo>
                  <a:lnTo>
                    <a:pt x="166" y="802"/>
                  </a:lnTo>
                  <a:lnTo>
                    <a:pt x="166" y="802"/>
                  </a:lnTo>
                  <a:lnTo>
                    <a:pt x="166" y="804"/>
                  </a:lnTo>
                  <a:lnTo>
                    <a:pt x="166" y="804"/>
                  </a:lnTo>
                  <a:lnTo>
                    <a:pt x="166" y="804"/>
                  </a:lnTo>
                  <a:lnTo>
                    <a:pt x="166" y="807"/>
                  </a:lnTo>
                  <a:lnTo>
                    <a:pt x="166" y="807"/>
                  </a:lnTo>
                  <a:lnTo>
                    <a:pt x="166" y="810"/>
                  </a:lnTo>
                  <a:lnTo>
                    <a:pt x="166" y="810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66" y="812"/>
                  </a:lnTo>
                  <a:lnTo>
                    <a:pt x="166" y="815"/>
                  </a:lnTo>
                  <a:lnTo>
                    <a:pt x="166" y="815"/>
                  </a:lnTo>
                  <a:lnTo>
                    <a:pt x="163" y="818"/>
                  </a:lnTo>
                  <a:lnTo>
                    <a:pt x="163" y="818"/>
                  </a:lnTo>
                  <a:lnTo>
                    <a:pt x="163" y="820"/>
                  </a:lnTo>
                  <a:lnTo>
                    <a:pt x="163" y="823"/>
                  </a:lnTo>
                  <a:lnTo>
                    <a:pt x="163" y="823"/>
                  </a:lnTo>
                  <a:lnTo>
                    <a:pt x="160" y="823"/>
                  </a:lnTo>
                  <a:lnTo>
                    <a:pt x="160" y="823"/>
                  </a:lnTo>
                  <a:lnTo>
                    <a:pt x="160" y="823"/>
                  </a:lnTo>
                  <a:lnTo>
                    <a:pt x="158" y="826"/>
                  </a:lnTo>
                  <a:lnTo>
                    <a:pt x="155" y="828"/>
                  </a:lnTo>
                  <a:lnTo>
                    <a:pt x="155" y="831"/>
                  </a:lnTo>
                  <a:lnTo>
                    <a:pt x="152" y="834"/>
                  </a:lnTo>
                  <a:lnTo>
                    <a:pt x="150" y="834"/>
                  </a:lnTo>
                  <a:lnTo>
                    <a:pt x="150" y="836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42"/>
                  </a:lnTo>
                  <a:lnTo>
                    <a:pt x="147" y="842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7" y="844"/>
                  </a:lnTo>
                  <a:lnTo>
                    <a:pt x="144" y="847"/>
                  </a:lnTo>
                  <a:lnTo>
                    <a:pt x="147" y="847"/>
                  </a:lnTo>
                  <a:lnTo>
                    <a:pt x="147" y="847"/>
                  </a:lnTo>
                  <a:lnTo>
                    <a:pt x="147" y="850"/>
                  </a:lnTo>
                  <a:lnTo>
                    <a:pt x="150" y="850"/>
                  </a:lnTo>
                  <a:lnTo>
                    <a:pt x="150" y="852"/>
                  </a:lnTo>
                  <a:lnTo>
                    <a:pt x="152" y="852"/>
                  </a:lnTo>
                  <a:lnTo>
                    <a:pt x="152" y="852"/>
                  </a:lnTo>
                  <a:lnTo>
                    <a:pt x="152" y="855"/>
                  </a:lnTo>
                  <a:lnTo>
                    <a:pt x="155" y="858"/>
                  </a:lnTo>
                  <a:lnTo>
                    <a:pt x="155" y="858"/>
                  </a:lnTo>
                  <a:lnTo>
                    <a:pt x="158" y="858"/>
                  </a:lnTo>
                  <a:lnTo>
                    <a:pt x="160" y="858"/>
                  </a:lnTo>
                  <a:lnTo>
                    <a:pt x="160" y="860"/>
                  </a:lnTo>
                  <a:lnTo>
                    <a:pt x="163" y="860"/>
                  </a:lnTo>
                  <a:lnTo>
                    <a:pt x="163" y="860"/>
                  </a:lnTo>
                  <a:lnTo>
                    <a:pt x="166" y="863"/>
                  </a:lnTo>
                  <a:lnTo>
                    <a:pt x="168" y="863"/>
                  </a:lnTo>
                  <a:lnTo>
                    <a:pt x="171" y="866"/>
                  </a:lnTo>
                  <a:lnTo>
                    <a:pt x="171" y="866"/>
                  </a:lnTo>
                  <a:lnTo>
                    <a:pt x="171" y="868"/>
                  </a:lnTo>
                  <a:lnTo>
                    <a:pt x="171" y="868"/>
                  </a:lnTo>
                  <a:lnTo>
                    <a:pt x="171" y="871"/>
                  </a:lnTo>
                  <a:lnTo>
                    <a:pt x="171" y="874"/>
                  </a:lnTo>
                  <a:lnTo>
                    <a:pt x="171" y="876"/>
                  </a:lnTo>
                  <a:lnTo>
                    <a:pt x="174" y="879"/>
                  </a:lnTo>
                  <a:lnTo>
                    <a:pt x="174" y="882"/>
                  </a:lnTo>
                  <a:lnTo>
                    <a:pt x="174" y="882"/>
                  </a:lnTo>
                  <a:lnTo>
                    <a:pt x="174" y="882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71" y="884"/>
                  </a:lnTo>
                  <a:lnTo>
                    <a:pt x="168" y="884"/>
                  </a:lnTo>
                  <a:lnTo>
                    <a:pt x="168" y="884"/>
                  </a:lnTo>
                  <a:lnTo>
                    <a:pt x="168" y="884"/>
                  </a:lnTo>
                  <a:lnTo>
                    <a:pt x="168" y="887"/>
                  </a:lnTo>
                  <a:lnTo>
                    <a:pt x="171" y="890"/>
                  </a:lnTo>
                  <a:lnTo>
                    <a:pt x="171" y="892"/>
                  </a:lnTo>
                  <a:lnTo>
                    <a:pt x="171" y="895"/>
                  </a:lnTo>
                  <a:lnTo>
                    <a:pt x="171" y="895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4" y="898"/>
                  </a:lnTo>
                  <a:lnTo>
                    <a:pt x="176" y="898"/>
                  </a:lnTo>
                  <a:lnTo>
                    <a:pt x="179" y="900"/>
                  </a:lnTo>
                  <a:lnTo>
                    <a:pt x="182" y="900"/>
                  </a:lnTo>
                  <a:lnTo>
                    <a:pt x="182" y="900"/>
                  </a:lnTo>
                  <a:lnTo>
                    <a:pt x="184" y="900"/>
                  </a:lnTo>
                  <a:lnTo>
                    <a:pt x="187" y="900"/>
                  </a:lnTo>
                  <a:lnTo>
                    <a:pt x="187" y="900"/>
                  </a:lnTo>
                  <a:lnTo>
                    <a:pt x="187" y="900"/>
                  </a:lnTo>
                  <a:lnTo>
                    <a:pt x="190" y="900"/>
                  </a:lnTo>
                  <a:lnTo>
                    <a:pt x="190" y="900"/>
                  </a:lnTo>
                  <a:lnTo>
                    <a:pt x="192" y="900"/>
                  </a:lnTo>
                  <a:lnTo>
                    <a:pt x="192" y="903"/>
                  </a:lnTo>
                  <a:lnTo>
                    <a:pt x="192" y="903"/>
                  </a:lnTo>
                  <a:lnTo>
                    <a:pt x="192" y="906"/>
                  </a:lnTo>
                  <a:lnTo>
                    <a:pt x="192" y="906"/>
                  </a:lnTo>
                  <a:lnTo>
                    <a:pt x="192" y="908"/>
                  </a:lnTo>
                  <a:lnTo>
                    <a:pt x="192" y="911"/>
                  </a:lnTo>
                  <a:lnTo>
                    <a:pt x="195" y="911"/>
                  </a:lnTo>
                  <a:lnTo>
                    <a:pt x="195" y="914"/>
                  </a:lnTo>
                  <a:lnTo>
                    <a:pt x="195" y="914"/>
                  </a:lnTo>
                  <a:lnTo>
                    <a:pt x="195" y="916"/>
                  </a:lnTo>
                  <a:lnTo>
                    <a:pt x="198" y="916"/>
                  </a:lnTo>
                  <a:lnTo>
                    <a:pt x="198" y="919"/>
                  </a:lnTo>
                  <a:lnTo>
                    <a:pt x="200" y="919"/>
                  </a:lnTo>
                  <a:lnTo>
                    <a:pt x="200" y="919"/>
                  </a:lnTo>
                  <a:lnTo>
                    <a:pt x="203" y="919"/>
                  </a:lnTo>
                  <a:lnTo>
                    <a:pt x="206" y="919"/>
                  </a:lnTo>
                  <a:lnTo>
                    <a:pt x="206" y="919"/>
                  </a:lnTo>
                  <a:lnTo>
                    <a:pt x="206" y="919"/>
                  </a:lnTo>
                  <a:lnTo>
                    <a:pt x="206" y="916"/>
                  </a:lnTo>
                  <a:lnTo>
                    <a:pt x="206" y="916"/>
                  </a:lnTo>
                  <a:lnTo>
                    <a:pt x="206" y="914"/>
                  </a:lnTo>
                  <a:lnTo>
                    <a:pt x="206" y="914"/>
                  </a:lnTo>
                  <a:lnTo>
                    <a:pt x="206" y="911"/>
                  </a:lnTo>
                  <a:lnTo>
                    <a:pt x="206" y="911"/>
                  </a:lnTo>
                  <a:lnTo>
                    <a:pt x="206" y="908"/>
                  </a:lnTo>
                  <a:lnTo>
                    <a:pt x="206" y="906"/>
                  </a:lnTo>
                  <a:lnTo>
                    <a:pt x="206" y="906"/>
                  </a:lnTo>
                  <a:lnTo>
                    <a:pt x="203" y="906"/>
                  </a:lnTo>
                  <a:lnTo>
                    <a:pt x="203" y="903"/>
                  </a:lnTo>
                  <a:lnTo>
                    <a:pt x="200" y="903"/>
                  </a:lnTo>
                  <a:lnTo>
                    <a:pt x="200" y="903"/>
                  </a:lnTo>
                  <a:lnTo>
                    <a:pt x="198" y="903"/>
                  </a:lnTo>
                  <a:lnTo>
                    <a:pt x="198" y="903"/>
                  </a:lnTo>
                  <a:lnTo>
                    <a:pt x="195" y="903"/>
                  </a:lnTo>
                  <a:lnTo>
                    <a:pt x="195" y="900"/>
                  </a:lnTo>
                  <a:lnTo>
                    <a:pt x="192" y="900"/>
                  </a:lnTo>
                  <a:lnTo>
                    <a:pt x="192" y="898"/>
                  </a:lnTo>
                  <a:lnTo>
                    <a:pt x="190" y="898"/>
                  </a:lnTo>
                  <a:lnTo>
                    <a:pt x="190" y="895"/>
                  </a:lnTo>
                  <a:lnTo>
                    <a:pt x="190" y="895"/>
                  </a:lnTo>
                  <a:lnTo>
                    <a:pt x="187" y="895"/>
                  </a:lnTo>
                  <a:lnTo>
                    <a:pt x="187" y="892"/>
                  </a:lnTo>
                  <a:lnTo>
                    <a:pt x="187" y="892"/>
                  </a:lnTo>
                  <a:lnTo>
                    <a:pt x="190" y="892"/>
                  </a:lnTo>
                  <a:lnTo>
                    <a:pt x="190" y="890"/>
                  </a:lnTo>
                  <a:lnTo>
                    <a:pt x="190" y="890"/>
                  </a:lnTo>
                  <a:lnTo>
                    <a:pt x="187" y="887"/>
                  </a:lnTo>
                  <a:lnTo>
                    <a:pt x="187" y="887"/>
                  </a:lnTo>
                  <a:lnTo>
                    <a:pt x="184" y="887"/>
                  </a:lnTo>
                  <a:lnTo>
                    <a:pt x="182" y="884"/>
                  </a:lnTo>
                  <a:lnTo>
                    <a:pt x="182" y="884"/>
                  </a:lnTo>
                  <a:lnTo>
                    <a:pt x="182" y="882"/>
                  </a:lnTo>
                  <a:lnTo>
                    <a:pt x="182" y="879"/>
                  </a:lnTo>
                  <a:lnTo>
                    <a:pt x="182" y="876"/>
                  </a:lnTo>
                  <a:lnTo>
                    <a:pt x="179" y="874"/>
                  </a:lnTo>
                  <a:lnTo>
                    <a:pt x="179" y="874"/>
                  </a:lnTo>
                  <a:lnTo>
                    <a:pt x="179" y="874"/>
                  </a:lnTo>
                  <a:lnTo>
                    <a:pt x="176" y="871"/>
                  </a:lnTo>
                  <a:lnTo>
                    <a:pt x="179" y="871"/>
                  </a:lnTo>
                  <a:lnTo>
                    <a:pt x="176" y="868"/>
                  </a:lnTo>
                  <a:lnTo>
                    <a:pt x="176" y="866"/>
                  </a:lnTo>
                  <a:lnTo>
                    <a:pt x="176" y="866"/>
                  </a:lnTo>
                  <a:lnTo>
                    <a:pt x="176" y="863"/>
                  </a:lnTo>
                  <a:lnTo>
                    <a:pt x="174" y="863"/>
                  </a:lnTo>
                  <a:lnTo>
                    <a:pt x="174" y="860"/>
                  </a:lnTo>
                  <a:lnTo>
                    <a:pt x="171" y="860"/>
                  </a:lnTo>
                  <a:lnTo>
                    <a:pt x="171" y="860"/>
                  </a:lnTo>
                  <a:lnTo>
                    <a:pt x="168" y="860"/>
                  </a:lnTo>
                  <a:lnTo>
                    <a:pt x="166" y="860"/>
                  </a:lnTo>
                  <a:lnTo>
                    <a:pt x="166" y="860"/>
                  </a:lnTo>
                  <a:lnTo>
                    <a:pt x="163" y="858"/>
                  </a:lnTo>
                  <a:lnTo>
                    <a:pt x="163" y="858"/>
                  </a:lnTo>
                  <a:lnTo>
                    <a:pt x="163" y="855"/>
                  </a:lnTo>
                  <a:lnTo>
                    <a:pt x="166" y="855"/>
                  </a:lnTo>
                  <a:lnTo>
                    <a:pt x="166" y="852"/>
                  </a:lnTo>
                  <a:lnTo>
                    <a:pt x="166" y="850"/>
                  </a:lnTo>
                  <a:lnTo>
                    <a:pt x="166" y="847"/>
                  </a:lnTo>
                  <a:lnTo>
                    <a:pt x="166" y="847"/>
                  </a:lnTo>
                  <a:lnTo>
                    <a:pt x="163" y="844"/>
                  </a:lnTo>
                  <a:lnTo>
                    <a:pt x="163" y="842"/>
                  </a:lnTo>
                  <a:lnTo>
                    <a:pt x="163" y="839"/>
                  </a:lnTo>
                  <a:lnTo>
                    <a:pt x="163" y="839"/>
                  </a:lnTo>
                  <a:lnTo>
                    <a:pt x="160" y="836"/>
                  </a:lnTo>
                  <a:lnTo>
                    <a:pt x="160" y="834"/>
                  </a:lnTo>
                  <a:lnTo>
                    <a:pt x="160" y="834"/>
                  </a:lnTo>
                  <a:lnTo>
                    <a:pt x="160" y="831"/>
                  </a:lnTo>
                  <a:lnTo>
                    <a:pt x="160" y="831"/>
                  </a:lnTo>
                  <a:lnTo>
                    <a:pt x="160" y="831"/>
                  </a:lnTo>
                  <a:lnTo>
                    <a:pt x="163" y="828"/>
                  </a:lnTo>
                  <a:lnTo>
                    <a:pt x="163" y="831"/>
                  </a:lnTo>
                  <a:lnTo>
                    <a:pt x="163" y="831"/>
                  </a:lnTo>
                  <a:lnTo>
                    <a:pt x="166" y="831"/>
                  </a:lnTo>
                  <a:lnTo>
                    <a:pt x="166" y="834"/>
                  </a:lnTo>
                  <a:lnTo>
                    <a:pt x="168" y="834"/>
                  </a:lnTo>
                  <a:lnTo>
                    <a:pt x="171" y="834"/>
                  </a:lnTo>
                  <a:lnTo>
                    <a:pt x="174" y="834"/>
                  </a:lnTo>
                  <a:lnTo>
                    <a:pt x="176" y="834"/>
                  </a:lnTo>
                  <a:lnTo>
                    <a:pt x="176" y="834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79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1"/>
                  </a:lnTo>
                  <a:lnTo>
                    <a:pt x="182" y="831"/>
                  </a:lnTo>
                  <a:lnTo>
                    <a:pt x="184" y="828"/>
                  </a:lnTo>
                  <a:lnTo>
                    <a:pt x="187" y="828"/>
                  </a:lnTo>
                  <a:lnTo>
                    <a:pt x="187" y="826"/>
                  </a:lnTo>
                  <a:lnTo>
                    <a:pt x="187" y="823"/>
                  </a:lnTo>
                  <a:lnTo>
                    <a:pt x="190" y="823"/>
                  </a:lnTo>
                  <a:lnTo>
                    <a:pt x="190" y="820"/>
                  </a:lnTo>
                  <a:lnTo>
                    <a:pt x="192" y="820"/>
                  </a:lnTo>
                  <a:lnTo>
                    <a:pt x="192" y="820"/>
                  </a:lnTo>
                  <a:lnTo>
                    <a:pt x="192" y="820"/>
                  </a:lnTo>
                  <a:lnTo>
                    <a:pt x="192" y="818"/>
                  </a:lnTo>
                  <a:lnTo>
                    <a:pt x="192" y="818"/>
                  </a:lnTo>
                  <a:lnTo>
                    <a:pt x="192" y="818"/>
                  </a:lnTo>
                  <a:lnTo>
                    <a:pt x="192" y="815"/>
                  </a:lnTo>
                  <a:lnTo>
                    <a:pt x="192" y="815"/>
                  </a:lnTo>
                  <a:lnTo>
                    <a:pt x="192" y="812"/>
                  </a:lnTo>
                  <a:lnTo>
                    <a:pt x="192" y="815"/>
                  </a:lnTo>
                  <a:lnTo>
                    <a:pt x="195" y="812"/>
                  </a:lnTo>
                  <a:lnTo>
                    <a:pt x="195" y="810"/>
                  </a:lnTo>
                  <a:lnTo>
                    <a:pt x="192" y="810"/>
                  </a:lnTo>
                  <a:lnTo>
                    <a:pt x="192" y="807"/>
                  </a:lnTo>
                  <a:lnTo>
                    <a:pt x="192" y="807"/>
                  </a:lnTo>
                  <a:lnTo>
                    <a:pt x="190" y="804"/>
                  </a:lnTo>
                  <a:lnTo>
                    <a:pt x="192" y="802"/>
                  </a:lnTo>
                  <a:lnTo>
                    <a:pt x="192" y="799"/>
                  </a:lnTo>
                  <a:lnTo>
                    <a:pt x="190" y="799"/>
                  </a:lnTo>
                  <a:lnTo>
                    <a:pt x="190" y="794"/>
                  </a:lnTo>
                  <a:lnTo>
                    <a:pt x="190" y="791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0" y="783"/>
                  </a:lnTo>
                  <a:lnTo>
                    <a:pt x="190" y="780"/>
                  </a:lnTo>
                  <a:lnTo>
                    <a:pt x="190" y="778"/>
                  </a:lnTo>
                  <a:lnTo>
                    <a:pt x="187" y="775"/>
                  </a:lnTo>
                  <a:lnTo>
                    <a:pt x="190" y="775"/>
                  </a:lnTo>
                  <a:lnTo>
                    <a:pt x="190" y="772"/>
                  </a:lnTo>
                  <a:lnTo>
                    <a:pt x="190" y="770"/>
                  </a:lnTo>
                  <a:lnTo>
                    <a:pt x="190" y="770"/>
                  </a:lnTo>
                  <a:lnTo>
                    <a:pt x="187" y="767"/>
                  </a:lnTo>
                  <a:lnTo>
                    <a:pt x="187" y="764"/>
                  </a:lnTo>
                  <a:lnTo>
                    <a:pt x="187" y="761"/>
                  </a:lnTo>
                  <a:lnTo>
                    <a:pt x="187" y="759"/>
                  </a:lnTo>
                  <a:lnTo>
                    <a:pt x="187" y="759"/>
                  </a:lnTo>
                  <a:lnTo>
                    <a:pt x="187" y="756"/>
                  </a:lnTo>
                  <a:lnTo>
                    <a:pt x="184" y="753"/>
                  </a:lnTo>
                  <a:lnTo>
                    <a:pt x="184" y="753"/>
                  </a:lnTo>
                  <a:lnTo>
                    <a:pt x="184" y="753"/>
                  </a:lnTo>
                  <a:lnTo>
                    <a:pt x="182" y="751"/>
                  </a:lnTo>
                  <a:lnTo>
                    <a:pt x="182" y="751"/>
                  </a:lnTo>
                  <a:lnTo>
                    <a:pt x="179" y="751"/>
                  </a:lnTo>
                  <a:lnTo>
                    <a:pt x="179" y="751"/>
                  </a:lnTo>
                  <a:lnTo>
                    <a:pt x="179" y="748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79" y="745"/>
                  </a:lnTo>
                  <a:lnTo>
                    <a:pt x="182" y="745"/>
                  </a:lnTo>
                  <a:lnTo>
                    <a:pt x="182" y="745"/>
                  </a:lnTo>
                  <a:lnTo>
                    <a:pt x="182" y="745"/>
                  </a:lnTo>
                  <a:lnTo>
                    <a:pt x="182" y="743"/>
                  </a:lnTo>
                  <a:lnTo>
                    <a:pt x="182" y="737"/>
                  </a:lnTo>
                  <a:lnTo>
                    <a:pt x="182" y="735"/>
                  </a:lnTo>
                  <a:lnTo>
                    <a:pt x="182" y="732"/>
                  </a:lnTo>
                  <a:lnTo>
                    <a:pt x="182" y="729"/>
                  </a:lnTo>
                  <a:lnTo>
                    <a:pt x="184" y="729"/>
                  </a:lnTo>
                  <a:lnTo>
                    <a:pt x="187" y="727"/>
                  </a:lnTo>
                  <a:lnTo>
                    <a:pt x="187" y="724"/>
                  </a:lnTo>
                  <a:lnTo>
                    <a:pt x="190" y="724"/>
                  </a:lnTo>
                  <a:lnTo>
                    <a:pt x="190" y="721"/>
                  </a:lnTo>
                  <a:lnTo>
                    <a:pt x="192" y="719"/>
                  </a:lnTo>
                  <a:lnTo>
                    <a:pt x="192" y="716"/>
                  </a:lnTo>
                  <a:lnTo>
                    <a:pt x="192" y="713"/>
                  </a:lnTo>
                  <a:lnTo>
                    <a:pt x="192" y="708"/>
                  </a:lnTo>
                  <a:lnTo>
                    <a:pt x="195" y="705"/>
                  </a:lnTo>
                  <a:lnTo>
                    <a:pt x="198" y="705"/>
                  </a:lnTo>
                  <a:lnTo>
                    <a:pt x="200" y="705"/>
                  </a:lnTo>
                  <a:lnTo>
                    <a:pt x="200" y="703"/>
                  </a:lnTo>
                  <a:lnTo>
                    <a:pt x="203" y="700"/>
                  </a:lnTo>
                  <a:lnTo>
                    <a:pt x="203" y="697"/>
                  </a:lnTo>
                  <a:lnTo>
                    <a:pt x="203" y="695"/>
                  </a:lnTo>
                  <a:lnTo>
                    <a:pt x="206" y="692"/>
                  </a:lnTo>
                  <a:lnTo>
                    <a:pt x="206" y="692"/>
                  </a:lnTo>
                  <a:lnTo>
                    <a:pt x="203" y="689"/>
                  </a:lnTo>
                  <a:lnTo>
                    <a:pt x="203" y="687"/>
                  </a:lnTo>
                  <a:lnTo>
                    <a:pt x="203" y="684"/>
                  </a:lnTo>
                  <a:lnTo>
                    <a:pt x="200" y="681"/>
                  </a:lnTo>
                  <a:lnTo>
                    <a:pt x="200" y="681"/>
                  </a:lnTo>
                  <a:lnTo>
                    <a:pt x="198" y="679"/>
                  </a:lnTo>
                  <a:lnTo>
                    <a:pt x="200" y="679"/>
                  </a:lnTo>
                  <a:lnTo>
                    <a:pt x="198" y="679"/>
                  </a:lnTo>
                  <a:lnTo>
                    <a:pt x="198" y="676"/>
                  </a:lnTo>
                  <a:lnTo>
                    <a:pt x="200" y="673"/>
                  </a:lnTo>
                  <a:lnTo>
                    <a:pt x="200" y="671"/>
                  </a:lnTo>
                  <a:lnTo>
                    <a:pt x="198" y="668"/>
                  </a:lnTo>
                  <a:lnTo>
                    <a:pt x="198" y="668"/>
                  </a:lnTo>
                  <a:lnTo>
                    <a:pt x="198" y="665"/>
                  </a:lnTo>
                  <a:lnTo>
                    <a:pt x="195" y="665"/>
                  </a:lnTo>
                  <a:lnTo>
                    <a:pt x="192" y="665"/>
                  </a:lnTo>
                  <a:lnTo>
                    <a:pt x="192" y="663"/>
                  </a:lnTo>
                  <a:lnTo>
                    <a:pt x="190" y="660"/>
                  </a:lnTo>
                  <a:lnTo>
                    <a:pt x="187" y="660"/>
                  </a:lnTo>
                  <a:lnTo>
                    <a:pt x="184" y="660"/>
                  </a:lnTo>
                  <a:lnTo>
                    <a:pt x="184" y="660"/>
                  </a:lnTo>
                  <a:lnTo>
                    <a:pt x="182" y="660"/>
                  </a:lnTo>
                  <a:lnTo>
                    <a:pt x="182" y="657"/>
                  </a:lnTo>
                  <a:lnTo>
                    <a:pt x="179" y="657"/>
                  </a:lnTo>
                  <a:lnTo>
                    <a:pt x="179" y="657"/>
                  </a:lnTo>
                  <a:lnTo>
                    <a:pt x="176" y="655"/>
                  </a:lnTo>
                  <a:lnTo>
                    <a:pt x="176" y="657"/>
                  </a:lnTo>
                  <a:lnTo>
                    <a:pt x="176" y="657"/>
                  </a:lnTo>
                  <a:lnTo>
                    <a:pt x="176" y="657"/>
                  </a:lnTo>
                  <a:lnTo>
                    <a:pt x="174" y="660"/>
                  </a:lnTo>
                  <a:lnTo>
                    <a:pt x="174" y="657"/>
                  </a:lnTo>
                  <a:lnTo>
                    <a:pt x="174" y="657"/>
                  </a:lnTo>
                  <a:lnTo>
                    <a:pt x="174" y="652"/>
                  </a:lnTo>
                  <a:lnTo>
                    <a:pt x="174" y="652"/>
                  </a:lnTo>
                  <a:lnTo>
                    <a:pt x="174" y="649"/>
                  </a:lnTo>
                  <a:lnTo>
                    <a:pt x="174" y="649"/>
                  </a:lnTo>
                  <a:lnTo>
                    <a:pt x="174" y="647"/>
                  </a:lnTo>
                  <a:lnTo>
                    <a:pt x="171" y="647"/>
                  </a:lnTo>
                  <a:lnTo>
                    <a:pt x="171" y="647"/>
                  </a:lnTo>
                  <a:lnTo>
                    <a:pt x="171" y="644"/>
                  </a:lnTo>
                  <a:lnTo>
                    <a:pt x="171" y="644"/>
                  </a:lnTo>
                  <a:lnTo>
                    <a:pt x="171" y="641"/>
                  </a:lnTo>
                  <a:lnTo>
                    <a:pt x="171" y="641"/>
                  </a:lnTo>
                  <a:lnTo>
                    <a:pt x="168" y="641"/>
                  </a:lnTo>
                  <a:lnTo>
                    <a:pt x="168" y="639"/>
                  </a:lnTo>
                  <a:lnTo>
                    <a:pt x="168" y="639"/>
                  </a:lnTo>
                  <a:lnTo>
                    <a:pt x="166" y="636"/>
                  </a:lnTo>
                  <a:lnTo>
                    <a:pt x="166" y="636"/>
                  </a:lnTo>
                  <a:lnTo>
                    <a:pt x="163" y="636"/>
                  </a:lnTo>
                  <a:lnTo>
                    <a:pt x="163" y="633"/>
                  </a:lnTo>
                  <a:lnTo>
                    <a:pt x="163" y="633"/>
                  </a:lnTo>
                  <a:lnTo>
                    <a:pt x="163" y="631"/>
                  </a:lnTo>
                  <a:lnTo>
                    <a:pt x="163" y="631"/>
                  </a:lnTo>
                  <a:lnTo>
                    <a:pt x="166" y="631"/>
                  </a:lnTo>
                  <a:lnTo>
                    <a:pt x="166" y="631"/>
                  </a:lnTo>
                  <a:lnTo>
                    <a:pt x="166" y="628"/>
                  </a:lnTo>
                  <a:lnTo>
                    <a:pt x="166" y="625"/>
                  </a:lnTo>
                  <a:lnTo>
                    <a:pt x="168" y="623"/>
                  </a:lnTo>
                  <a:lnTo>
                    <a:pt x="168" y="623"/>
                  </a:lnTo>
                  <a:lnTo>
                    <a:pt x="168" y="623"/>
                  </a:lnTo>
                  <a:lnTo>
                    <a:pt x="166" y="620"/>
                  </a:lnTo>
                  <a:lnTo>
                    <a:pt x="166" y="617"/>
                  </a:lnTo>
                  <a:lnTo>
                    <a:pt x="166" y="617"/>
                  </a:lnTo>
                  <a:lnTo>
                    <a:pt x="166" y="615"/>
                  </a:lnTo>
                  <a:lnTo>
                    <a:pt x="166" y="615"/>
                  </a:lnTo>
                  <a:lnTo>
                    <a:pt x="166" y="615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6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2"/>
                  </a:lnTo>
                  <a:lnTo>
                    <a:pt x="163" y="615"/>
                  </a:lnTo>
                  <a:lnTo>
                    <a:pt x="160" y="612"/>
                  </a:lnTo>
                  <a:lnTo>
                    <a:pt x="160" y="612"/>
                  </a:lnTo>
                  <a:lnTo>
                    <a:pt x="160" y="609"/>
                  </a:lnTo>
                  <a:lnTo>
                    <a:pt x="158" y="609"/>
                  </a:lnTo>
                  <a:lnTo>
                    <a:pt x="155" y="609"/>
                  </a:lnTo>
                  <a:lnTo>
                    <a:pt x="155" y="609"/>
                  </a:lnTo>
                  <a:lnTo>
                    <a:pt x="155" y="609"/>
                  </a:lnTo>
                  <a:lnTo>
                    <a:pt x="155" y="606"/>
                  </a:lnTo>
                  <a:lnTo>
                    <a:pt x="152" y="606"/>
                  </a:lnTo>
                  <a:lnTo>
                    <a:pt x="152" y="604"/>
                  </a:lnTo>
                  <a:lnTo>
                    <a:pt x="150" y="604"/>
                  </a:lnTo>
                  <a:lnTo>
                    <a:pt x="150" y="604"/>
                  </a:lnTo>
                  <a:lnTo>
                    <a:pt x="147" y="604"/>
                  </a:lnTo>
                  <a:lnTo>
                    <a:pt x="147" y="604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4" y="601"/>
                  </a:lnTo>
                  <a:lnTo>
                    <a:pt x="144" y="598"/>
                  </a:lnTo>
                  <a:lnTo>
                    <a:pt x="144" y="598"/>
                  </a:lnTo>
                  <a:lnTo>
                    <a:pt x="144" y="598"/>
                  </a:lnTo>
                  <a:lnTo>
                    <a:pt x="142" y="598"/>
                  </a:lnTo>
                  <a:lnTo>
                    <a:pt x="142" y="598"/>
                  </a:lnTo>
                  <a:lnTo>
                    <a:pt x="142" y="598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42" y="601"/>
                  </a:lnTo>
                  <a:lnTo>
                    <a:pt x="139" y="601"/>
                  </a:lnTo>
                  <a:lnTo>
                    <a:pt x="139" y="601"/>
                  </a:lnTo>
                  <a:lnTo>
                    <a:pt x="136" y="598"/>
                  </a:lnTo>
                  <a:lnTo>
                    <a:pt x="136" y="598"/>
                  </a:lnTo>
                  <a:lnTo>
                    <a:pt x="134" y="598"/>
                  </a:lnTo>
                  <a:lnTo>
                    <a:pt x="131" y="598"/>
                  </a:lnTo>
                  <a:lnTo>
                    <a:pt x="128" y="596"/>
                  </a:lnTo>
                  <a:lnTo>
                    <a:pt x="128" y="596"/>
                  </a:lnTo>
                  <a:lnTo>
                    <a:pt x="126" y="593"/>
                  </a:lnTo>
                  <a:lnTo>
                    <a:pt x="126" y="593"/>
                  </a:lnTo>
                  <a:lnTo>
                    <a:pt x="126" y="590"/>
                  </a:lnTo>
                  <a:lnTo>
                    <a:pt x="126" y="590"/>
                  </a:lnTo>
                  <a:lnTo>
                    <a:pt x="123" y="588"/>
                  </a:lnTo>
                  <a:lnTo>
                    <a:pt x="120" y="588"/>
                  </a:lnTo>
                  <a:lnTo>
                    <a:pt x="120" y="588"/>
                  </a:lnTo>
                  <a:lnTo>
                    <a:pt x="120" y="585"/>
                  </a:lnTo>
                  <a:lnTo>
                    <a:pt x="120" y="585"/>
                  </a:lnTo>
                  <a:lnTo>
                    <a:pt x="120" y="582"/>
                  </a:lnTo>
                  <a:lnTo>
                    <a:pt x="120" y="580"/>
                  </a:lnTo>
                  <a:lnTo>
                    <a:pt x="118" y="580"/>
                  </a:lnTo>
                  <a:lnTo>
                    <a:pt x="118" y="577"/>
                  </a:lnTo>
                  <a:lnTo>
                    <a:pt x="118" y="577"/>
                  </a:lnTo>
                  <a:lnTo>
                    <a:pt x="120" y="577"/>
                  </a:lnTo>
                  <a:lnTo>
                    <a:pt x="120" y="574"/>
                  </a:lnTo>
                  <a:lnTo>
                    <a:pt x="120" y="574"/>
                  </a:lnTo>
                  <a:lnTo>
                    <a:pt x="120" y="574"/>
                  </a:lnTo>
                  <a:lnTo>
                    <a:pt x="123" y="574"/>
                  </a:lnTo>
                  <a:lnTo>
                    <a:pt x="120" y="574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23" y="569"/>
                  </a:lnTo>
                  <a:lnTo>
                    <a:pt x="123" y="569"/>
                  </a:lnTo>
                  <a:lnTo>
                    <a:pt x="123" y="569"/>
                  </a:lnTo>
                  <a:lnTo>
                    <a:pt x="123" y="566"/>
                  </a:lnTo>
                  <a:lnTo>
                    <a:pt x="123" y="566"/>
                  </a:lnTo>
                  <a:lnTo>
                    <a:pt x="120" y="566"/>
                  </a:lnTo>
                  <a:lnTo>
                    <a:pt x="120" y="566"/>
                  </a:lnTo>
                  <a:lnTo>
                    <a:pt x="118" y="564"/>
                  </a:lnTo>
                  <a:lnTo>
                    <a:pt x="118" y="564"/>
                  </a:lnTo>
                  <a:lnTo>
                    <a:pt x="118" y="561"/>
                  </a:lnTo>
                  <a:lnTo>
                    <a:pt x="118" y="556"/>
                  </a:lnTo>
                  <a:lnTo>
                    <a:pt x="118" y="556"/>
                  </a:lnTo>
                  <a:lnTo>
                    <a:pt x="120" y="553"/>
                  </a:lnTo>
                  <a:lnTo>
                    <a:pt x="120" y="553"/>
                  </a:lnTo>
                  <a:lnTo>
                    <a:pt x="120" y="550"/>
                  </a:lnTo>
                  <a:lnTo>
                    <a:pt x="123" y="548"/>
                  </a:lnTo>
                  <a:lnTo>
                    <a:pt x="126" y="545"/>
                  </a:lnTo>
                  <a:lnTo>
                    <a:pt x="126" y="542"/>
                  </a:lnTo>
                  <a:lnTo>
                    <a:pt x="126" y="540"/>
                  </a:lnTo>
                  <a:lnTo>
                    <a:pt x="128" y="540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7"/>
                  </a:lnTo>
                  <a:lnTo>
                    <a:pt x="128" y="534"/>
                  </a:lnTo>
                  <a:lnTo>
                    <a:pt x="128" y="532"/>
                  </a:lnTo>
                  <a:lnTo>
                    <a:pt x="128" y="532"/>
                  </a:lnTo>
                  <a:lnTo>
                    <a:pt x="128" y="529"/>
                  </a:lnTo>
                  <a:lnTo>
                    <a:pt x="128" y="526"/>
                  </a:lnTo>
                  <a:lnTo>
                    <a:pt x="128" y="524"/>
                  </a:lnTo>
                  <a:lnTo>
                    <a:pt x="128" y="524"/>
                  </a:lnTo>
                  <a:lnTo>
                    <a:pt x="128" y="521"/>
                  </a:lnTo>
                  <a:lnTo>
                    <a:pt x="128" y="521"/>
                  </a:lnTo>
                  <a:lnTo>
                    <a:pt x="128" y="518"/>
                  </a:lnTo>
                  <a:lnTo>
                    <a:pt x="126" y="518"/>
                  </a:lnTo>
                  <a:lnTo>
                    <a:pt x="126" y="518"/>
                  </a:lnTo>
                  <a:lnTo>
                    <a:pt x="123" y="516"/>
                  </a:lnTo>
                  <a:lnTo>
                    <a:pt x="123" y="516"/>
                  </a:lnTo>
                  <a:lnTo>
                    <a:pt x="123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3" y="513"/>
                  </a:lnTo>
                  <a:lnTo>
                    <a:pt x="123" y="513"/>
                  </a:lnTo>
                  <a:lnTo>
                    <a:pt x="126" y="510"/>
                  </a:lnTo>
                  <a:lnTo>
                    <a:pt x="126" y="510"/>
                  </a:lnTo>
                  <a:lnTo>
                    <a:pt x="126" y="510"/>
                  </a:lnTo>
                  <a:lnTo>
                    <a:pt x="126" y="508"/>
                  </a:lnTo>
                  <a:lnTo>
                    <a:pt x="123" y="508"/>
                  </a:lnTo>
                  <a:lnTo>
                    <a:pt x="123" y="508"/>
                  </a:lnTo>
                  <a:lnTo>
                    <a:pt x="123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20" y="508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5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8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5" y="502"/>
                  </a:lnTo>
                  <a:lnTo>
                    <a:pt x="118" y="502"/>
                  </a:lnTo>
                  <a:lnTo>
                    <a:pt x="120" y="502"/>
                  </a:lnTo>
                  <a:lnTo>
                    <a:pt x="120" y="502"/>
                  </a:lnTo>
                  <a:lnTo>
                    <a:pt x="120" y="502"/>
                  </a:lnTo>
                  <a:lnTo>
                    <a:pt x="123" y="502"/>
                  </a:lnTo>
                  <a:lnTo>
                    <a:pt x="123" y="502"/>
                  </a:lnTo>
                  <a:lnTo>
                    <a:pt x="123" y="502"/>
                  </a:lnTo>
                  <a:lnTo>
                    <a:pt x="126" y="502"/>
                  </a:lnTo>
                  <a:lnTo>
                    <a:pt x="126" y="502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0"/>
                  </a:lnTo>
                  <a:lnTo>
                    <a:pt x="126" y="502"/>
                  </a:lnTo>
                  <a:lnTo>
                    <a:pt x="128" y="502"/>
                  </a:lnTo>
                  <a:lnTo>
                    <a:pt x="128" y="500"/>
                  </a:lnTo>
                  <a:lnTo>
                    <a:pt x="128" y="497"/>
                  </a:lnTo>
                  <a:lnTo>
                    <a:pt x="128" y="494"/>
                  </a:lnTo>
                  <a:lnTo>
                    <a:pt x="126" y="494"/>
                  </a:lnTo>
                  <a:lnTo>
                    <a:pt x="126" y="494"/>
                  </a:lnTo>
                  <a:lnTo>
                    <a:pt x="126" y="494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3" y="492"/>
                  </a:lnTo>
                  <a:lnTo>
                    <a:pt x="123" y="492"/>
                  </a:lnTo>
                  <a:lnTo>
                    <a:pt x="123" y="492"/>
                  </a:lnTo>
                  <a:lnTo>
                    <a:pt x="120" y="492"/>
                  </a:lnTo>
                  <a:lnTo>
                    <a:pt x="120" y="492"/>
                  </a:lnTo>
                  <a:lnTo>
                    <a:pt x="120" y="489"/>
                  </a:lnTo>
                  <a:lnTo>
                    <a:pt x="120" y="489"/>
                  </a:lnTo>
                  <a:lnTo>
                    <a:pt x="118" y="489"/>
                  </a:lnTo>
                  <a:lnTo>
                    <a:pt x="118" y="489"/>
                  </a:lnTo>
                  <a:lnTo>
                    <a:pt x="120" y="489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23" y="484"/>
                  </a:lnTo>
                  <a:lnTo>
                    <a:pt x="123" y="484"/>
                  </a:lnTo>
                  <a:lnTo>
                    <a:pt x="123" y="481"/>
                  </a:lnTo>
                  <a:lnTo>
                    <a:pt x="123" y="481"/>
                  </a:lnTo>
                  <a:lnTo>
                    <a:pt x="123" y="481"/>
                  </a:lnTo>
                  <a:lnTo>
                    <a:pt x="123" y="484"/>
                  </a:lnTo>
                  <a:lnTo>
                    <a:pt x="123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6" y="484"/>
                  </a:lnTo>
                  <a:lnTo>
                    <a:pt x="128" y="481"/>
                  </a:lnTo>
                  <a:lnTo>
                    <a:pt x="128" y="481"/>
                  </a:lnTo>
                  <a:lnTo>
                    <a:pt x="126" y="481"/>
                  </a:lnTo>
                  <a:lnTo>
                    <a:pt x="128" y="481"/>
                  </a:lnTo>
                  <a:lnTo>
                    <a:pt x="128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31" y="476"/>
                  </a:lnTo>
                  <a:lnTo>
                    <a:pt x="131" y="473"/>
                  </a:lnTo>
                  <a:lnTo>
                    <a:pt x="131" y="473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70"/>
                  </a:lnTo>
                  <a:lnTo>
                    <a:pt x="134" y="468"/>
                  </a:lnTo>
                  <a:lnTo>
                    <a:pt x="134" y="468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28" y="470"/>
                  </a:lnTo>
                  <a:lnTo>
                    <a:pt x="128" y="470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8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28" y="465"/>
                  </a:lnTo>
                  <a:lnTo>
                    <a:pt x="131" y="465"/>
                  </a:lnTo>
                  <a:lnTo>
                    <a:pt x="131" y="462"/>
                  </a:lnTo>
                  <a:lnTo>
                    <a:pt x="131" y="462"/>
                  </a:lnTo>
                  <a:lnTo>
                    <a:pt x="131" y="460"/>
                  </a:lnTo>
                  <a:lnTo>
                    <a:pt x="131" y="460"/>
                  </a:lnTo>
                  <a:lnTo>
                    <a:pt x="134" y="460"/>
                  </a:lnTo>
                  <a:lnTo>
                    <a:pt x="134" y="460"/>
                  </a:lnTo>
                  <a:lnTo>
                    <a:pt x="136" y="460"/>
                  </a:lnTo>
                  <a:lnTo>
                    <a:pt x="136" y="460"/>
                  </a:lnTo>
                  <a:lnTo>
                    <a:pt x="136" y="460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42" y="465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42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7" y="462"/>
                  </a:lnTo>
                  <a:lnTo>
                    <a:pt x="147" y="462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47" y="460"/>
                  </a:lnTo>
                  <a:lnTo>
                    <a:pt x="150" y="460"/>
                  </a:lnTo>
                  <a:lnTo>
                    <a:pt x="152" y="460"/>
                  </a:lnTo>
                  <a:lnTo>
                    <a:pt x="152" y="462"/>
                  </a:lnTo>
                  <a:lnTo>
                    <a:pt x="155" y="462"/>
                  </a:lnTo>
                  <a:lnTo>
                    <a:pt x="158" y="462"/>
                  </a:lnTo>
                  <a:lnTo>
                    <a:pt x="158" y="462"/>
                  </a:lnTo>
                  <a:lnTo>
                    <a:pt x="158" y="460"/>
                  </a:lnTo>
                  <a:lnTo>
                    <a:pt x="160" y="460"/>
                  </a:lnTo>
                  <a:lnTo>
                    <a:pt x="160" y="460"/>
                  </a:lnTo>
                  <a:lnTo>
                    <a:pt x="163" y="457"/>
                  </a:lnTo>
                  <a:lnTo>
                    <a:pt x="166" y="457"/>
                  </a:lnTo>
                  <a:lnTo>
                    <a:pt x="168" y="457"/>
                  </a:lnTo>
                  <a:lnTo>
                    <a:pt x="171" y="457"/>
                  </a:lnTo>
                  <a:lnTo>
                    <a:pt x="174" y="457"/>
                  </a:lnTo>
                  <a:lnTo>
                    <a:pt x="176" y="457"/>
                  </a:lnTo>
                  <a:lnTo>
                    <a:pt x="176" y="460"/>
                  </a:lnTo>
                  <a:lnTo>
                    <a:pt x="179" y="460"/>
                  </a:lnTo>
                  <a:lnTo>
                    <a:pt x="182" y="460"/>
                  </a:lnTo>
                  <a:lnTo>
                    <a:pt x="184" y="460"/>
                  </a:lnTo>
                  <a:lnTo>
                    <a:pt x="190" y="460"/>
                  </a:lnTo>
                  <a:lnTo>
                    <a:pt x="190" y="460"/>
                  </a:lnTo>
                  <a:lnTo>
                    <a:pt x="192" y="460"/>
                  </a:lnTo>
                  <a:lnTo>
                    <a:pt x="195" y="460"/>
                  </a:lnTo>
                  <a:lnTo>
                    <a:pt x="200" y="460"/>
                  </a:lnTo>
                  <a:lnTo>
                    <a:pt x="203" y="462"/>
                  </a:lnTo>
                  <a:lnTo>
                    <a:pt x="208" y="462"/>
                  </a:lnTo>
                  <a:lnTo>
                    <a:pt x="211" y="462"/>
                  </a:lnTo>
                  <a:lnTo>
                    <a:pt x="216" y="462"/>
                  </a:lnTo>
                  <a:lnTo>
                    <a:pt x="216" y="462"/>
                  </a:lnTo>
                  <a:lnTo>
                    <a:pt x="219" y="462"/>
                  </a:lnTo>
                  <a:lnTo>
                    <a:pt x="222" y="465"/>
                  </a:lnTo>
                  <a:lnTo>
                    <a:pt x="224" y="465"/>
                  </a:lnTo>
                  <a:lnTo>
                    <a:pt x="227" y="465"/>
                  </a:lnTo>
                  <a:lnTo>
                    <a:pt x="230" y="465"/>
                  </a:lnTo>
                  <a:lnTo>
                    <a:pt x="232" y="465"/>
                  </a:lnTo>
                  <a:lnTo>
                    <a:pt x="232" y="465"/>
                  </a:lnTo>
                  <a:lnTo>
                    <a:pt x="235" y="465"/>
                  </a:lnTo>
                  <a:lnTo>
                    <a:pt x="235" y="462"/>
                  </a:lnTo>
                  <a:lnTo>
                    <a:pt x="246" y="460"/>
                  </a:lnTo>
                  <a:lnTo>
                    <a:pt x="248" y="460"/>
                  </a:lnTo>
                  <a:lnTo>
                    <a:pt x="251" y="460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9" y="460"/>
                  </a:lnTo>
                  <a:lnTo>
                    <a:pt x="262" y="460"/>
                  </a:lnTo>
                  <a:lnTo>
                    <a:pt x="264" y="460"/>
                  </a:lnTo>
                  <a:lnTo>
                    <a:pt x="264" y="457"/>
                  </a:lnTo>
                  <a:lnTo>
                    <a:pt x="267" y="457"/>
                  </a:lnTo>
                  <a:lnTo>
                    <a:pt x="267" y="457"/>
                  </a:lnTo>
                  <a:lnTo>
                    <a:pt x="270" y="457"/>
                  </a:lnTo>
                  <a:lnTo>
                    <a:pt x="272" y="454"/>
                  </a:lnTo>
                  <a:lnTo>
                    <a:pt x="272" y="454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8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57"/>
                  </a:lnTo>
                  <a:lnTo>
                    <a:pt x="275" y="460"/>
                  </a:lnTo>
                  <a:lnTo>
                    <a:pt x="275" y="460"/>
                  </a:lnTo>
                  <a:lnTo>
                    <a:pt x="275" y="460"/>
                  </a:lnTo>
                  <a:lnTo>
                    <a:pt x="278" y="460"/>
                  </a:lnTo>
                  <a:lnTo>
                    <a:pt x="278" y="460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78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3" y="462"/>
                  </a:lnTo>
                  <a:lnTo>
                    <a:pt x="283" y="462"/>
                  </a:lnTo>
                  <a:lnTo>
                    <a:pt x="286" y="465"/>
                  </a:lnTo>
                  <a:lnTo>
                    <a:pt x="286" y="465"/>
                  </a:lnTo>
                  <a:lnTo>
                    <a:pt x="286" y="465"/>
                  </a:lnTo>
                  <a:lnTo>
                    <a:pt x="288" y="465"/>
                  </a:lnTo>
                  <a:lnTo>
                    <a:pt x="291" y="465"/>
                  </a:lnTo>
                  <a:lnTo>
                    <a:pt x="291" y="465"/>
                  </a:lnTo>
                  <a:lnTo>
                    <a:pt x="294" y="465"/>
                  </a:lnTo>
                  <a:lnTo>
                    <a:pt x="294" y="465"/>
                  </a:lnTo>
                  <a:lnTo>
                    <a:pt x="294" y="465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6" y="462"/>
                  </a:lnTo>
                  <a:lnTo>
                    <a:pt x="294" y="462"/>
                  </a:lnTo>
                  <a:lnTo>
                    <a:pt x="294" y="462"/>
                  </a:lnTo>
                  <a:lnTo>
                    <a:pt x="296" y="460"/>
                  </a:lnTo>
                  <a:lnTo>
                    <a:pt x="296" y="460"/>
                  </a:lnTo>
                  <a:lnTo>
                    <a:pt x="296" y="457"/>
                  </a:lnTo>
                  <a:lnTo>
                    <a:pt x="296" y="457"/>
                  </a:lnTo>
                  <a:lnTo>
                    <a:pt x="296" y="457"/>
                  </a:lnTo>
                  <a:lnTo>
                    <a:pt x="296" y="454"/>
                  </a:lnTo>
                  <a:lnTo>
                    <a:pt x="296" y="454"/>
                  </a:lnTo>
                  <a:lnTo>
                    <a:pt x="299" y="454"/>
                  </a:lnTo>
                  <a:lnTo>
                    <a:pt x="299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2"/>
                  </a:lnTo>
                  <a:lnTo>
                    <a:pt x="312" y="452"/>
                  </a:lnTo>
                  <a:lnTo>
                    <a:pt x="315" y="452"/>
                  </a:lnTo>
                  <a:lnTo>
                    <a:pt x="315" y="449"/>
                  </a:lnTo>
                  <a:lnTo>
                    <a:pt x="315" y="449"/>
                  </a:lnTo>
                  <a:lnTo>
                    <a:pt x="318" y="449"/>
                  </a:lnTo>
                  <a:lnTo>
                    <a:pt x="318" y="449"/>
                  </a:lnTo>
                  <a:lnTo>
                    <a:pt x="320" y="449"/>
                  </a:lnTo>
                  <a:lnTo>
                    <a:pt x="320" y="449"/>
                  </a:lnTo>
                  <a:lnTo>
                    <a:pt x="323" y="449"/>
                  </a:lnTo>
                  <a:lnTo>
                    <a:pt x="323" y="449"/>
                  </a:lnTo>
                  <a:lnTo>
                    <a:pt x="326" y="449"/>
                  </a:lnTo>
                  <a:lnTo>
                    <a:pt x="329" y="449"/>
                  </a:lnTo>
                  <a:lnTo>
                    <a:pt x="329" y="449"/>
                  </a:lnTo>
                  <a:lnTo>
                    <a:pt x="331" y="449"/>
                  </a:lnTo>
                  <a:lnTo>
                    <a:pt x="331" y="449"/>
                  </a:lnTo>
                  <a:lnTo>
                    <a:pt x="331" y="449"/>
                  </a:lnTo>
                  <a:lnTo>
                    <a:pt x="334" y="449"/>
                  </a:lnTo>
                  <a:lnTo>
                    <a:pt x="334" y="449"/>
                  </a:lnTo>
                  <a:lnTo>
                    <a:pt x="337" y="449"/>
                  </a:lnTo>
                  <a:lnTo>
                    <a:pt x="337" y="449"/>
                  </a:lnTo>
                  <a:lnTo>
                    <a:pt x="339" y="449"/>
                  </a:lnTo>
                  <a:lnTo>
                    <a:pt x="339" y="449"/>
                  </a:lnTo>
                  <a:lnTo>
                    <a:pt x="339" y="449"/>
                  </a:lnTo>
                  <a:lnTo>
                    <a:pt x="342" y="449"/>
                  </a:lnTo>
                  <a:lnTo>
                    <a:pt x="342" y="449"/>
                  </a:lnTo>
                  <a:lnTo>
                    <a:pt x="345" y="449"/>
                  </a:lnTo>
                  <a:lnTo>
                    <a:pt x="345" y="449"/>
                  </a:lnTo>
                  <a:lnTo>
                    <a:pt x="345" y="452"/>
                  </a:lnTo>
                  <a:lnTo>
                    <a:pt x="347" y="452"/>
                  </a:lnTo>
                  <a:lnTo>
                    <a:pt x="347" y="452"/>
                  </a:lnTo>
                  <a:lnTo>
                    <a:pt x="350" y="452"/>
                  </a:lnTo>
                  <a:lnTo>
                    <a:pt x="350" y="454"/>
                  </a:lnTo>
                  <a:lnTo>
                    <a:pt x="350" y="454"/>
                  </a:lnTo>
                  <a:lnTo>
                    <a:pt x="350" y="457"/>
                  </a:lnTo>
                  <a:lnTo>
                    <a:pt x="347" y="457"/>
                  </a:lnTo>
                  <a:lnTo>
                    <a:pt x="347" y="460"/>
                  </a:lnTo>
                  <a:lnTo>
                    <a:pt x="347" y="460"/>
                  </a:lnTo>
                  <a:lnTo>
                    <a:pt x="345" y="462"/>
                  </a:lnTo>
                  <a:lnTo>
                    <a:pt x="342" y="462"/>
                  </a:lnTo>
                  <a:lnTo>
                    <a:pt x="342" y="462"/>
                  </a:lnTo>
                  <a:lnTo>
                    <a:pt x="342" y="462"/>
                  </a:lnTo>
                  <a:lnTo>
                    <a:pt x="339" y="465"/>
                  </a:lnTo>
                  <a:lnTo>
                    <a:pt x="339" y="465"/>
                  </a:lnTo>
                  <a:lnTo>
                    <a:pt x="337" y="468"/>
                  </a:lnTo>
                  <a:lnTo>
                    <a:pt x="337" y="468"/>
                  </a:lnTo>
                  <a:lnTo>
                    <a:pt x="334" y="470"/>
                  </a:lnTo>
                  <a:lnTo>
                    <a:pt x="334" y="470"/>
                  </a:lnTo>
                  <a:lnTo>
                    <a:pt x="334" y="470"/>
                  </a:lnTo>
                  <a:lnTo>
                    <a:pt x="331" y="473"/>
                  </a:lnTo>
                  <a:lnTo>
                    <a:pt x="329" y="473"/>
                  </a:lnTo>
                  <a:lnTo>
                    <a:pt x="329" y="473"/>
                  </a:lnTo>
                  <a:lnTo>
                    <a:pt x="326" y="473"/>
                  </a:lnTo>
                  <a:lnTo>
                    <a:pt x="326" y="476"/>
                  </a:lnTo>
                  <a:lnTo>
                    <a:pt x="326" y="476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78"/>
                  </a:lnTo>
                  <a:lnTo>
                    <a:pt x="323" y="481"/>
                  </a:lnTo>
                  <a:lnTo>
                    <a:pt x="320" y="481"/>
                  </a:lnTo>
                  <a:lnTo>
                    <a:pt x="318" y="481"/>
                  </a:lnTo>
                  <a:lnTo>
                    <a:pt x="318" y="481"/>
                  </a:lnTo>
                  <a:lnTo>
                    <a:pt x="315" y="481"/>
                  </a:lnTo>
                  <a:lnTo>
                    <a:pt x="315" y="481"/>
                  </a:lnTo>
                  <a:lnTo>
                    <a:pt x="312" y="481"/>
                  </a:lnTo>
                  <a:lnTo>
                    <a:pt x="312" y="484"/>
                  </a:lnTo>
                  <a:lnTo>
                    <a:pt x="312" y="486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0" y="486"/>
                  </a:lnTo>
                  <a:lnTo>
                    <a:pt x="310" y="489"/>
                  </a:lnTo>
                  <a:lnTo>
                    <a:pt x="310" y="489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89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5" y="484"/>
                  </a:lnTo>
                  <a:lnTo>
                    <a:pt x="318" y="484"/>
                  </a:lnTo>
                  <a:lnTo>
                    <a:pt x="320" y="484"/>
                  </a:lnTo>
                  <a:lnTo>
                    <a:pt x="320" y="484"/>
                  </a:lnTo>
                  <a:lnTo>
                    <a:pt x="323" y="484"/>
                  </a:lnTo>
                  <a:lnTo>
                    <a:pt x="323" y="484"/>
                  </a:lnTo>
                  <a:lnTo>
                    <a:pt x="326" y="484"/>
                  </a:lnTo>
                  <a:lnTo>
                    <a:pt x="326" y="484"/>
                  </a:lnTo>
                  <a:lnTo>
                    <a:pt x="329" y="484"/>
                  </a:lnTo>
                  <a:lnTo>
                    <a:pt x="329" y="484"/>
                  </a:lnTo>
                  <a:lnTo>
                    <a:pt x="331" y="484"/>
                  </a:lnTo>
                  <a:lnTo>
                    <a:pt x="334" y="484"/>
                  </a:lnTo>
                  <a:lnTo>
                    <a:pt x="334" y="484"/>
                  </a:lnTo>
                  <a:lnTo>
                    <a:pt x="337" y="484"/>
                  </a:lnTo>
                  <a:lnTo>
                    <a:pt x="337" y="484"/>
                  </a:lnTo>
                  <a:lnTo>
                    <a:pt x="339" y="484"/>
                  </a:lnTo>
                  <a:lnTo>
                    <a:pt x="339" y="484"/>
                  </a:lnTo>
                  <a:lnTo>
                    <a:pt x="339" y="481"/>
                  </a:lnTo>
                  <a:lnTo>
                    <a:pt x="342" y="481"/>
                  </a:lnTo>
                  <a:lnTo>
                    <a:pt x="342" y="481"/>
                  </a:lnTo>
                  <a:lnTo>
                    <a:pt x="345" y="481"/>
                  </a:lnTo>
                  <a:lnTo>
                    <a:pt x="345" y="481"/>
                  </a:lnTo>
                  <a:lnTo>
                    <a:pt x="347" y="481"/>
                  </a:lnTo>
                  <a:lnTo>
                    <a:pt x="350" y="481"/>
                  </a:lnTo>
                  <a:lnTo>
                    <a:pt x="350" y="481"/>
                  </a:lnTo>
                  <a:lnTo>
                    <a:pt x="350" y="478"/>
                  </a:lnTo>
                  <a:lnTo>
                    <a:pt x="353" y="476"/>
                  </a:lnTo>
                  <a:lnTo>
                    <a:pt x="353" y="476"/>
                  </a:lnTo>
                  <a:lnTo>
                    <a:pt x="355" y="473"/>
                  </a:lnTo>
                  <a:lnTo>
                    <a:pt x="355" y="473"/>
                  </a:lnTo>
                  <a:lnTo>
                    <a:pt x="358" y="470"/>
                  </a:lnTo>
                  <a:lnTo>
                    <a:pt x="358" y="470"/>
                  </a:lnTo>
                  <a:lnTo>
                    <a:pt x="358" y="470"/>
                  </a:lnTo>
                  <a:lnTo>
                    <a:pt x="355" y="470"/>
                  </a:lnTo>
                  <a:lnTo>
                    <a:pt x="355" y="470"/>
                  </a:lnTo>
                  <a:lnTo>
                    <a:pt x="355" y="470"/>
                  </a:lnTo>
                  <a:lnTo>
                    <a:pt x="355" y="473"/>
                  </a:lnTo>
                  <a:lnTo>
                    <a:pt x="353" y="473"/>
                  </a:lnTo>
                  <a:lnTo>
                    <a:pt x="353" y="470"/>
                  </a:lnTo>
                  <a:lnTo>
                    <a:pt x="353" y="470"/>
                  </a:lnTo>
                  <a:lnTo>
                    <a:pt x="353" y="470"/>
                  </a:lnTo>
                  <a:lnTo>
                    <a:pt x="353" y="468"/>
                  </a:lnTo>
                  <a:lnTo>
                    <a:pt x="355" y="468"/>
                  </a:lnTo>
                  <a:lnTo>
                    <a:pt x="355" y="468"/>
                  </a:lnTo>
                  <a:lnTo>
                    <a:pt x="358" y="465"/>
                  </a:lnTo>
                  <a:lnTo>
                    <a:pt x="361" y="465"/>
                  </a:lnTo>
                  <a:lnTo>
                    <a:pt x="361" y="462"/>
                  </a:lnTo>
                  <a:lnTo>
                    <a:pt x="361" y="462"/>
                  </a:lnTo>
                  <a:lnTo>
                    <a:pt x="361" y="462"/>
                  </a:lnTo>
                  <a:lnTo>
                    <a:pt x="361" y="460"/>
                  </a:lnTo>
                  <a:lnTo>
                    <a:pt x="358" y="460"/>
                  </a:lnTo>
                  <a:lnTo>
                    <a:pt x="358" y="457"/>
                  </a:lnTo>
                  <a:lnTo>
                    <a:pt x="355" y="457"/>
                  </a:lnTo>
                  <a:lnTo>
                    <a:pt x="355" y="457"/>
                  </a:lnTo>
                  <a:lnTo>
                    <a:pt x="355" y="454"/>
                  </a:lnTo>
                  <a:lnTo>
                    <a:pt x="355" y="454"/>
                  </a:lnTo>
                  <a:lnTo>
                    <a:pt x="353" y="452"/>
                  </a:lnTo>
                  <a:lnTo>
                    <a:pt x="353" y="452"/>
                  </a:lnTo>
                  <a:lnTo>
                    <a:pt x="353" y="449"/>
                  </a:lnTo>
                  <a:lnTo>
                    <a:pt x="353" y="446"/>
                  </a:lnTo>
                  <a:lnTo>
                    <a:pt x="353" y="443"/>
                  </a:lnTo>
                  <a:lnTo>
                    <a:pt x="350" y="443"/>
                  </a:lnTo>
                  <a:lnTo>
                    <a:pt x="350" y="441"/>
                  </a:lnTo>
                  <a:lnTo>
                    <a:pt x="350" y="438"/>
                  </a:lnTo>
                  <a:lnTo>
                    <a:pt x="350" y="438"/>
                  </a:lnTo>
                  <a:lnTo>
                    <a:pt x="347" y="435"/>
                  </a:lnTo>
                  <a:lnTo>
                    <a:pt x="347" y="433"/>
                  </a:lnTo>
                  <a:lnTo>
                    <a:pt x="347" y="433"/>
                  </a:lnTo>
                  <a:lnTo>
                    <a:pt x="347" y="430"/>
                  </a:lnTo>
                  <a:lnTo>
                    <a:pt x="350" y="430"/>
                  </a:lnTo>
                  <a:lnTo>
                    <a:pt x="350" y="430"/>
                  </a:lnTo>
                  <a:lnTo>
                    <a:pt x="353" y="430"/>
                  </a:lnTo>
                  <a:lnTo>
                    <a:pt x="355" y="430"/>
                  </a:lnTo>
                  <a:lnTo>
                    <a:pt x="355" y="430"/>
                  </a:lnTo>
                  <a:lnTo>
                    <a:pt x="358" y="433"/>
                  </a:lnTo>
                  <a:lnTo>
                    <a:pt x="358" y="433"/>
                  </a:lnTo>
                  <a:lnTo>
                    <a:pt x="361" y="435"/>
                  </a:lnTo>
                  <a:lnTo>
                    <a:pt x="361" y="435"/>
                  </a:lnTo>
                  <a:lnTo>
                    <a:pt x="361" y="435"/>
                  </a:lnTo>
                  <a:lnTo>
                    <a:pt x="363" y="435"/>
                  </a:lnTo>
                  <a:lnTo>
                    <a:pt x="363" y="435"/>
                  </a:lnTo>
                  <a:lnTo>
                    <a:pt x="361" y="433"/>
                  </a:lnTo>
                  <a:lnTo>
                    <a:pt x="361" y="433"/>
                  </a:lnTo>
                  <a:lnTo>
                    <a:pt x="361" y="430"/>
                  </a:lnTo>
                  <a:lnTo>
                    <a:pt x="358" y="430"/>
                  </a:lnTo>
                  <a:lnTo>
                    <a:pt x="358" y="430"/>
                  </a:lnTo>
                  <a:lnTo>
                    <a:pt x="355" y="430"/>
                  </a:lnTo>
                  <a:lnTo>
                    <a:pt x="353" y="430"/>
                  </a:lnTo>
                  <a:lnTo>
                    <a:pt x="353" y="427"/>
                  </a:lnTo>
                  <a:lnTo>
                    <a:pt x="350" y="427"/>
                  </a:lnTo>
                  <a:lnTo>
                    <a:pt x="350" y="427"/>
                  </a:lnTo>
                  <a:lnTo>
                    <a:pt x="347" y="427"/>
                  </a:lnTo>
                  <a:lnTo>
                    <a:pt x="345" y="427"/>
                  </a:lnTo>
                  <a:lnTo>
                    <a:pt x="345" y="427"/>
                  </a:lnTo>
                  <a:lnTo>
                    <a:pt x="345" y="427"/>
                  </a:lnTo>
                  <a:lnTo>
                    <a:pt x="342" y="425"/>
                  </a:lnTo>
                  <a:lnTo>
                    <a:pt x="345" y="425"/>
                  </a:lnTo>
                  <a:lnTo>
                    <a:pt x="345" y="422"/>
                  </a:lnTo>
                  <a:lnTo>
                    <a:pt x="345" y="422"/>
                  </a:lnTo>
                  <a:lnTo>
                    <a:pt x="342" y="422"/>
                  </a:lnTo>
                  <a:lnTo>
                    <a:pt x="339" y="419"/>
                  </a:lnTo>
                  <a:lnTo>
                    <a:pt x="339" y="419"/>
                  </a:lnTo>
                  <a:lnTo>
                    <a:pt x="342" y="419"/>
                  </a:lnTo>
                  <a:lnTo>
                    <a:pt x="342" y="417"/>
                  </a:lnTo>
                  <a:lnTo>
                    <a:pt x="342" y="417"/>
                  </a:lnTo>
                  <a:lnTo>
                    <a:pt x="342" y="414"/>
                  </a:lnTo>
                  <a:lnTo>
                    <a:pt x="342" y="411"/>
                  </a:lnTo>
                  <a:lnTo>
                    <a:pt x="342" y="411"/>
                  </a:lnTo>
                  <a:lnTo>
                    <a:pt x="342" y="409"/>
                  </a:lnTo>
                  <a:lnTo>
                    <a:pt x="342" y="409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7" y="406"/>
                  </a:lnTo>
                  <a:lnTo>
                    <a:pt x="337" y="406"/>
                  </a:lnTo>
                  <a:lnTo>
                    <a:pt x="334" y="406"/>
                  </a:lnTo>
                  <a:lnTo>
                    <a:pt x="331" y="403"/>
                  </a:lnTo>
                  <a:lnTo>
                    <a:pt x="331" y="403"/>
                  </a:lnTo>
                  <a:lnTo>
                    <a:pt x="329" y="403"/>
                  </a:lnTo>
                  <a:lnTo>
                    <a:pt x="329" y="401"/>
                  </a:lnTo>
                  <a:lnTo>
                    <a:pt x="326" y="401"/>
                  </a:lnTo>
                  <a:lnTo>
                    <a:pt x="323" y="401"/>
                  </a:lnTo>
                  <a:lnTo>
                    <a:pt x="323" y="403"/>
                  </a:lnTo>
                  <a:lnTo>
                    <a:pt x="320" y="401"/>
                  </a:lnTo>
                  <a:lnTo>
                    <a:pt x="320" y="401"/>
                  </a:lnTo>
                  <a:lnTo>
                    <a:pt x="318" y="398"/>
                  </a:lnTo>
                  <a:lnTo>
                    <a:pt x="318" y="398"/>
                  </a:lnTo>
                  <a:lnTo>
                    <a:pt x="315" y="395"/>
                  </a:lnTo>
                  <a:lnTo>
                    <a:pt x="315" y="395"/>
                  </a:lnTo>
                  <a:lnTo>
                    <a:pt x="315" y="393"/>
                  </a:lnTo>
                  <a:lnTo>
                    <a:pt x="315" y="393"/>
                  </a:lnTo>
                  <a:lnTo>
                    <a:pt x="318" y="390"/>
                  </a:lnTo>
                  <a:lnTo>
                    <a:pt x="318" y="390"/>
                  </a:lnTo>
                  <a:lnTo>
                    <a:pt x="318" y="387"/>
                  </a:lnTo>
                  <a:lnTo>
                    <a:pt x="318" y="387"/>
                  </a:lnTo>
                  <a:lnTo>
                    <a:pt x="318" y="387"/>
                  </a:lnTo>
                  <a:lnTo>
                    <a:pt x="320" y="387"/>
                  </a:lnTo>
                  <a:lnTo>
                    <a:pt x="320" y="387"/>
                  </a:lnTo>
                  <a:lnTo>
                    <a:pt x="323" y="387"/>
                  </a:lnTo>
                  <a:lnTo>
                    <a:pt x="323" y="387"/>
                  </a:lnTo>
                  <a:lnTo>
                    <a:pt x="323" y="390"/>
                  </a:lnTo>
                  <a:lnTo>
                    <a:pt x="323" y="390"/>
                  </a:lnTo>
                  <a:lnTo>
                    <a:pt x="326" y="390"/>
                  </a:lnTo>
                  <a:lnTo>
                    <a:pt x="326" y="393"/>
                  </a:lnTo>
                  <a:lnTo>
                    <a:pt x="326" y="393"/>
                  </a:lnTo>
                  <a:lnTo>
                    <a:pt x="329" y="395"/>
                  </a:lnTo>
                  <a:lnTo>
                    <a:pt x="329" y="395"/>
                  </a:lnTo>
                  <a:lnTo>
                    <a:pt x="329" y="398"/>
                  </a:lnTo>
                  <a:lnTo>
                    <a:pt x="329" y="398"/>
                  </a:lnTo>
                  <a:lnTo>
                    <a:pt x="329" y="395"/>
                  </a:lnTo>
                  <a:lnTo>
                    <a:pt x="329" y="393"/>
                  </a:lnTo>
                  <a:lnTo>
                    <a:pt x="329" y="393"/>
                  </a:lnTo>
                  <a:lnTo>
                    <a:pt x="329" y="390"/>
                  </a:lnTo>
                  <a:lnTo>
                    <a:pt x="329" y="390"/>
                  </a:lnTo>
                  <a:lnTo>
                    <a:pt x="329" y="387"/>
                  </a:lnTo>
                  <a:lnTo>
                    <a:pt x="329" y="387"/>
                  </a:lnTo>
                  <a:lnTo>
                    <a:pt x="326" y="387"/>
                  </a:lnTo>
                  <a:lnTo>
                    <a:pt x="323" y="385"/>
                  </a:lnTo>
                  <a:lnTo>
                    <a:pt x="323" y="385"/>
                  </a:lnTo>
                  <a:lnTo>
                    <a:pt x="323" y="385"/>
                  </a:lnTo>
                  <a:lnTo>
                    <a:pt x="326" y="382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29" y="382"/>
                  </a:lnTo>
                  <a:lnTo>
                    <a:pt x="329" y="385"/>
                  </a:lnTo>
                  <a:lnTo>
                    <a:pt x="329" y="385"/>
                  </a:lnTo>
                  <a:lnTo>
                    <a:pt x="331" y="385"/>
                  </a:lnTo>
                  <a:lnTo>
                    <a:pt x="331" y="382"/>
                  </a:lnTo>
                  <a:lnTo>
                    <a:pt x="331" y="382"/>
                  </a:lnTo>
                  <a:lnTo>
                    <a:pt x="331" y="382"/>
                  </a:lnTo>
                  <a:lnTo>
                    <a:pt x="334" y="382"/>
                  </a:lnTo>
                  <a:lnTo>
                    <a:pt x="334" y="382"/>
                  </a:lnTo>
                  <a:lnTo>
                    <a:pt x="334" y="382"/>
                  </a:lnTo>
                  <a:lnTo>
                    <a:pt x="334" y="379"/>
                  </a:lnTo>
                  <a:lnTo>
                    <a:pt x="337" y="379"/>
                  </a:lnTo>
                  <a:lnTo>
                    <a:pt x="339" y="379"/>
                  </a:lnTo>
                  <a:lnTo>
                    <a:pt x="339" y="382"/>
                  </a:lnTo>
                  <a:lnTo>
                    <a:pt x="339" y="382"/>
                  </a:lnTo>
                  <a:lnTo>
                    <a:pt x="339" y="385"/>
                  </a:lnTo>
                  <a:lnTo>
                    <a:pt x="339" y="385"/>
                  </a:lnTo>
                  <a:lnTo>
                    <a:pt x="342" y="385"/>
                  </a:lnTo>
                  <a:lnTo>
                    <a:pt x="342" y="385"/>
                  </a:lnTo>
                  <a:lnTo>
                    <a:pt x="342" y="387"/>
                  </a:lnTo>
                  <a:lnTo>
                    <a:pt x="339" y="387"/>
                  </a:lnTo>
                  <a:lnTo>
                    <a:pt x="339" y="390"/>
                  </a:lnTo>
                  <a:lnTo>
                    <a:pt x="342" y="390"/>
                  </a:lnTo>
                  <a:lnTo>
                    <a:pt x="342" y="387"/>
                  </a:lnTo>
                  <a:lnTo>
                    <a:pt x="345" y="387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7" y="390"/>
                  </a:lnTo>
                  <a:lnTo>
                    <a:pt x="347" y="387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0"/>
                  </a:lnTo>
                  <a:lnTo>
                    <a:pt x="350" y="393"/>
                  </a:lnTo>
                  <a:lnTo>
                    <a:pt x="350" y="393"/>
                  </a:lnTo>
                  <a:lnTo>
                    <a:pt x="350" y="393"/>
                  </a:lnTo>
                  <a:lnTo>
                    <a:pt x="347" y="393"/>
                  </a:lnTo>
                  <a:lnTo>
                    <a:pt x="347" y="395"/>
                  </a:lnTo>
                  <a:lnTo>
                    <a:pt x="345" y="395"/>
                  </a:lnTo>
                  <a:lnTo>
                    <a:pt x="345" y="395"/>
                  </a:lnTo>
                  <a:lnTo>
                    <a:pt x="342" y="398"/>
                  </a:lnTo>
                  <a:lnTo>
                    <a:pt x="342" y="398"/>
                  </a:lnTo>
                  <a:lnTo>
                    <a:pt x="342" y="398"/>
                  </a:lnTo>
                  <a:lnTo>
                    <a:pt x="342" y="401"/>
                  </a:lnTo>
                  <a:lnTo>
                    <a:pt x="342" y="401"/>
                  </a:lnTo>
                  <a:lnTo>
                    <a:pt x="345" y="401"/>
                  </a:lnTo>
                  <a:lnTo>
                    <a:pt x="345" y="401"/>
                  </a:lnTo>
                  <a:lnTo>
                    <a:pt x="347" y="401"/>
                  </a:lnTo>
                  <a:lnTo>
                    <a:pt x="347" y="401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50" y="398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3" y="395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0" y="398"/>
                  </a:lnTo>
                  <a:lnTo>
                    <a:pt x="350" y="401"/>
                  </a:lnTo>
                  <a:lnTo>
                    <a:pt x="353" y="401"/>
                  </a:lnTo>
                  <a:lnTo>
                    <a:pt x="350" y="401"/>
                  </a:lnTo>
                  <a:lnTo>
                    <a:pt x="350" y="401"/>
                  </a:lnTo>
                  <a:lnTo>
                    <a:pt x="350" y="403"/>
                  </a:lnTo>
                  <a:lnTo>
                    <a:pt x="350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1"/>
                  </a:lnTo>
                  <a:lnTo>
                    <a:pt x="355" y="398"/>
                  </a:lnTo>
                  <a:lnTo>
                    <a:pt x="353" y="395"/>
                  </a:lnTo>
                  <a:lnTo>
                    <a:pt x="353" y="395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5" y="393"/>
                  </a:lnTo>
                  <a:lnTo>
                    <a:pt x="355" y="393"/>
                  </a:lnTo>
                  <a:lnTo>
                    <a:pt x="358" y="395"/>
                  </a:lnTo>
                  <a:lnTo>
                    <a:pt x="358" y="395"/>
                  </a:lnTo>
                  <a:lnTo>
                    <a:pt x="358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61" y="395"/>
                  </a:lnTo>
                  <a:lnTo>
                    <a:pt x="358" y="395"/>
                  </a:lnTo>
                  <a:lnTo>
                    <a:pt x="358" y="393"/>
                  </a:lnTo>
                  <a:lnTo>
                    <a:pt x="355" y="393"/>
                  </a:lnTo>
                  <a:lnTo>
                    <a:pt x="355" y="390"/>
                  </a:lnTo>
                  <a:lnTo>
                    <a:pt x="353" y="390"/>
                  </a:lnTo>
                  <a:lnTo>
                    <a:pt x="353" y="387"/>
                  </a:lnTo>
                  <a:lnTo>
                    <a:pt x="355" y="387"/>
                  </a:lnTo>
                  <a:lnTo>
                    <a:pt x="355" y="387"/>
                  </a:lnTo>
                  <a:lnTo>
                    <a:pt x="355" y="385"/>
                  </a:lnTo>
                  <a:lnTo>
                    <a:pt x="355" y="385"/>
                  </a:lnTo>
                  <a:lnTo>
                    <a:pt x="355" y="382"/>
                  </a:lnTo>
                  <a:lnTo>
                    <a:pt x="355" y="385"/>
                  </a:lnTo>
                  <a:lnTo>
                    <a:pt x="353" y="385"/>
                  </a:lnTo>
                  <a:lnTo>
                    <a:pt x="353" y="387"/>
                  </a:lnTo>
                  <a:lnTo>
                    <a:pt x="350" y="387"/>
                  </a:lnTo>
                  <a:lnTo>
                    <a:pt x="347" y="387"/>
                  </a:lnTo>
                  <a:lnTo>
                    <a:pt x="347" y="387"/>
                  </a:lnTo>
                  <a:lnTo>
                    <a:pt x="345" y="385"/>
                  </a:lnTo>
                  <a:lnTo>
                    <a:pt x="347" y="385"/>
                  </a:lnTo>
                  <a:lnTo>
                    <a:pt x="347" y="385"/>
                  </a:lnTo>
                  <a:lnTo>
                    <a:pt x="345" y="382"/>
                  </a:lnTo>
                  <a:lnTo>
                    <a:pt x="345" y="382"/>
                  </a:lnTo>
                  <a:lnTo>
                    <a:pt x="342" y="385"/>
                  </a:lnTo>
                  <a:lnTo>
                    <a:pt x="342" y="382"/>
                  </a:lnTo>
                  <a:lnTo>
                    <a:pt x="342" y="382"/>
                  </a:lnTo>
                  <a:lnTo>
                    <a:pt x="345" y="379"/>
                  </a:lnTo>
                  <a:lnTo>
                    <a:pt x="345" y="379"/>
                  </a:lnTo>
                  <a:lnTo>
                    <a:pt x="342" y="379"/>
                  </a:lnTo>
                  <a:lnTo>
                    <a:pt x="342" y="379"/>
                  </a:lnTo>
                  <a:lnTo>
                    <a:pt x="342" y="377"/>
                  </a:lnTo>
                  <a:lnTo>
                    <a:pt x="342" y="377"/>
                  </a:lnTo>
                  <a:lnTo>
                    <a:pt x="339" y="377"/>
                  </a:lnTo>
                  <a:lnTo>
                    <a:pt x="339" y="377"/>
                  </a:lnTo>
                  <a:lnTo>
                    <a:pt x="339" y="377"/>
                  </a:lnTo>
                  <a:lnTo>
                    <a:pt x="342" y="374"/>
                  </a:lnTo>
                  <a:lnTo>
                    <a:pt x="342" y="374"/>
                  </a:lnTo>
                  <a:lnTo>
                    <a:pt x="345" y="374"/>
                  </a:lnTo>
                  <a:lnTo>
                    <a:pt x="347" y="371"/>
                  </a:lnTo>
                  <a:lnTo>
                    <a:pt x="347" y="371"/>
                  </a:lnTo>
                  <a:lnTo>
                    <a:pt x="350" y="371"/>
                  </a:lnTo>
                  <a:lnTo>
                    <a:pt x="350" y="371"/>
                  </a:lnTo>
                  <a:lnTo>
                    <a:pt x="347" y="369"/>
                  </a:lnTo>
                  <a:lnTo>
                    <a:pt x="345" y="371"/>
                  </a:lnTo>
                  <a:lnTo>
                    <a:pt x="345" y="371"/>
                  </a:lnTo>
                  <a:lnTo>
                    <a:pt x="342" y="371"/>
                  </a:lnTo>
                  <a:lnTo>
                    <a:pt x="342" y="371"/>
                  </a:lnTo>
                  <a:lnTo>
                    <a:pt x="339" y="371"/>
                  </a:lnTo>
                  <a:lnTo>
                    <a:pt x="339" y="371"/>
                  </a:lnTo>
                  <a:lnTo>
                    <a:pt x="337" y="369"/>
                  </a:lnTo>
                  <a:lnTo>
                    <a:pt x="339" y="369"/>
                  </a:lnTo>
                  <a:lnTo>
                    <a:pt x="339" y="369"/>
                  </a:lnTo>
                  <a:lnTo>
                    <a:pt x="337" y="369"/>
                  </a:lnTo>
                  <a:lnTo>
                    <a:pt x="337" y="366"/>
                  </a:lnTo>
                  <a:lnTo>
                    <a:pt x="337" y="366"/>
                  </a:lnTo>
                  <a:lnTo>
                    <a:pt x="334" y="366"/>
                  </a:lnTo>
                  <a:lnTo>
                    <a:pt x="334" y="366"/>
                  </a:lnTo>
                  <a:lnTo>
                    <a:pt x="334" y="366"/>
                  </a:lnTo>
                  <a:lnTo>
                    <a:pt x="334" y="363"/>
                  </a:lnTo>
                  <a:lnTo>
                    <a:pt x="334" y="363"/>
                  </a:lnTo>
                  <a:lnTo>
                    <a:pt x="331" y="363"/>
                  </a:lnTo>
                  <a:lnTo>
                    <a:pt x="329" y="363"/>
                  </a:lnTo>
                  <a:lnTo>
                    <a:pt x="329" y="361"/>
                  </a:lnTo>
                  <a:lnTo>
                    <a:pt x="326" y="361"/>
                  </a:lnTo>
                  <a:lnTo>
                    <a:pt x="326" y="361"/>
                  </a:lnTo>
                  <a:lnTo>
                    <a:pt x="323" y="361"/>
                  </a:lnTo>
                  <a:lnTo>
                    <a:pt x="323" y="361"/>
                  </a:lnTo>
                  <a:lnTo>
                    <a:pt x="323" y="361"/>
                  </a:lnTo>
                  <a:lnTo>
                    <a:pt x="320" y="361"/>
                  </a:lnTo>
                  <a:lnTo>
                    <a:pt x="320" y="361"/>
                  </a:lnTo>
                  <a:lnTo>
                    <a:pt x="320" y="361"/>
                  </a:lnTo>
                  <a:lnTo>
                    <a:pt x="318" y="361"/>
                  </a:lnTo>
                  <a:lnTo>
                    <a:pt x="318" y="361"/>
                  </a:lnTo>
                  <a:lnTo>
                    <a:pt x="315" y="358"/>
                  </a:lnTo>
                  <a:lnTo>
                    <a:pt x="315" y="358"/>
                  </a:lnTo>
                  <a:lnTo>
                    <a:pt x="315" y="358"/>
                  </a:lnTo>
                  <a:lnTo>
                    <a:pt x="315" y="355"/>
                  </a:lnTo>
                  <a:lnTo>
                    <a:pt x="315" y="355"/>
                  </a:lnTo>
                  <a:lnTo>
                    <a:pt x="315" y="355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20" y="355"/>
                  </a:lnTo>
                  <a:lnTo>
                    <a:pt x="320" y="355"/>
                  </a:lnTo>
                  <a:lnTo>
                    <a:pt x="320" y="353"/>
                  </a:lnTo>
                  <a:lnTo>
                    <a:pt x="318" y="353"/>
                  </a:lnTo>
                  <a:lnTo>
                    <a:pt x="318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3" y="350"/>
                  </a:lnTo>
                  <a:lnTo>
                    <a:pt x="323" y="350"/>
                  </a:lnTo>
                  <a:lnTo>
                    <a:pt x="326" y="350"/>
                  </a:lnTo>
                  <a:lnTo>
                    <a:pt x="326" y="350"/>
                  </a:lnTo>
                  <a:lnTo>
                    <a:pt x="326" y="347"/>
                  </a:lnTo>
                  <a:lnTo>
                    <a:pt x="329" y="347"/>
                  </a:lnTo>
                  <a:lnTo>
                    <a:pt x="326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2"/>
                  </a:lnTo>
                  <a:lnTo>
                    <a:pt x="326" y="342"/>
                  </a:lnTo>
                  <a:lnTo>
                    <a:pt x="326" y="342"/>
                  </a:lnTo>
                  <a:lnTo>
                    <a:pt x="326" y="339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9" y="337"/>
                  </a:lnTo>
                  <a:lnTo>
                    <a:pt x="329" y="339"/>
                  </a:lnTo>
                  <a:lnTo>
                    <a:pt x="329" y="339"/>
                  </a:lnTo>
                  <a:lnTo>
                    <a:pt x="329" y="342"/>
                  </a:lnTo>
                  <a:lnTo>
                    <a:pt x="329" y="342"/>
                  </a:lnTo>
                  <a:lnTo>
                    <a:pt x="331" y="342"/>
                  </a:lnTo>
                  <a:lnTo>
                    <a:pt x="331" y="342"/>
                  </a:lnTo>
                  <a:lnTo>
                    <a:pt x="331" y="339"/>
                  </a:lnTo>
                  <a:lnTo>
                    <a:pt x="331" y="342"/>
                  </a:lnTo>
                  <a:lnTo>
                    <a:pt x="334" y="342"/>
                  </a:lnTo>
                  <a:lnTo>
                    <a:pt x="334" y="345"/>
                  </a:lnTo>
                  <a:lnTo>
                    <a:pt x="337" y="345"/>
                  </a:lnTo>
                  <a:lnTo>
                    <a:pt x="337" y="345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7" y="347"/>
                  </a:lnTo>
                  <a:lnTo>
                    <a:pt x="334" y="347"/>
                  </a:lnTo>
                  <a:lnTo>
                    <a:pt x="334" y="345"/>
                  </a:lnTo>
                  <a:lnTo>
                    <a:pt x="331" y="345"/>
                  </a:lnTo>
                  <a:lnTo>
                    <a:pt x="331" y="347"/>
                  </a:lnTo>
                  <a:lnTo>
                    <a:pt x="331" y="347"/>
                  </a:lnTo>
                  <a:lnTo>
                    <a:pt x="334" y="347"/>
                  </a:lnTo>
                  <a:lnTo>
                    <a:pt x="334" y="350"/>
                  </a:lnTo>
                  <a:lnTo>
                    <a:pt x="334" y="353"/>
                  </a:lnTo>
                  <a:lnTo>
                    <a:pt x="334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9" y="350"/>
                  </a:lnTo>
                  <a:lnTo>
                    <a:pt x="339" y="350"/>
                  </a:lnTo>
                  <a:lnTo>
                    <a:pt x="339" y="350"/>
                  </a:lnTo>
                  <a:lnTo>
                    <a:pt x="339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5"/>
                  </a:lnTo>
                  <a:lnTo>
                    <a:pt x="345" y="355"/>
                  </a:lnTo>
                  <a:lnTo>
                    <a:pt x="342" y="355"/>
                  </a:lnTo>
                  <a:lnTo>
                    <a:pt x="342" y="358"/>
                  </a:lnTo>
                  <a:lnTo>
                    <a:pt x="342" y="358"/>
                  </a:lnTo>
                  <a:lnTo>
                    <a:pt x="342" y="361"/>
                  </a:lnTo>
                  <a:lnTo>
                    <a:pt x="342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1"/>
                  </a:lnTo>
                  <a:lnTo>
                    <a:pt x="345" y="363"/>
                  </a:lnTo>
                  <a:lnTo>
                    <a:pt x="345" y="363"/>
                  </a:lnTo>
                  <a:lnTo>
                    <a:pt x="345" y="366"/>
                  </a:lnTo>
                  <a:lnTo>
                    <a:pt x="345" y="366"/>
                  </a:lnTo>
                  <a:lnTo>
                    <a:pt x="347" y="363"/>
                  </a:lnTo>
                  <a:lnTo>
                    <a:pt x="350" y="363"/>
                  </a:lnTo>
                  <a:lnTo>
                    <a:pt x="350" y="366"/>
                  </a:lnTo>
                  <a:lnTo>
                    <a:pt x="350" y="366"/>
                  </a:lnTo>
                  <a:lnTo>
                    <a:pt x="353" y="366"/>
                  </a:lnTo>
                  <a:lnTo>
                    <a:pt x="353" y="366"/>
                  </a:lnTo>
                  <a:lnTo>
                    <a:pt x="355" y="366"/>
                  </a:lnTo>
                  <a:lnTo>
                    <a:pt x="353" y="366"/>
                  </a:lnTo>
                  <a:lnTo>
                    <a:pt x="353" y="363"/>
                  </a:lnTo>
                  <a:lnTo>
                    <a:pt x="353" y="363"/>
                  </a:lnTo>
                  <a:lnTo>
                    <a:pt x="353" y="361"/>
                  </a:lnTo>
                  <a:lnTo>
                    <a:pt x="353" y="361"/>
                  </a:lnTo>
                  <a:lnTo>
                    <a:pt x="353" y="358"/>
                  </a:lnTo>
                  <a:lnTo>
                    <a:pt x="353" y="358"/>
                  </a:lnTo>
                  <a:lnTo>
                    <a:pt x="355" y="358"/>
                  </a:lnTo>
                  <a:lnTo>
                    <a:pt x="353" y="358"/>
                  </a:lnTo>
                  <a:lnTo>
                    <a:pt x="353" y="355"/>
                  </a:lnTo>
                  <a:lnTo>
                    <a:pt x="350" y="358"/>
                  </a:lnTo>
                  <a:lnTo>
                    <a:pt x="350" y="358"/>
                  </a:lnTo>
                  <a:lnTo>
                    <a:pt x="347" y="358"/>
                  </a:lnTo>
                  <a:lnTo>
                    <a:pt x="347" y="355"/>
                  </a:lnTo>
                  <a:lnTo>
                    <a:pt x="347" y="355"/>
                  </a:lnTo>
                  <a:lnTo>
                    <a:pt x="347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50" y="353"/>
                  </a:lnTo>
                  <a:lnTo>
                    <a:pt x="350" y="350"/>
                  </a:lnTo>
                  <a:lnTo>
                    <a:pt x="353" y="350"/>
                  </a:lnTo>
                  <a:lnTo>
                    <a:pt x="350" y="350"/>
                  </a:lnTo>
                  <a:lnTo>
                    <a:pt x="353" y="347"/>
                  </a:lnTo>
                  <a:lnTo>
                    <a:pt x="353" y="347"/>
                  </a:lnTo>
                  <a:lnTo>
                    <a:pt x="353" y="350"/>
                  </a:lnTo>
                  <a:lnTo>
                    <a:pt x="355" y="350"/>
                  </a:lnTo>
                  <a:lnTo>
                    <a:pt x="355" y="350"/>
                  </a:lnTo>
                  <a:lnTo>
                    <a:pt x="355" y="353"/>
                  </a:lnTo>
                  <a:lnTo>
                    <a:pt x="355" y="353"/>
                  </a:lnTo>
                  <a:lnTo>
                    <a:pt x="355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3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61" y="347"/>
                  </a:lnTo>
                  <a:lnTo>
                    <a:pt x="358" y="347"/>
                  </a:lnTo>
                  <a:lnTo>
                    <a:pt x="358" y="347"/>
                  </a:lnTo>
                  <a:lnTo>
                    <a:pt x="358" y="345"/>
                  </a:lnTo>
                  <a:lnTo>
                    <a:pt x="358" y="342"/>
                  </a:lnTo>
                  <a:lnTo>
                    <a:pt x="358" y="342"/>
                  </a:lnTo>
                  <a:lnTo>
                    <a:pt x="358" y="339"/>
                  </a:lnTo>
                  <a:lnTo>
                    <a:pt x="358" y="339"/>
                  </a:lnTo>
                  <a:lnTo>
                    <a:pt x="361" y="339"/>
                  </a:lnTo>
                  <a:lnTo>
                    <a:pt x="361" y="337"/>
                  </a:lnTo>
                  <a:lnTo>
                    <a:pt x="361" y="337"/>
                  </a:lnTo>
                  <a:lnTo>
                    <a:pt x="361" y="339"/>
                  </a:lnTo>
                  <a:lnTo>
                    <a:pt x="363" y="337"/>
                  </a:lnTo>
                  <a:lnTo>
                    <a:pt x="363" y="337"/>
                  </a:lnTo>
                  <a:lnTo>
                    <a:pt x="361" y="337"/>
                  </a:lnTo>
                  <a:lnTo>
                    <a:pt x="363" y="334"/>
                  </a:lnTo>
                  <a:lnTo>
                    <a:pt x="363" y="334"/>
                  </a:lnTo>
                  <a:lnTo>
                    <a:pt x="363" y="337"/>
                  </a:lnTo>
                  <a:lnTo>
                    <a:pt x="363" y="334"/>
                  </a:lnTo>
                  <a:lnTo>
                    <a:pt x="363" y="334"/>
                  </a:lnTo>
                  <a:lnTo>
                    <a:pt x="366" y="334"/>
                  </a:lnTo>
                  <a:lnTo>
                    <a:pt x="366" y="331"/>
                  </a:lnTo>
                  <a:lnTo>
                    <a:pt x="369" y="331"/>
                  </a:lnTo>
                  <a:lnTo>
                    <a:pt x="369" y="329"/>
                  </a:lnTo>
                  <a:lnTo>
                    <a:pt x="371" y="329"/>
                  </a:lnTo>
                  <a:lnTo>
                    <a:pt x="371" y="329"/>
                  </a:lnTo>
                  <a:lnTo>
                    <a:pt x="371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3"/>
                  </a:lnTo>
                  <a:lnTo>
                    <a:pt x="363" y="323"/>
                  </a:lnTo>
                  <a:lnTo>
                    <a:pt x="366" y="323"/>
                  </a:lnTo>
                  <a:lnTo>
                    <a:pt x="366" y="323"/>
                  </a:lnTo>
                  <a:lnTo>
                    <a:pt x="366" y="321"/>
                  </a:lnTo>
                  <a:lnTo>
                    <a:pt x="369" y="321"/>
                  </a:lnTo>
                  <a:lnTo>
                    <a:pt x="369" y="321"/>
                  </a:lnTo>
                  <a:lnTo>
                    <a:pt x="371" y="321"/>
                  </a:lnTo>
                  <a:lnTo>
                    <a:pt x="371" y="321"/>
                  </a:lnTo>
                  <a:lnTo>
                    <a:pt x="371" y="321"/>
                  </a:lnTo>
                  <a:lnTo>
                    <a:pt x="374" y="323"/>
                  </a:lnTo>
                  <a:lnTo>
                    <a:pt x="374" y="323"/>
                  </a:lnTo>
                  <a:lnTo>
                    <a:pt x="374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29"/>
                  </a:lnTo>
                  <a:lnTo>
                    <a:pt x="374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1"/>
                  </a:lnTo>
                  <a:lnTo>
                    <a:pt x="377" y="334"/>
                  </a:lnTo>
                  <a:lnTo>
                    <a:pt x="379" y="331"/>
                  </a:lnTo>
                  <a:lnTo>
                    <a:pt x="379" y="331"/>
                  </a:lnTo>
                  <a:lnTo>
                    <a:pt x="379" y="331"/>
                  </a:lnTo>
                  <a:lnTo>
                    <a:pt x="377" y="326"/>
                  </a:lnTo>
                  <a:lnTo>
                    <a:pt x="377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82" y="326"/>
                  </a:lnTo>
                  <a:lnTo>
                    <a:pt x="382" y="323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2" y="321"/>
                  </a:lnTo>
                  <a:lnTo>
                    <a:pt x="385" y="323"/>
                  </a:lnTo>
                  <a:lnTo>
                    <a:pt x="385" y="321"/>
                  </a:lnTo>
                  <a:lnTo>
                    <a:pt x="385" y="321"/>
                  </a:lnTo>
                  <a:lnTo>
                    <a:pt x="385" y="321"/>
                  </a:lnTo>
                  <a:lnTo>
                    <a:pt x="382" y="318"/>
                  </a:lnTo>
                  <a:lnTo>
                    <a:pt x="382" y="318"/>
                  </a:lnTo>
                  <a:lnTo>
                    <a:pt x="379" y="318"/>
                  </a:lnTo>
                  <a:lnTo>
                    <a:pt x="379" y="318"/>
                  </a:lnTo>
                  <a:lnTo>
                    <a:pt x="377" y="318"/>
                  </a:lnTo>
                  <a:lnTo>
                    <a:pt x="374" y="318"/>
                  </a:lnTo>
                  <a:lnTo>
                    <a:pt x="371" y="318"/>
                  </a:lnTo>
                  <a:lnTo>
                    <a:pt x="371" y="318"/>
                  </a:lnTo>
                  <a:lnTo>
                    <a:pt x="371" y="318"/>
                  </a:lnTo>
                  <a:lnTo>
                    <a:pt x="369" y="315"/>
                  </a:lnTo>
                  <a:lnTo>
                    <a:pt x="369" y="315"/>
                  </a:lnTo>
                  <a:lnTo>
                    <a:pt x="366" y="315"/>
                  </a:lnTo>
                  <a:lnTo>
                    <a:pt x="363" y="313"/>
                  </a:lnTo>
                  <a:lnTo>
                    <a:pt x="363" y="313"/>
                  </a:lnTo>
                  <a:lnTo>
                    <a:pt x="361" y="310"/>
                  </a:lnTo>
                  <a:lnTo>
                    <a:pt x="361" y="310"/>
                  </a:lnTo>
                  <a:lnTo>
                    <a:pt x="358" y="310"/>
                  </a:lnTo>
                  <a:lnTo>
                    <a:pt x="358" y="313"/>
                  </a:lnTo>
                  <a:lnTo>
                    <a:pt x="358" y="313"/>
                  </a:lnTo>
                  <a:lnTo>
                    <a:pt x="358" y="313"/>
                  </a:lnTo>
                  <a:lnTo>
                    <a:pt x="355" y="313"/>
                  </a:lnTo>
                  <a:lnTo>
                    <a:pt x="355" y="310"/>
                  </a:lnTo>
                  <a:lnTo>
                    <a:pt x="355" y="307"/>
                  </a:lnTo>
                  <a:lnTo>
                    <a:pt x="358" y="307"/>
                  </a:lnTo>
                  <a:lnTo>
                    <a:pt x="358" y="305"/>
                  </a:lnTo>
                  <a:lnTo>
                    <a:pt x="361" y="305"/>
                  </a:lnTo>
                  <a:lnTo>
                    <a:pt x="363" y="305"/>
                  </a:lnTo>
                  <a:lnTo>
                    <a:pt x="363" y="302"/>
                  </a:lnTo>
                  <a:lnTo>
                    <a:pt x="366" y="305"/>
                  </a:lnTo>
                  <a:lnTo>
                    <a:pt x="369" y="305"/>
                  </a:lnTo>
                  <a:lnTo>
                    <a:pt x="371" y="305"/>
                  </a:lnTo>
                  <a:lnTo>
                    <a:pt x="374" y="305"/>
                  </a:lnTo>
                  <a:lnTo>
                    <a:pt x="377" y="307"/>
                  </a:lnTo>
                  <a:lnTo>
                    <a:pt x="379" y="307"/>
                  </a:lnTo>
                  <a:lnTo>
                    <a:pt x="387" y="310"/>
                  </a:lnTo>
                  <a:lnTo>
                    <a:pt x="387" y="310"/>
                  </a:lnTo>
                  <a:lnTo>
                    <a:pt x="387" y="313"/>
                  </a:lnTo>
                  <a:lnTo>
                    <a:pt x="387" y="313"/>
                  </a:lnTo>
                  <a:lnTo>
                    <a:pt x="390" y="313"/>
                  </a:lnTo>
                  <a:lnTo>
                    <a:pt x="390" y="313"/>
                  </a:lnTo>
                  <a:lnTo>
                    <a:pt x="393" y="313"/>
                  </a:lnTo>
                  <a:lnTo>
                    <a:pt x="393" y="313"/>
                  </a:lnTo>
                  <a:lnTo>
                    <a:pt x="393" y="313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07"/>
                  </a:lnTo>
                  <a:lnTo>
                    <a:pt x="395" y="307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5" y="310"/>
                  </a:lnTo>
                  <a:lnTo>
                    <a:pt x="398" y="310"/>
                  </a:lnTo>
                  <a:lnTo>
                    <a:pt x="398" y="310"/>
                  </a:lnTo>
                  <a:lnTo>
                    <a:pt x="398" y="307"/>
                  </a:lnTo>
                  <a:lnTo>
                    <a:pt x="398" y="307"/>
                  </a:lnTo>
                  <a:lnTo>
                    <a:pt x="401" y="307"/>
                  </a:lnTo>
                  <a:lnTo>
                    <a:pt x="403" y="305"/>
                  </a:lnTo>
                  <a:lnTo>
                    <a:pt x="403" y="305"/>
                  </a:lnTo>
                  <a:lnTo>
                    <a:pt x="403" y="305"/>
                  </a:lnTo>
                  <a:lnTo>
                    <a:pt x="403" y="302"/>
                  </a:lnTo>
                  <a:lnTo>
                    <a:pt x="403" y="302"/>
                  </a:lnTo>
                  <a:lnTo>
                    <a:pt x="403" y="299"/>
                  </a:lnTo>
                  <a:lnTo>
                    <a:pt x="403" y="299"/>
                  </a:lnTo>
                  <a:lnTo>
                    <a:pt x="406" y="297"/>
                  </a:lnTo>
                  <a:lnTo>
                    <a:pt x="406" y="294"/>
                  </a:lnTo>
                  <a:lnTo>
                    <a:pt x="406" y="294"/>
                  </a:lnTo>
                  <a:lnTo>
                    <a:pt x="409" y="294"/>
                  </a:lnTo>
                  <a:lnTo>
                    <a:pt x="409" y="294"/>
                  </a:lnTo>
                  <a:lnTo>
                    <a:pt x="409" y="297"/>
                  </a:lnTo>
                  <a:lnTo>
                    <a:pt x="411" y="297"/>
                  </a:lnTo>
                  <a:lnTo>
                    <a:pt x="411" y="299"/>
                  </a:lnTo>
                  <a:lnTo>
                    <a:pt x="411" y="299"/>
                  </a:lnTo>
                  <a:lnTo>
                    <a:pt x="414" y="297"/>
                  </a:lnTo>
                  <a:lnTo>
                    <a:pt x="411" y="297"/>
                  </a:lnTo>
                  <a:lnTo>
                    <a:pt x="411" y="294"/>
                  </a:lnTo>
                  <a:lnTo>
                    <a:pt x="411" y="294"/>
                  </a:lnTo>
                  <a:lnTo>
                    <a:pt x="411" y="294"/>
                  </a:lnTo>
                  <a:lnTo>
                    <a:pt x="411" y="291"/>
                  </a:lnTo>
                  <a:lnTo>
                    <a:pt x="411" y="289"/>
                  </a:lnTo>
                  <a:lnTo>
                    <a:pt x="411" y="289"/>
                  </a:lnTo>
                  <a:lnTo>
                    <a:pt x="414" y="289"/>
                  </a:lnTo>
                  <a:lnTo>
                    <a:pt x="414" y="286"/>
                  </a:lnTo>
                  <a:lnTo>
                    <a:pt x="417" y="286"/>
                  </a:lnTo>
                  <a:lnTo>
                    <a:pt x="417" y="286"/>
                  </a:lnTo>
                  <a:lnTo>
                    <a:pt x="417" y="289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9" y="286"/>
                  </a:lnTo>
                  <a:lnTo>
                    <a:pt x="417" y="286"/>
                  </a:lnTo>
                  <a:lnTo>
                    <a:pt x="417" y="283"/>
                  </a:lnTo>
                  <a:lnTo>
                    <a:pt x="417" y="283"/>
                  </a:lnTo>
                  <a:lnTo>
                    <a:pt x="419" y="283"/>
                  </a:lnTo>
                  <a:lnTo>
                    <a:pt x="419" y="283"/>
                  </a:lnTo>
                  <a:lnTo>
                    <a:pt x="419" y="283"/>
                  </a:lnTo>
                  <a:lnTo>
                    <a:pt x="419" y="280"/>
                  </a:lnTo>
                  <a:lnTo>
                    <a:pt x="422" y="280"/>
                  </a:lnTo>
                  <a:lnTo>
                    <a:pt x="422" y="280"/>
                  </a:lnTo>
                  <a:lnTo>
                    <a:pt x="422" y="280"/>
                  </a:lnTo>
                  <a:lnTo>
                    <a:pt x="425" y="280"/>
                  </a:lnTo>
                  <a:lnTo>
                    <a:pt x="425" y="280"/>
                  </a:lnTo>
                  <a:lnTo>
                    <a:pt x="425" y="280"/>
                  </a:lnTo>
                  <a:lnTo>
                    <a:pt x="425" y="283"/>
                  </a:lnTo>
                  <a:lnTo>
                    <a:pt x="427" y="283"/>
                  </a:lnTo>
                  <a:lnTo>
                    <a:pt x="427" y="283"/>
                  </a:lnTo>
                  <a:lnTo>
                    <a:pt x="427" y="280"/>
                  </a:lnTo>
                  <a:lnTo>
                    <a:pt x="427" y="280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5" y="278"/>
                  </a:lnTo>
                  <a:lnTo>
                    <a:pt x="422" y="278"/>
                  </a:lnTo>
                  <a:lnTo>
                    <a:pt x="422" y="280"/>
                  </a:lnTo>
                  <a:lnTo>
                    <a:pt x="419" y="280"/>
                  </a:lnTo>
                  <a:lnTo>
                    <a:pt x="417" y="280"/>
                  </a:lnTo>
                  <a:lnTo>
                    <a:pt x="417" y="280"/>
                  </a:lnTo>
                  <a:lnTo>
                    <a:pt x="417" y="278"/>
                  </a:lnTo>
                  <a:lnTo>
                    <a:pt x="419" y="278"/>
                  </a:lnTo>
                  <a:lnTo>
                    <a:pt x="419" y="278"/>
                  </a:lnTo>
                  <a:lnTo>
                    <a:pt x="422" y="278"/>
                  </a:lnTo>
                  <a:lnTo>
                    <a:pt x="422" y="278"/>
                  </a:lnTo>
                  <a:lnTo>
                    <a:pt x="425" y="275"/>
                  </a:lnTo>
                  <a:lnTo>
                    <a:pt x="427" y="275"/>
                  </a:lnTo>
                  <a:lnTo>
                    <a:pt x="427" y="275"/>
                  </a:lnTo>
                  <a:lnTo>
                    <a:pt x="427" y="275"/>
                  </a:lnTo>
                  <a:lnTo>
                    <a:pt x="430" y="275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33" y="270"/>
                  </a:lnTo>
                  <a:lnTo>
                    <a:pt x="433" y="270"/>
                  </a:lnTo>
                  <a:lnTo>
                    <a:pt x="433" y="272"/>
                  </a:lnTo>
                  <a:lnTo>
                    <a:pt x="433" y="272"/>
                  </a:lnTo>
                  <a:lnTo>
                    <a:pt x="433" y="272"/>
                  </a:lnTo>
                  <a:lnTo>
                    <a:pt x="433" y="275"/>
                  </a:lnTo>
                  <a:lnTo>
                    <a:pt x="435" y="275"/>
                  </a:lnTo>
                  <a:lnTo>
                    <a:pt x="435" y="275"/>
                  </a:lnTo>
                  <a:lnTo>
                    <a:pt x="438" y="275"/>
                  </a:lnTo>
                  <a:lnTo>
                    <a:pt x="438" y="275"/>
                  </a:lnTo>
                  <a:lnTo>
                    <a:pt x="438" y="275"/>
                  </a:lnTo>
                  <a:lnTo>
                    <a:pt x="435" y="275"/>
                  </a:lnTo>
                  <a:lnTo>
                    <a:pt x="435" y="278"/>
                  </a:lnTo>
                  <a:lnTo>
                    <a:pt x="438" y="278"/>
                  </a:lnTo>
                  <a:lnTo>
                    <a:pt x="438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3" y="278"/>
                  </a:lnTo>
                  <a:lnTo>
                    <a:pt x="443" y="278"/>
                  </a:lnTo>
                  <a:lnTo>
                    <a:pt x="443" y="278"/>
                  </a:lnTo>
                  <a:lnTo>
                    <a:pt x="446" y="278"/>
                  </a:lnTo>
                  <a:lnTo>
                    <a:pt x="446" y="278"/>
                  </a:lnTo>
                  <a:lnTo>
                    <a:pt x="449" y="278"/>
                  </a:lnTo>
                  <a:lnTo>
                    <a:pt x="449" y="278"/>
                  </a:lnTo>
                  <a:lnTo>
                    <a:pt x="446" y="275"/>
                  </a:lnTo>
                  <a:lnTo>
                    <a:pt x="446" y="275"/>
                  </a:lnTo>
                  <a:lnTo>
                    <a:pt x="443" y="275"/>
                  </a:lnTo>
                  <a:lnTo>
                    <a:pt x="443" y="272"/>
                  </a:lnTo>
                  <a:lnTo>
                    <a:pt x="443" y="272"/>
                  </a:lnTo>
                  <a:lnTo>
                    <a:pt x="446" y="272"/>
                  </a:lnTo>
                  <a:lnTo>
                    <a:pt x="446" y="272"/>
                  </a:lnTo>
                  <a:lnTo>
                    <a:pt x="449" y="270"/>
                  </a:lnTo>
                  <a:lnTo>
                    <a:pt x="451" y="270"/>
                  </a:lnTo>
                  <a:lnTo>
                    <a:pt x="454" y="270"/>
                  </a:lnTo>
                  <a:lnTo>
                    <a:pt x="457" y="270"/>
                  </a:lnTo>
                  <a:lnTo>
                    <a:pt x="457" y="270"/>
                  </a:lnTo>
                  <a:lnTo>
                    <a:pt x="459" y="270"/>
                  </a:lnTo>
                  <a:lnTo>
                    <a:pt x="459" y="270"/>
                  </a:lnTo>
                  <a:lnTo>
                    <a:pt x="457" y="267"/>
                  </a:lnTo>
                  <a:lnTo>
                    <a:pt x="457" y="267"/>
                  </a:lnTo>
                  <a:lnTo>
                    <a:pt x="457" y="267"/>
                  </a:lnTo>
                  <a:lnTo>
                    <a:pt x="454" y="267"/>
                  </a:lnTo>
                  <a:lnTo>
                    <a:pt x="454" y="264"/>
                  </a:lnTo>
                  <a:lnTo>
                    <a:pt x="454" y="264"/>
                  </a:lnTo>
                  <a:lnTo>
                    <a:pt x="457" y="264"/>
                  </a:lnTo>
                  <a:lnTo>
                    <a:pt x="457" y="264"/>
                  </a:lnTo>
                  <a:lnTo>
                    <a:pt x="459" y="262"/>
                  </a:lnTo>
                  <a:lnTo>
                    <a:pt x="459" y="262"/>
                  </a:lnTo>
                  <a:lnTo>
                    <a:pt x="459" y="259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5" y="259"/>
                  </a:lnTo>
                  <a:lnTo>
                    <a:pt x="467" y="259"/>
                  </a:lnTo>
                  <a:lnTo>
                    <a:pt x="467" y="259"/>
                  </a:lnTo>
                  <a:lnTo>
                    <a:pt x="467" y="262"/>
                  </a:lnTo>
                  <a:lnTo>
                    <a:pt x="470" y="262"/>
                  </a:lnTo>
                  <a:lnTo>
                    <a:pt x="470" y="262"/>
                  </a:lnTo>
                  <a:lnTo>
                    <a:pt x="473" y="259"/>
                  </a:lnTo>
                  <a:lnTo>
                    <a:pt x="473" y="259"/>
                  </a:lnTo>
                  <a:lnTo>
                    <a:pt x="475" y="259"/>
                  </a:lnTo>
                  <a:lnTo>
                    <a:pt x="475" y="259"/>
                  </a:lnTo>
                  <a:lnTo>
                    <a:pt x="475" y="259"/>
                  </a:lnTo>
                  <a:lnTo>
                    <a:pt x="478" y="259"/>
                  </a:lnTo>
                  <a:lnTo>
                    <a:pt x="478" y="259"/>
                  </a:lnTo>
                  <a:lnTo>
                    <a:pt x="478" y="256"/>
                  </a:lnTo>
                  <a:lnTo>
                    <a:pt x="478" y="256"/>
                  </a:lnTo>
                  <a:lnTo>
                    <a:pt x="478" y="254"/>
                  </a:lnTo>
                  <a:lnTo>
                    <a:pt x="481" y="254"/>
                  </a:lnTo>
                  <a:lnTo>
                    <a:pt x="481" y="254"/>
                  </a:lnTo>
                  <a:lnTo>
                    <a:pt x="483" y="254"/>
                  </a:lnTo>
                  <a:lnTo>
                    <a:pt x="483" y="251"/>
                  </a:lnTo>
                  <a:lnTo>
                    <a:pt x="486" y="251"/>
                  </a:lnTo>
                  <a:lnTo>
                    <a:pt x="486" y="251"/>
                  </a:lnTo>
                  <a:lnTo>
                    <a:pt x="486" y="254"/>
                  </a:lnTo>
                  <a:lnTo>
                    <a:pt x="486" y="254"/>
                  </a:lnTo>
                  <a:lnTo>
                    <a:pt x="486" y="254"/>
                  </a:lnTo>
                  <a:lnTo>
                    <a:pt x="483" y="256"/>
                  </a:lnTo>
                  <a:lnTo>
                    <a:pt x="483" y="256"/>
                  </a:lnTo>
                  <a:lnTo>
                    <a:pt x="483" y="256"/>
                  </a:lnTo>
                  <a:lnTo>
                    <a:pt x="483" y="259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6" y="259"/>
                  </a:lnTo>
                  <a:lnTo>
                    <a:pt x="489" y="259"/>
                  </a:lnTo>
                  <a:lnTo>
                    <a:pt x="489" y="256"/>
                  </a:lnTo>
                  <a:lnTo>
                    <a:pt x="489" y="256"/>
                  </a:lnTo>
                  <a:lnTo>
                    <a:pt x="491" y="254"/>
                  </a:lnTo>
                  <a:lnTo>
                    <a:pt x="491" y="254"/>
                  </a:lnTo>
                  <a:lnTo>
                    <a:pt x="494" y="251"/>
                  </a:lnTo>
                  <a:lnTo>
                    <a:pt x="494" y="254"/>
                  </a:lnTo>
                  <a:lnTo>
                    <a:pt x="494" y="254"/>
                  </a:lnTo>
                  <a:lnTo>
                    <a:pt x="494" y="256"/>
                  </a:lnTo>
                  <a:lnTo>
                    <a:pt x="494" y="256"/>
                  </a:lnTo>
                  <a:lnTo>
                    <a:pt x="494" y="256"/>
                  </a:lnTo>
                  <a:lnTo>
                    <a:pt x="497" y="256"/>
                  </a:lnTo>
                  <a:lnTo>
                    <a:pt x="497" y="256"/>
                  </a:lnTo>
                  <a:lnTo>
                    <a:pt x="499" y="256"/>
                  </a:lnTo>
                  <a:lnTo>
                    <a:pt x="499" y="256"/>
                  </a:lnTo>
                  <a:lnTo>
                    <a:pt x="499" y="256"/>
                  </a:lnTo>
                  <a:lnTo>
                    <a:pt x="502" y="256"/>
                  </a:lnTo>
                  <a:lnTo>
                    <a:pt x="502" y="256"/>
                  </a:lnTo>
                  <a:lnTo>
                    <a:pt x="502" y="256"/>
                  </a:lnTo>
                  <a:lnTo>
                    <a:pt x="505" y="256"/>
                  </a:lnTo>
                  <a:lnTo>
                    <a:pt x="505" y="256"/>
                  </a:lnTo>
                  <a:lnTo>
                    <a:pt x="507" y="259"/>
                  </a:lnTo>
                  <a:lnTo>
                    <a:pt x="507" y="256"/>
                  </a:lnTo>
                  <a:lnTo>
                    <a:pt x="507" y="256"/>
                  </a:lnTo>
                  <a:lnTo>
                    <a:pt x="507" y="254"/>
                  </a:lnTo>
                  <a:lnTo>
                    <a:pt x="507" y="254"/>
                  </a:lnTo>
                  <a:lnTo>
                    <a:pt x="507" y="251"/>
                  </a:lnTo>
                  <a:lnTo>
                    <a:pt x="507" y="251"/>
                  </a:lnTo>
                  <a:lnTo>
                    <a:pt x="507" y="248"/>
                  </a:lnTo>
                  <a:lnTo>
                    <a:pt x="507" y="248"/>
                  </a:lnTo>
                  <a:lnTo>
                    <a:pt x="510" y="246"/>
                  </a:lnTo>
                  <a:lnTo>
                    <a:pt x="510" y="246"/>
                  </a:lnTo>
                  <a:lnTo>
                    <a:pt x="513" y="246"/>
                  </a:lnTo>
                  <a:lnTo>
                    <a:pt x="510" y="248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21" y="248"/>
                  </a:lnTo>
                  <a:lnTo>
                    <a:pt x="521" y="246"/>
                  </a:lnTo>
                  <a:lnTo>
                    <a:pt x="523" y="246"/>
                  </a:lnTo>
                  <a:lnTo>
                    <a:pt x="523" y="246"/>
                  </a:lnTo>
                  <a:lnTo>
                    <a:pt x="526" y="246"/>
                  </a:lnTo>
                  <a:lnTo>
                    <a:pt x="529" y="246"/>
                  </a:lnTo>
                  <a:lnTo>
                    <a:pt x="529" y="246"/>
                  </a:lnTo>
                  <a:lnTo>
                    <a:pt x="531" y="246"/>
                  </a:lnTo>
                  <a:lnTo>
                    <a:pt x="531" y="243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9" y="243"/>
                  </a:lnTo>
                  <a:lnTo>
                    <a:pt x="539" y="240"/>
                  </a:lnTo>
                  <a:lnTo>
                    <a:pt x="542" y="240"/>
                  </a:lnTo>
                  <a:lnTo>
                    <a:pt x="545" y="238"/>
                  </a:lnTo>
                  <a:lnTo>
                    <a:pt x="550" y="238"/>
                  </a:lnTo>
                  <a:lnTo>
                    <a:pt x="553" y="238"/>
                  </a:lnTo>
                  <a:lnTo>
                    <a:pt x="555" y="238"/>
                  </a:lnTo>
                  <a:lnTo>
                    <a:pt x="558" y="238"/>
                  </a:lnTo>
                  <a:lnTo>
                    <a:pt x="561" y="235"/>
                  </a:lnTo>
                  <a:lnTo>
                    <a:pt x="564" y="235"/>
                  </a:lnTo>
                  <a:lnTo>
                    <a:pt x="564" y="235"/>
                  </a:lnTo>
                  <a:lnTo>
                    <a:pt x="566" y="235"/>
                  </a:lnTo>
                  <a:lnTo>
                    <a:pt x="569" y="232"/>
                  </a:lnTo>
                  <a:lnTo>
                    <a:pt x="572" y="230"/>
                  </a:lnTo>
                  <a:lnTo>
                    <a:pt x="574" y="230"/>
                  </a:lnTo>
                  <a:lnTo>
                    <a:pt x="574" y="232"/>
                  </a:lnTo>
                  <a:lnTo>
                    <a:pt x="577" y="230"/>
                  </a:lnTo>
                  <a:lnTo>
                    <a:pt x="577" y="227"/>
                  </a:lnTo>
                  <a:lnTo>
                    <a:pt x="580" y="227"/>
                  </a:lnTo>
                  <a:lnTo>
                    <a:pt x="582" y="227"/>
                  </a:lnTo>
                  <a:lnTo>
                    <a:pt x="585" y="224"/>
                  </a:lnTo>
                  <a:lnTo>
                    <a:pt x="585" y="224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2"/>
                  </a:lnTo>
                  <a:lnTo>
                    <a:pt x="585" y="224"/>
                  </a:lnTo>
                  <a:lnTo>
                    <a:pt x="582" y="224"/>
                  </a:lnTo>
                  <a:lnTo>
                    <a:pt x="582" y="224"/>
                  </a:lnTo>
                  <a:lnTo>
                    <a:pt x="580" y="224"/>
                  </a:lnTo>
                  <a:lnTo>
                    <a:pt x="577" y="224"/>
                  </a:lnTo>
                  <a:lnTo>
                    <a:pt x="577" y="227"/>
                  </a:lnTo>
                  <a:lnTo>
                    <a:pt x="574" y="227"/>
                  </a:lnTo>
                  <a:lnTo>
                    <a:pt x="572" y="230"/>
                  </a:lnTo>
                  <a:lnTo>
                    <a:pt x="572" y="230"/>
                  </a:lnTo>
                  <a:lnTo>
                    <a:pt x="569" y="230"/>
                  </a:lnTo>
                  <a:lnTo>
                    <a:pt x="569" y="227"/>
                  </a:lnTo>
                  <a:lnTo>
                    <a:pt x="566" y="227"/>
                  </a:lnTo>
                  <a:lnTo>
                    <a:pt x="569" y="224"/>
                  </a:lnTo>
                  <a:lnTo>
                    <a:pt x="566" y="222"/>
                  </a:lnTo>
                  <a:lnTo>
                    <a:pt x="566" y="222"/>
                  </a:lnTo>
                  <a:lnTo>
                    <a:pt x="564" y="224"/>
                  </a:lnTo>
                  <a:lnTo>
                    <a:pt x="564" y="224"/>
                  </a:lnTo>
                  <a:lnTo>
                    <a:pt x="564" y="224"/>
                  </a:lnTo>
                  <a:lnTo>
                    <a:pt x="564" y="227"/>
                  </a:lnTo>
                  <a:lnTo>
                    <a:pt x="564" y="227"/>
                  </a:lnTo>
                  <a:lnTo>
                    <a:pt x="566" y="230"/>
                  </a:lnTo>
                  <a:lnTo>
                    <a:pt x="566" y="230"/>
                  </a:lnTo>
                  <a:lnTo>
                    <a:pt x="564" y="232"/>
                  </a:lnTo>
                  <a:lnTo>
                    <a:pt x="564" y="230"/>
                  </a:lnTo>
                  <a:lnTo>
                    <a:pt x="561" y="230"/>
                  </a:lnTo>
                  <a:lnTo>
                    <a:pt x="561" y="230"/>
                  </a:lnTo>
                  <a:lnTo>
                    <a:pt x="561" y="227"/>
                  </a:lnTo>
                  <a:lnTo>
                    <a:pt x="561" y="227"/>
                  </a:lnTo>
                  <a:lnTo>
                    <a:pt x="561" y="224"/>
                  </a:lnTo>
                  <a:lnTo>
                    <a:pt x="558" y="224"/>
                  </a:lnTo>
                  <a:lnTo>
                    <a:pt x="558" y="222"/>
                  </a:lnTo>
                  <a:lnTo>
                    <a:pt x="558" y="224"/>
                  </a:lnTo>
                  <a:lnTo>
                    <a:pt x="558" y="222"/>
                  </a:lnTo>
                  <a:lnTo>
                    <a:pt x="558" y="222"/>
                  </a:lnTo>
                  <a:lnTo>
                    <a:pt x="558" y="219"/>
                  </a:lnTo>
                  <a:lnTo>
                    <a:pt x="558" y="219"/>
                  </a:lnTo>
                  <a:lnTo>
                    <a:pt x="561" y="219"/>
                  </a:lnTo>
                  <a:lnTo>
                    <a:pt x="558" y="219"/>
                  </a:lnTo>
                  <a:lnTo>
                    <a:pt x="558" y="219"/>
                  </a:lnTo>
                  <a:lnTo>
                    <a:pt x="555" y="219"/>
                  </a:lnTo>
                  <a:lnTo>
                    <a:pt x="555" y="222"/>
                  </a:lnTo>
                  <a:lnTo>
                    <a:pt x="553" y="222"/>
                  </a:lnTo>
                  <a:lnTo>
                    <a:pt x="553" y="222"/>
                  </a:lnTo>
                  <a:lnTo>
                    <a:pt x="550" y="222"/>
                  </a:lnTo>
                  <a:lnTo>
                    <a:pt x="550" y="224"/>
                  </a:lnTo>
                  <a:lnTo>
                    <a:pt x="550" y="224"/>
                  </a:lnTo>
                  <a:lnTo>
                    <a:pt x="550" y="224"/>
                  </a:lnTo>
                  <a:lnTo>
                    <a:pt x="553" y="224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0" y="230"/>
                  </a:lnTo>
                  <a:lnTo>
                    <a:pt x="550" y="230"/>
                  </a:lnTo>
                  <a:lnTo>
                    <a:pt x="550" y="227"/>
                  </a:lnTo>
                  <a:lnTo>
                    <a:pt x="547" y="227"/>
                  </a:lnTo>
                  <a:lnTo>
                    <a:pt x="547" y="227"/>
                  </a:lnTo>
                  <a:lnTo>
                    <a:pt x="545" y="227"/>
                  </a:lnTo>
                  <a:lnTo>
                    <a:pt x="545" y="227"/>
                  </a:lnTo>
                  <a:lnTo>
                    <a:pt x="547" y="227"/>
                  </a:lnTo>
                  <a:lnTo>
                    <a:pt x="547" y="224"/>
                  </a:lnTo>
                  <a:lnTo>
                    <a:pt x="547" y="224"/>
                  </a:lnTo>
                  <a:lnTo>
                    <a:pt x="545" y="224"/>
                  </a:lnTo>
                  <a:lnTo>
                    <a:pt x="545" y="222"/>
                  </a:lnTo>
                  <a:lnTo>
                    <a:pt x="545" y="222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5" y="219"/>
                  </a:lnTo>
                  <a:lnTo>
                    <a:pt x="547" y="216"/>
                  </a:lnTo>
                  <a:lnTo>
                    <a:pt x="547" y="216"/>
                  </a:lnTo>
                  <a:lnTo>
                    <a:pt x="547" y="216"/>
                  </a:lnTo>
                  <a:lnTo>
                    <a:pt x="547" y="214"/>
                  </a:lnTo>
                  <a:lnTo>
                    <a:pt x="547" y="214"/>
                  </a:lnTo>
                  <a:lnTo>
                    <a:pt x="547" y="211"/>
                  </a:lnTo>
                  <a:lnTo>
                    <a:pt x="547" y="211"/>
                  </a:lnTo>
                  <a:lnTo>
                    <a:pt x="547" y="208"/>
                  </a:lnTo>
                  <a:lnTo>
                    <a:pt x="547" y="208"/>
                  </a:lnTo>
                  <a:lnTo>
                    <a:pt x="547" y="208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08"/>
                  </a:lnTo>
                  <a:lnTo>
                    <a:pt x="553" y="211"/>
                  </a:lnTo>
                  <a:lnTo>
                    <a:pt x="553" y="211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3" y="214"/>
                  </a:lnTo>
                  <a:lnTo>
                    <a:pt x="555" y="214"/>
                  </a:lnTo>
                  <a:lnTo>
                    <a:pt x="555" y="211"/>
                  </a:lnTo>
                  <a:lnTo>
                    <a:pt x="555" y="211"/>
                  </a:lnTo>
                  <a:lnTo>
                    <a:pt x="558" y="211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8" y="208"/>
                  </a:lnTo>
                  <a:lnTo>
                    <a:pt x="555" y="206"/>
                  </a:lnTo>
                  <a:lnTo>
                    <a:pt x="555" y="206"/>
                  </a:lnTo>
                  <a:lnTo>
                    <a:pt x="553" y="206"/>
                  </a:lnTo>
                  <a:lnTo>
                    <a:pt x="553" y="203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8" y="203"/>
                  </a:lnTo>
                  <a:lnTo>
                    <a:pt x="558" y="206"/>
                  </a:lnTo>
                  <a:lnTo>
                    <a:pt x="558" y="206"/>
                  </a:lnTo>
                  <a:lnTo>
                    <a:pt x="561" y="203"/>
                  </a:lnTo>
                  <a:lnTo>
                    <a:pt x="561" y="203"/>
                  </a:lnTo>
                  <a:lnTo>
                    <a:pt x="561" y="200"/>
                  </a:lnTo>
                  <a:lnTo>
                    <a:pt x="564" y="203"/>
                  </a:lnTo>
                  <a:lnTo>
                    <a:pt x="564" y="203"/>
                  </a:lnTo>
                  <a:lnTo>
                    <a:pt x="564" y="203"/>
                  </a:lnTo>
                  <a:lnTo>
                    <a:pt x="564" y="206"/>
                  </a:lnTo>
                  <a:lnTo>
                    <a:pt x="564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58" y="206"/>
                  </a:lnTo>
                  <a:lnTo>
                    <a:pt x="558" y="208"/>
                  </a:lnTo>
                  <a:lnTo>
                    <a:pt x="561" y="208"/>
                  </a:lnTo>
                  <a:lnTo>
                    <a:pt x="561" y="208"/>
                  </a:lnTo>
                  <a:lnTo>
                    <a:pt x="564" y="211"/>
                  </a:lnTo>
                  <a:lnTo>
                    <a:pt x="564" y="211"/>
                  </a:lnTo>
                  <a:lnTo>
                    <a:pt x="564" y="211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1" y="214"/>
                  </a:lnTo>
                  <a:lnTo>
                    <a:pt x="564" y="214"/>
                  </a:lnTo>
                  <a:lnTo>
                    <a:pt x="564" y="214"/>
                  </a:lnTo>
                  <a:lnTo>
                    <a:pt x="564" y="214"/>
                  </a:lnTo>
                  <a:lnTo>
                    <a:pt x="566" y="214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9" y="211"/>
                  </a:lnTo>
                  <a:lnTo>
                    <a:pt x="569" y="211"/>
                  </a:lnTo>
                  <a:lnTo>
                    <a:pt x="572" y="211"/>
                  </a:lnTo>
                  <a:lnTo>
                    <a:pt x="572" y="208"/>
                  </a:lnTo>
                  <a:lnTo>
                    <a:pt x="572" y="208"/>
                  </a:lnTo>
                  <a:lnTo>
                    <a:pt x="572" y="208"/>
                  </a:lnTo>
                  <a:lnTo>
                    <a:pt x="572" y="211"/>
                  </a:lnTo>
                  <a:lnTo>
                    <a:pt x="572" y="211"/>
                  </a:lnTo>
                  <a:lnTo>
                    <a:pt x="574" y="211"/>
                  </a:lnTo>
                  <a:lnTo>
                    <a:pt x="574" y="211"/>
                  </a:lnTo>
                  <a:lnTo>
                    <a:pt x="577" y="211"/>
                  </a:lnTo>
                  <a:lnTo>
                    <a:pt x="577" y="211"/>
                  </a:lnTo>
                  <a:lnTo>
                    <a:pt x="580" y="211"/>
                  </a:lnTo>
                  <a:lnTo>
                    <a:pt x="580" y="211"/>
                  </a:lnTo>
                  <a:lnTo>
                    <a:pt x="580" y="208"/>
                  </a:lnTo>
                  <a:lnTo>
                    <a:pt x="580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7" y="208"/>
                  </a:lnTo>
                  <a:lnTo>
                    <a:pt x="574" y="208"/>
                  </a:lnTo>
                  <a:lnTo>
                    <a:pt x="574" y="206"/>
                  </a:lnTo>
                  <a:lnTo>
                    <a:pt x="574" y="206"/>
                  </a:lnTo>
                  <a:lnTo>
                    <a:pt x="574" y="206"/>
                  </a:lnTo>
                  <a:lnTo>
                    <a:pt x="572" y="206"/>
                  </a:lnTo>
                  <a:lnTo>
                    <a:pt x="569" y="206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0"/>
                  </a:lnTo>
                  <a:lnTo>
                    <a:pt x="569" y="200"/>
                  </a:lnTo>
                  <a:lnTo>
                    <a:pt x="572" y="200"/>
                  </a:lnTo>
                  <a:lnTo>
                    <a:pt x="572" y="200"/>
                  </a:lnTo>
                  <a:lnTo>
                    <a:pt x="574" y="200"/>
                  </a:lnTo>
                  <a:lnTo>
                    <a:pt x="574" y="203"/>
                  </a:lnTo>
                  <a:lnTo>
                    <a:pt x="577" y="203"/>
                  </a:lnTo>
                  <a:lnTo>
                    <a:pt x="580" y="203"/>
                  </a:lnTo>
                  <a:lnTo>
                    <a:pt x="580" y="203"/>
                  </a:lnTo>
                  <a:lnTo>
                    <a:pt x="582" y="203"/>
                  </a:lnTo>
                  <a:lnTo>
                    <a:pt x="582" y="200"/>
                  </a:lnTo>
                  <a:lnTo>
                    <a:pt x="582" y="200"/>
                  </a:lnTo>
                  <a:lnTo>
                    <a:pt x="585" y="203"/>
                  </a:lnTo>
                  <a:lnTo>
                    <a:pt x="585" y="203"/>
                  </a:lnTo>
                  <a:lnTo>
                    <a:pt x="588" y="203"/>
                  </a:lnTo>
                  <a:lnTo>
                    <a:pt x="588" y="203"/>
                  </a:lnTo>
                  <a:lnTo>
                    <a:pt x="590" y="200"/>
                  </a:lnTo>
                  <a:lnTo>
                    <a:pt x="590" y="200"/>
                  </a:lnTo>
                  <a:lnTo>
                    <a:pt x="593" y="200"/>
                  </a:lnTo>
                  <a:lnTo>
                    <a:pt x="593" y="203"/>
                  </a:lnTo>
                  <a:lnTo>
                    <a:pt x="593" y="203"/>
                  </a:lnTo>
                  <a:lnTo>
                    <a:pt x="590" y="203"/>
                  </a:lnTo>
                  <a:lnTo>
                    <a:pt x="590" y="206"/>
                  </a:lnTo>
                  <a:lnTo>
                    <a:pt x="590" y="206"/>
                  </a:lnTo>
                  <a:lnTo>
                    <a:pt x="593" y="206"/>
                  </a:lnTo>
                  <a:lnTo>
                    <a:pt x="596" y="206"/>
                  </a:lnTo>
                  <a:lnTo>
                    <a:pt x="593" y="208"/>
                  </a:lnTo>
                  <a:lnTo>
                    <a:pt x="593" y="208"/>
                  </a:lnTo>
                  <a:lnTo>
                    <a:pt x="593" y="211"/>
                  </a:lnTo>
                  <a:lnTo>
                    <a:pt x="593" y="211"/>
                  </a:lnTo>
                  <a:lnTo>
                    <a:pt x="596" y="211"/>
                  </a:lnTo>
                  <a:lnTo>
                    <a:pt x="596" y="208"/>
                  </a:lnTo>
                  <a:lnTo>
                    <a:pt x="598" y="211"/>
                  </a:lnTo>
                  <a:lnTo>
                    <a:pt x="598" y="211"/>
                  </a:lnTo>
                  <a:lnTo>
                    <a:pt x="601" y="208"/>
                  </a:lnTo>
                  <a:lnTo>
                    <a:pt x="601" y="208"/>
                  </a:lnTo>
                  <a:lnTo>
                    <a:pt x="598" y="208"/>
                  </a:lnTo>
                  <a:lnTo>
                    <a:pt x="598" y="206"/>
                  </a:lnTo>
                  <a:lnTo>
                    <a:pt x="598" y="206"/>
                  </a:lnTo>
                  <a:lnTo>
                    <a:pt x="598" y="203"/>
                  </a:lnTo>
                  <a:lnTo>
                    <a:pt x="601" y="206"/>
                  </a:lnTo>
                  <a:lnTo>
                    <a:pt x="601" y="206"/>
                  </a:lnTo>
                  <a:lnTo>
                    <a:pt x="604" y="206"/>
                  </a:lnTo>
                  <a:lnTo>
                    <a:pt x="604" y="206"/>
                  </a:lnTo>
                  <a:lnTo>
                    <a:pt x="604" y="203"/>
                  </a:lnTo>
                  <a:lnTo>
                    <a:pt x="604" y="203"/>
                  </a:lnTo>
                  <a:lnTo>
                    <a:pt x="601" y="203"/>
                  </a:lnTo>
                  <a:lnTo>
                    <a:pt x="601" y="200"/>
                  </a:lnTo>
                  <a:lnTo>
                    <a:pt x="601" y="200"/>
                  </a:lnTo>
                  <a:lnTo>
                    <a:pt x="598" y="200"/>
                  </a:lnTo>
                  <a:lnTo>
                    <a:pt x="598" y="200"/>
                  </a:lnTo>
                  <a:lnTo>
                    <a:pt x="598" y="200"/>
                  </a:lnTo>
                  <a:lnTo>
                    <a:pt x="596" y="200"/>
                  </a:lnTo>
                  <a:lnTo>
                    <a:pt x="596" y="198"/>
                  </a:lnTo>
                  <a:lnTo>
                    <a:pt x="598" y="198"/>
                  </a:lnTo>
                  <a:lnTo>
                    <a:pt x="598" y="198"/>
                  </a:lnTo>
                  <a:lnTo>
                    <a:pt x="601" y="198"/>
                  </a:lnTo>
                  <a:lnTo>
                    <a:pt x="604" y="198"/>
                  </a:lnTo>
                  <a:lnTo>
                    <a:pt x="604" y="198"/>
                  </a:lnTo>
                  <a:lnTo>
                    <a:pt x="606" y="198"/>
                  </a:lnTo>
                  <a:lnTo>
                    <a:pt x="606" y="200"/>
                  </a:lnTo>
                  <a:lnTo>
                    <a:pt x="606" y="200"/>
                  </a:lnTo>
                  <a:lnTo>
                    <a:pt x="606" y="200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6"/>
                  </a:lnTo>
                  <a:lnTo>
                    <a:pt x="612" y="206"/>
                  </a:lnTo>
                  <a:lnTo>
                    <a:pt x="612" y="206"/>
                  </a:lnTo>
                  <a:lnTo>
                    <a:pt x="614" y="206"/>
                  </a:lnTo>
                  <a:lnTo>
                    <a:pt x="614" y="203"/>
                  </a:lnTo>
                  <a:lnTo>
                    <a:pt x="614" y="203"/>
                  </a:lnTo>
                  <a:lnTo>
                    <a:pt x="617" y="203"/>
                  </a:lnTo>
                  <a:lnTo>
                    <a:pt x="617" y="203"/>
                  </a:lnTo>
                  <a:lnTo>
                    <a:pt x="617" y="206"/>
                  </a:lnTo>
                  <a:lnTo>
                    <a:pt x="620" y="203"/>
                  </a:lnTo>
                  <a:lnTo>
                    <a:pt x="620" y="203"/>
                  </a:lnTo>
                  <a:lnTo>
                    <a:pt x="620" y="200"/>
                  </a:lnTo>
                  <a:lnTo>
                    <a:pt x="622" y="200"/>
                  </a:lnTo>
                  <a:lnTo>
                    <a:pt x="622" y="198"/>
                  </a:lnTo>
                  <a:lnTo>
                    <a:pt x="622" y="198"/>
                  </a:lnTo>
                  <a:lnTo>
                    <a:pt x="625" y="198"/>
                  </a:lnTo>
                  <a:lnTo>
                    <a:pt x="625" y="198"/>
                  </a:lnTo>
                  <a:lnTo>
                    <a:pt x="625" y="200"/>
                  </a:lnTo>
                  <a:lnTo>
                    <a:pt x="628" y="200"/>
                  </a:lnTo>
                  <a:lnTo>
                    <a:pt x="628" y="198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200"/>
                  </a:lnTo>
                  <a:lnTo>
                    <a:pt x="630" y="198"/>
                  </a:lnTo>
                  <a:lnTo>
                    <a:pt x="633" y="200"/>
                  </a:lnTo>
                  <a:lnTo>
                    <a:pt x="633" y="200"/>
                  </a:lnTo>
                  <a:lnTo>
                    <a:pt x="636" y="200"/>
                  </a:lnTo>
                  <a:lnTo>
                    <a:pt x="636" y="200"/>
                  </a:lnTo>
                  <a:lnTo>
                    <a:pt x="638" y="200"/>
                  </a:lnTo>
                  <a:lnTo>
                    <a:pt x="638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4" y="203"/>
                  </a:lnTo>
                  <a:lnTo>
                    <a:pt x="644" y="203"/>
                  </a:lnTo>
                  <a:lnTo>
                    <a:pt x="646" y="206"/>
                  </a:lnTo>
                  <a:lnTo>
                    <a:pt x="646" y="206"/>
                  </a:lnTo>
                  <a:lnTo>
                    <a:pt x="646" y="206"/>
                  </a:lnTo>
                  <a:lnTo>
                    <a:pt x="646" y="208"/>
                  </a:lnTo>
                  <a:lnTo>
                    <a:pt x="644" y="206"/>
                  </a:lnTo>
                  <a:lnTo>
                    <a:pt x="644" y="206"/>
                  </a:lnTo>
                  <a:lnTo>
                    <a:pt x="644" y="208"/>
                  </a:lnTo>
                  <a:lnTo>
                    <a:pt x="641" y="208"/>
                  </a:lnTo>
                  <a:lnTo>
                    <a:pt x="641" y="208"/>
                  </a:lnTo>
                  <a:lnTo>
                    <a:pt x="641" y="208"/>
                  </a:lnTo>
                  <a:lnTo>
                    <a:pt x="641" y="211"/>
                  </a:lnTo>
                  <a:lnTo>
                    <a:pt x="644" y="211"/>
                  </a:lnTo>
                  <a:lnTo>
                    <a:pt x="644" y="211"/>
                  </a:lnTo>
                  <a:lnTo>
                    <a:pt x="641" y="211"/>
                  </a:lnTo>
                  <a:lnTo>
                    <a:pt x="641" y="214"/>
                  </a:lnTo>
                  <a:lnTo>
                    <a:pt x="641" y="214"/>
                  </a:lnTo>
                  <a:lnTo>
                    <a:pt x="641" y="216"/>
                  </a:lnTo>
                  <a:lnTo>
                    <a:pt x="641" y="216"/>
                  </a:lnTo>
                  <a:lnTo>
                    <a:pt x="641" y="216"/>
                  </a:lnTo>
                  <a:lnTo>
                    <a:pt x="638" y="216"/>
                  </a:lnTo>
                  <a:lnTo>
                    <a:pt x="638" y="219"/>
                  </a:lnTo>
                  <a:lnTo>
                    <a:pt x="636" y="219"/>
                  </a:lnTo>
                  <a:lnTo>
                    <a:pt x="636" y="222"/>
                  </a:lnTo>
                  <a:lnTo>
                    <a:pt x="633" y="224"/>
                  </a:lnTo>
                  <a:lnTo>
                    <a:pt x="633" y="224"/>
                  </a:lnTo>
                  <a:lnTo>
                    <a:pt x="633" y="227"/>
                  </a:lnTo>
                  <a:lnTo>
                    <a:pt x="630" y="227"/>
                  </a:lnTo>
                  <a:lnTo>
                    <a:pt x="630" y="230"/>
                  </a:lnTo>
                  <a:lnTo>
                    <a:pt x="630" y="230"/>
                  </a:lnTo>
                  <a:lnTo>
                    <a:pt x="628" y="230"/>
                  </a:lnTo>
                  <a:lnTo>
                    <a:pt x="628" y="230"/>
                  </a:lnTo>
                  <a:lnTo>
                    <a:pt x="628" y="232"/>
                  </a:lnTo>
                  <a:lnTo>
                    <a:pt x="628" y="232"/>
                  </a:lnTo>
                  <a:lnTo>
                    <a:pt x="630" y="232"/>
                  </a:lnTo>
                  <a:lnTo>
                    <a:pt x="630" y="235"/>
                  </a:lnTo>
                  <a:lnTo>
                    <a:pt x="630" y="235"/>
                  </a:lnTo>
                  <a:lnTo>
                    <a:pt x="633" y="235"/>
                  </a:lnTo>
                  <a:lnTo>
                    <a:pt x="633" y="235"/>
                  </a:lnTo>
                  <a:lnTo>
                    <a:pt x="633" y="232"/>
                  </a:lnTo>
                  <a:lnTo>
                    <a:pt x="633" y="232"/>
                  </a:lnTo>
                  <a:lnTo>
                    <a:pt x="636" y="230"/>
                  </a:lnTo>
                  <a:lnTo>
                    <a:pt x="636" y="230"/>
                  </a:lnTo>
                  <a:lnTo>
                    <a:pt x="636" y="227"/>
                  </a:lnTo>
                  <a:lnTo>
                    <a:pt x="636" y="227"/>
                  </a:lnTo>
                  <a:lnTo>
                    <a:pt x="638" y="224"/>
                  </a:lnTo>
                  <a:lnTo>
                    <a:pt x="638" y="224"/>
                  </a:lnTo>
                  <a:lnTo>
                    <a:pt x="641" y="222"/>
                  </a:lnTo>
                  <a:lnTo>
                    <a:pt x="641" y="222"/>
                  </a:lnTo>
                  <a:lnTo>
                    <a:pt x="644" y="222"/>
                  </a:lnTo>
                  <a:lnTo>
                    <a:pt x="644" y="222"/>
                  </a:lnTo>
                  <a:lnTo>
                    <a:pt x="644" y="222"/>
                  </a:lnTo>
                  <a:lnTo>
                    <a:pt x="646" y="224"/>
                  </a:lnTo>
                  <a:lnTo>
                    <a:pt x="646" y="222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49" y="222"/>
                  </a:lnTo>
                  <a:lnTo>
                    <a:pt x="652" y="222"/>
                  </a:lnTo>
                  <a:lnTo>
                    <a:pt x="649" y="222"/>
                  </a:lnTo>
                  <a:lnTo>
                    <a:pt x="649" y="219"/>
                  </a:lnTo>
                  <a:lnTo>
                    <a:pt x="649" y="219"/>
                  </a:lnTo>
                  <a:lnTo>
                    <a:pt x="646" y="219"/>
                  </a:lnTo>
                  <a:lnTo>
                    <a:pt x="646" y="219"/>
                  </a:lnTo>
                  <a:lnTo>
                    <a:pt x="649" y="216"/>
                  </a:lnTo>
                  <a:lnTo>
                    <a:pt x="649" y="216"/>
                  </a:lnTo>
                  <a:lnTo>
                    <a:pt x="652" y="216"/>
                  </a:lnTo>
                  <a:lnTo>
                    <a:pt x="652" y="216"/>
                  </a:lnTo>
                  <a:lnTo>
                    <a:pt x="654" y="216"/>
                  </a:lnTo>
                  <a:lnTo>
                    <a:pt x="654" y="214"/>
                  </a:lnTo>
                  <a:lnTo>
                    <a:pt x="657" y="214"/>
                  </a:lnTo>
                  <a:lnTo>
                    <a:pt x="654" y="219"/>
                  </a:lnTo>
                  <a:lnTo>
                    <a:pt x="654" y="219"/>
                  </a:lnTo>
                  <a:lnTo>
                    <a:pt x="657" y="219"/>
                  </a:lnTo>
                  <a:lnTo>
                    <a:pt x="657" y="219"/>
                  </a:lnTo>
                  <a:lnTo>
                    <a:pt x="660" y="219"/>
                  </a:lnTo>
                  <a:lnTo>
                    <a:pt x="660" y="219"/>
                  </a:lnTo>
                  <a:lnTo>
                    <a:pt x="660" y="222"/>
                  </a:lnTo>
                  <a:lnTo>
                    <a:pt x="660" y="222"/>
                  </a:lnTo>
                  <a:lnTo>
                    <a:pt x="660" y="224"/>
                  </a:lnTo>
                  <a:lnTo>
                    <a:pt x="657" y="224"/>
                  </a:lnTo>
                  <a:lnTo>
                    <a:pt x="657" y="227"/>
                  </a:lnTo>
                  <a:lnTo>
                    <a:pt x="657" y="227"/>
                  </a:lnTo>
                  <a:lnTo>
                    <a:pt x="654" y="230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7" y="232"/>
                  </a:lnTo>
                  <a:lnTo>
                    <a:pt x="657" y="230"/>
                  </a:lnTo>
                  <a:lnTo>
                    <a:pt x="660" y="230"/>
                  </a:lnTo>
                  <a:lnTo>
                    <a:pt x="660" y="230"/>
                  </a:lnTo>
                  <a:lnTo>
                    <a:pt x="660" y="227"/>
                  </a:lnTo>
                  <a:lnTo>
                    <a:pt x="662" y="227"/>
                  </a:lnTo>
                  <a:lnTo>
                    <a:pt x="662" y="230"/>
                  </a:lnTo>
                  <a:lnTo>
                    <a:pt x="665" y="230"/>
                  </a:lnTo>
                  <a:lnTo>
                    <a:pt x="665" y="230"/>
                  </a:lnTo>
                  <a:lnTo>
                    <a:pt x="665" y="230"/>
                  </a:lnTo>
                  <a:lnTo>
                    <a:pt x="668" y="230"/>
                  </a:lnTo>
                  <a:lnTo>
                    <a:pt x="665" y="230"/>
                  </a:lnTo>
                  <a:lnTo>
                    <a:pt x="665" y="227"/>
                  </a:lnTo>
                  <a:lnTo>
                    <a:pt x="665" y="227"/>
                  </a:lnTo>
                  <a:lnTo>
                    <a:pt x="668" y="224"/>
                  </a:lnTo>
                  <a:lnTo>
                    <a:pt x="668" y="224"/>
                  </a:lnTo>
                  <a:lnTo>
                    <a:pt x="668" y="224"/>
                  </a:lnTo>
                  <a:lnTo>
                    <a:pt x="670" y="224"/>
                  </a:lnTo>
                  <a:lnTo>
                    <a:pt x="670" y="222"/>
                  </a:lnTo>
                  <a:lnTo>
                    <a:pt x="670" y="219"/>
                  </a:lnTo>
                  <a:lnTo>
                    <a:pt x="673" y="216"/>
                  </a:lnTo>
                  <a:lnTo>
                    <a:pt x="673" y="216"/>
                  </a:lnTo>
                  <a:lnTo>
                    <a:pt x="676" y="216"/>
                  </a:lnTo>
                  <a:lnTo>
                    <a:pt x="676" y="214"/>
                  </a:lnTo>
                  <a:lnTo>
                    <a:pt x="678" y="211"/>
                  </a:lnTo>
                  <a:lnTo>
                    <a:pt x="678" y="211"/>
                  </a:lnTo>
                  <a:lnTo>
                    <a:pt x="681" y="211"/>
                  </a:lnTo>
                  <a:lnTo>
                    <a:pt x="681" y="211"/>
                  </a:lnTo>
                  <a:lnTo>
                    <a:pt x="681" y="211"/>
                  </a:lnTo>
                  <a:lnTo>
                    <a:pt x="681" y="214"/>
                  </a:lnTo>
                  <a:lnTo>
                    <a:pt x="678" y="214"/>
                  </a:lnTo>
                  <a:lnTo>
                    <a:pt x="676" y="216"/>
                  </a:lnTo>
                  <a:lnTo>
                    <a:pt x="676" y="216"/>
                  </a:lnTo>
                  <a:lnTo>
                    <a:pt x="676" y="219"/>
                  </a:lnTo>
                  <a:lnTo>
                    <a:pt x="676" y="219"/>
                  </a:lnTo>
                  <a:lnTo>
                    <a:pt x="678" y="219"/>
                  </a:lnTo>
                  <a:lnTo>
                    <a:pt x="678" y="222"/>
                  </a:lnTo>
                  <a:lnTo>
                    <a:pt x="676" y="222"/>
                  </a:lnTo>
                  <a:lnTo>
                    <a:pt x="676" y="222"/>
                  </a:lnTo>
                  <a:lnTo>
                    <a:pt x="676" y="224"/>
                  </a:lnTo>
                  <a:lnTo>
                    <a:pt x="676" y="224"/>
                  </a:lnTo>
                  <a:lnTo>
                    <a:pt x="676" y="224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81" y="224"/>
                  </a:lnTo>
                  <a:lnTo>
                    <a:pt x="681" y="222"/>
                  </a:lnTo>
                  <a:lnTo>
                    <a:pt x="681" y="222"/>
                  </a:lnTo>
                  <a:lnTo>
                    <a:pt x="678" y="222"/>
                  </a:lnTo>
                  <a:lnTo>
                    <a:pt x="681" y="219"/>
                  </a:lnTo>
                  <a:lnTo>
                    <a:pt x="681" y="219"/>
                  </a:lnTo>
                  <a:lnTo>
                    <a:pt x="684" y="216"/>
                  </a:lnTo>
                  <a:lnTo>
                    <a:pt x="684" y="216"/>
                  </a:lnTo>
                  <a:lnTo>
                    <a:pt x="686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9"/>
                  </a:lnTo>
                  <a:lnTo>
                    <a:pt x="692" y="219"/>
                  </a:lnTo>
                  <a:lnTo>
                    <a:pt x="692" y="219"/>
                  </a:lnTo>
                  <a:lnTo>
                    <a:pt x="692" y="216"/>
                  </a:lnTo>
                  <a:lnTo>
                    <a:pt x="694" y="216"/>
                  </a:lnTo>
                  <a:lnTo>
                    <a:pt x="694" y="219"/>
                  </a:lnTo>
                  <a:lnTo>
                    <a:pt x="697" y="219"/>
                  </a:lnTo>
                  <a:lnTo>
                    <a:pt x="697" y="216"/>
                  </a:lnTo>
                  <a:lnTo>
                    <a:pt x="694" y="216"/>
                  </a:lnTo>
                  <a:lnTo>
                    <a:pt x="694" y="216"/>
                  </a:lnTo>
                  <a:lnTo>
                    <a:pt x="694" y="214"/>
                  </a:lnTo>
                  <a:lnTo>
                    <a:pt x="692" y="214"/>
                  </a:lnTo>
                  <a:lnTo>
                    <a:pt x="692" y="211"/>
                  </a:lnTo>
                  <a:lnTo>
                    <a:pt x="692" y="211"/>
                  </a:lnTo>
                  <a:lnTo>
                    <a:pt x="689" y="211"/>
                  </a:lnTo>
                  <a:lnTo>
                    <a:pt x="689" y="211"/>
                  </a:lnTo>
                  <a:lnTo>
                    <a:pt x="686" y="211"/>
                  </a:lnTo>
                  <a:lnTo>
                    <a:pt x="686" y="208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692" y="206"/>
                  </a:lnTo>
                  <a:lnTo>
                    <a:pt x="692" y="206"/>
                  </a:lnTo>
                  <a:lnTo>
                    <a:pt x="694" y="206"/>
                  </a:lnTo>
                  <a:lnTo>
                    <a:pt x="694" y="206"/>
                  </a:lnTo>
                  <a:lnTo>
                    <a:pt x="697" y="206"/>
                  </a:lnTo>
                  <a:lnTo>
                    <a:pt x="697" y="206"/>
                  </a:lnTo>
                  <a:lnTo>
                    <a:pt x="697" y="208"/>
                  </a:lnTo>
                  <a:lnTo>
                    <a:pt x="697" y="208"/>
                  </a:lnTo>
                  <a:lnTo>
                    <a:pt x="697" y="208"/>
                  </a:lnTo>
                  <a:lnTo>
                    <a:pt x="700" y="208"/>
                  </a:lnTo>
                  <a:lnTo>
                    <a:pt x="700" y="208"/>
                  </a:lnTo>
                  <a:lnTo>
                    <a:pt x="700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2" y="206"/>
                  </a:lnTo>
                  <a:lnTo>
                    <a:pt x="705" y="206"/>
                  </a:lnTo>
                  <a:lnTo>
                    <a:pt x="705" y="203"/>
                  </a:lnTo>
                  <a:lnTo>
                    <a:pt x="705" y="203"/>
                  </a:lnTo>
                  <a:lnTo>
                    <a:pt x="705" y="203"/>
                  </a:lnTo>
                  <a:lnTo>
                    <a:pt x="702" y="203"/>
                  </a:lnTo>
                  <a:lnTo>
                    <a:pt x="702" y="203"/>
                  </a:lnTo>
                  <a:lnTo>
                    <a:pt x="700" y="203"/>
                  </a:lnTo>
                  <a:lnTo>
                    <a:pt x="700" y="203"/>
                  </a:lnTo>
                  <a:lnTo>
                    <a:pt x="697" y="200"/>
                  </a:lnTo>
                  <a:lnTo>
                    <a:pt x="697" y="200"/>
                  </a:lnTo>
                  <a:lnTo>
                    <a:pt x="697" y="200"/>
                  </a:lnTo>
                  <a:lnTo>
                    <a:pt x="700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2" y="198"/>
                  </a:lnTo>
                  <a:lnTo>
                    <a:pt x="705" y="198"/>
                  </a:lnTo>
                  <a:lnTo>
                    <a:pt x="702" y="195"/>
                  </a:lnTo>
                  <a:lnTo>
                    <a:pt x="705" y="195"/>
                  </a:lnTo>
                  <a:lnTo>
                    <a:pt x="708" y="195"/>
                  </a:lnTo>
                  <a:lnTo>
                    <a:pt x="708" y="195"/>
                  </a:lnTo>
                  <a:lnTo>
                    <a:pt x="710" y="195"/>
                  </a:lnTo>
                  <a:lnTo>
                    <a:pt x="713" y="195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6" y="190"/>
                  </a:lnTo>
                  <a:lnTo>
                    <a:pt x="716" y="190"/>
                  </a:lnTo>
                  <a:lnTo>
                    <a:pt x="716" y="187"/>
                  </a:lnTo>
                  <a:lnTo>
                    <a:pt x="718" y="187"/>
                  </a:lnTo>
                  <a:lnTo>
                    <a:pt x="721" y="187"/>
                  </a:lnTo>
                  <a:lnTo>
                    <a:pt x="721" y="184"/>
                  </a:lnTo>
                  <a:lnTo>
                    <a:pt x="724" y="182"/>
                  </a:lnTo>
                  <a:lnTo>
                    <a:pt x="724" y="182"/>
                  </a:lnTo>
                  <a:lnTo>
                    <a:pt x="726" y="184"/>
                  </a:lnTo>
                  <a:lnTo>
                    <a:pt x="724" y="184"/>
                  </a:lnTo>
                  <a:lnTo>
                    <a:pt x="724" y="184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1" y="190"/>
                  </a:lnTo>
                  <a:lnTo>
                    <a:pt x="721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6" y="190"/>
                  </a:lnTo>
                  <a:lnTo>
                    <a:pt x="729" y="190"/>
                  </a:lnTo>
                  <a:lnTo>
                    <a:pt x="726" y="187"/>
                  </a:lnTo>
                  <a:lnTo>
                    <a:pt x="726" y="187"/>
                  </a:lnTo>
                  <a:lnTo>
                    <a:pt x="729" y="187"/>
                  </a:lnTo>
                  <a:lnTo>
                    <a:pt x="729" y="187"/>
                  </a:lnTo>
                  <a:lnTo>
                    <a:pt x="732" y="187"/>
                  </a:lnTo>
                  <a:lnTo>
                    <a:pt x="732" y="187"/>
                  </a:lnTo>
                  <a:lnTo>
                    <a:pt x="734" y="190"/>
                  </a:lnTo>
                  <a:lnTo>
                    <a:pt x="734" y="190"/>
                  </a:lnTo>
                  <a:lnTo>
                    <a:pt x="734" y="190"/>
                  </a:lnTo>
                  <a:lnTo>
                    <a:pt x="734" y="187"/>
                  </a:lnTo>
                  <a:lnTo>
                    <a:pt x="737" y="187"/>
                  </a:lnTo>
                  <a:lnTo>
                    <a:pt x="737" y="187"/>
                  </a:lnTo>
                  <a:lnTo>
                    <a:pt x="740" y="187"/>
                  </a:lnTo>
                  <a:lnTo>
                    <a:pt x="740" y="190"/>
                  </a:lnTo>
                  <a:lnTo>
                    <a:pt x="737" y="190"/>
                  </a:lnTo>
                  <a:lnTo>
                    <a:pt x="737" y="190"/>
                  </a:lnTo>
                  <a:lnTo>
                    <a:pt x="737" y="192"/>
                  </a:lnTo>
                  <a:lnTo>
                    <a:pt x="734" y="192"/>
                  </a:lnTo>
                  <a:lnTo>
                    <a:pt x="734" y="192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7" y="195"/>
                  </a:lnTo>
                  <a:lnTo>
                    <a:pt x="737" y="195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4" y="195"/>
                  </a:lnTo>
                  <a:lnTo>
                    <a:pt x="734" y="198"/>
                  </a:lnTo>
                  <a:lnTo>
                    <a:pt x="734" y="198"/>
                  </a:lnTo>
                  <a:lnTo>
                    <a:pt x="734" y="200"/>
                  </a:lnTo>
                  <a:lnTo>
                    <a:pt x="734" y="200"/>
                  </a:lnTo>
                  <a:lnTo>
                    <a:pt x="737" y="200"/>
                  </a:lnTo>
                  <a:lnTo>
                    <a:pt x="737" y="200"/>
                  </a:lnTo>
                  <a:lnTo>
                    <a:pt x="740" y="200"/>
                  </a:lnTo>
                  <a:lnTo>
                    <a:pt x="740" y="198"/>
                  </a:lnTo>
                  <a:lnTo>
                    <a:pt x="740" y="198"/>
                  </a:lnTo>
                  <a:lnTo>
                    <a:pt x="742" y="198"/>
                  </a:lnTo>
                  <a:lnTo>
                    <a:pt x="742" y="198"/>
                  </a:lnTo>
                  <a:lnTo>
                    <a:pt x="742" y="198"/>
                  </a:lnTo>
                  <a:lnTo>
                    <a:pt x="745" y="198"/>
                  </a:lnTo>
                  <a:lnTo>
                    <a:pt x="745" y="198"/>
                  </a:lnTo>
                  <a:lnTo>
                    <a:pt x="745" y="195"/>
                  </a:lnTo>
                  <a:lnTo>
                    <a:pt x="748" y="195"/>
                  </a:lnTo>
                  <a:lnTo>
                    <a:pt x="748" y="195"/>
                  </a:lnTo>
                  <a:lnTo>
                    <a:pt x="748" y="198"/>
                  </a:lnTo>
                  <a:lnTo>
                    <a:pt x="748" y="198"/>
                  </a:lnTo>
                  <a:lnTo>
                    <a:pt x="748" y="200"/>
                  </a:lnTo>
                  <a:lnTo>
                    <a:pt x="748" y="200"/>
                  </a:lnTo>
                  <a:lnTo>
                    <a:pt x="748" y="200"/>
                  </a:lnTo>
                  <a:lnTo>
                    <a:pt x="745" y="200"/>
                  </a:lnTo>
                  <a:lnTo>
                    <a:pt x="745" y="200"/>
                  </a:lnTo>
                  <a:lnTo>
                    <a:pt x="745" y="203"/>
                  </a:lnTo>
                  <a:lnTo>
                    <a:pt x="745" y="203"/>
                  </a:lnTo>
                  <a:lnTo>
                    <a:pt x="745" y="203"/>
                  </a:lnTo>
                  <a:lnTo>
                    <a:pt x="748" y="206"/>
                  </a:lnTo>
                  <a:lnTo>
                    <a:pt x="748" y="206"/>
                  </a:lnTo>
                  <a:lnTo>
                    <a:pt x="748" y="208"/>
                  </a:lnTo>
                  <a:lnTo>
                    <a:pt x="748" y="208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0" y="206"/>
                  </a:lnTo>
                  <a:lnTo>
                    <a:pt x="753" y="206"/>
                  </a:lnTo>
                  <a:lnTo>
                    <a:pt x="753" y="208"/>
                  </a:lnTo>
                  <a:lnTo>
                    <a:pt x="753" y="208"/>
                  </a:lnTo>
                  <a:lnTo>
                    <a:pt x="753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6" y="208"/>
                  </a:lnTo>
                  <a:lnTo>
                    <a:pt x="756" y="206"/>
                  </a:lnTo>
                  <a:lnTo>
                    <a:pt x="756" y="203"/>
                  </a:lnTo>
                  <a:lnTo>
                    <a:pt x="756" y="203"/>
                  </a:lnTo>
                  <a:lnTo>
                    <a:pt x="753" y="200"/>
                  </a:lnTo>
                  <a:lnTo>
                    <a:pt x="753" y="198"/>
                  </a:lnTo>
                  <a:lnTo>
                    <a:pt x="753" y="195"/>
                  </a:lnTo>
                  <a:lnTo>
                    <a:pt x="753" y="192"/>
                  </a:lnTo>
                  <a:lnTo>
                    <a:pt x="750" y="192"/>
                  </a:lnTo>
                  <a:lnTo>
                    <a:pt x="748" y="192"/>
                  </a:lnTo>
                  <a:lnTo>
                    <a:pt x="748" y="190"/>
                  </a:lnTo>
                  <a:lnTo>
                    <a:pt x="748" y="190"/>
                  </a:lnTo>
                  <a:lnTo>
                    <a:pt x="748" y="187"/>
                  </a:lnTo>
                  <a:lnTo>
                    <a:pt x="748" y="184"/>
                  </a:lnTo>
                  <a:lnTo>
                    <a:pt x="748" y="182"/>
                  </a:lnTo>
                  <a:lnTo>
                    <a:pt x="745" y="182"/>
                  </a:lnTo>
                  <a:lnTo>
                    <a:pt x="745" y="182"/>
                  </a:lnTo>
                  <a:lnTo>
                    <a:pt x="742" y="182"/>
                  </a:lnTo>
                  <a:lnTo>
                    <a:pt x="742" y="182"/>
                  </a:lnTo>
                  <a:lnTo>
                    <a:pt x="740" y="182"/>
                  </a:lnTo>
                  <a:lnTo>
                    <a:pt x="740" y="179"/>
                  </a:lnTo>
                  <a:lnTo>
                    <a:pt x="740" y="176"/>
                  </a:lnTo>
                  <a:lnTo>
                    <a:pt x="740" y="176"/>
                  </a:lnTo>
                  <a:lnTo>
                    <a:pt x="740" y="176"/>
                  </a:lnTo>
                  <a:lnTo>
                    <a:pt x="737" y="174"/>
                  </a:lnTo>
                  <a:lnTo>
                    <a:pt x="737" y="174"/>
                  </a:lnTo>
                  <a:lnTo>
                    <a:pt x="734" y="174"/>
                  </a:lnTo>
                  <a:lnTo>
                    <a:pt x="732" y="174"/>
                  </a:lnTo>
                  <a:lnTo>
                    <a:pt x="729" y="174"/>
                  </a:lnTo>
                  <a:lnTo>
                    <a:pt x="729" y="171"/>
                  </a:lnTo>
                  <a:lnTo>
                    <a:pt x="729" y="168"/>
                  </a:lnTo>
                  <a:lnTo>
                    <a:pt x="729" y="166"/>
                  </a:lnTo>
                  <a:lnTo>
                    <a:pt x="729" y="168"/>
                  </a:lnTo>
                  <a:lnTo>
                    <a:pt x="726" y="168"/>
                  </a:lnTo>
                  <a:lnTo>
                    <a:pt x="726" y="168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6"/>
                  </a:lnTo>
                  <a:lnTo>
                    <a:pt x="726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3"/>
                  </a:lnTo>
                  <a:lnTo>
                    <a:pt x="724" y="160"/>
                  </a:lnTo>
                  <a:lnTo>
                    <a:pt x="724" y="160"/>
                  </a:lnTo>
                  <a:lnTo>
                    <a:pt x="724" y="160"/>
                  </a:lnTo>
                  <a:lnTo>
                    <a:pt x="726" y="160"/>
                  </a:lnTo>
                  <a:lnTo>
                    <a:pt x="726" y="160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29" y="158"/>
                  </a:lnTo>
                  <a:lnTo>
                    <a:pt x="732" y="158"/>
                  </a:lnTo>
                  <a:lnTo>
                    <a:pt x="732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7" y="160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48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3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6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69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4" y="160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8"/>
                  </a:lnTo>
                  <a:lnTo>
                    <a:pt x="780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2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2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5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88" y="158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90" y="160"/>
                  </a:lnTo>
                  <a:lnTo>
                    <a:pt x="788" y="160"/>
                  </a:lnTo>
                  <a:lnTo>
                    <a:pt x="788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0" y="163"/>
                  </a:lnTo>
                  <a:lnTo>
                    <a:pt x="793" y="163"/>
                  </a:lnTo>
                  <a:lnTo>
                    <a:pt x="793" y="160"/>
                  </a:lnTo>
                  <a:lnTo>
                    <a:pt x="793" y="163"/>
                  </a:lnTo>
                  <a:lnTo>
                    <a:pt x="796" y="163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801" y="160"/>
                  </a:lnTo>
                  <a:lnTo>
                    <a:pt x="801" y="163"/>
                  </a:lnTo>
                  <a:lnTo>
                    <a:pt x="801" y="163"/>
                  </a:lnTo>
                  <a:lnTo>
                    <a:pt x="804" y="163"/>
                  </a:lnTo>
                  <a:lnTo>
                    <a:pt x="804" y="163"/>
                  </a:lnTo>
                  <a:lnTo>
                    <a:pt x="804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7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09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7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5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2" y="163"/>
                  </a:lnTo>
                  <a:lnTo>
                    <a:pt x="812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7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60"/>
                  </a:lnTo>
                  <a:lnTo>
                    <a:pt x="804" y="158"/>
                  </a:lnTo>
                  <a:lnTo>
                    <a:pt x="804" y="158"/>
                  </a:lnTo>
                  <a:lnTo>
                    <a:pt x="804" y="158"/>
                  </a:lnTo>
                  <a:lnTo>
                    <a:pt x="801" y="158"/>
                  </a:lnTo>
                  <a:lnTo>
                    <a:pt x="801" y="158"/>
                  </a:lnTo>
                  <a:lnTo>
                    <a:pt x="801" y="155"/>
                  </a:lnTo>
                  <a:lnTo>
                    <a:pt x="801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8" y="155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3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90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5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8" y="152"/>
                  </a:lnTo>
                  <a:lnTo>
                    <a:pt x="785" y="152"/>
                  </a:lnTo>
                  <a:lnTo>
                    <a:pt x="785" y="152"/>
                  </a:lnTo>
                  <a:lnTo>
                    <a:pt x="785" y="150"/>
                  </a:lnTo>
                  <a:lnTo>
                    <a:pt x="785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50"/>
                  </a:lnTo>
                  <a:lnTo>
                    <a:pt x="788" y="147"/>
                  </a:lnTo>
                  <a:lnTo>
                    <a:pt x="788" y="147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4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42"/>
                  </a:lnTo>
                  <a:lnTo>
                    <a:pt x="790" y="139"/>
                  </a:lnTo>
                  <a:lnTo>
                    <a:pt x="790" y="139"/>
                  </a:lnTo>
                  <a:lnTo>
                    <a:pt x="790" y="139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6"/>
                  </a:lnTo>
                  <a:lnTo>
                    <a:pt x="790" y="134"/>
                  </a:lnTo>
                  <a:lnTo>
                    <a:pt x="790" y="134"/>
                  </a:lnTo>
                  <a:lnTo>
                    <a:pt x="790" y="134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31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0" y="128"/>
                  </a:lnTo>
                  <a:lnTo>
                    <a:pt x="793" y="128"/>
                  </a:lnTo>
                  <a:lnTo>
                    <a:pt x="793" y="128"/>
                  </a:lnTo>
                  <a:lnTo>
                    <a:pt x="793" y="128"/>
                  </a:lnTo>
                  <a:lnTo>
                    <a:pt x="793" y="125"/>
                  </a:lnTo>
                  <a:lnTo>
                    <a:pt x="793" y="125"/>
                  </a:lnTo>
                  <a:lnTo>
                    <a:pt x="793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90" y="125"/>
                  </a:lnTo>
                  <a:lnTo>
                    <a:pt x="788" y="125"/>
                  </a:lnTo>
                  <a:lnTo>
                    <a:pt x="788" y="125"/>
                  </a:lnTo>
                  <a:lnTo>
                    <a:pt x="788" y="125"/>
                  </a:lnTo>
                  <a:lnTo>
                    <a:pt x="785" y="125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0"/>
                  </a:lnTo>
                  <a:lnTo>
                    <a:pt x="785" y="120"/>
                  </a:lnTo>
                  <a:lnTo>
                    <a:pt x="785" y="120"/>
                  </a:lnTo>
                  <a:lnTo>
                    <a:pt x="782" y="120"/>
                  </a:lnTo>
                  <a:lnTo>
                    <a:pt x="782" y="117"/>
                  </a:lnTo>
                  <a:lnTo>
                    <a:pt x="782" y="117"/>
                  </a:lnTo>
                  <a:lnTo>
                    <a:pt x="782" y="117"/>
                  </a:lnTo>
                  <a:lnTo>
                    <a:pt x="782" y="115"/>
                  </a:lnTo>
                  <a:lnTo>
                    <a:pt x="782" y="115"/>
                  </a:lnTo>
                  <a:lnTo>
                    <a:pt x="782" y="115"/>
                  </a:lnTo>
                  <a:lnTo>
                    <a:pt x="782" y="112"/>
                  </a:lnTo>
                  <a:lnTo>
                    <a:pt x="782" y="112"/>
                  </a:lnTo>
                  <a:lnTo>
                    <a:pt x="782" y="112"/>
                  </a:lnTo>
                  <a:lnTo>
                    <a:pt x="782" y="109"/>
                  </a:lnTo>
                  <a:lnTo>
                    <a:pt x="782" y="109"/>
                  </a:lnTo>
                  <a:lnTo>
                    <a:pt x="782" y="109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7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5" y="101"/>
                  </a:lnTo>
                  <a:lnTo>
                    <a:pt x="785" y="99"/>
                  </a:lnTo>
                  <a:lnTo>
                    <a:pt x="785" y="99"/>
                  </a:lnTo>
                  <a:lnTo>
                    <a:pt x="785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88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9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6"/>
                  </a:lnTo>
                  <a:lnTo>
                    <a:pt x="790" y="93"/>
                  </a:lnTo>
                  <a:lnTo>
                    <a:pt x="790" y="93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91"/>
                  </a:lnTo>
                  <a:lnTo>
                    <a:pt x="790" y="88"/>
                  </a:lnTo>
                  <a:lnTo>
                    <a:pt x="790" y="88"/>
                  </a:lnTo>
                  <a:lnTo>
                    <a:pt x="790" y="88"/>
                  </a:lnTo>
                  <a:lnTo>
                    <a:pt x="790" y="85"/>
                  </a:lnTo>
                  <a:lnTo>
                    <a:pt x="790" y="85"/>
                  </a:lnTo>
                  <a:lnTo>
                    <a:pt x="793" y="83"/>
                  </a:lnTo>
                  <a:lnTo>
                    <a:pt x="793" y="83"/>
                  </a:lnTo>
                  <a:lnTo>
                    <a:pt x="793" y="83"/>
                  </a:lnTo>
                  <a:lnTo>
                    <a:pt x="793" y="80"/>
                  </a:lnTo>
                  <a:lnTo>
                    <a:pt x="793" y="80"/>
                  </a:lnTo>
                  <a:lnTo>
                    <a:pt x="796" y="77"/>
                  </a:lnTo>
                  <a:lnTo>
                    <a:pt x="796" y="77"/>
                  </a:lnTo>
                  <a:lnTo>
                    <a:pt x="796" y="77"/>
                  </a:lnTo>
                  <a:lnTo>
                    <a:pt x="798" y="75"/>
                  </a:lnTo>
                  <a:lnTo>
                    <a:pt x="798" y="75"/>
                  </a:lnTo>
                  <a:lnTo>
                    <a:pt x="798" y="72"/>
                  </a:lnTo>
                  <a:lnTo>
                    <a:pt x="798" y="72"/>
                  </a:lnTo>
                  <a:lnTo>
                    <a:pt x="798" y="69"/>
                  </a:lnTo>
                  <a:lnTo>
                    <a:pt x="801" y="69"/>
                  </a:lnTo>
                  <a:lnTo>
                    <a:pt x="801" y="69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7"/>
                  </a:lnTo>
                  <a:lnTo>
                    <a:pt x="801" y="64"/>
                  </a:lnTo>
                  <a:lnTo>
                    <a:pt x="801" y="64"/>
                  </a:lnTo>
                  <a:lnTo>
                    <a:pt x="804" y="64"/>
                  </a:lnTo>
                  <a:lnTo>
                    <a:pt x="804" y="61"/>
                  </a:lnTo>
                  <a:lnTo>
                    <a:pt x="807" y="61"/>
                  </a:lnTo>
                  <a:lnTo>
                    <a:pt x="807" y="61"/>
                  </a:lnTo>
                  <a:lnTo>
                    <a:pt x="807" y="59"/>
                  </a:lnTo>
                  <a:lnTo>
                    <a:pt x="807" y="59"/>
                  </a:lnTo>
                  <a:lnTo>
                    <a:pt x="807" y="56"/>
                  </a:lnTo>
                  <a:lnTo>
                    <a:pt x="809" y="56"/>
                  </a:lnTo>
                  <a:lnTo>
                    <a:pt x="809" y="56"/>
                  </a:lnTo>
                  <a:lnTo>
                    <a:pt x="809" y="53"/>
                  </a:lnTo>
                  <a:lnTo>
                    <a:pt x="809" y="53"/>
                  </a:lnTo>
                  <a:lnTo>
                    <a:pt x="809" y="53"/>
                  </a:lnTo>
                  <a:lnTo>
                    <a:pt x="809" y="51"/>
                  </a:lnTo>
                  <a:lnTo>
                    <a:pt x="809" y="51"/>
                  </a:lnTo>
                  <a:lnTo>
                    <a:pt x="809" y="51"/>
                  </a:lnTo>
                  <a:lnTo>
                    <a:pt x="812" y="48"/>
                  </a:lnTo>
                  <a:lnTo>
                    <a:pt x="812" y="48"/>
                  </a:lnTo>
                  <a:lnTo>
                    <a:pt x="812" y="48"/>
                  </a:lnTo>
                  <a:lnTo>
                    <a:pt x="815" y="48"/>
                  </a:lnTo>
                  <a:lnTo>
                    <a:pt x="815" y="51"/>
                  </a:lnTo>
                  <a:lnTo>
                    <a:pt x="815" y="51"/>
                  </a:lnTo>
                  <a:lnTo>
                    <a:pt x="815" y="51"/>
                  </a:lnTo>
                  <a:lnTo>
                    <a:pt x="817" y="51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8"/>
                  </a:lnTo>
                  <a:lnTo>
                    <a:pt x="817" y="45"/>
                  </a:lnTo>
                  <a:lnTo>
                    <a:pt x="817" y="45"/>
                  </a:lnTo>
                  <a:lnTo>
                    <a:pt x="820" y="43"/>
                  </a:lnTo>
                  <a:lnTo>
                    <a:pt x="820" y="43"/>
                  </a:lnTo>
                  <a:lnTo>
                    <a:pt x="820" y="40"/>
                  </a:lnTo>
                  <a:lnTo>
                    <a:pt x="820" y="40"/>
                  </a:lnTo>
                  <a:lnTo>
                    <a:pt x="820" y="37"/>
                  </a:lnTo>
                  <a:lnTo>
                    <a:pt x="820" y="37"/>
                  </a:lnTo>
                  <a:lnTo>
                    <a:pt x="823" y="37"/>
                  </a:lnTo>
                  <a:lnTo>
                    <a:pt x="823" y="35"/>
                  </a:lnTo>
                  <a:lnTo>
                    <a:pt x="823" y="35"/>
                  </a:lnTo>
                  <a:lnTo>
                    <a:pt x="823" y="35"/>
                  </a:lnTo>
                  <a:lnTo>
                    <a:pt x="823" y="32"/>
                  </a:lnTo>
                  <a:lnTo>
                    <a:pt x="823" y="32"/>
                  </a:lnTo>
                  <a:lnTo>
                    <a:pt x="825" y="32"/>
                  </a:lnTo>
                  <a:lnTo>
                    <a:pt x="825" y="32"/>
                  </a:lnTo>
                  <a:lnTo>
                    <a:pt x="825" y="32"/>
                  </a:lnTo>
                  <a:lnTo>
                    <a:pt x="828" y="29"/>
                  </a:lnTo>
                  <a:lnTo>
                    <a:pt x="828" y="29"/>
                  </a:lnTo>
                  <a:lnTo>
                    <a:pt x="828" y="29"/>
                  </a:lnTo>
                  <a:lnTo>
                    <a:pt x="831" y="29"/>
                  </a:lnTo>
                  <a:lnTo>
                    <a:pt x="831" y="27"/>
                  </a:lnTo>
                  <a:lnTo>
                    <a:pt x="831" y="27"/>
                  </a:lnTo>
                  <a:lnTo>
                    <a:pt x="833" y="24"/>
                  </a:lnTo>
                  <a:lnTo>
                    <a:pt x="833" y="24"/>
                  </a:lnTo>
                  <a:lnTo>
                    <a:pt x="833" y="24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21"/>
                  </a:lnTo>
                  <a:lnTo>
                    <a:pt x="833" y="19"/>
                  </a:lnTo>
                  <a:lnTo>
                    <a:pt x="833" y="19"/>
                  </a:lnTo>
                  <a:lnTo>
                    <a:pt x="836" y="19"/>
                  </a:lnTo>
                  <a:lnTo>
                    <a:pt x="836" y="19"/>
                  </a:lnTo>
                  <a:lnTo>
                    <a:pt x="836" y="16"/>
                  </a:lnTo>
                  <a:lnTo>
                    <a:pt x="839" y="16"/>
                  </a:lnTo>
                  <a:lnTo>
                    <a:pt x="839" y="13"/>
                  </a:lnTo>
                  <a:lnTo>
                    <a:pt x="839" y="13"/>
                  </a:lnTo>
                  <a:lnTo>
                    <a:pt x="841" y="13"/>
                  </a:lnTo>
                  <a:lnTo>
                    <a:pt x="841" y="13"/>
                  </a:lnTo>
                  <a:lnTo>
                    <a:pt x="841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3"/>
                  </a:lnTo>
                  <a:lnTo>
                    <a:pt x="844" y="16"/>
                  </a:lnTo>
                  <a:lnTo>
                    <a:pt x="844" y="16"/>
                  </a:lnTo>
                  <a:lnTo>
                    <a:pt x="844" y="16"/>
                  </a:lnTo>
                  <a:lnTo>
                    <a:pt x="847" y="16"/>
                  </a:lnTo>
                  <a:lnTo>
                    <a:pt x="847" y="16"/>
                  </a:lnTo>
                  <a:lnTo>
                    <a:pt x="847" y="16"/>
                  </a:lnTo>
                  <a:lnTo>
                    <a:pt x="849" y="13"/>
                  </a:lnTo>
                  <a:lnTo>
                    <a:pt x="849" y="13"/>
                  </a:lnTo>
                  <a:lnTo>
                    <a:pt x="852" y="13"/>
                  </a:lnTo>
                  <a:lnTo>
                    <a:pt x="852" y="13"/>
                  </a:lnTo>
                  <a:lnTo>
                    <a:pt x="852" y="13"/>
                  </a:lnTo>
                  <a:lnTo>
                    <a:pt x="852" y="11"/>
                  </a:lnTo>
                  <a:lnTo>
                    <a:pt x="852" y="11"/>
                  </a:lnTo>
                  <a:lnTo>
                    <a:pt x="855" y="11"/>
                  </a:lnTo>
                  <a:lnTo>
                    <a:pt x="855" y="11"/>
                  </a:lnTo>
                  <a:lnTo>
                    <a:pt x="855" y="11"/>
                  </a:lnTo>
                  <a:lnTo>
                    <a:pt x="855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57" y="5"/>
                  </a:lnTo>
                  <a:lnTo>
                    <a:pt x="860" y="3"/>
                  </a:lnTo>
                  <a:lnTo>
                    <a:pt x="860" y="3"/>
                  </a:lnTo>
                  <a:lnTo>
                    <a:pt x="860" y="3"/>
                  </a:lnTo>
                  <a:lnTo>
                    <a:pt x="863" y="3"/>
                  </a:lnTo>
                  <a:lnTo>
                    <a:pt x="863" y="0"/>
                  </a:lnTo>
                  <a:lnTo>
                    <a:pt x="865" y="0"/>
                  </a:lnTo>
                  <a:lnTo>
                    <a:pt x="865" y="0"/>
                  </a:lnTo>
                  <a:lnTo>
                    <a:pt x="865" y="0"/>
                  </a:lnTo>
                  <a:lnTo>
                    <a:pt x="868" y="0"/>
                  </a:lnTo>
                  <a:lnTo>
                    <a:pt x="868" y="0"/>
                  </a:lnTo>
                  <a:lnTo>
                    <a:pt x="871" y="3"/>
                  </a:lnTo>
                  <a:lnTo>
                    <a:pt x="871" y="3"/>
                  </a:lnTo>
                  <a:lnTo>
                    <a:pt x="871" y="3"/>
                  </a:lnTo>
                  <a:lnTo>
                    <a:pt x="868" y="3"/>
                  </a:lnTo>
                  <a:lnTo>
                    <a:pt x="868" y="5"/>
                  </a:lnTo>
                  <a:lnTo>
                    <a:pt x="868" y="5"/>
                  </a:lnTo>
                  <a:lnTo>
                    <a:pt x="868" y="5"/>
                  </a:lnTo>
                  <a:lnTo>
                    <a:pt x="868" y="8"/>
                  </a:lnTo>
                  <a:lnTo>
                    <a:pt x="871" y="8"/>
                  </a:lnTo>
                  <a:lnTo>
                    <a:pt x="871" y="8"/>
                  </a:lnTo>
                  <a:lnTo>
                    <a:pt x="871" y="8"/>
                  </a:lnTo>
                  <a:lnTo>
                    <a:pt x="873" y="8"/>
                  </a:lnTo>
                  <a:lnTo>
                    <a:pt x="873" y="8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6" y="5"/>
                  </a:lnTo>
                  <a:lnTo>
                    <a:pt x="879" y="5"/>
                  </a:lnTo>
                  <a:lnTo>
                    <a:pt x="879" y="5"/>
                  </a:lnTo>
                  <a:lnTo>
                    <a:pt x="879" y="5"/>
                  </a:lnTo>
                  <a:lnTo>
                    <a:pt x="881" y="5"/>
                  </a:lnTo>
                  <a:lnTo>
                    <a:pt x="881" y="5"/>
                  </a:lnTo>
                  <a:lnTo>
                    <a:pt x="881" y="5"/>
                  </a:lnTo>
                  <a:lnTo>
                    <a:pt x="884" y="5"/>
                  </a:lnTo>
                  <a:lnTo>
                    <a:pt x="884" y="8"/>
                  </a:lnTo>
                  <a:lnTo>
                    <a:pt x="884" y="8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4" y="11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7" y="13"/>
                  </a:lnTo>
                  <a:lnTo>
                    <a:pt x="889" y="16"/>
                  </a:lnTo>
                  <a:lnTo>
                    <a:pt x="889" y="16"/>
                  </a:lnTo>
                  <a:lnTo>
                    <a:pt x="892" y="16"/>
                  </a:lnTo>
                  <a:lnTo>
                    <a:pt x="892" y="16"/>
                  </a:lnTo>
                  <a:lnTo>
                    <a:pt x="892" y="16"/>
                  </a:lnTo>
                  <a:lnTo>
                    <a:pt x="895" y="19"/>
                  </a:lnTo>
                  <a:lnTo>
                    <a:pt x="897" y="19"/>
                  </a:lnTo>
                  <a:lnTo>
                    <a:pt x="900" y="19"/>
                  </a:lnTo>
                  <a:lnTo>
                    <a:pt x="900" y="19"/>
                  </a:lnTo>
                  <a:lnTo>
                    <a:pt x="900" y="19"/>
                  </a:lnTo>
                  <a:lnTo>
                    <a:pt x="903" y="19"/>
                  </a:lnTo>
                  <a:lnTo>
                    <a:pt x="903" y="19"/>
                  </a:lnTo>
                  <a:lnTo>
                    <a:pt x="905" y="19"/>
                  </a:lnTo>
                  <a:lnTo>
                    <a:pt x="905" y="19"/>
                  </a:lnTo>
                  <a:lnTo>
                    <a:pt x="905" y="19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08" y="16"/>
                  </a:lnTo>
                  <a:lnTo>
                    <a:pt x="911" y="16"/>
                  </a:lnTo>
                  <a:lnTo>
                    <a:pt x="911" y="16"/>
                  </a:lnTo>
                  <a:lnTo>
                    <a:pt x="911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3" y="16"/>
                  </a:lnTo>
                  <a:lnTo>
                    <a:pt x="916" y="19"/>
                  </a:lnTo>
                  <a:lnTo>
                    <a:pt x="916" y="19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1"/>
                  </a:lnTo>
                  <a:lnTo>
                    <a:pt x="916" y="24"/>
                  </a:lnTo>
                  <a:lnTo>
                    <a:pt x="916" y="24"/>
                  </a:lnTo>
                  <a:lnTo>
                    <a:pt x="916" y="24"/>
                  </a:lnTo>
                  <a:lnTo>
                    <a:pt x="919" y="27"/>
                  </a:lnTo>
                  <a:lnTo>
                    <a:pt x="919" y="27"/>
                  </a:lnTo>
                  <a:lnTo>
                    <a:pt x="919" y="27"/>
                  </a:lnTo>
                  <a:lnTo>
                    <a:pt x="919" y="29"/>
                  </a:lnTo>
                  <a:lnTo>
                    <a:pt x="919" y="29"/>
                  </a:lnTo>
                  <a:lnTo>
                    <a:pt x="919" y="32"/>
                  </a:lnTo>
                  <a:lnTo>
                    <a:pt x="921" y="32"/>
                  </a:lnTo>
                  <a:lnTo>
                    <a:pt x="921" y="32"/>
                  </a:lnTo>
                  <a:lnTo>
                    <a:pt x="921" y="32"/>
                  </a:lnTo>
                  <a:lnTo>
                    <a:pt x="921" y="35"/>
                  </a:lnTo>
                  <a:lnTo>
                    <a:pt x="924" y="35"/>
                  </a:lnTo>
                  <a:lnTo>
                    <a:pt x="924" y="35"/>
                  </a:lnTo>
                  <a:lnTo>
                    <a:pt x="927" y="35"/>
                  </a:lnTo>
                  <a:lnTo>
                    <a:pt x="927" y="35"/>
                  </a:lnTo>
                  <a:lnTo>
                    <a:pt x="927" y="37"/>
                  </a:lnTo>
                  <a:lnTo>
                    <a:pt x="927" y="37"/>
                  </a:lnTo>
                  <a:lnTo>
                    <a:pt x="927" y="37"/>
                  </a:lnTo>
                  <a:lnTo>
                    <a:pt x="929" y="37"/>
                  </a:lnTo>
                  <a:lnTo>
                    <a:pt x="929" y="37"/>
                  </a:lnTo>
                  <a:lnTo>
                    <a:pt x="929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7" y="40"/>
                  </a:lnTo>
                  <a:lnTo>
                    <a:pt x="924" y="40"/>
                  </a:lnTo>
                  <a:lnTo>
                    <a:pt x="924" y="40"/>
                  </a:lnTo>
                  <a:lnTo>
                    <a:pt x="924" y="40"/>
                  </a:lnTo>
                  <a:lnTo>
                    <a:pt x="921" y="40"/>
                  </a:lnTo>
                  <a:lnTo>
                    <a:pt x="921" y="40"/>
                  </a:lnTo>
                  <a:lnTo>
                    <a:pt x="921" y="40"/>
                  </a:lnTo>
                  <a:lnTo>
                    <a:pt x="919" y="40"/>
                  </a:lnTo>
                  <a:lnTo>
                    <a:pt x="919" y="40"/>
                  </a:lnTo>
                  <a:lnTo>
                    <a:pt x="916" y="40"/>
                  </a:lnTo>
                  <a:lnTo>
                    <a:pt x="916" y="40"/>
                  </a:lnTo>
                  <a:lnTo>
                    <a:pt x="916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0"/>
                  </a:lnTo>
                  <a:lnTo>
                    <a:pt x="913" y="43"/>
                  </a:lnTo>
                  <a:lnTo>
                    <a:pt x="913" y="43"/>
                  </a:lnTo>
                  <a:lnTo>
                    <a:pt x="911" y="45"/>
                  </a:lnTo>
                  <a:lnTo>
                    <a:pt x="911" y="45"/>
                  </a:lnTo>
                  <a:lnTo>
                    <a:pt x="911" y="48"/>
                  </a:lnTo>
                  <a:lnTo>
                    <a:pt x="911" y="48"/>
                  </a:lnTo>
                  <a:lnTo>
                    <a:pt x="911" y="48"/>
                  </a:lnTo>
                  <a:lnTo>
                    <a:pt x="911" y="51"/>
                  </a:lnTo>
                  <a:lnTo>
                    <a:pt x="911" y="51"/>
                  </a:lnTo>
                  <a:lnTo>
                    <a:pt x="911" y="53"/>
                  </a:lnTo>
                  <a:lnTo>
                    <a:pt x="908" y="53"/>
                  </a:lnTo>
                  <a:lnTo>
                    <a:pt x="908" y="53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6"/>
                  </a:lnTo>
                  <a:lnTo>
                    <a:pt x="908" y="59"/>
                  </a:lnTo>
                  <a:lnTo>
                    <a:pt x="905" y="59"/>
                  </a:lnTo>
                  <a:lnTo>
                    <a:pt x="905" y="59"/>
                  </a:lnTo>
                  <a:lnTo>
                    <a:pt x="903" y="61"/>
                  </a:lnTo>
                  <a:lnTo>
                    <a:pt x="903" y="61"/>
                  </a:lnTo>
                  <a:lnTo>
                    <a:pt x="903" y="61"/>
                  </a:lnTo>
                  <a:lnTo>
                    <a:pt x="900" y="64"/>
                  </a:lnTo>
                  <a:lnTo>
                    <a:pt x="900" y="64"/>
                  </a:lnTo>
                  <a:lnTo>
                    <a:pt x="900" y="64"/>
                  </a:lnTo>
                  <a:lnTo>
                    <a:pt x="897" y="64"/>
                  </a:lnTo>
                  <a:lnTo>
                    <a:pt x="895" y="67"/>
                  </a:lnTo>
                  <a:lnTo>
                    <a:pt x="895" y="67"/>
                  </a:lnTo>
                  <a:lnTo>
                    <a:pt x="892" y="67"/>
                  </a:lnTo>
                  <a:lnTo>
                    <a:pt x="892" y="67"/>
                  </a:lnTo>
                  <a:lnTo>
                    <a:pt x="892" y="67"/>
                  </a:lnTo>
                  <a:lnTo>
                    <a:pt x="889" y="69"/>
                  </a:lnTo>
                  <a:lnTo>
                    <a:pt x="889" y="67"/>
                  </a:lnTo>
                  <a:lnTo>
                    <a:pt x="889" y="67"/>
                  </a:lnTo>
                  <a:lnTo>
                    <a:pt x="889" y="67"/>
                  </a:lnTo>
                  <a:lnTo>
                    <a:pt x="887" y="67"/>
                  </a:lnTo>
                  <a:lnTo>
                    <a:pt x="887" y="67"/>
                  </a:lnTo>
                  <a:lnTo>
                    <a:pt x="887" y="69"/>
                  </a:lnTo>
                  <a:lnTo>
                    <a:pt x="884" y="69"/>
                  </a:lnTo>
                  <a:lnTo>
                    <a:pt x="884" y="69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4" y="72"/>
                  </a:lnTo>
                  <a:lnTo>
                    <a:pt x="881" y="72"/>
                  </a:lnTo>
                  <a:lnTo>
                    <a:pt x="881" y="72"/>
                  </a:lnTo>
                  <a:lnTo>
                    <a:pt x="879" y="72"/>
                  </a:lnTo>
                  <a:lnTo>
                    <a:pt x="879" y="72"/>
                  </a:lnTo>
                  <a:lnTo>
                    <a:pt x="879" y="72"/>
                  </a:lnTo>
                  <a:lnTo>
                    <a:pt x="876" y="75"/>
                  </a:lnTo>
                  <a:lnTo>
                    <a:pt x="876" y="75"/>
                  </a:lnTo>
                  <a:lnTo>
                    <a:pt x="876" y="75"/>
                  </a:lnTo>
                  <a:lnTo>
                    <a:pt x="873" y="75"/>
                  </a:lnTo>
                  <a:lnTo>
                    <a:pt x="873" y="75"/>
                  </a:lnTo>
                  <a:lnTo>
                    <a:pt x="871" y="77"/>
                  </a:lnTo>
                  <a:lnTo>
                    <a:pt x="871" y="77"/>
                  </a:lnTo>
                  <a:lnTo>
                    <a:pt x="871" y="77"/>
                  </a:lnTo>
                  <a:lnTo>
                    <a:pt x="873" y="77"/>
                  </a:lnTo>
                  <a:lnTo>
                    <a:pt x="873" y="77"/>
                  </a:lnTo>
                  <a:lnTo>
                    <a:pt x="873" y="77"/>
                  </a:lnTo>
                  <a:lnTo>
                    <a:pt x="876" y="77"/>
                  </a:lnTo>
                  <a:lnTo>
                    <a:pt x="876" y="77"/>
                  </a:lnTo>
                  <a:lnTo>
                    <a:pt x="876" y="77"/>
                  </a:lnTo>
                  <a:lnTo>
                    <a:pt x="879" y="77"/>
                  </a:lnTo>
                  <a:lnTo>
                    <a:pt x="884" y="77"/>
                  </a:lnTo>
                  <a:lnTo>
                    <a:pt x="884" y="77"/>
                  </a:lnTo>
                  <a:lnTo>
                    <a:pt x="884" y="75"/>
                  </a:lnTo>
                  <a:lnTo>
                    <a:pt x="887" y="75"/>
                  </a:lnTo>
                  <a:lnTo>
                    <a:pt x="887" y="75"/>
                  </a:lnTo>
                  <a:lnTo>
                    <a:pt x="889" y="75"/>
                  </a:lnTo>
                  <a:lnTo>
                    <a:pt x="892" y="75"/>
                  </a:lnTo>
                  <a:lnTo>
                    <a:pt x="892" y="77"/>
                  </a:lnTo>
                  <a:lnTo>
                    <a:pt x="892" y="77"/>
                  </a:lnTo>
                  <a:lnTo>
                    <a:pt x="895" y="77"/>
                  </a:lnTo>
                  <a:lnTo>
                    <a:pt x="895" y="77"/>
                  </a:lnTo>
                  <a:lnTo>
                    <a:pt x="897" y="77"/>
                  </a:lnTo>
                  <a:lnTo>
                    <a:pt x="897" y="77"/>
                  </a:lnTo>
                  <a:lnTo>
                    <a:pt x="897" y="77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0" y="75"/>
                  </a:lnTo>
                  <a:lnTo>
                    <a:pt x="903" y="75"/>
                  </a:lnTo>
                  <a:lnTo>
                    <a:pt x="903" y="75"/>
                  </a:lnTo>
                  <a:lnTo>
                    <a:pt x="905" y="75"/>
                  </a:lnTo>
                  <a:lnTo>
                    <a:pt x="905" y="75"/>
                  </a:lnTo>
                  <a:lnTo>
                    <a:pt x="905" y="75"/>
                  </a:lnTo>
                  <a:lnTo>
                    <a:pt x="908" y="75"/>
                  </a:lnTo>
                  <a:lnTo>
                    <a:pt x="908" y="72"/>
                  </a:lnTo>
                  <a:lnTo>
                    <a:pt x="911" y="72"/>
                  </a:lnTo>
                  <a:lnTo>
                    <a:pt x="911" y="72"/>
                  </a:lnTo>
                  <a:lnTo>
                    <a:pt x="913" y="72"/>
                  </a:lnTo>
                  <a:lnTo>
                    <a:pt x="916" y="72"/>
                  </a:lnTo>
                  <a:lnTo>
                    <a:pt x="916" y="72"/>
                  </a:lnTo>
                  <a:lnTo>
                    <a:pt x="916" y="72"/>
                  </a:lnTo>
                  <a:lnTo>
                    <a:pt x="919" y="72"/>
                  </a:lnTo>
                  <a:lnTo>
                    <a:pt x="919" y="72"/>
                  </a:lnTo>
                  <a:lnTo>
                    <a:pt x="919" y="69"/>
                  </a:lnTo>
                  <a:lnTo>
                    <a:pt x="921" y="69"/>
                  </a:lnTo>
                  <a:lnTo>
                    <a:pt x="921" y="69"/>
                  </a:lnTo>
                  <a:lnTo>
                    <a:pt x="921" y="67"/>
                  </a:lnTo>
                  <a:lnTo>
                    <a:pt x="921" y="67"/>
                  </a:lnTo>
                  <a:lnTo>
                    <a:pt x="921" y="67"/>
                  </a:lnTo>
                  <a:lnTo>
                    <a:pt x="921" y="69"/>
                  </a:lnTo>
                  <a:lnTo>
                    <a:pt x="921" y="69"/>
                  </a:lnTo>
                  <a:lnTo>
                    <a:pt x="921" y="72"/>
                  </a:lnTo>
                  <a:lnTo>
                    <a:pt x="921" y="75"/>
                  </a:lnTo>
                  <a:lnTo>
                    <a:pt x="921" y="75"/>
                  </a:lnTo>
                  <a:lnTo>
                    <a:pt x="919" y="75"/>
                  </a:lnTo>
                  <a:lnTo>
                    <a:pt x="919" y="75"/>
                  </a:lnTo>
                  <a:lnTo>
                    <a:pt x="919" y="77"/>
                  </a:lnTo>
                  <a:lnTo>
                    <a:pt x="919" y="77"/>
                  </a:lnTo>
                  <a:lnTo>
                    <a:pt x="919" y="77"/>
                  </a:lnTo>
                  <a:lnTo>
                    <a:pt x="919" y="80"/>
                  </a:lnTo>
                  <a:lnTo>
                    <a:pt x="919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6" y="80"/>
                  </a:lnTo>
                  <a:lnTo>
                    <a:pt x="913" y="80"/>
                  </a:lnTo>
                  <a:lnTo>
                    <a:pt x="913" y="80"/>
                  </a:lnTo>
                  <a:lnTo>
                    <a:pt x="911" y="83"/>
                  </a:lnTo>
                  <a:lnTo>
                    <a:pt x="911" y="83"/>
                  </a:lnTo>
                  <a:lnTo>
                    <a:pt x="911" y="83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1" y="85"/>
                  </a:lnTo>
                  <a:lnTo>
                    <a:pt x="913" y="85"/>
                  </a:lnTo>
                  <a:lnTo>
                    <a:pt x="913" y="85"/>
                  </a:lnTo>
                  <a:lnTo>
                    <a:pt x="913" y="88"/>
                  </a:lnTo>
                  <a:lnTo>
                    <a:pt x="913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6" y="85"/>
                  </a:lnTo>
                  <a:lnTo>
                    <a:pt x="919" y="85"/>
                  </a:lnTo>
                  <a:lnTo>
                    <a:pt x="919" y="85"/>
                  </a:lnTo>
                  <a:lnTo>
                    <a:pt x="921" y="85"/>
                  </a:lnTo>
                  <a:lnTo>
                    <a:pt x="921" y="85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4" y="83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80"/>
                  </a:lnTo>
                  <a:lnTo>
                    <a:pt x="927" y="77"/>
                  </a:lnTo>
                  <a:lnTo>
                    <a:pt x="927" y="77"/>
                  </a:lnTo>
                  <a:lnTo>
                    <a:pt x="927" y="77"/>
                  </a:lnTo>
                  <a:lnTo>
                    <a:pt x="929" y="77"/>
                  </a:lnTo>
                  <a:lnTo>
                    <a:pt x="929" y="75"/>
                  </a:lnTo>
                  <a:lnTo>
                    <a:pt x="929" y="75"/>
                  </a:lnTo>
                  <a:lnTo>
                    <a:pt x="932" y="75"/>
                  </a:lnTo>
                  <a:lnTo>
                    <a:pt x="932" y="75"/>
                  </a:lnTo>
                  <a:lnTo>
                    <a:pt x="932" y="75"/>
                  </a:lnTo>
                  <a:lnTo>
                    <a:pt x="935" y="75"/>
                  </a:lnTo>
                  <a:lnTo>
                    <a:pt x="935" y="75"/>
                  </a:lnTo>
                  <a:lnTo>
                    <a:pt x="937" y="75"/>
                  </a:lnTo>
                  <a:lnTo>
                    <a:pt x="937" y="75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0" y="77"/>
                  </a:lnTo>
                  <a:lnTo>
                    <a:pt x="943" y="77"/>
                  </a:lnTo>
                  <a:lnTo>
                    <a:pt x="943" y="77"/>
                  </a:lnTo>
                  <a:lnTo>
                    <a:pt x="943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5" y="80"/>
                  </a:lnTo>
                  <a:lnTo>
                    <a:pt x="948" y="80"/>
                  </a:lnTo>
                  <a:lnTo>
                    <a:pt x="948" y="77"/>
                  </a:lnTo>
                  <a:lnTo>
                    <a:pt x="948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7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5" y="75"/>
                  </a:lnTo>
                  <a:lnTo>
                    <a:pt x="948" y="75"/>
                  </a:lnTo>
                  <a:lnTo>
                    <a:pt x="948" y="72"/>
                  </a:lnTo>
                  <a:lnTo>
                    <a:pt x="948" y="72"/>
                  </a:lnTo>
                  <a:lnTo>
                    <a:pt x="951" y="72"/>
                  </a:lnTo>
                  <a:lnTo>
                    <a:pt x="951" y="75"/>
                  </a:lnTo>
                  <a:lnTo>
                    <a:pt x="951" y="75"/>
                  </a:lnTo>
                  <a:lnTo>
                    <a:pt x="953" y="75"/>
                  </a:lnTo>
                  <a:lnTo>
                    <a:pt x="953" y="75"/>
                  </a:lnTo>
                  <a:lnTo>
                    <a:pt x="953" y="75"/>
                  </a:lnTo>
                  <a:lnTo>
                    <a:pt x="956" y="75"/>
                  </a:lnTo>
                  <a:lnTo>
                    <a:pt x="956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3" y="77"/>
                  </a:lnTo>
                  <a:lnTo>
                    <a:pt x="956" y="77"/>
                  </a:lnTo>
                  <a:lnTo>
                    <a:pt x="956" y="77"/>
                  </a:lnTo>
                  <a:lnTo>
                    <a:pt x="956" y="77"/>
                  </a:lnTo>
                  <a:lnTo>
                    <a:pt x="959" y="77"/>
                  </a:lnTo>
                  <a:lnTo>
                    <a:pt x="959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77"/>
                  </a:lnTo>
                  <a:lnTo>
                    <a:pt x="961" y="80"/>
                  </a:lnTo>
                  <a:lnTo>
                    <a:pt x="964" y="80"/>
                  </a:lnTo>
                  <a:lnTo>
                    <a:pt x="964" y="80"/>
                  </a:lnTo>
                  <a:lnTo>
                    <a:pt x="964" y="83"/>
                  </a:lnTo>
                  <a:lnTo>
                    <a:pt x="964" y="83"/>
                  </a:lnTo>
                  <a:lnTo>
                    <a:pt x="964" y="83"/>
                  </a:lnTo>
                  <a:lnTo>
                    <a:pt x="967" y="85"/>
                  </a:lnTo>
                  <a:lnTo>
                    <a:pt x="967" y="85"/>
                  </a:lnTo>
                  <a:lnTo>
                    <a:pt x="967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5"/>
                  </a:lnTo>
                  <a:lnTo>
                    <a:pt x="969" y="88"/>
                  </a:lnTo>
                  <a:lnTo>
                    <a:pt x="969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7" y="88"/>
                  </a:lnTo>
                  <a:lnTo>
                    <a:pt x="964" y="91"/>
                  </a:lnTo>
                  <a:lnTo>
                    <a:pt x="964" y="91"/>
                  </a:lnTo>
                  <a:lnTo>
                    <a:pt x="964" y="91"/>
                  </a:lnTo>
                  <a:lnTo>
                    <a:pt x="967" y="91"/>
                  </a:lnTo>
                  <a:lnTo>
                    <a:pt x="967" y="91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3"/>
                  </a:lnTo>
                  <a:lnTo>
                    <a:pt x="967" y="96"/>
                  </a:lnTo>
                  <a:lnTo>
                    <a:pt x="967" y="96"/>
                  </a:lnTo>
                  <a:lnTo>
                    <a:pt x="967" y="99"/>
                  </a:lnTo>
                  <a:lnTo>
                    <a:pt x="964" y="99"/>
                  </a:lnTo>
                  <a:lnTo>
                    <a:pt x="964" y="99"/>
                  </a:lnTo>
                  <a:lnTo>
                    <a:pt x="964" y="101"/>
                  </a:lnTo>
                  <a:lnTo>
                    <a:pt x="964" y="101"/>
                  </a:lnTo>
                  <a:lnTo>
                    <a:pt x="964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61" y="101"/>
                  </a:lnTo>
                  <a:lnTo>
                    <a:pt x="959" y="101"/>
                  </a:lnTo>
                  <a:lnTo>
                    <a:pt x="959" y="101"/>
                  </a:lnTo>
                  <a:lnTo>
                    <a:pt x="959" y="104"/>
                  </a:lnTo>
                  <a:lnTo>
                    <a:pt x="959" y="104"/>
                  </a:lnTo>
                  <a:lnTo>
                    <a:pt x="959" y="107"/>
                  </a:lnTo>
                  <a:lnTo>
                    <a:pt x="959" y="107"/>
                  </a:lnTo>
                  <a:lnTo>
                    <a:pt x="959" y="107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9" y="109"/>
                  </a:lnTo>
                  <a:lnTo>
                    <a:pt x="956" y="112"/>
                  </a:lnTo>
                  <a:lnTo>
                    <a:pt x="956" y="112"/>
                  </a:lnTo>
                  <a:lnTo>
                    <a:pt x="956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2"/>
                  </a:lnTo>
                  <a:lnTo>
                    <a:pt x="953" y="115"/>
                  </a:lnTo>
                  <a:lnTo>
                    <a:pt x="953" y="115"/>
                  </a:lnTo>
                  <a:lnTo>
                    <a:pt x="953" y="115"/>
                  </a:lnTo>
                  <a:lnTo>
                    <a:pt x="953" y="117"/>
                  </a:lnTo>
                  <a:lnTo>
                    <a:pt x="953" y="117"/>
                  </a:lnTo>
                  <a:lnTo>
                    <a:pt x="953" y="117"/>
                  </a:lnTo>
                  <a:lnTo>
                    <a:pt x="953" y="120"/>
                  </a:lnTo>
                  <a:lnTo>
                    <a:pt x="953" y="120"/>
                  </a:lnTo>
                  <a:lnTo>
                    <a:pt x="953" y="120"/>
                  </a:lnTo>
                  <a:lnTo>
                    <a:pt x="953" y="123"/>
                  </a:lnTo>
                  <a:lnTo>
                    <a:pt x="953" y="123"/>
                  </a:lnTo>
                  <a:lnTo>
                    <a:pt x="953" y="123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5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1" y="128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48" y="131"/>
                  </a:lnTo>
                  <a:lnTo>
                    <a:pt x="948" y="131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8" y="128"/>
                  </a:lnTo>
                  <a:lnTo>
                    <a:pt x="945" y="128"/>
                  </a:lnTo>
                  <a:lnTo>
                    <a:pt x="945" y="128"/>
                  </a:lnTo>
                  <a:lnTo>
                    <a:pt x="945" y="128"/>
                  </a:lnTo>
                  <a:lnTo>
                    <a:pt x="945" y="131"/>
                  </a:lnTo>
                  <a:lnTo>
                    <a:pt x="945" y="131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4"/>
                  </a:lnTo>
                  <a:lnTo>
                    <a:pt x="945" y="136"/>
                  </a:lnTo>
                  <a:lnTo>
                    <a:pt x="945" y="136"/>
                  </a:lnTo>
                  <a:lnTo>
                    <a:pt x="945" y="139"/>
                  </a:lnTo>
                  <a:lnTo>
                    <a:pt x="945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1" y="139"/>
                  </a:lnTo>
                  <a:lnTo>
                    <a:pt x="953" y="139"/>
                  </a:lnTo>
                  <a:lnTo>
                    <a:pt x="953" y="139"/>
                  </a:lnTo>
                  <a:lnTo>
                    <a:pt x="953" y="139"/>
                  </a:lnTo>
                  <a:lnTo>
                    <a:pt x="956" y="139"/>
                  </a:lnTo>
                  <a:lnTo>
                    <a:pt x="956" y="139"/>
                  </a:lnTo>
                  <a:lnTo>
                    <a:pt x="956" y="142"/>
                  </a:lnTo>
                  <a:lnTo>
                    <a:pt x="956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42"/>
                  </a:lnTo>
                  <a:lnTo>
                    <a:pt x="959" y="139"/>
                  </a:lnTo>
                  <a:lnTo>
                    <a:pt x="959" y="139"/>
                  </a:lnTo>
                  <a:lnTo>
                    <a:pt x="959" y="136"/>
                  </a:lnTo>
                  <a:lnTo>
                    <a:pt x="959" y="136"/>
                  </a:lnTo>
                  <a:lnTo>
                    <a:pt x="961" y="136"/>
                  </a:lnTo>
                  <a:lnTo>
                    <a:pt x="961" y="136"/>
                  </a:lnTo>
                  <a:lnTo>
                    <a:pt x="961" y="136"/>
                  </a:lnTo>
                  <a:lnTo>
                    <a:pt x="964" y="136"/>
                  </a:lnTo>
                  <a:lnTo>
                    <a:pt x="964" y="136"/>
                  </a:lnTo>
                  <a:lnTo>
                    <a:pt x="964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7" y="134"/>
                  </a:lnTo>
                  <a:lnTo>
                    <a:pt x="969" y="134"/>
                  </a:lnTo>
                  <a:lnTo>
                    <a:pt x="969" y="131"/>
                  </a:lnTo>
                  <a:lnTo>
                    <a:pt x="972" y="131"/>
                  </a:lnTo>
                  <a:lnTo>
                    <a:pt x="972" y="131"/>
                  </a:lnTo>
                  <a:lnTo>
                    <a:pt x="975" y="131"/>
                  </a:lnTo>
                  <a:lnTo>
                    <a:pt x="975" y="134"/>
                  </a:lnTo>
                  <a:lnTo>
                    <a:pt x="975" y="134"/>
                  </a:lnTo>
                  <a:lnTo>
                    <a:pt x="975" y="134"/>
                  </a:lnTo>
                  <a:lnTo>
                    <a:pt x="977" y="134"/>
                  </a:lnTo>
                  <a:lnTo>
                    <a:pt x="977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5" y="131"/>
                  </a:lnTo>
                  <a:lnTo>
                    <a:pt x="985" y="131"/>
                  </a:lnTo>
                  <a:lnTo>
                    <a:pt x="985" y="131"/>
                  </a:lnTo>
                  <a:lnTo>
                    <a:pt x="988" y="128"/>
                  </a:lnTo>
                  <a:lnTo>
                    <a:pt x="988" y="125"/>
                  </a:lnTo>
                  <a:lnTo>
                    <a:pt x="988" y="125"/>
                  </a:lnTo>
                  <a:lnTo>
                    <a:pt x="988" y="123"/>
                  </a:lnTo>
                  <a:lnTo>
                    <a:pt x="988" y="123"/>
                  </a:lnTo>
                  <a:lnTo>
                    <a:pt x="991" y="123"/>
                  </a:lnTo>
                  <a:lnTo>
                    <a:pt x="991" y="120"/>
                  </a:lnTo>
                  <a:lnTo>
                    <a:pt x="991" y="120"/>
                  </a:lnTo>
                  <a:lnTo>
                    <a:pt x="991" y="117"/>
                  </a:lnTo>
                  <a:lnTo>
                    <a:pt x="991" y="117"/>
                  </a:lnTo>
                  <a:lnTo>
                    <a:pt x="991" y="117"/>
                  </a:lnTo>
                  <a:lnTo>
                    <a:pt x="991" y="115"/>
                  </a:lnTo>
                  <a:lnTo>
                    <a:pt x="991" y="115"/>
                  </a:lnTo>
                  <a:lnTo>
                    <a:pt x="991" y="115"/>
                  </a:lnTo>
                  <a:lnTo>
                    <a:pt x="988" y="115"/>
                  </a:lnTo>
                  <a:lnTo>
                    <a:pt x="988" y="115"/>
                  </a:lnTo>
                  <a:lnTo>
                    <a:pt x="988" y="115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5" y="109"/>
                  </a:lnTo>
                  <a:lnTo>
                    <a:pt x="985" y="109"/>
                  </a:lnTo>
                  <a:lnTo>
                    <a:pt x="985" y="107"/>
                  </a:lnTo>
                  <a:lnTo>
                    <a:pt x="985" y="107"/>
                  </a:lnTo>
                  <a:lnTo>
                    <a:pt x="985" y="107"/>
                  </a:lnTo>
                  <a:lnTo>
                    <a:pt x="988" y="107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3" y="104"/>
                  </a:lnTo>
                  <a:lnTo>
                    <a:pt x="993" y="104"/>
                  </a:lnTo>
                  <a:lnTo>
                    <a:pt x="993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9" y="104"/>
                  </a:lnTo>
                  <a:lnTo>
                    <a:pt x="999" y="107"/>
                  </a:lnTo>
                  <a:lnTo>
                    <a:pt x="996" y="107"/>
                  </a:lnTo>
                  <a:lnTo>
                    <a:pt x="996" y="107"/>
                  </a:lnTo>
                  <a:lnTo>
                    <a:pt x="996" y="107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6" y="109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999" y="107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9" y="104"/>
                  </a:lnTo>
                  <a:lnTo>
                    <a:pt x="1009" y="104"/>
                  </a:lnTo>
                  <a:lnTo>
                    <a:pt x="1012" y="104"/>
                  </a:lnTo>
                  <a:lnTo>
                    <a:pt x="1015" y="104"/>
                  </a:lnTo>
                  <a:lnTo>
                    <a:pt x="1015" y="101"/>
                  </a:lnTo>
                  <a:lnTo>
                    <a:pt x="1015" y="101"/>
                  </a:lnTo>
                  <a:lnTo>
                    <a:pt x="1017" y="101"/>
                  </a:lnTo>
                  <a:lnTo>
                    <a:pt x="1017" y="101"/>
                  </a:lnTo>
                  <a:lnTo>
                    <a:pt x="1020" y="101"/>
                  </a:lnTo>
                  <a:lnTo>
                    <a:pt x="1020" y="101"/>
                  </a:lnTo>
                  <a:lnTo>
                    <a:pt x="1020" y="101"/>
                  </a:lnTo>
                  <a:lnTo>
                    <a:pt x="1023" y="99"/>
                  </a:lnTo>
                  <a:lnTo>
                    <a:pt x="1023" y="99"/>
                  </a:lnTo>
                  <a:lnTo>
                    <a:pt x="1023" y="99"/>
                  </a:lnTo>
                  <a:lnTo>
                    <a:pt x="1025" y="99"/>
                  </a:lnTo>
                  <a:lnTo>
                    <a:pt x="1025" y="99"/>
                  </a:lnTo>
                  <a:lnTo>
                    <a:pt x="1028" y="96"/>
                  </a:lnTo>
                  <a:lnTo>
                    <a:pt x="1028" y="96"/>
                  </a:lnTo>
                  <a:lnTo>
                    <a:pt x="1031" y="99"/>
                  </a:lnTo>
                  <a:lnTo>
                    <a:pt x="1031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3" y="99"/>
                  </a:lnTo>
                  <a:lnTo>
                    <a:pt x="1036" y="99"/>
                  </a:lnTo>
                  <a:lnTo>
                    <a:pt x="1036" y="99"/>
                  </a:lnTo>
                  <a:lnTo>
                    <a:pt x="1039" y="99"/>
                  </a:lnTo>
                  <a:lnTo>
                    <a:pt x="1039" y="99"/>
                  </a:lnTo>
                  <a:lnTo>
                    <a:pt x="1042" y="99"/>
                  </a:lnTo>
                  <a:lnTo>
                    <a:pt x="1042" y="99"/>
                  </a:lnTo>
                  <a:lnTo>
                    <a:pt x="1044" y="101"/>
                  </a:lnTo>
                  <a:lnTo>
                    <a:pt x="1047" y="101"/>
                  </a:lnTo>
                  <a:lnTo>
                    <a:pt x="1047" y="99"/>
                  </a:lnTo>
                  <a:lnTo>
                    <a:pt x="1050" y="99"/>
                  </a:lnTo>
                  <a:lnTo>
                    <a:pt x="1050" y="99"/>
                  </a:lnTo>
                  <a:lnTo>
                    <a:pt x="1050" y="96"/>
                  </a:lnTo>
                  <a:lnTo>
                    <a:pt x="1052" y="96"/>
                  </a:lnTo>
                  <a:lnTo>
                    <a:pt x="1052" y="96"/>
                  </a:lnTo>
                  <a:lnTo>
                    <a:pt x="1052" y="96"/>
                  </a:lnTo>
                  <a:lnTo>
                    <a:pt x="1055" y="93"/>
                  </a:lnTo>
                  <a:lnTo>
                    <a:pt x="1055" y="93"/>
                  </a:lnTo>
                  <a:lnTo>
                    <a:pt x="1055" y="93"/>
                  </a:lnTo>
                  <a:lnTo>
                    <a:pt x="1058" y="93"/>
                  </a:lnTo>
                  <a:lnTo>
                    <a:pt x="1058" y="91"/>
                  </a:lnTo>
                  <a:lnTo>
                    <a:pt x="1058" y="91"/>
                  </a:lnTo>
                  <a:lnTo>
                    <a:pt x="1060" y="91"/>
                  </a:lnTo>
                  <a:lnTo>
                    <a:pt x="1060" y="91"/>
                  </a:lnTo>
                  <a:lnTo>
                    <a:pt x="1060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1"/>
                  </a:lnTo>
                  <a:lnTo>
                    <a:pt x="1063" y="93"/>
                  </a:lnTo>
                  <a:lnTo>
                    <a:pt x="1066" y="93"/>
                  </a:lnTo>
                  <a:lnTo>
                    <a:pt x="1066" y="93"/>
                  </a:lnTo>
                  <a:lnTo>
                    <a:pt x="1066" y="93"/>
                  </a:lnTo>
                  <a:lnTo>
                    <a:pt x="1068" y="93"/>
                  </a:lnTo>
                  <a:lnTo>
                    <a:pt x="1068" y="93"/>
                  </a:lnTo>
                  <a:lnTo>
                    <a:pt x="1068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1" y="91"/>
                  </a:lnTo>
                  <a:lnTo>
                    <a:pt x="1074" y="88"/>
                  </a:lnTo>
                  <a:lnTo>
                    <a:pt x="1074" y="88"/>
                  </a:lnTo>
                  <a:lnTo>
                    <a:pt x="1074" y="88"/>
                  </a:lnTo>
                  <a:lnTo>
                    <a:pt x="1076" y="88"/>
                  </a:lnTo>
                  <a:lnTo>
                    <a:pt x="1076" y="88"/>
                  </a:lnTo>
                  <a:lnTo>
                    <a:pt x="1079" y="88"/>
                  </a:lnTo>
                  <a:lnTo>
                    <a:pt x="1079" y="91"/>
                  </a:lnTo>
                  <a:lnTo>
                    <a:pt x="1079" y="91"/>
                  </a:lnTo>
                  <a:lnTo>
                    <a:pt x="1076" y="91"/>
                  </a:lnTo>
                  <a:lnTo>
                    <a:pt x="1076" y="93"/>
                  </a:lnTo>
                  <a:lnTo>
                    <a:pt x="1076" y="93"/>
                  </a:lnTo>
                  <a:lnTo>
                    <a:pt x="1076" y="93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6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79" y="99"/>
                  </a:lnTo>
                  <a:lnTo>
                    <a:pt x="1082" y="99"/>
                  </a:lnTo>
                  <a:lnTo>
                    <a:pt x="1082" y="99"/>
                  </a:lnTo>
                  <a:lnTo>
                    <a:pt x="1082" y="96"/>
                  </a:lnTo>
                  <a:lnTo>
                    <a:pt x="1082" y="96"/>
                  </a:lnTo>
                  <a:lnTo>
                    <a:pt x="1082" y="93"/>
                  </a:lnTo>
                  <a:lnTo>
                    <a:pt x="1082" y="93"/>
                  </a:lnTo>
                  <a:lnTo>
                    <a:pt x="1084" y="93"/>
                  </a:lnTo>
                  <a:lnTo>
                    <a:pt x="1084" y="96"/>
                  </a:lnTo>
                  <a:lnTo>
                    <a:pt x="1087" y="96"/>
                  </a:lnTo>
                  <a:lnTo>
                    <a:pt x="1087" y="96"/>
                  </a:lnTo>
                  <a:lnTo>
                    <a:pt x="1090" y="96"/>
                  </a:lnTo>
                  <a:lnTo>
                    <a:pt x="1090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6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2" y="99"/>
                  </a:lnTo>
                  <a:lnTo>
                    <a:pt x="1090" y="101"/>
                  </a:lnTo>
                  <a:lnTo>
                    <a:pt x="1090" y="101"/>
                  </a:lnTo>
                  <a:lnTo>
                    <a:pt x="1090" y="101"/>
                  </a:lnTo>
                  <a:lnTo>
                    <a:pt x="1090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2" y="104"/>
                  </a:lnTo>
                  <a:lnTo>
                    <a:pt x="1095" y="104"/>
                  </a:lnTo>
                  <a:lnTo>
                    <a:pt x="1095" y="104"/>
                  </a:lnTo>
                  <a:lnTo>
                    <a:pt x="1098" y="104"/>
                  </a:lnTo>
                  <a:lnTo>
                    <a:pt x="1098" y="104"/>
                  </a:lnTo>
                  <a:lnTo>
                    <a:pt x="1098" y="107"/>
                  </a:lnTo>
                  <a:lnTo>
                    <a:pt x="1100" y="107"/>
                  </a:lnTo>
                  <a:lnTo>
                    <a:pt x="1100" y="107"/>
                  </a:lnTo>
                  <a:lnTo>
                    <a:pt x="1103" y="107"/>
                  </a:lnTo>
                  <a:lnTo>
                    <a:pt x="1103" y="107"/>
                  </a:lnTo>
                  <a:lnTo>
                    <a:pt x="1103" y="107"/>
                  </a:lnTo>
                  <a:lnTo>
                    <a:pt x="1106" y="107"/>
                  </a:lnTo>
                  <a:lnTo>
                    <a:pt x="1106" y="107"/>
                  </a:lnTo>
                  <a:lnTo>
                    <a:pt x="1106" y="109"/>
                  </a:lnTo>
                  <a:lnTo>
                    <a:pt x="1106" y="109"/>
                  </a:lnTo>
                  <a:lnTo>
                    <a:pt x="1108" y="109"/>
                  </a:lnTo>
                  <a:lnTo>
                    <a:pt x="1108" y="112"/>
                  </a:lnTo>
                  <a:lnTo>
                    <a:pt x="1111" y="112"/>
                  </a:lnTo>
                  <a:lnTo>
                    <a:pt x="1111" y="112"/>
                  </a:lnTo>
                  <a:lnTo>
                    <a:pt x="1111" y="112"/>
                  </a:lnTo>
                  <a:lnTo>
                    <a:pt x="1114" y="115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17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0"/>
                  </a:lnTo>
                  <a:lnTo>
                    <a:pt x="1114" y="123"/>
                  </a:lnTo>
                  <a:lnTo>
                    <a:pt x="1111" y="123"/>
                  </a:lnTo>
                  <a:lnTo>
                    <a:pt x="1111" y="123"/>
                  </a:lnTo>
                  <a:lnTo>
                    <a:pt x="1111" y="125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08" y="128"/>
                  </a:lnTo>
                  <a:lnTo>
                    <a:pt x="1108" y="131"/>
                  </a:lnTo>
                  <a:lnTo>
                    <a:pt x="1108" y="131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6"/>
                  </a:lnTo>
                  <a:lnTo>
                    <a:pt x="1108" y="136"/>
                  </a:lnTo>
                  <a:lnTo>
                    <a:pt x="1108" y="136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9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6"/>
                  </a:lnTo>
                  <a:lnTo>
                    <a:pt x="1111" y="134"/>
                  </a:lnTo>
                  <a:lnTo>
                    <a:pt x="1111" y="134"/>
                  </a:lnTo>
                  <a:lnTo>
                    <a:pt x="1108" y="134"/>
                  </a:lnTo>
                  <a:lnTo>
                    <a:pt x="1108" y="134"/>
                  </a:lnTo>
                  <a:lnTo>
                    <a:pt x="1108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31"/>
                  </a:lnTo>
                  <a:lnTo>
                    <a:pt x="1111" y="128"/>
                  </a:lnTo>
                  <a:lnTo>
                    <a:pt x="1111" y="128"/>
                  </a:lnTo>
                  <a:lnTo>
                    <a:pt x="1114" y="128"/>
                  </a:lnTo>
                  <a:lnTo>
                    <a:pt x="1114" y="125"/>
                  </a:lnTo>
                  <a:lnTo>
                    <a:pt x="1114" y="125"/>
                  </a:lnTo>
                  <a:lnTo>
                    <a:pt x="1114" y="123"/>
                  </a:lnTo>
                  <a:lnTo>
                    <a:pt x="1114" y="123"/>
                  </a:lnTo>
                  <a:lnTo>
                    <a:pt x="1114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20"/>
                  </a:lnTo>
                  <a:lnTo>
                    <a:pt x="1116" y="117"/>
                  </a:lnTo>
                  <a:lnTo>
                    <a:pt x="1116" y="117"/>
                  </a:lnTo>
                  <a:lnTo>
                    <a:pt x="1119" y="117"/>
                  </a:lnTo>
                  <a:lnTo>
                    <a:pt x="1119" y="120"/>
                  </a:lnTo>
                  <a:lnTo>
                    <a:pt x="1122" y="120"/>
                  </a:lnTo>
                  <a:lnTo>
                    <a:pt x="1122" y="120"/>
                  </a:lnTo>
                  <a:lnTo>
                    <a:pt x="1124" y="120"/>
                  </a:lnTo>
                  <a:lnTo>
                    <a:pt x="1124" y="123"/>
                  </a:lnTo>
                  <a:lnTo>
                    <a:pt x="1124" y="123"/>
                  </a:lnTo>
                  <a:lnTo>
                    <a:pt x="1127" y="123"/>
                  </a:lnTo>
                  <a:lnTo>
                    <a:pt x="1127" y="123"/>
                  </a:lnTo>
                  <a:lnTo>
                    <a:pt x="1127" y="123"/>
                  </a:lnTo>
                  <a:lnTo>
                    <a:pt x="1127" y="125"/>
                  </a:lnTo>
                  <a:lnTo>
                    <a:pt x="1130" y="125"/>
                  </a:lnTo>
                  <a:lnTo>
                    <a:pt x="1130" y="125"/>
                  </a:lnTo>
                  <a:lnTo>
                    <a:pt x="1130" y="128"/>
                  </a:lnTo>
                  <a:lnTo>
                    <a:pt x="1132" y="128"/>
                  </a:lnTo>
                  <a:lnTo>
                    <a:pt x="1132" y="128"/>
                  </a:lnTo>
                  <a:lnTo>
                    <a:pt x="1132" y="128"/>
                  </a:lnTo>
                  <a:lnTo>
                    <a:pt x="1132" y="131"/>
                  </a:lnTo>
                  <a:lnTo>
                    <a:pt x="1132" y="131"/>
                  </a:lnTo>
                  <a:lnTo>
                    <a:pt x="1132" y="131"/>
                  </a:lnTo>
                  <a:lnTo>
                    <a:pt x="1132" y="134"/>
                  </a:lnTo>
                  <a:lnTo>
                    <a:pt x="1132" y="134"/>
                  </a:lnTo>
                  <a:lnTo>
                    <a:pt x="1132" y="134"/>
                  </a:lnTo>
                  <a:lnTo>
                    <a:pt x="1132" y="136"/>
                  </a:lnTo>
                  <a:lnTo>
                    <a:pt x="1132" y="136"/>
                  </a:lnTo>
                  <a:lnTo>
                    <a:pt x="1132" y="139"/>
                  </a:lnTo>
                  <a:lnTo>
                    <a:pt x="1132" y="139"/>
                  </a:lnTo>
                  <a:lnTo>
                    <a:pt x="1135" y="142"/>
                  </a:lnTo>
                  <a:lnTo>
                    <a:pt x="1135" y="142"/>
                  </a:lnTo>
                  <a:lnTo>
                    <a:pt x="1135" y="142"/>
                  </a:lnTo>
                  <a:lnTo>
                    <a:pt x="1135" y="144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2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2" y="144"/>
                  </a:lnTo>
                  <a:lnTo>
                    <a:pt x="1135" y="144"/>
                  </a:lnTo>
                  <a:lnTo>
                    <a:pt x="1135" y="147"/>
                  </a:lnTo>
                  <a:lnTo>
                    <a:pt x="1135" y="147"/>
                  </a:lnTo>
                  <a:lnTo>
                    <a:pt x="1135" y="144"/>
                  </a:lnTo>
                  <a:lnTo>
                    <a:pt x="1135" y="144"/>
                  </a:lnTo>
                  <a:lnTo>
                    <a:pt x="1138" y="144"/>
                  </a:lnTo>
                  <a:lnTo>
                    <a:pt x="1138" y="144"/>
                  </a:lnTo>
                  <a:lnTo>
                    <a:pt x="1140" y="144"/>
                  </a:lnTo>
                  <a:lnTo>
                    <a:pt x="1140" y="147"/>
                  </a:lnTo>
                  <a:lnTo>
                    <a:pt x="1140" y="147"/>
                  </a:lnTo>
                  <a:lnTo>
                    <a:pt x="1140" y="147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0" y="150"/>
                  </a:lnTo>
                  <a:lnTo>
                    <a:pt x="1143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3" y="152"/>
                  </a:lnTo>
                  <a:lnTo>
                    <a:pt x="1143" y="155"/>
                  </a:lnTo>
                  <a:lnTo>
                    <a:pt x="1140" y="155"/>
                  </a:lnTo>
                  <a:lnTo>
                    <a:pt x="1140" y="158"/>
                  </a:lnTo>
                  <a:lnTo>
                    <a:pt x="1140" y="158"/>
                  </a:lnTo>
                  <a:lnTo>
                    <a:pt x="1140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5" y="160"/>
                  </a:lnTo>
                  <a:lnTo>
                    <a:pt x="1135" y="160"/>
                  </a:lnTo>
                  <a:lnTo>
                    <a:pt x="1138" y="160"/>
                  </a:lnTo>
                  <a:lnTo>
                    <a:pt x="1138" y="160"/>
                  </a:lnTo>
                  <a:lnTo>
                    <a:pt x="1140" y="160"/>
                  </a:lnTo>
                  <a:lnTo>
                    <a:pt x="1140" y="160"/>
                  </a:lnTo>
                  <a:lnTo>
                    <a:pt x="1140" y="158"/>
                  </a:lnTo>
                  <a:lnTo>
                    <a:pt x="1143" y="158"/>
                  </a:lnTo>
                  <a:lnTo>
                    <a:pt x="1143" y="158"/>
                  </a:lnTo>
                  <a:lnTo>
                    <a:pt x="1146" y="158"/>
                  </a:lnTo>
                  <a:lnTo>
                    <a:pt x="1146" y="158"/>
                  </a:lnTo>
                  <a:lnTo>
                    <a:pt x="1146" y="155"/>
                  </a:lnTo>
                  <a:lnTo>
                    <a:pt x="1148" y="155"/>
                  </a:lnTo>
                  <a:lnTo>
                    <a:pt x="1148" y="155"/>
                  </a:lnTo>
                  <a:lnTo>
                    <a:pt x="1148" y="155"/>
                  </a:lnTo>
                  <a:lnTo>
                    <a:pt x="1148" y="152"/>
                  </a:lnTo>
                  <a:lnTo>
                    <a:pt x="1148" y="152"/>
                  </a:lnTo>
                  <a:lnTo>
                    <a:pt x="1146" y="150"/>
                  </a:lnTo>
                  <a:lnTo>
                    <a:pt x="1146" y="150"/>
                  </a:lnTo>
                  <a:lnTo>
                    <a:pt x="1146" y="150"/>
                  </a:lnTo>
                  <a:lnTo>
                    <a:pt x="1146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1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7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4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48" y="144"/>
                  </a:lnTo>
                  <a:lnTo>
                    <a:pt x="1148" y="144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3" y="142"/>
                  </a:lnTo>
                  <a:lnTo>
                    <a:pt x="1143" y="142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9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3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6" y="136"/>
                  </a:lnTo>
                  <a:lnTo>
                    <a:pt x="1148" y="136"/>
                  </a:lnTo>
                  <a:lnTo>
                    <a:pt x="1148" y="136"/>
                  </a:lnTo>
                  <a:lnTo>
                    <a:pt x="1148" y="134"/>
                  </a:lnTo>
                  <a:lnTo>
                    <a:pt x="1148" y="134"/>
                  </a:lnTo>
                  <a:lnTo>
                    <a:pt x="1148" y="134"/>
                  </a:lnTo>
                  <a:lnTo>
                    <a:pt x="1151" y="134"/>
                  </a:lnTo>
                  <a:lnTo>
                    <a:pt x="1151" y="134"/>
                  </a:lnTo>
                  <a:lnTo>
                    <a:pt x="1151" y="134"/>
                  </a:lnTo>
                  <a:lnTo>
                    <a:pt x="1151" y="136"/>
                  </a:lnTo>
                  <a:lnTo>
                    <a:pt x="1151" y="136"/>
                  </a:lnTo>
                  <a:lnTo>
                    <a:pt x="1154" y="136"/>
                  </a:lnTo>
                  <a:lnTo>
                    <a:pt x="1154" y="136"/>
                  </a:lnTo>
                  <a:lnTo>
                    <a:pt x="1154" y="136"/>
                  </a:lnTo>
                  <a:lnTo>
                    <a:pt x="1154" y="139"/>
                  </a:lnTo>
                  <a:lnTo>
                    <a:pt x="1154" y="139"/>
                  </a:lnTo>
                  <a:lnTo>
                    <a:pt x="1156" y="139"/>
                  </a:lnTo>
                  <a:lnTo>
                    <a:pt x="1156" y="142"/>
                  </a:lnTo>
                  <a:lnTo>
                    <a:pt x="1159" y="142"/>
                  </a:lnTo>
                  <a:lnTo>
                    <a:pt x="1159" y="144"/>
                  </a:lnTo>
                  <a:lnTo>
                    <a:pt x="1159" y="144"/>
                  </a:lnTo>
                  <a:lnTo>
                    <a:pt x="1159" y="144"/>
                  </a:lnTo>
                  <a:lnTo>
                    <a:pt x="1159" y="147"/>
                  </a:lnTo>
                  <a:lnTo>
                    <a:pt x="1162" y="147"/>
                  </a:lnTo>
                  <a:lnTo>
                    <a:pt x="1162" y="147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0"/>
                  </a:lnTo>
                  <a:lnTo>
                    <a:pt x="1162" y="152"/>
                  </a:lnTo>
                  <a:lnTo>
                    <a:pt x="1162" y="152"/>
                  </a:lnTo>
                  <a:lnTo>
                    <a:pt x="1162" y="152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2" y="155"/>
                  </a:lnTo>
                  <a:lnTo>
                    <a:pt x="1164" y="155"/>
                  </a:lnTo>
                  <a:lnTo>
                    <a:pt x="1164" y="158"/>
                  </a:lnTo>
                  <a:lnTo>
                    <a:pt x="1164" y="158"/>
                  </a:lnTo>
                  <a:lnTo>
                    <a:pt x="1164" y="158"/>
                  </a:lnTo>
                  <a:lnTo>
                    <a:pt x="1164" y="160"/>
                  </a:lnTo>
                  <a:lnTo>
                    <a:pt x="1167" y="160"/>
                  </a:lnTo>
                  <a:lnTo>
                    <a:pt x="1167" y="163"/>
                  </a:lnTo>
                  <a:lnTo>
                    <a:pt x="1167" y="166"/>
                  </a:lnTo>
                  <a:lnTo>
                    <a:pt x="1167" y="166"/>
                  </a:lnTo>
                  <a:lnTo>
                    <a:pt x="1164" y="166"/>
                  </a:lnTo>
                  <a:lnTo>
                    <a:pt x="1164" y="166"/>
                  </a:lnTo>
                  <a:lnTo>
                    <a:pt x="1164" y="166"/>
                  </a:lnTo>
                  <a:lnTo>
                    <a:pt x="1164" y="168"/>
                  </a:lnTo>
                  <a:lnTo>
                    <a:pt x="1167" y="168"/>
                  </a:lnTo>
                  <a:lnTo>
                    <a:pt x="1167" y="168"/>
                  </a:lnTo>
                  <a:lnTo>
                    <a:pt x="1167" y="168"/>
                  </a:lnTo>
                  <a:lnTo>
                    <a:pt x="1167" y="171"/>
                  </a:lnTo>
                  <a:lnTo>
                    <a:pt x="1170" y="171"/>
                  </a:lnTo>
                  <a:lnTo>
                    <a:pt x="1170" y="174"/>
                  </a:lnTo>
                  <a:lnTo>
                    <a:pt x="1170" y="174"/>
                  </a:lnTo>
                  <a:lnTo>
                    <a:pt x="1170" y="174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67" y="176"/>
                  </a:lnTo>
                  <a:lnTo>
                    <a:pt x="1170" y="176"/>
                  </a:lnTo>
                  <a:lnTo>
                    <a:pt x="1170" y="176"/>
                  </a:lnTo>
                  <a:lnTo>
                    <a:pt x="1170" y="176"/>
                  </a:lnTo>
                  <a:lnTo>
                    <a:pt x="1172" y="176"/>
                  </a:lnTo>
                  <a:lnTo>
                    <a:pt x="1172" y="174"/>
                  </a:lnTo>
                  <a:lnTo>
                    <a:pt x="1170" y="174"/>
                  </a:lnTo>
                  <a:lnTo>
                    <a:pt x="1170" y="171"/>
                  </a:lnTo>
                  <a:lnTo>
                    <a:pt x="1170" y="171"/>
                  </a:lnTo>
                  <a:lnTo>
                    <a:pt x="1170" y="168"/>
                  </a:lnTo>
                  <a:lnTo>
                    <a:pt x="1170" y="168"/>
                  </a:lnTo>
                  <a:lnTo>
                    <a:pt x="1172" y="168"/>
                  </a:lnTo>
                  <a:lnTo>
                    <a:pt x="1172" y="168"/>
                  </a:lnTo>
                  <a:lnTo>
                    <a:pt x="1172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6"/>
                  </a:lnTo>
                  <a:lnTo>
                    <a:pt x="1178" y="168"/>
                  </a:lnTo>
                  <a:lnTo>
                    <a:pt x="1178" y="168"/>
                  </a:lnTo>
                  <a:lnTo>
                    <a:pt x="1178" y="168"/>
                  </a:lnTo>
                  <a:lnTo>
                    <a:pt x="1178" y="171"/>
                  </a:lnTo>
                  <a:lnTo>
                    <a:pt x="1178" y="174"/>
                  </a:lnTo>
                  <a:lnTo>
                    <a:pt x="1180" y="174"/>
                  </a:lnTo>
                  <a:lnTo>
                    <a:pt x="1180" y="176"/>
                  </a:lnTo>
                  <a:lnTo>
                    <a:pt x="1180" y="179"/>
                  </a:lnTo>
                  <a:lnTo>
                    <a:pt x="1180" y="182"/>
                  </a:lnTo>
                  <a:lnTo>
                    <a:pt x="1180" y="184"/>
                  </a:lnTo>
                  <a:lnTo>
                    <a:pt x="1180" y="187"/>
                  </a:lnTo>
                  <a:lnTo>
                    <a:pt x="1180" y="190"/>
                  </a:lnTo>
                  <a:lnTo>
                    <a:pt x="1180" y="195"/>
                  </a:lnTo>
                  <a:lnTo>
                    <a:pt x="1180" y="195"/>
                  </a:lnTo>
                  <a:lnTo>
                    <a:pt x="1180" y="198"/>
                  </a:lnTo>
                  <a:lnTo>
                    <a:pt x="1180" y="200"/>
                  </a:lnTo>
                  <a:lnTo>
                    <a:pt x="1180" y="203"/>
                  </a:lnTo>
                  <a:lnTo>
                    <a:pt x="1180" y="206"/>
                  </a:lnTo>
                  <a:lnTo>
                    <a:pt x="1178" y="208"/>
                  </a:lnTo>
                  <a:lnTo>
                    <a:pt x="1178" y="208"/>
                  </a:lnTo>
                  <a:lnTo>
                    <a:pt x="1178" y="211"/>
                  </a:lnTo>
                  <a:lnTo>
                    <a:pt x="1178" y="214"/>
                  </a:lnTo>
                  <a:lnTo>
                    <a:pt x="1178" y="214"/>
                  </a:lnTo>
                  <a:lnTo>
                    <a:pt x="1175" y="214"/>
                  </a:lnTo>
                  <a:lnTo>
                    <a:pt x="1175" y="214"/>
                  </a:lnTo>
                  <a:lnTo>
                    <a:pt x="1172" y="214"/>
                  </a:lnTo>
                  <a:lnTo>
                    <a:pt x="1172" y="211"/>
                  </a:lnTo>
                  <a:lnTo>
                    <a:pt x="1172" y="211"/>
                  </a:lnTo>
                  <a:lnTo>
                    <a:pt x="1175" y="208"/>
                  </a:lnTo>
                  <a:lnTo>
                    <a:pt x="1175" y="206"/>
                  </a:lnTo>
                  <a:lnTo>
                    <a:pt x="1175" y="203"/>
                  </a:lnTo>
                  <a:lnTo>
                    <a:pt x="1175" y="203"/>
                  </a:lnTo>
                  <a:lnTo>
                    <a:pt x="1175" y="200"/>
                  </a:lnTo>
                  <a:lnTo>
                    <a:pt x="1175" y="198"/>
                  </a:lnTo>
                  <a:lnTo>
                    <a:pt x="1172" y="198"/>
                  </a:lnTo>
                  <a:lnTo>
                    <a:pt x="1172" y="198"/>
                  </a:lnTo>
                  <a:lnTo>
                    <a:pt x="1170" y="198"/>
                  </a:lnTo>
                  <a:lnTo>
                    <a:pt x="1167" y="198"/>
                  </a:lnTo>
                  <a:lnTo>
                    <a:pt x="1164" y="198"/>
                  </a:lnTo>
                  <a:lnTo>
                    <a:pt x="1162" y="198"/>
                  </a:lnTo>
                  <a:lnTo>
                    <a:pt x="1162" y="198"/>
                  </a:lnTo>
                  <a:lnTo>
                    <a:pt x="1159" y="200"/>
                  </a:lnTo>
                  <a:lnTo>
                    <a:pt x="1159" y="198"/>
                  </a:lnTo>
                  <a:lnTo>
                    <a:pt x="1159" y="198"/>
                  </a:lnTo>
                  <a:lnTo>
                    <a:pt x="1162" y="195"/>
                  </a:lnTo>
                  <a:lnTo>
                    <a:pt x="1159" y="195"/>
                  </a:lnTo>
                  <a:lnTo>
                    <a:pt x="1159" y="195"/>
                  </a:lnTo>
                  <a:lnTo>
                    <a:pt x="1156" y="195"/>
                  </a:lnTo>
                  <a:lnTo>
                    <a:pt x="1154" y="192"/>
                  </a:lnTo>
                  <a:lnTo>
                    <a:pt x="1151" y="192"/>
                  </a:lnTo>
                  <a:lnTo>
                    <a:pt x="1148" y="190"/>
                  </a:lnTo>
                  <a:lnTo>
                    <a:pt x="1148" y="190"/>
                  </a:lnTo>
                  <a:lnTo>
                    <a:pt x="1143" y="184"/>
                  </a:lnTo>
                  <a:lnTo>
                    <a:pt x="1143" y="184"/>
                  </a:lnTo>
                  <a:lnTo>
                    <a:pt x="1140" y="184"/>
                  </a:lnTo>
                  <a:lnTo>
                    <a:pt x="1138" y="184"/>
                  </a:lnTo>
                  <a:lnTo>
                    <a:pt x="1135" y="184"/>
                  </a:lnTo>
                  <a:lnTo>
                    <a:pt x="1135" y="184"/>
                  </a:lnTo>
                  <a:lnTo>
                    <a:pt x="1132" y="184"/>
                  </a:lnTo>
                  <a:lnTo>
                    <a:pt x="1135" y="184"/>
                  </a:lnTo>
                  <a:lnTo>
                    <a:pt x="1138" y="187"/>
                  </a:lnTo>
                  <a:lnTo>
                    <a:pt x="1138" y="187"/>
                  </a:lnTo>
                  <a:lnTo>
                    <a:pt x="1138" y="190"/>
                  </a:lnTo>
                  <a:lnTo>
                    <a:pt x="1140" y="192"/>
                  </a:lnTo>
                  <a:lnTo>
                    <a:pt x="1140" y="192"/>
                  </a:lnTo>
                  <a:lnTo>
                    <a:pt x="1143" y="192"/>
                  </a:lnTo>
                  <a:lnTo>
                    <a:pt x="1146" y="192"/>
                  </a:lnTo>
                  <a:lnTo>
                    <a:pt x="1148" y="192"/>
                  </a:lnTo>
                  <a:lnTo>
                    <a:pt x="1148" y="192"/>
                  </a:lnTo>
                  <a:lnTo>
                    <a:pt x="1151" y="195"/>
                  </a:lnTo>
                  <a:lnTo>
                    <a:pt x="1151" y="195"/>
                  </a:lnTo>
                  <a:lnTo>
                    <a:pt x="1154" y="198"/>
                  </a:lnTo>
                  <a:lnTo>
                    <a:pt x="1154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0"/>
                  </a:lnTo>
                  <a:lnTo>
                    <a:pt x="1151" y="203"/>
                  </a:lnTo>
                  <a:lnTo>
                    <a:pt x="1154" y="203"/>
                  </a:lnTo>
                  <a:lnTo>
                    <a:pt x="1154" y="206"/>
                  </a:lnTo>
                  <a:lnTo>
                    <a:pt x="1156" y="206"/>
                  </a:lnTo>
                  <a:lnTo>
                    <a:pt x="1156" y="206"/>
                  </a:lnTo>
                  <a:lnTo>
                    <a:pt x="1154" y="208"/>
                  </a:lnTo>
                  <a:lnTo>
                    <a:pt x="1154" y="208"/>
                  </a:lnTo>
                  <a:lnTo>
                    <a:pt x="1154" y="211"/>
                  </a:lnTo>
                  <a:lnTo>
                    <a:pt x="1154" y="214"/>
                  </a:lnTo>
                  <a:lnTo>
                    <a:pt x="1154" y="216"/>
                  </a:lnTo>
                  <a:lnTo>
                    <a:pt x="1156" y="216"/>
                  </a:lnTo>
                  <a:lnTo>
                    <a:pt x="1156" y="216"/>
                  </a:lnTo>
                  <a:lnTo>
                    <a:pt x="1159" y="216"/>
                  </a:lnTo>
                  <a:lnTo>
                    <a:pt x="1159" y="214"/>
                  </a:lnTo>
                  <a:lnTo>
                    <a:pt x="1162" y="214"/>
                  </a:lnTo>
                  <a:lnTo>
                    <a:pt x="1162" y="211"/>
                  </a:lnTo>
                  <a:lnTo>
                    <a:pt x="1159" y="211"/>
                  </a:lnTo>
                  <a:lnTo>
                    <a:pt x="1159" y="208"/>
                  </a:lnTo>
                  <a:lnTo>
                    <a:pt x="1159" y="208"/>
                  </a:lnTo>
                  <a:lnTo>
                    <a:pt x="1164" y="200"/>
                  </a:lnTo>
                  <a:lnTo>
                    <a:pt x="1164" y="200"/>
                  </a:lnTo>
                  <a:lnTo>
                    <a:pt x="1167" y="200"/>
                  </a:lnTo>
                  <a:lnTo>
                    <a:pt x="1167" y="203"/>
                  </a:lnTo>
                  <a:lnTo>
                    <a:pt x="1167" y="203"/>
                  </a:lnTo>
                  <a:lnTo>
                    <a:pt x="1170" y="206"/>
                  </a:lnTo>
                  <a:lnTo>
                    <a:pt x="1167" y="206"/>
                  </a:lnTo>
                  <a:lnTo>
                    <a:pt x="1167" y="208"/>
                  </a:lnTo>
                  <a:lnTo>
                    <a:pt x="1170" y="211"/>
                  </a:lnTo>
                  <a:lnTo>
                    <a:pt x="1170" y="214"/>
                  </a:lnTo>
                  <a:lnTo>
                    <a:pt x="1172" y="214"/>
                  </a:lnTo>
                  <a:lnTo>
                    <a:pt x="1175" y="216"/>
                  </a:lnTo>
                  <a:lnTo>
                    <a:pt x="1175" y="216"/>
                  </a:lnTo>
                  <a:lnTo>
                    <a:pt x="1178" y="216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83" y="216"/>
                  </a:lnTo>
                  <a:lnTo>
                    <a:pt x="1183" y="216"/>
                  </a:lnTo>
                  <a:lnTo>
                    <a:pt x="1186" y="219"/>
                  </a:lnTo>
                  <a:lnTo>
                    <a:pt x="1186" y="222"/>
                  </a:lnTo>
                  <a:lnTo>
                    <a:pt x="1186" y="224"/>
                  </a:lnTo>
                  <a:lnTo>
                    <a:pt x="1186" y="224"/>
                  </a:lnTo>
                  <a:lnTo>
                    <a:pt x="1186" y="227"/>
                  </a:lnTo>
                  <a:lnTo>
                    <a:pt x="1186" y="224"/>
                  </a:lnTo>
                  <a:lnTo>
                    <a:pt x="1183" y="224"/>
                  </a:lnTo>
                  <a:lnTo>
                    <a:pt x="1183" y="227"/>
                  </a:lnTo>
                  <a:lnTo>
                    <a:pt x="1180" y="227"/>
                  </a:lnTo>
                  <a:lnTo>
                    <a:pt x="1180" y="227"/>
                  </a:lnTo>
                  <a:lnTo>
                    <a:pt x="1180" y="230"/>
                  </a:lnTo>
                  <a:lnTo>
                    <a:pt x="1180" y="230"/>
                  </a:lnTo>
                  <a:lnTo>
                    <a:pt x="1183" y="230"/>
                  </a:lnTo>
                  <a:lnTo>
                    <a:pt x="1183" y="230"/>
                  </a:lnTo>
                  <a:lnTo>
                    <a:pt x="1186" y="230"/>
                  </a:lnTo>
                  <a:lnTo>
                    <a:pt x="1186" y="232"/>
                  </a:lnTo>
                  <a:lnTo>
                    <a:pt x="1186" y="235"/>
                  </a:lnTo>
                  <a:lnTo>
                    <a:pt x="1186" y="238"/>
                  </a:lnTo>
                  <a:lnTo>
                    <a:pt x="1186" y="243"/>
                  </a:lnTo>
                  <a:lnTo>
                    <a:pt x="1186" y="246"/>
                  </a:lnTo>
                  <a:lnTo>
                    <a:pt x="1183" y="248"/>
                  </a:lnTo>
                  <a:lnTo>
                    <a:pt x="1180" y="254"/>
                  </a:lnTo>
                  <a:lnTo>
                    <a:pt x="1180" y="256"/>
                  </a:lnTo>
                  <a:lnTo>
                    <a:pt x="1178" y="259"/>
                  </a:lnTo>
                  <a:lnTo>
                    <a:pt x="1178" y="264"/>
                  </a:lnTo>
                  <a:lnTo>
                    <a:pt x="1175" y="267"/>
                  </a:lnTo>
                  <a:lnTo>
                    <a:pt x="1175" y="270"/>
                  </a:lnTo>
                  <a:lnTo>
                    <a:pt x="1175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0"/>
                  </a:lnTo>
                  <a:lnTo>
                    <a:pt x="1172" y="272"/>
                  </a:lnTo>
                  <a:lnTo>
                    <a:pt x="1172" y="272"/>
                  </a:lnTo>
                  <a:lnTo>
                    <a:pt x="1172" y="275"/>
                  </a:lnTo>
                  <a:lnTo>
                    <a:pt x="1170" y="278"/>
                  </a:lnTo>
                  <a:lnTo>
                    <a:pt x="1170" y="278"/>
                  </a:lnTo>
                  <a:lnTo>
                    <a:pt x="1170" y="280"/>
                  </a:lnTo>
                  <a:lnTo>
                    <a:pt x="1167" y="283"/>
                  </a:lnTo>
                  <a:lnTo>
                    <a:pt x="1167" y="286"/>
                  </a:lnTo>
                  <a:lnTo>
                    <a:pt x="1164" y="286"/>
                  </a:lnTo>
                  <a:lnTo>
                    <a:pt x="1162" y="289"/>
                  </a:lnTo>
                  <a:lnTo>
                    <a:pt x="1162" y="289"/>
                  </a:lnTo>
                  <a:lnTo>
                    <a:pt x="1159" y="289"/>
                  </a:lnTo>
                  <a:lnTo>
                    <a:pt x="1156" y="291"/>
                  </a:lnTo>
                  <a:lnTo>
                    <a:pt x="1156" y="291"/>
                  </a:lnTo>
                  <a:lnTo>
                    <a:pt x="1154" y="291"/>
                  </a:lnTo>
                  <a:lnTo>
                    <a:pt x="1154" y="294"/>
                  </a:lnTo>
                  <a:lnTo>
                    <a:pt x="1151" y="297"/>
                  </a:lnTo>
                  <a:lnTo>
                    <a:pt x="1151" y="297"/>
                  </a:lnTo>
                  <a:lnTo>
                    <a:pt x="1148" y="297"/>
                  </a:lnTo>
                  <a:lnTo>
                    <a:pt x="1148" y="299"/>
                  </a:lnTo>
                  <a:lnTo>
                    <a:pt x="1151" y="302"/>
                  </a:lnTo>
                  <a:lnTo>
                    <a:pt x="1148" y="305"/>
                  </a:lnTo>
                  <a:lnTo>
                    <a:pt x="1148" y="307"/>
                  </a:lnTo>
                  <a:lnTo>
                    <a:pt x="1148" y="307"/>
                  </a:lnTo>
                  <a:lnTo>
                    <a:pt x="1146" y="310"/>
                  </a:lnTo>
                  <a:lnTo>
                    <a:pt x="1146" y="310"/>
                  </a:lnTo>
                  <a:lnTo>
                    <a:pt x="1146" y="310"/>
                  </a:lnTo>
                  <a:lnTo>
                    <a:pt x="1146" y="313"/>
                  </a:lnTo>
                  <a:lnTo>
                    <a:pt x="1146" y="313"/>
                  </a:lnTo>
                  <a:lnTo>
                    <a:pt x="1148" y="313"/>
                  </a:lnTo>
                  <a:lnTo>
                    <a:pt x="1146" y="315"/>
                  </a:lnTo>
                  <a:lnTo>
                    <a:pt x="1146" y="318"/>
                  </a:lnTo>
                  <a:lnTo>
                    <a:pt x="1146" y="321"/>
                  </a:lnTo>
                  <a:lnTo>
                    <a:pt x="1143" y="323"/>
                  </a:lnTo>
                  <a:lnTo>
                    <a:pt x="1143" y="323"/>
                  </a:lnTo>
                  <a:lnTo>
                    <a:pt x="1140" y="321"/>
                  </a:lnTo>
                  <a:lnTo>
                    <a:pt x="1138" y="321"/>
                  </a:lnTo>
                  <a:lnTo>
                    <a:pt x="1135" y="321"/>
                  </a:lnTo>
                  <a:lnTo>
                    <a:pt x="1135" y="318"/>
                  </a:lnTo>
                  <a:lnTo>
                    <a:pt x="1132" y="318"/>
                  </a:lnTo>
                  <a:lnTo>
                    <a:pt x="1132" y="321"/>
                  </a:lnTo>
                  <a:lnTo>
                    <a:pt x="1130" y="323"/>
                  </a:lnTo>
                  <a:lnTo>
                    <a:pt x="1127" y="326"/>
                  </a:lnTo>
                  <a:lnTo>
                    <a:pt x="1127" y="329"/>
                  </a:lnTo>
                  <a:lnTo>
                    <a:pt x="1124" y="329"/>
                  </a:lnTo>
                  <a:lnTo>
                    <a:pt x="1124" y="331"/>
                  </a:lnTo>
                  <a:lnTo>
                    <a:pt x="1124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2" y="334"/>
                  </a:lnTo>
                  <a:lnTo>
                    <a:pt x="1124" y="337"/>
                  </a:lnTo>
                  <a:lnTo>
                    <a:pt x="1122" y="337"/>
                  </a:lnTo>
                  <a:lnTo>
                    <a:pt x="1119" y="339"/>
                  </a:lnTo>
                  <a:lnTo>
                    <a:pt x="1119" y="339"/>
                  </a:lnTo>
                  <a:lnTo>
                    <a:pt x="1119" y="342"/>
                  </a:lnTo>
                  <a:lnTo>
                    <a:pt x="1116" y="342"/>
                  </a:lnTo>
                  <a:lnTo>
                    <a:pt x="1114" y="345"/>
                  </a:lnTo>
                  <a:lnTo>
                    <a:pt x="1114" y="345"/>
                  </a:lnTo>
                  <a:lnTo>
                    <a:pt x="1111" y="347"/>
                  </a:lnTo>
                  <a:lnTo>
                    <a:pt x="1108" y="347"/>
                  </a:lnTo>
                  <a:lnTo>
                    <a:pt x="1108" y="350"/>
                  </a:lnTo>
                  <a:lnTo>
                    <a:pt x="1106" y="350"/>
                  </a:lnTo>
                  <a:lnTo>
                    <a:pt x="1103" y="350"/>
                  </a:lnTo>
                  <a:lnTo>
                    <a:pt x="1103" y="350"/>
                  </a:lnTo>
                  <a:lnTo>
                    <a:pt x="1100" y="350"/>
                  </a:lnTo>
                  <a:lnTo>
                    <a:pt x="1100" y="350"/>
                  </a:lnTo>
                  <a:lnTo>
                    <a:pt x="1100" y="350"/>
                  </a:lnTo>
                  <a:lnTo>
                    <a:pt x="1103" y="353"/>
                  </a:lnTo>
                  <a:lnTo>
                    <a:pt x="1103" y="353"/>
                  </a:lnTo>
                  <a:lnTo>
                    <a:pt x="1103" y="353"/>
                  </a:lnTo>
                  <a:lnTo>
                    <a:pt x="1103" y="355"/>
                  </a:lnTo>
                  <a:lnTo>
                    <a:pt x="1103" y="358"/>
                  </a:lnTo>
                  <a:lnTo>
                    <a:pt x="1100" y="363"/>
                  </a:lnTo>
                  <a:lnTo>
                    <a:pt x="1100" y="363"/>
                  </a:lnTo>
                  <a:lnTo>
                    <a:pt x="1098" y="363"/>
                  </a:lnTo>
                  <a:lnTo>
                    <a:pt x="1095" y="363"/>
                  </a:lnTo>
                  <a:lnTo>
                    <a:pt x="1092" y="363"/>
                  </a:lnTo>
                  <a:lnTo>
                    <a:pt x="1092" y="366"/>
                  </a:lnTo>
                  <a:lnTo>
                    <a:pt x="1090" y="369"/>
                  </a:lnTo>
                  <a:lnTo>
                    <a:pt x="1090" y="369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4" y="371"/>
                  </a:lnTo>
                  <a:lnTo>
                    <a:pt x="1084" y="371"/>
                  </a:lnTo>
                  <a:lnTo>
                    <a:pt x="1084" y="371"/>
                  </a:lnTo>
                  <a:lnTo>
                    <a:pt x="1082" y="371"/>
                  </a:lnTo>
                  <a:lnTo>
                    <a:pt x="1082" y="371"/>
                  </a:lnTo>
                  <a:lnTo>
                    <a:pt x="1079" y="371"/>
                  </a:lnTo>
                  <a:lnTo>
                    <a:pt x="1079" y="374"/>
                  </a:lnTo>
                  <a:lnTo>
                    <a:pt x="1079" y="374"/>
                  </a:lnTo>
                  <a:lnTo>
                    <a:pt x="1082" y="377"/>
                  </a:lnTo>
                  <a:lnTo>
                    <a:pt x="1082" y="377"/>
                  </a:lnTo>
                  <a:lnTo>
                    <a:pt x="1084" y="377"/>
                  </a:lnTo>
                  <a:lnTo>
                    <a:pt x="1084" y="377"/>
                  </a:lnTo>
                  <a:lnTo>
                    <a:pt x="1087" y="374"/>
                  </a:lnTo>
                  <a:lnTo>
                    <a:pt x="1090" y="374"/>
                  </a:lnTo>
                  <a:lnTo>
                    <a:pt x="1090" y="371"/>
                  </a:lnTo>
                  <a:lnTo>
                    <a:pt x="1090" y="371"/>
                  </a:lnTo>
                  <a:lnTo>
                    <a:pt x="1092" y="374"/>
                  </a:lnTo>
                  <a:lnTo>
                    <a:pt x="1092" y="377"/>
                  </a:lnTo>
                  <a:lnTo>
                    <a:pt x="1092" y="382"/>
                  </a:lnTo>
                  <a:lnTo>
                    <a:pt x="1092" y="382"/>
                  </a:lnTo>
                  <a:lnTo>
                    <a:pt x="1092" y="385"/>
                  </a:lnTo>
                  <a:lnTo>
                    <a:pt x="1090" y="387"/>
                  </a:lnTo>
                  <a:lnTo>
                    <a:pt x="1090" y="390"/>
                  </a:lnTo>
                  <a:lnTo>
                    <a:pt x="1087" y="393"/>
                  </a:lnTo>
                  <a:lnTo>
                    <a:pt x="1087" y="393"/>
                  </a:lnTo>
                  <a:lnTo>
                    <a:pt x="1084" y="393"/>
                  </a:lnTo>
                  <a:lnTo>
                    <a:pt x="1084" y="395"/>
                  </a:lnTo>
                  <a:lnTo>
                    <a:pt x="1082" y="401"/>
                  </a:lnTo>
                  <a:lnTo>
                    <a:pt x="1076" y="403"/>
                  </a:lnTo>
                  <a:lnTo>
                    <a:pt x="1074" y="403"/>
                  </a:lnTo>
                  <a:lnTo>
                    <a:pt x="1074" y="403"/>
                  </a:lnTo>
                  <a:lnTo>
                    <a:pt x="1071" y="406"/>
                  </a:lnTo>
                  <a:lnTo>
                    <a:pt x="1068" y="409"/>
                  </a:lnTo>
                  <a:lnTo>
                    <a:pt x="1066" y="411"/>
                  </a:lnTo>
                  <a:lnTo>
                    <a:pt x="1066" y="414"/>
                  </a:lnTo>
                  <a:lnTo>
                    <a:pt x="1066" y="414"/>
                  </a:lnTo>
                  <a:lnTo>
                    <a:pt x="1063" y="417"/>
                  </a:lnTo>
                  <a:lnTo>
                    <a:pt x="1063" y="417"/>
                  </a:lnTo>
                  <a:lnTo>
                    <a:pt x="1060" y="419"/>
                  </a:lnTo>
                  <a:lnTo>
                    <a:pt x="1060" y="422"/>
                  </a:lnTo>
                  <a:lnTo>
                    <a:pt x="1058" y="427"/>
                  </a:lnTo>
                  <a:lnTo>
                    <a:pt x="1058" y="433"/>
                  </a:lnTo>
                  <a:lnTo>
                    <a:pt x="1055" y="435"/>
                  </a:lnTo>
                  <a:lnTo>
                    <a:pt x="1055" y="441"/>
                  </a:lnTo>
                  <a:lnTo>
                    <a:pt x="1052" y="443"/>
                  </a:lnTo>
                  <a:lnTo>
                    <a:pt x="1052" y="443"/>
                  </a:lnTo>
                  <a:lnTo>
                    <a:pt x="1050" y="446"/>
                  </a:lnTo>
                  <a:lnTo>
                    <a:pt x="1047" y="449"/>
                  </a:lnTo>
                  <a:lnTo>
                    <a:pt x="1047" y="452"/>
                  </a:lnTo>
                  <a:lnTo>
                    <a:pt x="1047" y="454"/>
                  </a:lnTo>
                  <a:lnTo>
                    <a:pt x="1044" y="457"/>
                  </a:lnTo>
                  <a:lnTo>
                    <a:pt x="1044" y="457"/>
                  </a:lnTo>
                  <a:lnTo>
                    <a:pt x="1042" y="454"/>
                  </a:lnTo>
                  <a:lnTo>
                    <a:pt x="1042" y="454"/>
                  </a:lnTo>
                  <a:lnTo>
                    <a:pt x="1039" y="457"/>
                  </a:lnTo>
                  <a:lnTo>
                    <a:pt x="1036" y="460"/>
                  </a:lnTo>
                  <a:lnTo>
                    <a:pt x="1033" y="462"/>
                  </a:lnTo>
                  <a:lnTo>
                    <a:pt x="1031" y="460"/>
                  </a:lnTo>
                  <a:lnTo>
                    <a:pt x="1031" y="460"/>
                  </a:lnTo>
                  <a:lnTo>
                    <a:pt x="1028" y="460"/>
                  </a:lnTo>
                  <a:lnTo>
                    <a:pt x="1023" y="462"/>
                  </a:lnTo>
                  <a:lnTo>
                    <a:pt x="1023" y="462"/>
                  </a:lnTo>
                  <a:lnTo>
                    <a:pt x="1020" y="462"/>
                  </a:lnTo>
                  <a:lnTo>
                    <a:pt x="1020" y="462"/>
                  </a:lnTo>
                  <a:lnTo>
                    <a:pt x="1020" y="462"/>
                  </a:lnTo>
                  <a:lnTo>
                    <a:pt x="1017" y="465"/>
                  </a:lnTo>
                  <a:lnTo>
                    <a:pt x="1017" y="462"/>
                  </a:lnTo>
                  <a:lnTo>
                    <a:pt x="1015" y="465"/>
                  </a:lnTo>
                  <a:lnTo>
                    <a:pt x="1012" y="465"/>
                  </a:lnTo>
                  <a:lnTo>
                    <a:pt x="1012" y="465"/>
                  </a:lnTo>
                  <a:lnTo>
                    <a:pt x="1012" y="468"/>
                  </a:lnTo>
                  <a:lnTo>
                    <a:pt x="1015" y="470"/>
                  </a:lnTo>
                  <a:lnTo>
                    <a:pt x="1012" y="470"/>
                  </a:lnTo>
                  <a:lnTo>
                    <a:pt x="1015" y="470"/>
                  </a:lnTo>
                  <a:lnTo>
                    <a:pt x="1015" y="473"/>
                  </a:lnTo>
                  <a:lnTo>
                    <a:pt x="1012" y="476"/>
                  </a:lnTo>
                  <a:lnTo>
                    <a:pt x="1007" y="486"/>
                  </a:lnTo>
                  <a:lnTo>
                    <a:pt x="1007" y="486"/>
                  </a:lnTo>
                  <a:lnTo>
                    <a:pt x="1007" y="489"/>
                  </a:lnTo>
                  <a:lnTo>
                    <a:pt x="1007" y="492"/>
                  </a:lnTo>
                  <a:lnTo>
                    <a:pt x="1007" y="497"/>
                  </a:lnTo>
                  <a:lnTo>
                    <a:pt x="1007" y="497"/>
                  </a:lnTo>
                  <a:lnTo>
                    <a:pt x="1007" y="500"/>
                  </a:lnTo>
                  <a:lnTo>
                    <a:pt x="1004" y="502"/>
                  </a:lnTo>
                  <a:lnTo>
                    <a:pt x="1001" y="502"/>
                  </a:lnTo>
                  <a:lnTo>
                    <a:pt x="999" y="502"/>
                  </a:lnTo>
                  <a:lnTo>
                    <a:pt x="999" y="502"/>
                  </a:lnTo>
                  <a:lnTo>
                    <a:pt x="996" y="502"/>
                  </a:lnTo>
                  <a:lnTo>
                    <a:pt x="993" y="502"/>
                  </a:lnTo>
                  <a:lnTo>
                    <a:pt x="991" y="502"/>
                  </a:lnTo>
                  <a:lnTo>
                    <a:pt x="988" y="502"/>
                  </a:lnTo>
                  <a:lnTo>
                    <a:pt x="985" y="505"/>
                  </a:lnTo>
                  <a:lnTo>
                    <a:pt x="985" y="508"/>
                  </a:lnTo>
                  <a:lnTo>
                    <a:pt x="983" y="508"/>
                  </a:lnTo>
                  <a:lnTo>
                    <a:pt x="983" y="510"/>
                  </a:lnTo>
                  <a:lnTo>
                    <a:pt x="983" y="513"/>
                  </a:lnTo>
                  <a:lnTo>
                    <a:pt x="983" y="516"/>
                  </a:lnTo>
                  <a:lnTo>
                    <a:pt x="983" y="518"/>
                  </a:lnTo>
                  <a:lnTo>
                    <a:pt x="983" y="521"/>
                  </a:lnTo>
                  <a:lnTo>
                    <a:pt x="983" y="524"/>
                  </a:lnTo>
                  <a:lnTo>
                    <a:pt x="980" y="526"/>
                  </a:lnTo>
                  <a:lnTo>
                    <a:pt x="980" y="526"/>
                  </a:lnTo>
                  <a:lnTo>
                    <a:pt x="977" y="529"/>
                  </a:lnTo>
                  <a:lnTo>
                    <a:pt x="977" y="532"/>
                  </a:lnTo>
                  <a:lnTo>
                    <a:pt x="980" y="534"/>
                  </a:lnTo>
                  <a:lnTo>
                    <a:pt x="980" y="537"/>
                  </a:lnTo>
                  <a:lnTo>
                    <a:pt x="977" y="540"/>
                  </a:lnTo>
                  <a:lnTo>
                    <a:pt x="977" y="542"/>
                  </a:lnTo>
                  <a:lnTo>
                    <a:pt x="977" y="542"/>
                  </a:lnTo>
                  <a:lnTo>
                    <a:pt x="975" y="545"/>
                  </a:lnTo>
                  <a:lnTo>
                    <a:pt x="975" y="548"/>
                  </a:lnTo>
                  <a:lnTo>
                    <a:pt x="975" y="553"/>
                  </a:lnTo>
                  <a:lnTo>
                    <a:pt x="972" y="553"/>
                  </a:lnTo>
                  <a:lnTo>
                    <a:pt x="969" y="556"/>
                  </a:lnTo>
                  <a:lnTo>
                    <a:pt x="969" y="558"/>
                  </a:lnTo>
                  <a:lnTo>
                    <a:pt x="967" y="558"/>
                  </a:lnTo>
                  <a:lnTo>
                    <a:pt x="967" y="561"/>
                  </a:lnTo>
                  <a:lnTo>
                    <a:pt x="964" y="561"/>
                  </a:lnTo>
                  <a:lnTo>
                    <a:pt x="961" y="564"/>
                  </a:lnTo>
                  <a:lnTo>
                    <a:pt x="959" y="566"/>
                  </a:lnTo>
                  <a:lnTo>
                    <a:pt x="956" y="566"/>
                  </a:lnTo>
                  <a:lnTo>
                    <a:pt x="956" y="569"/>
                  </a:lnTo>
                  <a:lnTo>
                    <a:pt x="956" y="569"/>
                  </a:lnTo>
                  <a:lnTo>
                    <a:pt x="959" y="569"/>
                  </a:lnTo>
                  <a:lnTo>
                    <a:pt x="961" y="569"/>
                  </a:lnTo>
                  <a:lnTo>
                    <a:pt x="964" y="569"/>
                  </a:lnTo>
                  <a:lnTo>
                    <a:pt x="967" y="569"/>
                  </a:lnTo>
                  <a:lnTo>
                    <a:pt x="969" y="569"/>
                  </a:lnTo>
                  <a:lnTo>
                    <a:pt x="969" y="569"/>
                  </a:lnTo>
                  <a:lnTo>
                    <a:pt x="972" y="566"/>
                  </a:lnTo>
                  <a:lnTo>
                    <a:pt x="975" y="561"/>
                  </a:lnTo>
                  <a:lnTo>
                    <a:pt x="977" y="558"/>
                  </a:lnTo>
                  <a:lnTo>
                    <a:pt x="977" y="556"/>
                  </a:lnTo>
                  <a:lnTo>
                    <a:pt x="980" y="556"/>
                  </a:lnTo>
                  <a:lnTo>
                    <a:pt x="983" y="553"/>
                  </a:lnTo>
                  <a:lnTo>
                    <a:pt x="983" y="553"/>
                  </a:lnTo>
                  <a:lnTo>
                    <a:pt x="983" y="550"/>
                  </a:lnTo>
                  <a:lnTo>
                    <a:pt x="985" y="545"/>
                  </a:lnTo>
                  <a:lnTo>
                    <a:pt x="985" y="545"/>
                  </a:lnTo>
                  <a:lnTo>
                    <a:pt x="988" y="542"/>
                  </a:lnTo>
                  <a:lnTo>
                    <a:pt x="988" y="542"/>
                  </a:lnTo>
                  <a:lnTo>
                    <a:pt x="991" y="542"/>
                  </a:lnTo>
                  <a:lnTo>
                    <a:pt x="993" y="542"/>
                  </a:lnTo>
                  <a:lnTo>
                    <a:pt x="996" y="542"/>
                  </a:lnTo>
                  <a:lnTo>
                    <a:pt x="993" y="542"/>
                  </a:lnTo>
                  <a:lnTo>
                    <a:pt x="991" y="540"/>
                  </a:lnTo>
                  <a:lnTo>
                    <a:pt x="991" y="537"/>
                  </a:lnTo>
                  <a:lnTo>
                    <a:pt x="991" y="534"/>
                  </a:lnTo>
                  <a:lnTo>
                    <a:pt x="988" y="534"/>
                  </a:lnTo>
                  <a:lnTo>
                    <a:pt x="988" y="532"/>
                  </a:lnTo>
                  <a:lnTo>
                    <a:pt x="988" y="521"/>
                  </a:lnTo>
                  <a:lnTo>
                    <a:pt x="991" y="521"/>
                  </a:lnTo>
                  <a:lnTo>
                    <a:pt x="991" y="521"/>
                  </a:lnTo>
                  <a:lnTo>
                    <a:pt x="993" y="518"/>
                  </a:lnTo>
                  <a:lnTo>
                    <a:pt x="993" y="516"/>
                  </a:lnTo>
                  <a:lnTo>
                    <a:pt x="993" y="516"/>
                  </a:lnTo>
                  <a:lnTo>
                    <a:pt x="996" y="516"/>
                  </a:lnTo>
                  <a:lnTo>
                    <a:pt x="999" y="518"/>
                  </a:lnTo>
                  <a:lnTo>
                    <a:pt x="1001" y="518"/>
                  </a:lnTo>
                  <a:lnTo>
                    <a:pt x="1004" y="518"/>
                  </a:lnTo>
                  <a:lnTo>
                    <a:pt x="1007" y="521"/>
                  </a:lnTo>
                  <a:lnTo>
                    <a:pt x="1009" y="521"/>
                  </a:lnTo>
                  <a:lnTo>
                    <a:pt x="1012" y="521"/>
                  </a:lnTo>
                  <a:lnTo>
                    <a:pt x="1012" y="518"/>
                  </a:lnTo>
                  <a:lnTo>
                    <a:pt x="1015" y="516"/>
                  </a:lnTo>
                  <a:lnTo>
                    <a:pt x="1015" y="516"/>
                  </a:lnTo>
                  <a:lnTo>
                    <a:pt x="1017" y="516"/>
                  </a:lnTo>
                  <a:lnTo>
                    <a:pt x="1020" y="516"/>
                  </a:lnTo>
                  <a:lnTo>
                    <a:pt x="1023" y="516"/>
                  </a:lnTo>
                  <a:lnTo>
                    <a:pt x="1025" y="516"/>
                  </a:lnTo>
                  <a:lnTo>
                    <a:pt x="1028" y="516"/>
                  </a:lnTo>
                  <a:lnTo>
                    <a:pt x="1031" y="516"/>
                  </a:lnTo>
                  <a:lnTo>
                    <a:pt x="1031" y="513"/>
                  </a:lnTo>
                  <a:lnTo>
                    <a:pt x="1036" y="513"/>
                  </a:lnTo>
                  <a:lnTo>
                    <a:pt x="1039" y="513"/>
                  </a:lnTo>
                  <a:lnTo>
                    <a:pt x="1042" y="513"/>
                  </a:lnTo>
                  <a:lnTo>
                    <a:pt x="1042" y="513"/>
                  </a:lnTo>
                  <a:lnTo>
                    <a:pt x="1044" y="510"/>
                  </a:lnTo>
                  <a:lnTo>
                    <a:pt x="1044" y="508"/>
                  </a:lnTo>
                  <a:lnTo>
                    <a:pt x="1047" y="505"/>
                  </a:lnTo>
                  <a:lnTo>
                    <a:pt x="1047" y="505"/>
                  </a:lnTo>
                  <a:lnTo>
                    <a:pt x="1050" y="502"/>
                  </a:lnTo>
                  <a:lnTo>
                    <a:pt x="1050" y="502"/>
                  </a:lnTo>
                  <a:lnTo>
                    <a:pt x="1052" y="502"/>
                  </a:lnTo>
                  <a:lnTo>
                    <a:pt x="1055" y="502"/>
                  </a:lnTo>
                  <a:lnTo>
                    <a:pt x="1055" y="505"/>
                  </a:lnTo>
                  <a:lnTo>
                    <a:pt x="1058" y="505"/>
                  </a:lnTo>
                  <a:lnTo>
                    <a:pt x="1060" y="505"/>
                  </a:lnTo>
                  <a:lnTo>
                    <a:pt x="1060" y="502"/>
                  </a:lnTo>
                  <a:lnTo>
                    <a:pt x="1060" y="500"/>
                  </a:lnTo>
                  <a:lnTo>
                    <a:pt x="1058" y="500"/>
                  </a:lnTo>
                  <a:lnTo>
                    <a:pt x="1055" y="500"/>
                  </a:lnTo>
                  <a:lnTo>
                    <a:pt x="1055" y="500"/>
                  </a:lnTo>
                  <a:lnTo>
                    <a:pt x="1052" y="500"/>
                  </a:lnTo>
                  <a:lnTo>
                    <a:pt x="1052" y="500"/>
                  </a:lnTo>
                  <a:lnTo>
                    <a:pt x="1052" y="497"/>
                  </a:lnTo>
                  <a:lnTo>
                    <a:pt x="1055" y="497"/>
                  </a:lnTo>
                  <a:lnTo>
                    <a:pt x="1055" y="497"/>
                  </a:lnTo>
                  <a:lnTo>
                    <a:pt x="1060" y="494"/>
                  </a:lnTo>
                  <a:lnTo>
                    <a:pt x="1063" y="494"/>
                  </a:lnTo>
                  <a:lnTo>
                    <a:pt x="1066" y="492"/>
                  </a:lnTo>
                  <a:lnTo>
                    <a:pt x="1068" y="492"/>
                  </a:lnTo>
                  <a:lnTo>
                    <a:pt x="1071" y="489"/>
                  </a:lnTo>
                  <a:lnTo>
                    <a:pt x="1071" y="489"/>
                  </a:lnTo>
                  <a:lnTo>
                    <a:pt x="1074" y="489"/>
                  </a:lnTo>
                  <a:lnTo>
                    <a:pt x="1076" y="489"/>
                  </a:lnTo>
                  <a:lnTo>
                    <a:pt x="1076" y="486"/>
                  </a:lnTo>
                  <a:lnTo>
                    <a:pt x="1079" y="486"/>
                  </a:lnTo>
                  <a:lnTo>
                    <a:pt x="1082" y="484"/>
                  </a:lnTo>
                  <a:lnTo>
                    <a:pt x="1082" y="484"/>
                  </a:lnTo>
                  <a:lnTo>
                    <a:pt x="1084" y="484"/>
                  </a:lnTo>
                  <a:lnTo>
                    <a:pt x="1084" y="481"/>
                  </a:lnTo>
                  <a:lnTo>
                    <a:pt x="1087" y="481"/>
                  </a:lnTo>
                  <a:lnTo>
                    <a:pt x="1087" y="481"/>
                  </a:lnTo>
                  <a:lnTo>
                    <a:pt x="1087" y="478"/>
                  </a:lnTo>
                  <a:lnTo>
                    <a:pt x="1087" y="478"/>
                  </a:lnTo>
                  <a:lnTo>
                    <a:pt x="1084" y="476"/>
                  </a:lnTo>
                  <a:lnTo>
                    <a:pt x="1084" y="476"/>
                  </a:lnTo>
                  <a:lnTo>
                    <a:pt x="1084" y="473"/>
                  </a:lnTo>
                  <a:lnTo>
                    <a:pt x="1084" y="473"/>
                  </a:lnTo>
                  <a:lnTo>
                    <a:pt x="1087" y="473"/>
                  </a:lnTo>
                  <a:lnTo>
                    <a:pt x="1087" y="476"/>
                  </a:lnTo>
                  <a:lnTo>
                    <a:pt x="1090" y="476"/>
                  </a:lnTo>
                  <a:lnTo>
                    <a:pt x="1090" y="476"/>
                  </a:lnTo>
                  <a:lnTo>
                    <a:pt x="1090" y="478"/>
                  </a:lnTo>
                  <a:lnTo>
                    <a:pt x="1090" y="478"/>
                  </a:lnTo>
                  <a:lnTo>
                    <a:pt x="1092" y="478"/>
                  </a:lnTo>
                  <a:lnTo>
                    <a:pt x="1092" y="476"/>
                  </a:lnTo>
                  <a:lnTo>
                    <a:pt x="1092" y="476"/>
                  </a:lnTo>
                  <a:lnTo>
                    <a:pt x="1092" y="473"/>
                  </a:lnTo>
                  <a:lnTo>
                    <a:pt x="1090" y="473"/>
                  </a:lnTo>
                  <a:lnTo>
                    <a:pt x="1090" y="470"/>
                  </a:lnTo>
                  <a:lnTo>
                    <a:pt x="1087" y="470"/>
                  </a:lnTo>
                  <a:lnTo>
                    <a:pt x="1087" y="468"/>
                  </a:lnTo>
                  <a:lnTo>
                    <a:pt x="1084" y="468"/>
                  </a:lnTo>
                  <a:lnTo>
                    <a:pt x="1082" y="468"/>
                  </a:lnTo>
                  <a:lnTo>
                    <a:pt x="1082" y="468"/>
                  </a:lnTo>
                  <a:lnTo>
                    <a:pt x="1082" y="465"/>
                  </a:lnTo>
                  <a:lnTo>
                    <a:pt x="1082" y="462"/>
                  </a:lnTo>
                  <a:lnTo>
                    <a:pt x="1084" y="462"/>
                  </a:lnTo>
                  <a:lnTo>
                    <a:pt x="1084" y="465"/>
                  </a:lnTo>
                  <a:lnTo>
                    <a:pt x="1087" y="468"/>
                  </a:lnTo>
                  <a:lnTo>
                    <a:pt x="1090" y="468"/>
                  </a:lnTo>
                  <a:lnTo>
                    <a:pt x="1090" y="470"/>
                  </a:lnTo>
                  <a:lnTo>
                    <a:pt x="1092" y="473"/>
                  </a:lnTo>
                  <a:lnTo>
                    <a:pt x="1095" y="473"/>
                  </a:lnTo>
                  <a:lnTo>
                    <a:pt x="1098" y="473"/>
                  </a:lnTo>
                  <a:lnTo>
                    <a:pt x="1100" y="473"/>
                  </a:lnTo>
                  <a:lnTo>
                    <a:pt x="1103" y="473"/>
                  </a:lnTo>
                  <a:lnTo>
                    <a:pt x="1103" y="470"/>
                  </a:lnTo>
                  <a:lnTo>
                    <a:pt x="1106" y="470"/>
                  </a:lnTo>
                  <a:lnTo>
                    <a:pt x="1106" y="468"/>
                  </a:lnTo>
                  <a:lnTo>
                    <a:pt x="1108" y="468"/>
                  </a:lnTo>
                  <a:lnTo>
                    <a:pt x="1108" y="465"/>
                  </a:lnTo>
                  <a:lnTo>
                    <a:pt x="1108" y="465"/>
                  </a:lnTo>
                  <a:lnTo>
                    <a:pt x="1111" y="465"/>
                  </a:lnTo>
                  <a:lnTo>
                    <a:pt x="1111" y="462"/>
                  </a:lnTo>
                  <a:lnTo>
                    <a:pt x="1114" y="460"/>
                  </a:lnTo>
                  <a:lnTo>
                    <a:pt x="1114" y="460"/>
                  </a:lnTo>
                  <a:lnTo>
                    <a:pt x="1111" y="457"/>
                  </a:lnTo>
                  <a:lnTo>
                    <a:pt x="1111" y="457"/>
                  </a:lnTo>
                  <a:lnTo>
                    <a:pt x="1111" y="457"/>
                  </a:lnTo>
                  <a:lnTo>
                    <a:pt x="1114" y="454"/>
                  </a:lnTo>
                  <a:lnTo>
                    <a:pt x="1116" y="454"/>
                  </a:lnTo>
                  <a:lnTo>
                    <a:pt x="1116" y="454"/>
                  </a:lnTo>
                  <a:lnTo>
                    <a:pt x="1119" y="452"/>
                  </a:lnTo>
                  <a:lnTo>
                    <a:pt x="1122" y="452"/>
                  </a:lnTo>
                  <a:lnTo>
                    <a:pt x="1122" y="452"/>
                  </a:lnTo>
                  <a:lnTo>
                    <a:pt x="1119" y="449"/>
                  </a:lnTo>
                  <a:lnTo>
                    <a:pt x="1119" y="449"/>
                  </a:lnTo>
                  <a:lnTo>
                    <a:pt x="1122" y="446"/>
                  </a:lnTo>
                  <a:lnTo>
                    <a:pt x="1122" y="446"/>
                  </a:lnTo>
                  <a:lnTo>
                    <a:pt x="1124" y="446"/>
                  </a:lnTo>
                  <a:lnTo>
                    <a:pt x="1124" y="446"/>
                  </a:lnTo>
                  <a:lnTo>
                    <a:pt x="1127" y="446"/>
                  </a:lnTo>
                  <a:lnTo>
                    <a:pt x="1127" y="443"/>
                  </a:lnTo>
                  <a:lnTo>
                    <a:pt x="1127" y="443"/>
                  </a:lnTo>
                  <a:lnTo>
                    <a:pt x="1127" y="443"/>
                  </a:lnTo>
                  <a:lnTo>
                    <a:pt x="1130" y="441"/>
                  </a:lnTo>
                  <a:lnTo>
                    <a:pt x="1130" y="441"/>
                  </a:lnTo>
                  <a:lnTo>
                    <a:pt x="1132" y="441"/>
                  </a:lnTo>
                  <a:lnTo>
                    <a:pt x="1132" y="441"/>
                  </a:lnTo>
                  <a:lnTo>
                    <a:pt x="1135" y="438"/>
                  </a:lnTo>
                  <a:lnTo>
                    <a:pt x="1135" y="438"/>
                  </a:lnTo>
                  <a:lnTo>
                    <a:pt x="1135" y="43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7" name="Freeform 8883">
              <a:extLst>
                <a:ext uri="{FF2B5EF4-FFF2-40B4-BE49-F238E27FC236}">
                  <a16:creationId xmlns:a16="http://schemas.microsoft.com/office/drawing/2014/main" id="{DC58B15F-8E6B-6547-A1BA-C5AB4FCB6CAD}"/>
                </a:ext>
              </a:extLst>
            </p:cNvPr>
            <p:cNvSpPr/>
            <p:nvPr/>
          </p:nvSpPr>
          <p:spPr bwMode="auto">
            <a:xfrm>
              <a:off x="10683077" y="1703391"/>
              <a:ext cx="936625" cy="1785937"/>
            </a:xfrm>
            <a:custGeom>
              <a:avLst/>
              <a:gdLst>
                <a:gd name="T0" fmla="*/ 224 w 590"/>
                <a:gd name="T1" fmla="*/ 441 h 1125"/>
                <a:gd name="T2" fmla="*/ 195 w 590"/>
                <a:gd name="T3" fmla="*/ 406 h 1125"/>
                <a:gd name="T4" fmla="*/ 179 w 590"/>
                <a:gd name="T5" fmla="*/ 345 h 1125"/>
                <a:gd name="T6" fmla="*/ 251 w 590"/>
                <a:gd name="T7" fmla="*/ 296 h 1125"/>
                <a:gd name="T8" fmla="*/ 224 w 590"/>
                <a:gd name="T9" fmla="*/ 323 h 1125"/>
                <a:gd name="T10" fmla="*/ 235 w 590"/>
                <a:gd name="T11" fmla="*/ 385 h 1125"/>
                <a:gd name="T12" fmla="*/ 278 w 590"/>
                <a:gd name="T13" fmla="*/ 433 h 1125"/>
                <a:gd name="T14" fmla="*/ 296 w 590"/>
                <a:gd name="T15" fmla="*/ 470 h 1125"/>
                <a:gd name="T16" fmla="*/ 280 w 590"/>
                <a:gd name="T17" fmla="*/ 505 h 1125"/>
                <a:gd name="T18" fmla="*/ 270 w 590"/>
                <a:gd name="T19" fmla="*/ 569 h 1125"/>
                <a:gd name="T20" fmla="*/ 283 w 590"/>
                <a:gd name="T21" fmla="*/ 655 h 1125"/>
                <a:gd name="T22" fmla="*/ 294 w 590"/>
                <a:gd name="T23" fmla="*/ 759 h 1125"/>
                <a:gd name="T24" fmla="*/ 291 w 590"/>
                <a:gd name="T25" fmla="*/ 855 h 1125"/>
                <a:gd name="T26" fmla="*/ 275 w 590"/>
                <a:gd name="T27" fmla="*/ 908 h 1125"/>
                <a:gd name="T28" fmla="*/ 288 w 590"/>
                <a:gd name="T29" fmla="*/ 994 h 1125"/>
                <a:gd name="T30" fmla="*/ 283 w 590"/>
                <a:gd name="T31" fmla="*/ 1045 h 1125"/>
                <a:gd name="T32" fmla="*/ 361 w 590"/>
                <a:gd name="T33" fmla="*/ 1109 h 1125"/>
                <a:gd name="T34" fmla="*/ 406 w 590"/>
                <a:gd name="T35" fmla="*/ 1005 h 1125"/>
                <a:gd name="T36" fmla="*/ 377 w 590"/>
                <a:gd name="T37" fmla="*/ 957 h 1125"/>
                <a:gd name="T38" fmla="*/ 425 w 590"/>
                <a:gd name="T39" fmla="*/ 884 h 1125"/>
                <a:gd name="T40" fmla="*/ 411 w 590"/>
                <a:gd name="T41" fmla="*/ 820 h 1125"/>
                <a:gd name="T42" fmla="*/ 475 w 590"/>
                <a:gd name="T43" fmla="*/ 791 h 1125"/>
                <a:gd name="T44" fmla="*/ 507 w 590"/>
                <a:gd name="T45" fmla="*/ 748 h 1125"/>
                <a:gd name="T46" fmla="*/ 470 w 590"/>
                <a:gd name="T47" fmla="*/ 737 h 1125"/>
                <a:gd name="T48" fmla="*/ 411 w 590"/>
                <a:gd name="T49" fmla="*/ 695 h 1125"/>
                <a:gd name="T50" fmla="*/ 403 w 590"/>
                <a:gd name="T51" fmla="*/ 620 h 1125"/>
                <a:gd name="T52" fmla="*/ 377 w 590"/>
                <a:gd name="T53" fmla="*/ 590 h 1125"/>
                <a:gd name="T54" fmla="*/ 379 w 590"/>
                <a:gd name="T55" fmla="*/ 521 h 1125"/>
                <a:gd name="T56" fmla="*/ 414 w 590"/>
                <a:gd name="T57" fmla="*/ 492 h 1125"/>
                <a:gd name="T58" fmla="*/ 406 w 590"/>
                <a:gd name="T59" fmla="*/ 459 h 1125"/>
                <a:gd name="T60" fmla="*/ 417 w 590"/>
                <a:gd name="T61" fmla="*/ 409 h 1125"/>
                <a:gd name="T62" fmla="*/ 449 w 590"/>
                <a:gd name="T63" fmla="*/ 457 h 1125"/>
                <a:gd name="T64" fmla="*/ 451 w 590"/>
                <a:gd name="T65" fmla="*/ 401 h 1125"/>
                <a:gd name="T66" fmla="*/ 451 w 590"/>
                <a:gd name="T67" fmla="*/ 374 h 1125"/>
                <a:gd name="T68" fmla="*/ 470 w 590"/>
                <a:gd name="T69" fmla="*/ 339 h 1125"/>
                <a:gd name="T70" fmla="*/ 510 w 590"/>
                <a:gd name="T71" fmla="*/ 294 h 1125"/>
                <a:gd name="T72" fmla="*/ 555 w 590"/>
                <a:gd name="T73" fmla="*/ 294 h 1125"/>
                <a:gd name="T74" fmla="*/ 579 w 590"/>
                <a:gd name="T75" fmla="*/ 283 h 1125"/>
                <a:gd name="T76" fmla="*/ 563 w 590"/>
                <a:gd name="T77" fmla="*/ 243 h 1125"/>
                <a:gd name="T78" fmla="*/ 563 w 590"/>
                <a:gd name="T79" fmla="*/ 198 h 1125"/>
                <a:gd name="T80" fmla="*/ 555 w 590"/>
                <a:gd name="T81" fmla="*/ 160 h 1125"/>
                <a:gd name="T82" fmla="*/ 558 w 590"/>
                <a:gd name="T83" fmla="*/ 144 h 1125"/>
                <a:gd name="T84" fmla="*/ 563 w 590"/>
                <a:gd name="T85" fmla="*/ 112 h 1125"/>
                <a:gd name="T86" fmla="*/ 553 w 590"/>
                <a:gd name="T87" fmla="*/ 67 h 1125"/>
                <a:gd name="T88" fmla="*/ 563 w 590"/>
                <a:gd name="T89" fmla="*/ 35 h 1125"/>
                <a:gd name="T90" fmla="*/ 539 w 590"/>
                <a:gd name="T91" fmla="*/ 19 h 1125"/>
                <a:gd name="T92" fmla="*/ 486 w 590"/>
                <a:gd name="T93" fmla="*/ 13 h 1125"/>
                <a:gd name="T94" fmla="*/ 449 w 590"/>
                <a:gd name="T95" fmla="*/ 72 h 1125"/>
                <a:gd name="T96" fmla="*/ 427 w 590"/>
                <a:gd name="T97" fmla="*/ 123 h 1125"/>
                <a:gd name="T98" fmla="*/ 382 w 590"/>
                <a:gd name="T99" fmla="*/ 141 h 1125"/>
                <a:gd name="T100" fmla="*/ 312 w 590"/>
                <a:gd name="T101" fmla="*/ 150 h 1125"/>
                <a:gd name="T102" fmla="*/ 286 w 590"/>
                <a:gd name="T103" fmla="*/ 115 h 1125"/>
                <a:gd name="T104" fmla="*/ 248 w 590"/>
                <a:gd name="T105" fmla="*/ 72 h 1125"/>
                <a:gd name="T106" fmla="*/ 176 w 590"/>
                <a:gd name="T107" fmla="*/ 93 h 1125"/>
                <a:gd name="T108" fmla="*/ 126 w 590"/>
                <a:gd name="T109" fmla="*/ 117 h 1125"/>
                <a:gd name="T110" fmla="*/ 72 w 590"/>
                <a:gd name="T111" fmla="*/ 139 h 1125"/>
                <a:gd name="T112" fmla="*/ 21 w 590"/>
                <a:gd name="T113" fmla="*/ 171 h 1125"/>
                <a:gd name="T114" fmla="*/ 13 w 590"/>
                <a:gd name="T115" fmla="*/ 216 h 1125"/>
                <a:gd name="T116" fmla="*/ 45 w 590"/>
                <a:gd name="T117" fmla="*/ 272 h 1125"/>
                <a:gd name="T118" fmla="*/ 96 w 590"/>
                <a:gd name="T119" fmla="*/ 329 h 1125"/>
                <a:gd name="T120" fmla="*/ 126 w 590"/>
                <a:gd name="T121" fmla="*/ 371 h 1125"/>
                <a:gd name="T122" fmla="*/ 160 w 590"/>
                <a:gd name="T123" fmla="*/ 417 h 1125"/>
                <a:gd name="T124" fmla="*/ 192 w 590"/>
                <a:gd name="T125" fmla="*/ 451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0" h="1125" extrusionOk="0">
                  <a:moveTo>
                    <a:pt x="200" y="457"/>
                  </a:moveTo>
                  <a:lnTo>
                    <a:pt x="200" y="457"/>
                  </a:lnTo>
                  <a:lnTo>
                    <a:pt x="203" y="457"/>
                  </a:lnTo>
                  <a:lnTo>
                    <a:pt x="206" y="457"/>
                  </a:lnTo>
                  <a:lnTo>
                    <a:pt x="206" y="457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4"/>
                  </a:lnTo>
                  <a:lnTo>
                    <a:pt x="214" y="451"/>
                  </a:lnTo>
                  <a:lnTo>
                    <a:pt x="211" y="451"/>
                  </a:lnTo>
                  <a:lnTo>
                    <a:pt x="211" y="454"/>
                  </a:lnTo>
                  <a:lnTo>
                    <a:pt x="211" y="454"/>
                  </a:lnTo>
                  <a:lnTo>
                    <a:pt x="208" y="454"/>
                  </a:lnTo>
                  <a:lnTo>
                    <a:pt x="206" y="454"/>
                  </a:lnTo>
                  <a:lnTo>
                    <a:pt x="206" y="451"/>
                  </a:lnTo>
                  <a:lnTo>
                    <a:pt x="206" y="451"/>
                  </a:lnTo>
                  <a:lnTo>
                    <a:pt x="206" y="449"/>
                  </a:lnTo>
                  <a:lnTo>
                    <a:pt x="206" y="449"/>
                  </a:lnTo>
                  <a:lnTo>
                    <a:pt x="208" y="446"/>
                  </a:lnTo>
                  <a:lnTo>
                    <a:pt x="208" y="443"/>
                  </a:lnTo>
                  <a:lnTo>
                    <a:pt x="208" y="441"/>
                  </a:lnTo>
                  <a:lnTo>
                    <a:pt x="211" y="443"/>
                  </a:lnTo>
                  <a:lnTo>
                    <a:pt x="214" y="443"/>
                  </a:lnTo>
                  <a:lnTo>
                    <a:pt x="216" y="443"/>
                  </a:lnTo>
                  <a:lnTo>
                    <a:pt x="216" y="443"/>
                  </a:lnTo>
                  <a:lnTo>
                    <a:pt x="216" y="446"/>
                  </a:lnTo>
                  <a:lnTo>
                    <a:pt x="216" y="446"/>
                  </a:lnTo>
                  <a:lnTo>
                    <a:pt x="216" y="449"/>
                  </a:lnTo>
                  <a:lnTo>
                    <a:pt x="219" y="449"/>
                  </a:lnTo>
                  <a:lnTo>
                    <a:pt x="219" y="449"/>
                  </a:lnTo>
                  <a:lnTo>
                    <a:pt x="219" y="449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2" y="449"/>
                  </a:lnTo>
                  <a:lnTo>
                    <a:pt x="224" y="449"/>
                  </a:lnTo>
                  <a:lnTo>
                    <a:pt x="224" y="449"/>
                  </a:lnTo>
                  <a:lnTo>
                    <a:pt x="224" y="451"/>
                  </a:lnTo>
                  <a:lnTo>
                    <a:pt x="224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30" y="451"/>
                  </a:lnTo>
                  <a:lnTo>
                    <a:pt x="230" y="449"/>
                  </a:lnTo>
                  <a:lnTo>
                    <a:pt x="230" y="446"/>
                  </a:lnTo>
                  <a:lnTo>
                    <a:pt x="227" y="446"/>
                  </a:lnTo>
                  <a:lnTo>
                    <a:pt x="227" y="446"/>
                  </a:lnTo>
                  <a:lnTo>
                    <a:pt x="227" y="443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4" y="441"/>
                  </a:lnTo>
                  <a:lnTo>
                    <a:pt x="224" y="441"/>
                  </a:lnTo>
                  <a:lnTo>
                    <a:pt x="227" y="438"/>
                  </a:lnTo>
                  <a:lnTo>
                    <a:pt x="227" y="438"/>
                  </a:lnTo>
                  <a:lnTo>
                    <a:pt x="227" y="438"/>
                  </a:lnTo>
                  <a:lnTo>
                    <a:pt x="230" y="438"/>
                  </a:lnTo>
                  <a:lnTo>
                    <a:pt x="230" y="435"/>
                  </a:lnTo>
                  <a:lnTo>
                    <a:pt x="227" y="435"/>
                  </a:lnTo>
                  <a:lnTo>
                    <a:pt x="227" y="435"/>
                  </a:lnTo>
                  <a:lnTo>
                    <a:pt x="227" y="435"/>
                  </a:lnTo>
                  <a:lnTo>
                    <a:pt x="227" y="433"/>
                  </a:lnTo>
                  <a:lnTo>
                    <a:pt x="230" y="433"/>
                  </a:lnTo>
                  <a:lnTo>
                    <a:pt x="230" y="430"/>
                  </a:lnTo>
                  <a:lnTo>
                    <a:pt x="230" y="430"/>
                  </a:lnTo>
                  <a:lnTo>
                    <a:pt x="227" y="430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4" y="427"/>
                  </a:lnTo>
                  <a:lnTo>
                    <a:pt x="224" y="427"/>
                  </a:lnTo>
                  <a:lnTo>
                    <a:pt x="222" y="427"/>
                  </a:lnTo>
                  <a:lnTo>
                    <a:pt x="222" y="427"/>
                  </a:lnTo>
                  <a:lnTo>
                    <a:pt x="222" y="427"/>
                  </a:lnTo>
                  <a:lnTo>
                    <a:pt x="219" y="427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6" y="430"/>
                  </a:lnTo>
                  <a:lnTo>
                    <a:pt x="216" y="430"/>
                  </a:lnTo>
                  <a:lnTo>
                    <a:pt x="216" y="433"/>
                  </a:lnTo>
                  <a:lnTo>
                    <a:pt x="214" y="433"/>
                  </a:lnTo>
                  <a:lnTo>
                    <a:pt x="214" y="433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08" y="433"/>
                  </a:lnTo>
                  <a:lnTo>
                    <a:pt x="208" y="433"/>
                  </a:lnTo>
                  <a:lnTo>
                    <a:pt x="208" y="433"/>
                  </a:lnTo>
                  <a:lnTo>
                    <a:pt x="206" y="430"/>
                  </a:lnTo>
                  <a:lnTo>
                    <a:pt x="206" y="430"/>
                  </a:lnTo>
                  <a:lnTo>
                    <a:pt x="206" y="427"/>
                  </a:lnTo>
                  <a:lnTo>
                    <a:pt x="203" y="425"/>
                  </a:lnTo>
                  <a:lnTo>
                    <a:pt x="203" y="422"/>
                  </a:lnTo>
                  <a:lnTo>
                    <a:pt x="203" y="422"/>
                  </a:lnTo>
                  <a:lnTo>
                    <a:pt x="200" y="422"/>
                  </a:lnTo>
                  <a:lnTo>
                    <a:pt x="200" y="419"/>
                  </a:lnTo>
                  <a:lnTo>
                    <a:pt x="200" y="419"/>
                  </a:lnTo>
                  <a:lnTo>
                    <a:pt x="200" y="417"/>
                  </a:lnTo>
                  <a:lnTo>
                    <a:pt x="200" y="417"/>
                  </a:lnTo>
                  <a:lnTo>
                    <a:pt x="200" y="417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198" y="411"/>
                  </a:lnTo>
                  <a:lnTo>
                    <a:pt x="198" y="411"/>
                  </a:lnTo>
                  <a:lnTo>
                    <a:pt x="198" y="409"/>
                  </a:lnTo>
                  <a:lnTo>
                    <a:pt x="198" y="406"/>
                  </a:lnTo>
                  <a:lnTo>
                    <a:pt x="195" y="406"/>
                  </a:lnTo>
                  <a:lnTo>
                    <a:pt x="195" y="406"/>
                  </a:lnTo>
                  <a:lnTo>
                    <a:pt x="195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6"/>
                  </a:lnTo>
                  <a:lnTo>
                    <a:pt x="192" y="403"/>
                  </a:lnTo>
                  <a:lnTo>
                    <a:pt x="190" y="403"/>
                  </a:lnTo>
                  <a:lnTo>
                    <a:pt x="187" y="403"/>
                  </a:lnTo>
                  <a:lnTo>
                    <a:pt x="184" y="401"/>
                  </a:lnTo>
                  <a:lnTo>
                    <a:pt x="182" y="401"/>
                  </a:lnTo>
                  <a:lnTo>
                    <a:pt x="182" y="398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79" y="393"/>
                  </a:lnTo>
                  <a:lnTo>
                    <a:pt x="182" y="393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82" y="390"/>
                  </a:lnTo>
                  <a:lnTo>
                    <a:pt x="182" y="387"/>
                  </a:lnTo>
                  <a:lnTo>
                    <a:pt x="182" y="387"/>
                  </a:lnTo>
                  <a:lnTo>
                    <a:pt x="179" y="385"/>
                  </a:lnTo>
                  <a:lnTo>
                    <a:pt x="179" y="385"/>
                  </a:lnTo>
                  <a:lnTo>
                    <a:pt x="182" y="385"/>
                  </a:lnTo>
                  <a:lnTo>
                    <a:pt x="182" y="382"/>
                  </a:lnTo>
                  <a:lnTo>
                    <a:pt x="182" y="382"/>
                  </a:lnTo>
                  <a:lnTo>
                    <a:pt x="182" y="379"/>
                  </a:lnTo>
                  <a:lnTo>
                    <a:pt x="179" y="379"/>
                  </a:lnTo>
                  <a:lnTo>
                    <a:pt x="176" y="382"/>
                  </a:lnTo>
                  <a:lnTo>
                    <a:pt x="176" y="382"/>
                  </a:lnTo>
                  <a:lnTo>
                    <a:pt x="174" y="382"/>
                  </a:lnTo>
                  <a:lnTo>
                    <a:pt x="174" y="379"/>
                  </a:lnTo>
                  <a:lnTo>
                    <a:pt x="171" y="379"/>
                  </a:lnTo>
                  <a:lnTo>
                    <a:pt x="171" y="379"/>
                  </a:lnTo>
                  <a:lnTo>
                    <a:pt x="168" y="377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6" y="371"/>
                  </a:lnTo>
                  <a:lnTo>
                    <a:pt x="166" y="371"/>
                  </a:lnTo>
                  <a:lnTo>
                    <a:pt x="166" y="369"/>
                  </a:lnTo>
                  <a:lnTo>
                    <a:pt x="166" y="366"/>
                  </a:lnTo>
                  <a:lnTo>
                    <a:pt x="168" y="366"/>
                  </a:lnTo>
                  <a:lnTo>
                    <a:pt x="168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58"/>
                  </a:lnTo>
                  <a:lnTo>
                    <a:pt x="174" y="358"/>
                  </a:lnTo>
                  <a:lnTo>
                    <a:pt x="174" y="355"/>
                  </a:lnTo>
                  <a:lnTo>
                    <a:pt x="174" y="355"/>
                  </a:lnTo>
                  <a:lnTo>
                    <a:pt x="174" y="353"/>
                  </a:lnTo>
                  <a:lnTo>
                    <a:pt x="176" y="350"/>
                  </a:lnTo>
                  <a:lnTo>
                    <a:pt x="176" y="350"/>
                  </a:lnTo>
                  <a:lnTo>
                    <a:pt x="176" y="347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82" y="345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82" y="339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2" y="334"/>
                  </a:lnTo>
                  <a:lnTo>
                    <a:pt x="184" y="331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90" y="326"/>
                  </a:lnTo>
                  <a:lnTo>
                    <a:pt x="190" y="323"/>
                  </a:lnTo>
                  <a:lnTo>
                    <a:pt x="190" y="321"/>
                  </a:lnTo>
                  <a:lnTo>
                    <a:pt x="192" y="321"/>
                  </a:lnTo>
                  <a:lnTo>
                    <a:pt x="192" y="318"/>
                  </a:lnTo>
                  <a:lnTo>
                    <a:pt x="195" y="318"/>
                  </a:lnTo>
                  <a:lnTo>
                    <a:pt x="195" y="318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203" y="315"/>
                  </a:lnTo>
                  <a:lnTo>
                    <a:pt x="206" y="318"/>
                  </a:lnTo>
                  <a:lnTo>
                    <a:pt x="206" y="318"/>
                  </a:lnTo>
                  <a:lnTo>
                    <a:pt x="208" y="318"/>
                  </a:lnTo>
                  <a:lnTo>
                    <a:pt x="211" y="318"/>
                  </a:lnTo>
                  <a:lnTo>
                    <a:pt x="211" y="318"/>
                  </a:lnTo>
                  <a:lnTo>
                    <a:pt x="211" y="318"/>
                  </a:lnTo>
                  <a:lnTo>
                    <a:pt x="214" y="318"/>
                  </a:lnTo>
                  <a:lnTo>
                    <a:pt x="214" y="318"/>
                  </a:lnTo>
                  <a:lnTo>
                    <a:pt x="216" y="315"/>
                  </a:lnTo>
                  <a:lnTo>
                    <a:pt x="216" y="315"/>
                  </a:lnTo>
                  <a:lnTo>
                    <a:pt x="219" y="315"/>
                  </a:lnTo>
                  <a:lnTo>
                    <a:pt x="219" y="315"/>
                  </a:lnTo>
                  <a:lnTo>
                    <a:pt x="222" y="315"/>
                  </a:lnTo>
                  <a:lnTo>
                    <a:pt x="222" y="313"/>
                  </a:lnTo>
                  <a:lnTo>
                    <a:pt x="224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30" y="313"/>
                  </a:lnTo>
                  <a:lnTo>
                    <a:pt x="230" y="310"/>
                  </a:lnTo>
                  <a:lnTo>
                    <a:pt x="232" y="307"/>
                  </a:lnTo>
                  <a:lnTo>
                    <a:pt x="235" y="307"/>
                  </a:lnTo>
                  <a:lnTo>
                    <a:pt x="235" y="307"/>
                  </a:lnTo>
                  <a:lnTo>
                    <a:pt x="235" y="304"/>
                  </a:lnTo>
                  <a:lnTo>
                    <a:pt x="238" y="304"/>
                  </a:lnTo>
                  <a:lnTo>
                    <a:pt x="240" y="304"/>
                  </a:lnTo>
                  <a:lnTo>
                    <a:pt x="240" y="302"/>
                  </a:lnTo>
                  <a:lnTo>
                    <a:pt x="243" y="302"/>
                  </a:lnTo>
                  <a:lnTo>
                    <a:pt x="246" y="299"/>
                  </a:lnTo>
                  <a:lnTo>
                    <a:pt x="246" y="299"/>
                  </a:lnTo>
                  <a:lnTo>
                    <a:pt x="248" y="299"/>
                  </a:lnTo>
                  <a:lnTo>
                    <a:pt x="248" y="296"/>
                  </a:lnTo>
                  <a:lnTo>
                    <a:pt x="251" y="296"/>
                  </a:lnTo>
                  <a:lnTo>
                    <a:pt x="251" y="296"/>
                  </a:lnTo>
                  <a:lnTo>
                    <a:pt x="251" y="299"/>
                  </a:lnTo>
                  <a:lnTo>
                    <a:pt x="248" y="299"/>
                  </a:lnTo>
                  <a:lnTo>
                    <a:pt x="248" y="299"/>
                  </a:lnTo>
                  <a:lnTo>
                    <a:pt x="246" y="302"/>
                  </a:lnTo>
                  <a:lnTo>
                    <a:pt x="246" y="302"/>
                  </a:lnTo>
                  <a:lnTo>
                    <a:pt x="243" y="302"/>
                  </a:lnTo>
                  <a:lnTo>
                    <a:pt x="243" y="302"/>
                  </a:lnTo>
                  <a:lnTo>
                    <a:pt x="243" y="304"/>
                  </a:lnTo>
                  <a:lnTo>
                    <a:pt x="240" y="304"/>
                  </a:lnTo>
                  <a:lnTo>
                    <a:pt x="240" y="304"/>
                  </a:lnTo>
                  <a:lnTo>
                    <a:pt x="238" y="304"/>
                  </a:lnTo>
                  <a:lnTo>
                    <a:pt x="238" y="307"/>
                  </a:lnTo>
                  <a:lnTo>
                    <a:pt x="238" y="307"/>
                  </a:lnTo>
                  <a:lnTo>
                    <a:pt x="235" y="310"/>
                  </a:lnTo>
                  <a:lnTo>
                    <a:pt x="235" y="310"/>
                  </a:lnTo>
                  <a:lnTo>
                    <a:pt x="232" y="313"/>
                  </a:lnTo>
                  <a:lnTo>
                    <a:pt x="232" y="313"/>
                  </a:lnTo>
                  <a:lnTo>
                    <a:pt x="235" y="315"/>
                  </a:lnTo>
                  <a:lnTo>
                    <a:pt x="235" y="315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40" y="315"/>
                  </a:lnTo>
                  <a:lnTo>
                    <a:pt x="240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6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48" y="315"/>
                  </a:lnTo>
                  <a:lnTo>
                    <a:pt x="248" y="318"/>
                  </a:lnTo>
                  <a:lnTo>
                    <a:pt x="251" y="318"/>
                  </a:lnTo>
                  <a:lnTo>
                    <a:pt x="248" y="318"/>
                  </a:lnTo>
                  <a:lnTo>
                    <a:pt x="248" y="318"/>
                  </a:lnTo>
                  <a:lnTo>
                    <a:pt x="248" y="318"/>
                  </a:lnTo>
                  <a:lnTo>
                    <a:pt x="246" y="318"/>
                  </a:lnTo>
                  <a:lnTo>
                    <a:pt x="246" y="315"/>
                  </a:lnTo>
                  <a:lnTo>
                    <a:pt x="246" y="315"/>
                  </a:lnTo>
                  <a:lnTo>
                    <a:pt x="243" y="315"/>
                  </a:lnTo>
                  <a:lnTo>
                    <a:pt x="240" y="315"/>
                  </a:lnTo>
                  <a:lnTo>
                    <a:pt x="240" y="318"/>
                  </a:lnTo>
                  <a:lnTo>
                    <a:pt x="238" y="318"/>
                  </a:lnTo>
                  <a:lnTo>
                    <a:pt x="238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5" y="318"/>
                  </a:lnTo>
                  <a:lnTo>
                    <a:pt x="232" y="318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0" y="323"/>
                  </a:lnTo>
                  <a:lnTo>
                    <a:pt x="230" y="323"/>
                  </a:lnTo>
                  <a:lnTo>
                    <a:pt x="227" y="323"/>
                  </a:lnTo>
                  <a:lnTo>
                    <a:pt x="224" y="323"/>
                  </a:lnTo>
                  <a:lnTo>
                    <a:pt x="224" y="326"/>
                  </a:lnTo>
                  <a:lnTo>
                    <a:pt x="222" y="326"/>
                  </a:lnTo>
                  <a:lnTo>
                    <a:pt x="219" y="326"/>
                  </a:lnTo>
                  <a:lnTo>
                    <a:pt x="219" y="326"/>
                  </a:lnTo>
                  <a:lnTo>
                    <a:pt x="216" y="329"/>
                  </a:lnTo>
                  <a:lnTo>
                    <a:pt x="216" y="329"/>
                  </a:lnTo>
                  <a:lnTo>
                    <a:pt x="214" y="331"/>
                  </a:lnTo>
                  <a:lnTo>
                    <a:pt x="214" y="331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4"/>
                  </a:lnTo>
                  <a:lnTo>
                    <a:pt x="214" y="337"/>
                  </a:lnTo>
                  <a:lnTo>
                    <a:pt x="214" y="339"/>
                  </a:lnTo>
                  <a:lnTo>
                    <a:pt x="214" y="339"/>
                  </a:lnTo>
                  <a:lnTo>
                    <a:pt x="214" y="339"/>
                  </a:lnTo>
                  <a:lnTo>
                    <a:pt x="214" y="342"/>
                  </a:lnTo>
                  <a:lnTo>
                    <a:pt x="216" y="342"/>
                  </a:lnTo>
                  <a:lnTo>
                    <a:pt x="216" y="342"/>
                  </a:lnTo>
                  <a:lnTo>
                    <a:pt x="216" y="342"/>
                  </a:lnTo>
                  <a:lnTo>
                    <a:pt x="216" y="345"/>
                  </a:lnTo>
                  <a:lnTo>
                    <a:pt x="216" y="345"/>
                  </a:lnTo>
                  <a:lnTo>
                    <a:pt x="216" y="345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4" y="350"/>
                  </a:lnTo>
                  <a:lnTo>
                    <a:pt x="214" y="350"/>
                  </a:lnTo>
                  <a:lnTo>
                    <a:pt x="214" y="350"/>
                  </a:lnTo>
                  <a:lnTo>
                    <a:pt x="214" y="353"/>
                  </a:lnTo>
                  <a:lnTo>
                    <a:pt x="211" y="355"/>
                  </a:lnTo>
                  <a:lnTo>
                    <a:pt x="214" y="355"/>
                  </a:lnTo>
                  <a:lnTo>
                    <a:pt x="214" y="358"/>
                  </a:lnTo>
                  <a:lnTo>
                    <a:pt x="214" y="361"/>
                  </a:lnTo>
                  <a:lnTo>
                    <a:pt x="214" y="361"/>
                  </a:lnTo>
                  <a:lnTo>
                    <a:pt x="214" y="363"/>
                  </a:lnTo>
                  <a:lnTo>
                    <a:pt x="216" y="363"/>
                  </a:lnTo>
                  <a:lnTo>
                    <a:pt x="216" y="366"/>
                  </a:lnTo>
                  <a:lnTo>
                    <a:pt x="219" y="366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22" y="369"/>
                  </a:lnTo>
                  <a:lnTo>
                    <a:pt x="222" y="371"/>
                  </a:lnTo>
                  <a:lnTo>
                    <a:pt x="224" y="371"/>
                  </a:lnTo>
                  <a:lnTo>
                    <a:pt x="224" y="374"/>
                  </a:lnTo>
                  <a:lnTo>
                    <a:pt x="224" y="374"/>
                  </a:lnTo>
                  <a:lnTo>
                    <a:pt x="224" y="377"/>
                  </a:lnTo>
                  <a:lnTo>
                    <a:pt x="227" y="377"/>
                  </a:lnTo>
                  <a:lnTo>
                    <a:pt x="230" y="377"/>
                  </a:lnTo>
                  <a:lnTo>
                    <a:pt x="230" y="379"/>
                  </a:lnTo>
                  <a:lnTo>
                    <a:pt x="230" y="379"/>
                  </a:lnTo>
                  <a:lnTo>
                    <a:pt x="232" y="382"/>
                  </a:lnTo>
                  <a:lnTo>
                    <a:pt x="232" y="382"/>
                  </a:lnTo>
                  <a:lnTo>
                    <a:pt x="235" y="385"/>
                  </a:lnTo>
                  <a:lnTo>
                    <a:pt x="235" y="385"/>
                  </a:lnTo>
                  <a:lnTo>
                    <a:pt x="238" y="385"/>
                  </a:lnTo>
                  <a:lnTo>
                    <a:pt x="238" y="387"/>
                  </a:lnTo>
                  <a:lnTo>
                    <a:pt x="240" y="387"/>
                  </a:lnTo>
                  <a:lnTo>
                    <a:pt x="240" y="390"/>
                  </a:lnTo>
                  <a:lnTo>
                    <a:pt x="240" y="393"/>
                  </a:lnTo>
                  <a:lnTo>
                    <a:pt x="240" y="393"/>
                  </a:lnTo>
                  <a:lnTo>
                    <a:pt x="243" y="393"/>
                  </a:lnTo>
                  <a:lnTo>
                    <a:pt x="243" y="395"/>
                  </a:lnTo>
                  <a:lnTo>
                    <a:pt x="246" y="395"/>
                  </a:lnTo>
                  <a:lnTo>
                    <a:pt x="246" y="395"/>
                  </a:lnTo>
                  <a:lnTo>
                    <a:pt x="246" y="395"/>
                  </a:lnTo>
                  <a:lnTo>
                    <a:pt x="248" y="398"/>
                  </a:lnTo>
                  <a:lnTo>
                    <a:pt x="248" y="398"/>
                  </a:lnTo>
                  <a:lnTo>
                    <a:pt x="248" y="401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1" y="406"/>
                  </a:lnTo>
                  <a:lnTo>
                    <a:pt x="251" y="406"/>
                  </a:lnTo>
                  <a:lnTo>
                    <a:pt x="251" y="409"/>
                  </a:lnTo>
                  <a:lnTo>
                    <a:pt x="248" y="409"/>
                  </a:lnTo>
                  <a:lnTo>
                    <a:pt x="248" y="411"/>
                  </a:lnTo>
                  <a:lnTo>
                    <a:pt x="248" y="411"/>
                  </a:lnTo>
                  <a:lnTo>
                    <a:pt x="248" y="414"/>
                  </a:lnTo>
                  <a:lnTo>
                    <a:pt x="251" y="414"/>
                  </a:lnTo>
                  <a:lnTo>
                    <a:pt x="251" y="417"/>
                  </a:lnTo>
                  <a:lnTo>
                    <a:pt x="251" y="417"/>
                  </a:lnTo>
                  <a:lnTo>
                    <a:pt x="254" y="419"/>
                  </a:lnTo>
                  <a:lnTo>
                    <a:pt x="256" y="422"/>
                  </a:lnTo>
                  <a:lnTo>
                    <a:pt x="256" y="422"/>
                  </a:lnTo>
                  <a:lnTo>
                    <a:pt x="256" y="425"/>
                  </a:lnTo>
                  <a:lnTo>
                    <a:pt x="256" y="425"/>
                  </a:lnTo>
                  <a:lnTo>
                    <a:pt x="256" y="427"/>
                  </a:lnTo>
                  <a:lnTo>
                    <a:pt x="256" y="427"/>
                  </a:lnTo>
                  <a:lnTo>
                    <a:pt x="259" y="430"/>
                  </a:lnTo>
                  <a:lnTo>
                    <a:pt x="259" y="430"/>
                  </a:lnTo>
                  <a:lnTo>
                    <a:pt x="259" y="430"/>
                  </a:lnTo>
                  <a:lnTo>
                    <a:pt x="262" y="430"/>
                  </a:lnTo>
                  <a:lnTo>
                    <a:pt x="262" y="430"/>
                  </a:lnTo>
                  <a:lnTo>
                    <a:pt x="262" y="430"/>
                  </a:lnTo>
                  <a:lnTo>
                    <a:pt x="262" y="427"/>
                  </a:lnTo>
                  <a:lnTo>
                    <a:pt x="262" y="427"/>
                  </a:lnTo>
                  <a:lnTo>
                    <a:pt x="262" y="427"/>
                  </a:lnTo>
                  <a:lnTo>
                    <a:pt x="264" y="425"/>
                  </a:lnTo>
                  <a:lnTo>
                    <a:pt x="264" y="425"/>
                  </a:lnTo>
                  <a:lnTo>
                    <a:pt x="267" y="425"/>
                  </a:lnTo>
                  <a:lnTo>
                    <a:pt x="270" y="425"/>
                  </a:lnTo>
                  <a:lnTo>
                    <a:pt x="270" y="425"/>
                  </a:lnTo>
                  <a:lnTo>
                    <a:pt x="270" y="427"/>
                  </a:lnTo>
                  <a:lnTo>
                    <a:pt x="272" y="427"/>
                  </a:lnTo>
                  <a:lnTo>
                    <a:pt x="272" y="427"/>
                  </a:lnTo>
                  <a:lnTo>
                    <a:pt x="275" y="427"/>
                  </a:lnTo>
                  <a:lnTo>
                    <a:pt x="275" y="430"/>
                  </a:lnTo>
                  <a:lnTo>
                    <a:pt x="275" y="430"/>
                  </a:lnTo>
                  <a:lnTo>
                    <a:pt x="278" y="433"/>
                  </a:lnTo>
                  <a:lnTo>
                    <a:pt x="278" y="433"/>
                  </a:lnTo>
                  <a:lnTo>
                    <a:pt x="278" y="438"/>
                  </a:lnTo>
                  <a:lnTo>
                    <a:pt x="278" y="438"/>
                  </a:lnTo>
                  <a:lnTo>
                    <a:pt x="280" y="438"/>
                  </a:lnTo>
                  <a:lnTo>
                    <a:pt x="280" y="438"/>
                  </a:lnTo>
                  <a:lnTo>
                    <a:pt x="280" y="441"/>
                  </a:lnTo>
                  <a:lnTo>
                    <a:pt x="280" y="441"/>
                  </a:lnTo>
                  <a:lnTo>
                    <a:pt x="280" y="443"/>
                  </a:lnTo>
                  <a:lnTo>
                    <a:pt x="280" y="443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80" y="446"/>
                  </a:lnTo>
                  <a:lnTo>
                    <a:pt x="278" y="449"/>
                  </a:lnTo>
                  <a:lnTo>
                    <a:pt x="280" y="449"/>
                  </a:lnTo>
                  <a:lnTo>
                    <a:pt x="278" y="451"/>
                  </a:lnTo>
                  <a:lnTo>
                    <a:pt x="278" y="451"/>
                  </a:lnTo>
                  <a:lnTo>
                    <a:pt x="278" y="451"/>
                  </a:lnTo>
                  <a:lnTo>
                    <a:pt x="278" y="454"/>
                  </a:lnTo>
                  <a:lnTo>
                    <a:pt x="278" y="454"/>
                  </a:lnTo>
                  <a:lnTo>
                    <a:pt x="278" y="454"/>
                  </a:lnTo>
                  <a:lnTo>
                    <a:pt x="278" y="457"/>
                  </a:lnTo>
                  <a:lnTo>
                    <a:pt x="278" y="457"/>
                  </a:lnTo>
                  <a:lnTo>
                    <a:pt x="278" y="457"/>
                  </a:lnTo>
                  <a:lnTo>
                    <a:pt x="278" y="459"/>
                  </a:lnTo>
                  <a:lnTo>
                    <a:pt x="278" y="459"/>
                  </a:lnTo>
                  <a:lnTo>
                    <a:pt x="278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2"/>
                  </a:lnTo>
                  <a:lnTo>
                    <a:pt x="280" y="465"/>
                  </a:lnTo>
                  <a:lnTo>
                    <a:pt x="280" y="465"/>
                  </a:lnTo>
                  <a:lnTo>
                    <a:pt x="280" y="465"/>
                  </a:lnTo>
                  <a:lnTo>
                    <a:pt x="280" y="467"/>
                  </a:lnTo>
                  <a:lnTo>
                    <a:pt x="280" y="467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0"/>
                  </a:lnTo>
                  <a:lnTo>
                    <a:pt x="280" y="473"/>
                  </a:lnTo>
                  <a:lnTo>
                    <a:pt x="283" y="473"/>
                  </a:lnTo>
                  <a:lnTo>
                    <a:pt x="283" y="470"/>
                  </a:lnTo>
                  <a:lnTo>
                    <a:pt x="283" y="470"/>
                  </a:lnTo>
                  <a:lnTo>
                    <a:pt x="286" y="470"/>
                  </a:lnTo>
                  <a:lnTo>
                    <a:pt x="286" y="470"/>
                  </a:lnTo>
                  <a:lnTo>
                    <a:pt x="288" y="470"/>
                  </a:lnTo>
                  <a:lnTo>
                    <a:pt x="288" y="470"/>
                  </a:lnTo>
                  <a:lnTo>
                    <a:pt x="288" y="470"/>
                  </a:lnTo>
                  <a:lnTo>
                    <a:pt x="291" y="470"/>
                  </a:lnTo>
                  <a:lnTo>
                    <a:pt x="294" y="470"/>
                  </a:lnTo>
                  <a:lnTo>
                    <a:pt x="294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7"/>
                  </a:lnTo>
                  <a:lnTo>
                    <a:pt x="296" y="470"/>
                  </a:lnTo>
                  <a:lnTo>
                    <a:pt x="296" y="473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9" y="476"/>
                  </a:lnTo>
                  <a:lnTo>
                    <a:pt x="299" y="476"/>
                  </a:lnTo>
                  <a:lnTo>
                    <a:pt x="299" y="476"/>
                  </a:lnTo>
                  <a:lnTo>
                    <a:pt x="302" y="476"/>
                  </a:lnTo>
                  <a:lnTo>
                    <a:pt x="302" y="476"/>
                  </a:lnTo>
                  <a:lnTo>
                    <a:pt x="299" y="476"/>
                  </a:lnTo>
                  <a:lnTo>
                    <a:pt x="296" y="476"/>
                  </a:lnTo>
                  <a:lnTo>
                    <a:pt x="296" y="476"/>
                  </a:lnTo>
                  <a:lnTo>
                    <a:pt x="296" y="478"/>
                  </a:lnTo>
                  <a:lnTo>
                    <a:pt x="294" y="478"/>
                  </a:lnTo>
                  <a:lnTo>
                    <a:pt x="294" y="481"/>
                  </a:lnTo>
                  <a:lnTo>
                    <a:pt x="294" y="481"/>
                  </a:lnTo>
                  <a:lnTo>
                    <a:pt x="294" y="484"/>
                  </a:lnTo>
                  <a:lnTo>
                    <a:pt x="294" y="486"/>
                  </a:lnTo>
                  <a:lnTo>
                    <a:pt x="291" y="486"/>
                  </a:lnTo>
                  <a:lnTo>
                    <a:pt x="291" y="486"/>
                  </a:lnTo>
                  <a:lnTo>
                    <a:pt x="291" y="489"/>
                  </a:lnTo>
                  <a:lnTo>
                    <a:pt x="291" y="489"/>
                  </a:lnTo>
                  <a:lnTo>
                    <a:pt x="291" y="492"/>
                  </a:lnTo>
                  <a:lnTo>
                    <a:pt x="291" y="492"/>
                  </a:lnTo>
                  <a:lnTo>
                    <a:pt x="294" y="494"/>
                  </a:lnTo>
                  <a:lnTo>
                    <a:pt x="294" y="494"/>
                  </a:lnTo>
                  <a:lnTo>
                    <a:pt x="294" y="494"/>
                  </a:lnTo>
                  <a:lnTo>
                    <a:pt x="294" y="497"/>
                  </a:lnTo>
                  <a:lnTo>
                    <a:pt x="294" y="497"/>
                  </a:lnTo>
                  <a:lnTo>
                    <a:pt x="294" y="497"/>
                  </a:lnTo>
                  <a:lnTo>
                    <a:pt x="296" y="497"/>
                  </a:lnTo>
                  <a:lnTo>
                    <a:pt x="296" y="497"/>
                  </a:lnTo>
                  <a:lnTo>
                    <a:pt x="296" y="500"/>
                  </a:lnTo>
                  <a:lnTo>
                    <a:pt x="294" y="500"/>
                  </a:lnTo>
                  <a:lnTo>
                    <a:pt x="294" y="500"/>
                  </a:lnTo>
                  <a:lnTo>
                    <a:pt x="291" y="497"/>
                  </a:lnTo>
                  <a:lnTo>
                    <a:pt x="291" y="497"/>
                  </a:lnTo>
                  <a:lnTo>
                    <a:pt x="291" y="494"/>
                  </a:lnTo>
                  <a:lnTo>
                    <a:pt x="291" y="494"/>
                  </a:lnTo>
                  <a:lnTo>
                    <a:pt x="288" y="492"/>
                  </a:lnTo>
                  <a:lnTo>
                    <a:pt x="288" y="494"/>
                  </a:lnTo>
                  <a:lnTo>
                    <a:pt x="288" y="494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497"/>
                  </a:lnTo>
                  <a:lnTo>
                    <a:pt x="286" y="500"/>
                  </a:lnTo>
                  <a:lnTo>
                    <a:pt x="283" y="500"/>
                  </a:lnTo>
                  <a:lnTo>
                    <a:pt x="283" y="500"/>
                  </a:lnTo>
                  <a:lnTo>
                    <a:pt x="286" y="502"/>
                  </a:lnTo>
                  <a:lnTo>
                    <a:pt x="286" y="502"/>
                  </a:lnTo>
                  <a:lnTo>
                    <a:pt x="286" y="502"/>
                  </a:lnTo>
                  <a:lnTo>
                    <a:pt x="283" y="505"/>
                  </a:lnTo>
                  <a:lnTo>
                    <a:pt x="283" y="505"/>
                  </a:lnTo>
                  <a:lnTo>
                    <a:pt x="280" y="505"/>
                  </a:lnTo>
                  <a:lnTo>
                    <a:pt x="280" y="505"/>
                  </a:lnTo>
                  <a:lnTo>
                    <a:pt x="278" y="505"/>
                  </a:lnTo>
                  <a:lnTo>
                    <a:pt x="278" y="508"/>
                  </a:lnTo>
                  <a:lnTo>
                    <a:pt x="278" y="508"/>
                  </a:lnTo>
                  <a:lnTo>
                    <a:pt x="278" y="510"/>
                  </a:lnTo>
                  <a:lnTo>
                    <a:pt x="278" y="510"/>
                  </a:lnTo>
                  <a:lnTo>
                    <a:pt x="280" y="513"/>
                  </a:lnTo>
                  <a:lnTo>
                    <a:pt x="278" y="513"/>
                  </a:lnTo>
                  <a:lnTo>
                    <a:pt x="280" y="516"/>
                  </a:lnTo>
                  <a:lnTo>
                    <a:pt x="280" y="518"/>
                  </a:lnTo>
                  <a:lnTo>
                    <a:pt x="280" y="518"/>
                  </a:lnTo>
                  <a:lnTo>
                    <a:pt x="283" y="521"/>
                  </a:lnTo>
                  <a:lnTo>
                    <a:pt x="280" y="524"/>
                  </a:lnTo>
                  <a:lnTo>
                    <a:pt x="280" y="524"/>
                  </a:lnTo>
                  <a:lnTo>
                    <a:pt x="280" y="526"/>
                  </a:lnTo>
                  <a:lnTo>
                    <a:pt x="280" y="529"/>
                  </a:lnTo>
                  <a:lnTo>
                    <a:pt x="280" y="529"/>
                  </a:lnTo>
                  <a:lnTo>
                    <a:pt x="278" y="532"/>
                  </a:lnTo>
                  <a:lnTo>
                    <a:pt x="278" y="532"/>
                  </a:lnTo>
                  <a:lnTo>
                    <a:pt x="275" y="532"/>
                  </a:lnTo>
                  <a:lnTo>
                    <a:pt x="275" y="532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4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5" y="537"/>
                  </a:lnTo>
                  <a:lnTo>
                    <a:pt x="275" y="540"/>
                  </a:lnTo>
                  <a:lnTo>
                    <a:pt x="275" y="540"/>
                  </a:lnTo>
                  <a:lnTo>
                    <a:pt x="275" y="540"/>
                  </a:lnTo>
                  <a:lnTo>
                    <a:pt x="275" y="542"/>
                  </a:lnTo>
                  <a:lnTo>
                    <a:pt x="275" y="542"/>
                  </a:lnTo>
                  <a:lnTo>
                    <a:pt x="272" y="545"/>
                  </a:lnTo>
                  <a:lnTo>
                    <a:pt x="272" y="545"/>
                  </a:lnTo>
                  <a:lnTo>
                    <a:pt x="272" y="545"/>
                  </a:lnTo>
                  <a:lnTo>
                    <a:pt x="272" y="548"/>
                  </a:lnTo>
                  <a:lnTo>
                    <a:pt x="270" y="548"/>
                  </a:lnTo>
                  <a:lnTo>
                    <a:pt x="270" y="548"/>
                  </a:lnTo>
                  <a:lnTo>
                    <a:pt x="270" y="550"/>
                  </a:lnTo>
                  <a:lnTo>
                    <a:pt x="270" y="550"/>
                  </a:lnTo>
                  <a:lnTo>
                    <a:pt x="270" y="553"/>
                  </a:lnTo>
                  <a:lnTo>
                    <a:pt x="270" y="553"/>
                  </a:lnTo>
                  <a:lnTo>
                    <a:pt x="270" y="556"/>
                  </a:lnTo>
                  <a:lnTo>
                    <a:pt x="270" y="558"/>
                  </a:lnTo>
                  <a:lnTo>
                    <a:pt x="270" y="558"/>
                  </a:lnTo>
                  <a:lnTo>
                    <a:pt x="270" y="558"/>
                  </a:lnTo>
                  <a:lnTo>
                    <a:pt x="270" y="561"/>
                  </a:lnTo>
                  <a:lnTo>
                    <a:pt x="270" y="561"/>
                  </a:lnTo>
                  <a:lnTo>
                    <a:pt x="270" y="564"/>
                  </a:lnTo>
                  <a:lnTo>
                    <a:pt x="270" y="564"/>
                  </a:lnTo>
                  <a:lnTo>
                    <a:pt x="267" y="564"/>
                  </a:lnTo>
                  <a:lnTo>
                    <a:pt x="267" y="566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70" y="572"/>
                  </a:lnTo>
                  <a:lnTo>
                    <a:pt x="270" y="572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5" y="574"/>
                  </a:lnTo>
                  <a:lnTo>
                    <a:pt x="275" y="574"/>
                  </a:lnTo>
                  <a:lnTo>
                    <a:pt x="275" y="574"/>
                  </a:lnTo>
                  <a:lnTo>
                    <a:pt x="278" y="577"/>
                  </a:lnTo>
                  <a:lnTo>
                    <a:pt x="278" y="577"/>
                  </a:lnTo>
                  <a:lnTo>
                    <a:pt x="280" y="580"/>
                  </a:lnTo>
                  <a:lnTo>
                    <a:pt x="280" y="580"/>
                  </a:lnTo>
                  <a:lnTo>
                    <a:pt x="280" y="582"/>
                  </a:lnTo>
                  <a:lnTo>
                    <a:pt x="280" y="582"/>
                  </a:lnTo>
                  <a:lnTo>
                    <a:pt x="280" y="585"/>
                  </a:lnTo>
                  <a:lnTo>
                    <a:pt x="280" y="588"/>
                  </a:lnTo>
                  <a:lnTo>
                    <a:pt x="280" y="588"/>
                  </a:lnTo>
                  <a:lnTo>
                    <a:pt x="280" y="590"/>
                  </a:lnTo>
                  <a:lnTo>
                    <a:pt x="280" y="590"/>
                  </a:lnTo>
                  <a:lnTo>
                    <a:pt x="280" y="596"/>
                  </a:lnTo>
                  <a:lnTo>
                    <a:pt x="280" y="598"/>
                  </a:lnTo>
                  <a:lnTo>
                    <a:pt x="280" y="604"/>
                  </a:lnTo>
                  <a:lnTo>
                    <a:pt x="278" y="606"/>
                  </a:lnTo>
                  <a:lnTo>
                    <a:pt x="278" y="606"/>
                  </a:lnTo>
                  <a:lnTo>
                    <a:pt x="278" y="609"/>
                  </a:lnTo>
                  <a:lnTo>
                    <a:pt x="278" y="609"/>
                  </a:lnTo>
                  <a:lnTo>
                    <a:pt x="278" y="612"/>
                  </a:lnTo>
                  <a:lnTo>
                    <a:pt x="278" y="614"/>
                  </a:lnTo>
                  <a:lnTo>
                    <a:pt x="280" y="614"/>
                  </a:lnTo>
                  <a:lnTo>
                    <a:pt x="280" y="617"/>
                  </a:lnTo>
                  <a:lnTo>
                    <a:pt x="280" y="620"/>
                  </a:lnTo>
                  <a:lnTo>
                    <a:pt x="280" y="622"/>
                  </a:lnTo>
                  <a:lnTo>
                    <a:pt x="280" y="622"/>
                  </a:lnTo>
                  <a:lnTo>
                    <a:pt x="280" y="625"/>
                  </a:lnTo>
                  <a:lnTo>
                    <a:pt x="280" y="625"/>
                  </a:lnTo>
                  <a:lnTo>
                    <a:pt x="280" y="628"/>
                  </a:lnTo>
                  <a:lnTo>
                    <a:pt x="283" y="628"/>
                  </a:lnTo>
                  <a:lnTo>
                    <a:pt x="283" y="631"/>
                  </a:lnTo>
                  <a:lnTo>
                    <a:pt x="283" y="631"/>
                  </a:lnTo>
                  <a:lnTo>
                    <a:pt x="283" y="633"/>
                  </a:lnTo>
                  <a:lnTo>
                    <a:pt x="283" y="636"/>
                  </a:lnTo>
                  <a:lnTo>
                    <a:pt x="283" y="639"/>
                  </a:lnTo>
                  <a:lnTo>
                    <a:pt x="283" y="639"/>
                  </a:lnTo>
                  <a:lnTo>
                    <a:pt x="283" y="641"/>
                  </a:lnTo>
                  <a:lnTo>
                    <a:pt x="283" y="644"/>
                  </a:lnTo>
                  <a:lnTo>
                    <a:pt x="283" y="647"/>
                  </a:lnTo>
                  <a:lnTo>
                    <a:pt x="280" y="647"/>
                  </a:lnTo>
                  <a:lnTo>
                    <a:pt x="280" y="649"/>
                  </a:lnTo>
                  <a:lnTo>
                    <a:pt x="280" y="649"/>
                  </a:lnTo>
                  <a:lnTo>
                    <a:pt x="280" y="652"/>
                  </a:lnTo>
                  <a:lnTo>
                    <a:pt x="283" y="655"/>
                  </a:lnTo>
                  <a:lnTo>
                    <a:pt x="283" y="655"/>
                  </a:lnTo>
                  <a:lnTo>
                    <a:pt x="283" y="655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83" y="660"/>
                  </a:lnTo>
                  <a:lnTo>
                    <a:pt x="283" y="663"/>
                  </a:lnTo>
                  <a:lnTo>
                    <a:pt x="283" y="665"/>
                  </a:lnTo>
                  <a:lnTo>
                    <a:pt x="280" y="668"/>
                  </a:lnTo>
                  <a:lnTo>
                    <a:pt x="280" y="671"/>
                  </a:lnTo>
                  <a:lnTo>
                    <a:pt x="278" y="671"/>
                  </a:lnTo>
                  <a:lnTo>
                    <a:pt x="278" y="673"/>
                  </a:lnTo>
                  <a:lnTo>
                    <a:pt x="275" y="676"/>
                  </a:lnTo>
                  <a:lnTo>
                    <a:pt x="275" y="676"/>
                  </a:lnTo>
                  <a:lnTo>
                    <a:pt x="275" y="679"/>
                  </a:lnTo>
                  <a:lnTo>
                    <a:pt x="275" y="681"/>
                  </a:lnTo>
                  <a:lnTo>
                    <a:pt x="275" y="681"/>
                  </a:lnTo>
                  <a:lnTo>
                    <a:pt x="278" y="684"/>
                  </a:lnTo>
                  <a:lnTo>
                    <a:pt x="278" y="684"/>
                  </a:lnTo>
                  <a:lnTo>
                    <a:pt x="280" y="687"/>
                  </a:lnTo>
                  <a:lnTo>
                    <a:pt x="280" y="689"/>
                  </a:lnTo>
                  <a:lnTo>
                    <a:pt x="280" y="689"/>
                  </a:lnTo>
                  <a:lnTo>
                    <a:pt x="280" y="689"/>
                  </a:lnTo>
                  <a:lnTo>
                    <a:pt x="283" y="692"/>
                  </a:lnTo>
                  <a:lnTo>
                    <a:pt x="283" y="695"/>
                  </a:lnTo>
                  <a:lnTo>
                    <a:pt x="283" y="695"/>
                  </a:lnTo>
                  <a:lnTo>
                    <a:pt x="283" y="697"/>
                  </a:lnTo>
                  <a:lnTo>
                    <a:pt x="283" y="697"/>
                  </a:lnTo>
                  <a:lnTo>
                    <a:pt x="280" y="703"/>
                  </a:lnTo>
                  <a:lnTo>
                    <a:pt x="280" y="703"/>
                  </a:lnTo>
                  <a:lnTo>
                    <a:pt x="280" y="705"/>
                  </a:lnTo>
                  <a:lnTo>
                    <a:pt x="280" y="705"/>
                  </a:lnTo>
                  <a:lnTo>
                    <a:pt x="280" y="708"/>
                  </a:lnTo>
                  <a:lnTo>
                    <a:pt x="280" y="708"/>
                  </a:lnTo>
                  <a:lnTo>
                    <a:pt x="280" y="711"/>
                  </a:lnTo>
                  <a:lnTo>
                    <a:pt x="280" y="713"/>
                  </a:lnTo>
                  <a:lnTo>
                    <a:pt x="280" y="716"/>
                  </a:lnTo>
                  <a:lnTo>
                    <a:pt x="280" y="719"/>
                  </a:lnTo>
                  <a:lnTo>
                    <a:pt x="280" y="724"/>
                  </a:lnTo>
                  <a:lnTo>
                    <a:pt x="280" y="727"/>
                  </a:lnTo>
                  <a:lnTo>
                    <a:pt x="280" y="727"/>
                  </a:lnTo>
                  <a:lnTo>
                    <a:pt x="280" y="729"/>
                  </a:lnTo>
                  <a:lnTo>
                    <a:pt x="280" y="732"/>
                  </a:lnTo>
                  <a:lnTo>
                    <a:pt x="280" y="732"/>
                  </a:lnTo>
                  <a:lnTo>
                    <a:pt x="280" y="735"/>
                  </a:lnTo>
                  <a:lnTo>
                    <a:pt x="280" y="735"/>
                  </a:lnTo>
                  <a:lnTo>
                    <a:pt x="283" y="737"/>
                  </a:lnTo>
                  <a:lnTo>
                    <a:pt x="283" y="740"/>
                  </a:lnTo>
                  <a:lnTo>
                    <a:pt x="283" y="743"/>
                  </a:lnTo>
                  <a:lnTo>
                    <a:pt x="283" y="745"/>
                  </a:lnTo>
                  <a:lnTo>
                    <a:pt x="283" y="745"/>
                  </a:lnTo>
                  <a:lnTo>
                    <a:pt x="286" y="745"/>
                  </a:lnTo>
                  <a:lnTo>
                    <a:pt x="286" y="748"/>
                  </a:lnTo>
                  <a:lnTo>
                    <a:pt x="288" y="748"/>
                  </a:lnTo>
                  <a:lnTo>
                    <a:pt x="288" y="751"/>
                  </a:lnTo>
                  <a:lnTo>
                    <a:pt x="291" y="751"/>
                  </a:lnTo>
                  <a:lnTo>
                    <a:pt x="294" y="759"/>
                  </a:lnTo>
                  <a:lnTo>
                    <a:pt x="291" y="761"/>
                  </a:lnTo>
                  <a:lnTo>
                    <a:pt x="291" y="761"/>
                  </a:lnTo>
                  <a:lnTo>
                    <a:pt x="291" y="764"/>
                  </a:lnTo>
                  <a:lnTo>
                    <a:pt x="294" y="764"/>
                  </a:lnTo>
                  <a:lnTo>
                    <a:pt x="294" y="767"/>
                  </a:lnTo>
                  <a:lnTo>
                    <a:pt x="294" y="769"/>
                  </a:lnTo>
                  <a:lnTo>
                    <a:pt x="294" y="772"/>
                  </a:lnTo>
                  <a:lnTo>
                    <a:pt x="294" y="775"/>
                  </a:lnTo>
                  <a:lnTo>
                    <a:pt x="294" y="777"/>
                  </a:lnTo>
                  <a:lnTo>
                    <a:pt x="294" y="777"/>
                  </a:lnTo>
                  <a:lnTo>
                    <a:pt x="294" y="780"/>
                  </a:lnTo>
                  <a:lnTo>
                    <a:pt x="294" y="780"/>
                  </a:lnTo>
                  <a:lnTo>
                    <a:pt x="294" y="783"/>
                  </a:lnTo>
                  <a:lnTo>
                    <a:pt x="294" y="783"/>
                  </a:lnTo>
                  <a:lnTo>
                    <a:pt x="294" y="785"/>
                  </a:lnTo>
                  <a:lnTo>
                    <a:pt x="294" y="785"/>
                  </a:lnTo>
                  <a:lnTo>
                    <a:pt x="294" y="788"/>
                  </a:lnTo>
                  <a:lnTo>
                    <a:pt x="294" y="791"/>
                  </a:lnTo>
                  <a:lnTo>
                    <a:pt x="294" y="794"/>
                  </a:lnTo>
                  <a:lnTo>
                    <a:pt x="294" y="796"/>
                  </a:lnTo>
                  <a:lnTo>
                    <a:pt x="294" y="796"/>
                  </a:lnTo>
                  <a:lnTo>
                    <a:pt x="294" y="799"/>
                  </a:lnTo>
                  <a:lnTo>
                    <a:pt x="294" y="799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9" y="802"/>
                  </a:lnTo>
                  <a:lnTo>
                    <a:pt x="299" y="802"/>
                  </a:lnTo>
                  <a:lnTo>
                    <a:pt x="302" y="802"/>
                  </a:lnTo>
                  <a:lnTo>
                    <a:pt x="299" y="802"/>
                  </a:lnTo>
                  <a:lnTo>
                    <a:pt x="299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6" y="802"/>
                  </a:lnTo>
                  <a:lnTo>
                    <a:pt x="294" y="802"/>
                  </a:lnTo>
                  <a:lnTo>
                    <a:pt x="294" y="802"/>
                  </a:lnTo>
                  <a:lnTo>
                    <a:pt x="294" y="804"/>
                  </a:lnTo>
                  <a:lnTo>
                    <a:pt x="294" y="804"/>
                  </a:lnTo>
                  <a:lnTo>
                    <a:pt x="296" y="807"/>
                  </a:lnTo>
                  <a:lnTo>
                    <a:pt x="296" y="810"/>
                  </a:lnTo>
                  <a:lnTo>
                    <a:pt x="296" y="812"/>
                  </a:lnTo>
                  <a:lnTo>
                    <a:pt x="296" y="812"/>
                  </a:lnTo>
                  <a:lnTo>
                    <a:pt x="294" y="815"/>
                  </a:lnTo>
                  <a:lnTo>
                    <a:pt x="294" y="820"/>
                  </a:lnTo>
                  <a:lnTo>
                    <a:pt x="294" y="823"/>
                  </a:lnTo>
                  <a:lnTo>
                    <a:pt x="294" y="826"/>
                  </a:lnTo>
                  <a:lnTo>
                    <a:pt x="291" y="831"/>
                  </a:lnTo>
                  <a:lnTo>
                    <a:pt x="291" y="834"/>
                  </a:lnTo>
                  <a:lnTo>
                    <a:pt x="291" y="836"/>
                  </a:lnTo>
                  <a:lnTo>
                    <a:pt x="291" y="839"/>
                  </a:lnTo>
                  <a:lnTo>
                    <a:pt x="291" y="842"/>
                  </a:lnTo>
                  <a:lnTo>
                    <a:pt x="291" y="844"/>
                  </a:lnTo>
                  <a:lnTo>
                    <a:pt x="291" y="850"/>
                  </a:lnTo>
                  <a:lnTo>
                    <a:pt x="291" y="852"/>
                  </a:lnTo>
                  <a:lnTo>
                    <a:pt x="291" y="855"/>
                  </a:lnTo>
                  <a:lnTo>
                    <a:pt x="291" y="858"/>
                  </a:lnTo>
                  <a:lnTo>
                    <a:pt x="288" y="863"/>
                  </a:lnTo>
                  <a:lnTo>
                    <a:pt x="288" y="866"/>
                  </a:lnTo>
                  <a:lnTo>
                    <a:pt x="288" y="868"/>
                  </a:lnTo>
                  <a:lnTo>
                    <a:pt x="288" y="868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1" y="866"/>
                  </a:lnTo>
                  <a:lnTo>
                    <a:pt x="294" y="868"/>
                  </a:lnTo>
                  <a:lnTo>
                    <a:pt x="294" y="868"/>
                  </a:lnTo>
                  <a:lnTo>
                    <a:pt x="294" y="868"/>
                  </a:lnTo>
                  <a:lnTo>
                    <a:pt x="296" y="868"/>
                  </a:lnTo>
                  <a:lnTo>
                    <a:pt x="296" y="868"/>
                  </a:lnTo>
                  <a:lnTo>
                    <a:pt x="296" y="871"/>
                  </a:lnTo>
                  <a:lnTo>
                    <a:pt x="296" y="871"/>
                  </a:lnTo>
                  <a:lnTo>
                    <a:pt x="299" y="871"/>
                  </a:lnTo>
                  <a:lnTo>
                    <a:pt x="296" y="871"/>
                  </a:lnTo>
                  <a:lnTo>
                    <a:pt x="296" y="871"/>
                  </a:lnTo>
                  <a:lnTo>
                    <a:pt x="294" y="868"/>
                  </a:lnTo>
                  <a:lnTo>
                    <a:pt x="291" y="868"/>
                  </a:lnTo>
                  <a:lnTo>
                    <a:pt x="291" y="868"/>
                  </a:lnTo>
                  <a:lnTo>
                    <a:pt x="288" y="871"/>
                  </a:lnTo>
                  <a:lnTo>
                    <a:pt x="288" y="871"/>
                  </a:lnTo>
                  <a:lnTo>
                    <a:pt x="288" y="871"/>
                  </a:lnTo>
                  <a:lnTo>
                    <a:pt x="288" y="874"/>
                  </a:lnTo>
                  <a:lnTo>
                    <a:pt x="288" y="874"/>
                  </a:lnTo>
                  <a:lnTo>
                    <a:pt x="286" y="876"/>
                  </a:lnTo>
                  <a:lnTo>
                    <a:pt x="286" y="876"/>
                  </a:lnTo>
                  <a:lnTo>
                    <a:pt x="283" y="879"/>
                  </a:lnTo>
                  <a:lnTo>
                    <a:pt x="283" y="882"/>
                  </a:lnTo>
                  <a:lnTo>
                    <a:pt x="280" y="884"/>
                  </a:lnTo>
                  <a:lnTo>
                    <a:pt x="278" y="884"/>
                  </a:lnTo>
                  <a:lnTo>
                    <a:pt x="278" y="884"/>
                  </a:lnTo>
                  <a:lnTo>
                    <a:pt x="275" y="887"/>
                  </a:lnTo>
                  <a:lnTo>
                    <a:pt x="272" y="887"/>
                  </a:lnTo>
                  <a:lnTo>
                    <a:pt x="272" y="887"/>
                  </a:lnTo>
                  <a:lnTo>
                    <a:pt x="272" y="887"/>
                  </a:lnTo>
                  <a:lnTo>
                    <a:pt x="270" y="887"/>
                  </a:lnTo>
                  <a:lnTo>
                    <a:pt x="270" y="890"/>
                  </a:lnTo>
                  <a:lnTo>
                    <a:pt x="267" y="890"/>
                  </a:lnTo>
                  <a:lnTo>
                    <a:pt x="267" y="890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2"/>
                  </a:lnTo>
                  <a:lnTo>
                    <a:pt x="270" y="895"/>
                  </a:lnTo>
                  <a:lnTo>
                    <a:pt x="270" y="895"/>
                  </a:lnTo>
                  <a:lnTo>
                    <a:pt x="270" y="898"/>
                  </a:lnTo>
                  <a:lnTo>
                    <a:pt x="270" y="898"/>
                  </a:lnTo>
                  <a:lnTo>
                    <a:pt x="272" y="900"/>
                  </a:lnTo>
                  <a:lnTo>
                    <a:pt x="272" y="900"/>
                  </a:lnTo>
                  <a:lnTo>
                    <a:pt x="272" y="903"/>
                  </a:lnTo>
                  <a:lnTo>
                    <a:pt x="275" y="906"/>
                  </a:lnTo>
                  <a:lnTo>
                    <a:pt x="275" y="908"/>
                  </a:lnTo>
                  <a:lnTo>
                    <a:pt x="275" y="911"/>
                  </a:lnTo>
                  <a:lnTo>
                    <a:pt x="272" y="916"/>
                  </a:lnTo>
                  <a:lnTo>
                    <a:pt x="270" y="919"/>
                  </a:lnTo>
                  <a:lnTo>
                    <a:pt x="270" y="919"/>
                  </a:lnTo>
                  <a:lnTo>
                    <a:pt x="267" y="922"/>
                  </a:lnTo>
                  <a:lnTo>
                    <a:pt x="264" y="922"/>
                  </a:lnTo>
                  <a:lnTo>
                    <a:pt x="262" y="924"/>
                  </a:lnTo>
                  <a:lnTo>
                    <a:pt x="259" y="924"/>
                  </a:lnTo>
                  <a:lnTo>
                    <a:pt x="259" y="924"/>
                  </a:lnTo>
                  <a:lnTo>
                    <a:pt x="256" y="927"/>
                  </a:lnTo>
                  <a:lnTo>
                    <a:pt x="256" y="924"/>
                  </a:lnTo>
                  <a:lnTo>
                    <a:pt x="254" y="924"/>
                  </a:lnTo>
                  <a:lnTo>
                    <a:pt x="254" y="924"/>
                  </a:lnTo>
                  <a:lnTo>
                    <a:pt x="251" y="924"/>
                  </a:lnTo>
                  <a:lnTo>
                    <a:pt x="251" y="924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1" y="930"/>
                  </a:lnTo>
                  <a:lnTo>
                    <a:pt x="251" y="930"/>
                  </a:lnTo>
                  <a:lnTo>
                    <a:pt x="251" y="932"/>
                  </a:lnTo>
                  <a:lnTo>
                    <a:pt x="248" y="932"/>
                  </a:lnTo>
                  <a:lnTo>
                    <a:pt x="248" y="932"/>
                  </a:lnTo>
                  <a:lnTo>
                    <a:pt x="248" y="932"/>
                  </a:lnTo>
                  <a:lnTo>
                    <a:pt x="248" y="935"/>
                  </a:lnTo>
                  <a:lnTo>
                    <a:pt x="248" y="935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38"/>
                  </a:lnTo>
                  <a:lnTo>
                    <a:pt x="248" y="940"/>
                  </a:lnTo>
                  <a:lnTo>
                    <a:pt x="251" y="940"/>
                  </a:lnTo>
                  <a:lnTo>
                    <a:pt x="251" y="940"/>
                  </a:lnTo>
                  <a:lnTo>
                    <a:pt x="251" y="940"/>
                  </a:lnTo>
                  <a:lnTo>
                    <a:pt x="254" y="938"/>
                  </a:lnTo>
                  <a:lnTo>
                    <a:pt x="254" y="938"/>
                  </a:lnTo>
                  <a:lnTo>
                    <a:pt x="256" y="938"/>
                  </a:lnTo>
                  <a:lnTo>
                    <a:pt x="256" y="940"/>
                  </a:lnTo>
                  <a:lnTo>
                    <a:pt x="259" y="940"/>
                  </a:lnTo>
                  <a:lnTo>
                    <a:pt x="264" y="943"/>
                  </a:lnTo>
                  <a:lnTo>
                    <a:pt x="267" y="946"/>
                  </a:lnTo>
                  <a:lnTo>
                    <a:pt x="272" y="949"/>
                  </a:lnTo>
                  <a:lnTo>
                    <a:pt x="275" y="951"/>
                  </a:lnTo>
                  <a:lnTo>
                    <a:pt x="278" y="957"/>
                  </a:lnTo>
                  <a:lnTo>
                    <a:pt x="280" y="962"/>
                  </a:lnTo>
                  <a:lnTo>
                    <a:pt x="283" y="967"/>
                  </a:lnTo>
                  <a:lnTo>
                    <a:pt x="283" y="973"/>
                  </a:lnTo>
                  <a:lnTo>
                    <a:pt x="286" y="978"/>
                  </a:lnTo>
                  <a:lnTo>
                    <a:pt x="286" y="983"/>
                  </a:lnTo>
                  <a:lnTo>
                    <a:pt x="286" y="986"/>
                  </a:lnTo>
                  <a:lnTo>
                    <a:pt x="288" y="989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1"/>
                  </a:lnTo>
                  <a:lnTo>
                    <a:pt x="288" y="994"/>
                  </a:lnTo>
                  <a:lnTo>
                    <a:pt x="291" y="994"/>
                  </a:lnTo>
                  <a:lnTo>
                    <a:pt x="288" y="997"/>
                  </a:lnTo>
                  <a:lnTo>
                    <a:pt x="288" y="997"/>
                  </a:lnTo>
                  <a:lnTo>
                    <a:pt x="288" y="994"/>
                  </a:lnTo>
                  <a:lnTo>
                    <a:pt x="286" y="994"/>
                  </a:lnTo>
                  <a:lnTo>
                    <a:pt x="283" y="994"/>
                  </a:lnTo>
                  <a:lnTo>
                    <a:pt x="283" y="997"/>
                  </a:lnTo>
                  <a:lnTo>
                    <a:pt x="283" y="997"/>
                  </a:lnTo>
                  <a:lnTo>
                    <a:pt x="280" y="997"/>
                  </a:lnTo>
                  <a:lnTo>
                    <a:pt x="280" y="997"/>
                  </a:lnTo>
                  <a:lnTo>
                    <a:pt x="283" y="997"/>
                  </a:lnTo>
                  <a:lnTo>
                    <a:pt x="283" y="999"/>
                  </a:lnTo>
                  <a:lnTo>
                    <a:pt x="286" y="999"/>
                  </a:lnTo>
                  <a:lnTo>
                    <a:pt x="286" y="1002"/>
                  </a:lnTo>
                  <a:lnTo>
                    <a:pt x="286" y="1002"/>
                  </a:lnTo>
                  <a:lnTo>
                    <a:pt x="286" y="1005"/>
                  </a:lnTo>
                  <a:lnTo>
                    <a:pt x="286" y="1007"/>
                  </a:lnTo>
                  <a:lnTo>
                    <a:pt x="286" y="1010"/>
                  </a:lnTo>
                  <a:lnTo>
                    <a:pt x="286" y="1010"/>
                  </a:lnTo>
                  <a:lnTo>
                    <a:pt x="286" y="1013"/>
                  </a:lnTo>
                  <a:lnTo>
                    <a:pt x="286" y="1015"/>
                  </a:lnTo>
                  <a:lnTo>
                    <a:pt x="283" y="1018"/>
                  </a:lnTo>
                  <a:lnTo>
                    <a:pt x="283" y="1021"/>
                  </a:lnTo>
                  <a:lnTo>
                    <a:pt x="283" y="1023"/>
                  </a:lnTo>
                  <a:lnTo>
                    <a:pt x="283" y="1026"/>
                  </a:lnTo>
                  <a:lnTo>
                    <a:pt x="283" y="1026"/>
                  </a:lnTo>
                  <a:lnTo>
                    <a:pt x="283" y="1026"/>
                  </a:lnTo>
                  <a:lnTo>
                    <a:pt x="286" y="1029"/>
                  </a:lnTo>
                  <a:lnTo>
                    <a:pt x="283" y="1029"/>
                  </a:lnTo>
                  <a:lnTo>
                    <a:pt x="283" y="1031"/>
                  </a:lnTo>
                  <a:lnTo>
                    <a:pt x="283" y="1031"/>
                  </a:lnTo>
                  <a:lnTo>
                    <a:pt x="283" y="1031"/>
                  </a:lnTo>
                  <a:lnTo>
                    <a:pt x="283" y="1034"/>
                  </a:lnTo>
                  <a:lnTo>
                    <a:pt x="283" y="1034"/>
                  </a:lnTo>
                  <a:lnTo>
                    <a:pt x="283" y="1037"/>
                  </a:lnTo>
                  <a:lnTo>
                    <a:pt x="286" y="1039"/>
                  </a:lnTo>
                  <a:lnTo>
                    <a:pt x="286" y="1042"/>
                  </a:lnTo>
                  <a:lnTo>
                    <a:pt x="286" y="1042"/>
                  </a:lnTo>
                  <a:lnTo>
                    <a:pt x="283" y="1042"/>
                  </a:lnTo>
                  <a:lnTo>
                    <a:pt x="283" y="1039"/>
                  </a:lnTo>
                  <a:lnTo>
                    <a:pt x="283" y="1037"/>
                  </a:lnTo>
                  <a:lnTo>
                    <a:pt x="283" y="1037"/>
                  </a:lnTo>
                  <a:lnTo>
                    <a:pt x="283" y="1034"/>
                  </a:lnTo>
                  <a:lnTo>
                    <a:pt x="283" y="1031"/>
                  </a:lnTo>
                  <a:lnTo>
                    <a:pt x="283" y="1029"/>
                  </a:lnTo>
                  <a:lnTo>
                    <a:pt x="283" y="1029"/>
                  </a:lnTo>
                  <a:lnTo>
                    <a:pt x="283" y="1029"/>
                  </a:lnTo>
                  <a:lnTo>
                    <a:pt x="280" y="1029"/>
                  </a:lnTo>
                  <a:lnTo>
                    <a:pt x="280" y="1029"/>
                  </a:lnTo>
                  <a:lnTo>
                    <a:pt x="280" y="1031"/>
                  </a:lnTo>
                  <a:lnTo>
                    <a:pt x="280" y="1034"/>
                  </a:lnTo>
                  <a:lnTo>
                    <a:pt x="280" y="1037"/>
                  </a:lnTo>
                  <a:lnTo>
                    <a:pt x="283" y="1039"/>
                  </a:lnTo>
                  <a:lnTo>
                    <a:pt x="283" y="1042"/>
                  </a:lnTo>
                  <a:lnTo>
                    <a:pt x="283" y="1045"/>
                  </a:lnTo>
                  <a:lnTo>
                    <a:pt x="283" y="1045"/>
                  </a:lnTo>
                  <a:lnTo>
                    <a:pt x="286" y="1047"/>
                  </a:lnTo>
                  <a:lnTo>
                    <a:pt x="286" y="1050"/>
                  </a:lnTo>
                  <a:lnTo>
                    <a:pt x="286" y="1050"/>
                  </a:lnTo>
                  <a:lnTo>
                    <a:pt x="288" y="1053"/>
                  </a:lnTo>
                  <a:lnTo>
                    <a:pt x="288" y="1055"/>
                  </a:lnTo>
                  <a:lnTo>
                    <a:pt x="288" y="1058"/>
                  </a:lnTo>
                  <a:lnTo>
                    <a:pt x="291" y="1058"/>
                  </a:lnTo>
                  <a:lnTo>
                    <a:pt x="291" y="1061"/>
                  </a:lnTo>
                  <a:lnTo>
                    <a:pt x="294" y="1063"/>
                  </a:lnTo>
                  <a:lnTo>
                    <a:pt x="294" y="1063"/>
                  </a:lnTo>
                  <a:lnTo>
                    <a:pt x="294" y="1066"/>
                  </a:lnTo>
                  <a:lnTo>
                    <a:pt x="294" y="1066"/>
                  </a:lnTo>
                  <a:lnTo>
                    <a:pt x="294" y="1069"/>
                  </a:lnTo>
                  <a:lnTo>
                    <a:pt x="296" y="1071"/>
                  </a:lnTo>
                  <a:lnTo>
                    <a:pt x="299" y="1074"/>
                  </a:lnTo>
                  <a:lnTo>
                    <a:pt x="299" y="1077"/>
                  </a:lnTo>
                  <a:lnTo>
                    <a:pt x="299" y="1079"/>
                  </a:lnTo>
                  <a:lnTo>
                    <a:pt x="299" y="1082"/>
                  </a:lnTo>
                  <a:lnTo>
                    <a:pt x="302" y="1082"/>
                  </a:lnTo>
                  <a:lnTo>
                    <a:pt x="302" y="1087"/>
                  </a:lnTo>
                  <a:lnTo>
                    <a:pt x="304" y="1090"/>
                  </a:lnTo>
                  <a:lnTo>
                    <a:pt x="307" y="1093"/>
                  </a:lnTo>
                  <a:lnTo>
                    <a:pt x="307" y="1095"/>
                  </a:lnTo>
                  <a:lnTo>
                    <a:pt x="310" y="1098"/>
                  </a:lnTo>
                  <a:lnTo>
                    <a:pt x="310" y="1098"/>
                  </a:lnTo>
                  <a:lnTo>
                    <a:pt x="310" y="1101"/>
                  </a:lnTo>
                  <a:lnTo>
                    <a:pt x="310" y="1103"/>
                  </a:lnTo>
                  <a:lnTo>
                    <a:pt x="312" y="1106"/>
                  </a:lnTo>
                  <a:lnTo>
                    <a:pt x="312" y="1106"/>
                  </a:lnTo>
                  <a:lnTo>
                    <a:pt x="312" y="1109"/>
                  </a:lnTo>
                  <a:lnTo>
                    <a:pt x="312" y="1112"/>
                  </a:lnTo>
                  <a:lnTo>
                    <a:pt x="315" y="1114"/>
                  </a:lnTo>
                  <a:lnTo>
                    <a:pt x="318" y="1117"/>
                  </a:lnTo>
                  <a:lnTo>
                    <a:pt x="320" y="1120"/>
                  </a:lnTo>
                  <a:lnTo>
                    <a:pt x="323" y="1122"/>
                  </a:lnTo>
                  <a:lnTo>
                    <a:pt x="323" y="1125"/>
                  </a:lnTo>
                  <a:lnTo>
                    <a:pt x="323" y="1125"/>
                  </a:lnTo>
                  <a:lnTo>
                    <a:pt x="326" y="1122"/>
                  </a:lnTo>
                  <a:lnTo>
                    <a:pt x="326" y="1122"/>
                  </a:lnTo>
                  <a:lnTo>
                    <a:pt x="326" y="1122"/>
                  </a:lnTo>
                  <a:lnTo>
                    <a:pt x="328" y="1122"/>
                  </a:lnTo>
                  <a:lnTo>
                    <a:pt x="328" y="1122"/>
                  </a:lnTo>
                  <a:lnTo>
                    <a:pt x="331" y="1120"/>
                  </a:lnTo>
                  <a:lnTo>
                    <a:pt x="331" y="1120"/>
                  </a:lnTo>
                  <a:lnTo>
                    <a:pt x="334" y="1117"/>
                  </a:lnTo>
                  <a:lnTo>
                    <a:pt x="336" y="1117"/>
                  </a:lnTo>
                  <a:lnTo>
                    <a:pt x="339" y="1117"/>
                  </a:lnTo>
                  <a:lnTo>
                    <a:pt x="342" y="1117"/>
                  </a:lnTo>
                  <a:lnTo>
                    <a:pt x="344" y="1117"/>
                  </a:lnTo>
                  <a:lnTo>
                    <a:pt x="347" y="1117"/>
                  </a:lnTo>
                  <a:lnTo>
                    <a:pt x="350" y="1117"/>
                  </a:lnTo>
                  <a:lnTo>
                    <a:pt x="353" y="1117"/>
                  </a:lnTo>
                  <a:lnTo>
                    <a:pt x="355" y="1114"/>
                  </a:lnTo>
                  <a:lnTo>
                    <a:pt x="361" y="1109"/>
                  </a:lnTo>
                  <a:lnTo>
                    <a:pt x="361" y="1106"/>
                  </a:lnTo>
                  <a:lnTo>
                    <a:pt x="363" y="1103"/>
                  </a:lnTo>
                  <a:lnTo>
                    <a:pt x="369" y="1098"/>
                  </a:lnTo>
                  <a:lnTo>
                    <a:pt x="369" y="1095"/>
                  </a:lnTo>
                  <a:lnTo>
                    <a:pt x="371" y="1093"/>
                  </a:lnTo>
                  <a:lnTo>
                    <a:pt x="374" y="1090"/>
                  </a:lnTo>
                  <a:lnTo>
                    <a:pt x="377" y="1087"/>
                  </a:lnTo>
                  <a:lnTo>
                    <a:pt x="379" y="1085"/>
                  </a:lnTo>
                  <a:lnTo>
                    <a:pt x="382" y="1082"/>
                  </a:lnTo>
                  <a:lnTo>
                    <a:pt x="385" y="1079"/>
                  </a:lnTo>
                  <a:lnTo>
                    <a:pt x="387" y="1079"/>
                  </a:lnTo>
                  <a:lnTo>
                    <a:pt x="390" y="1077"/>
                  </a:lnTo>
                  <a:lnTo>
                    <a:pt x="393" y="1074"/>
                  </a:lnTo>
                  <a:lnTo>
                    <a:pt x="395" y="1074"/>
                  </a:lnTo>
                  <a:lnTo>
                    <a:pt x="395" y="1074"/>
                  </a:lnTo>
                  <a:lnTo>
                    <a:pt x="398" y="1071"/>
                  </a:lnTo>
                  <a:lnTo>
                    <a:pt x="401" y="1071"/>
                  </a:lnTo>
                  <a:lnTo>
                    <a:pt x="403" y="1071"/>
                  </a:lnTo>
                  <a:lnTo>
                    <a:pt x="403" y="1069"/>
                  </a:lnTo>
                  <a:lnTo>
                    <a:pt x="409" y="1066"/>
                  </a:lnTo>
                  <a:lnTo>
                    <a:pt x="409" y="1066"/>
                  </a:lnTo>
                  <a:lnTo>
                    <a:pt x="411" y="1066"/>
                  </a:lnTo>
                  <a:lnTo>
                    <a:pt x="411" y="1066"/>
                  </a:lnTo>
                  <a:lnTo>
                    <a:pt x="414" y="1063"/>
                  </a:lnTo>
                  <a:lnTo>
                    <a:pt x="417" y="1063"/>
                  </a:lnTo>
                  <a:lnTo>
                    <a:pt x="417" y="1063"/>
                  </a:lnTo>
                  <a:lnTo>
                    <a:pt x="417" y="1061"/>
                  </a:lnTo>
                  <a:lnTo>
                    <a:pt x="417" y="1061"/>
                  </a:lnTo>
                  <a:lnTo>
                    <a:pt x="417" y="1061"/>
                  </a:lnTo>
                  <a:lnTo>
                    <a:pt x="414" y="1058"/>
                  </a:lnTo>
                  <a:lnTo>
                    <a:pt x="414" y="1058"/>
                  </a:lnTo>
                  <a:lnTo>
                    <a:pt x="411" y="1055"/>
                  </a:lnTo>
                  <a:lnTo>
                    <a:pt x="411" y="1055"/>
                  </a:lnTo>
                  <a:lnTo>
                    <a:pt x="411" y="1055"/>
                  </a:lnTo>
                  <a:lnTo>
                    <a:pt x="411" y="1053"/>
                  </a:lnTo>
                  <a:lnTo>
                    <a:pt x="411" y="1050"/>
                  </a:lnTo>
                  <a:lnTo>
                    <a:pt x="411" y="1047"/>
                  </a:lnTo>
                  <a:lnTo>
                    <a:pt x="411" y="1045"/>
                  </a:lnTo>
                  <a:lnTo>
                    <a:pt x="411" y="1042"/>
                  </a:lnTo>
                  <a:lnTo>
                    <a:pt x="411" y="1039"/>
                  </a:lnTo>
                  <a:lnTo>
                    <a:pt x="411" y="1034"/>
                  </a:lnTo>
                  <a:lnTo>
                    <a:pt x="411" y="1031"/>
                  </a:lnTo>
                  <a:lnTo>
                    <a:pt x="411" y="1029"/>
                  </a:lnTo>
                  <a:lnTo>
                    <a:pt x="411" y="1023"/>
                  </a:lnTo>
                  <a:lnTo>
                    <a:pt x="411" y="1021"/>
                  </a:lnTo>
                  <a:lnTo>
                    <a:pt x="411" y="1018"/>
                  </a:lnTo>
                  <a:lnTo>
                    <a:pt x="411" y="1018"/>
                  </a:lnTo>
                  <a:lnTo>
                    <a:pt x="411" y="1013"/>
                  </a:lnTo>
                  <a:lnTo>
                    <a:pt x="411" y="1010"/>
                  </a:lnTo>
                  <a:lnTo>
                    <a:pt x="411" y="1010"/>
                  </a:lnTo>
                  <a:lnTo>
                    <a:pt x="411" y="1007"/>
                  </a:lnTo>
                  <a:lnTo>
                    <a:pt x="411" y="1005"/>
                  </a:lnTo>
                  <a:lnTo>
                    <a:pt x="411" y="1002"/>
                  </a:lnTo>
                  <a:lnTo>
                    <a:pt x="409" y="1002"/>
                  </a:lnTo>
                  <a:lnTo>
                    <a:pt x="406" y="1005"/>
                  </a:lnTo>
                  <a:lnTo>
                    <a:pt x="406" y="1005"/>
                  </a:lnTo>
                  <a:lnTo>
                    <a:pt x="403" y="1005"/>
                  </a:lnTo>
                  <a:lnTo>
                    <a:pt x="403" y="1007"/>
                  </a:lnTo>
                  <a:lnTo>
                    <a:pt x="401" y="1010"/>
                  </a:lnTo>
                  <a:lnTo>
                    <a:pt x="401" y="1010"/>
                  </a:lnTo>
                  <a:lnTo>
                    <a:pt x="395" y="1013"/>
                  </a:lnTo>
                  <a:lnTo>
                    <a:pt x="393" y="1013"/>
                  </a:lnTo>
                  <a:lnTo>
                    <a:pt x="393" y="1015"/>
                  </a:lnTo>
                  <a:lnTo>
                    <a:pt x="387" y="1015"/>
                  </a:lnTo>
                  <a:lnTo>
                    <a:pt x="385" y="1015"/>
                  </a:lnTo>
                  <a:lnTo>
                    <a:pt x="382" y="1015"/>
                  </a:lnTo>
                  <a:lnTo>
                    <a:pt x="377" y="1013"/>
                  </a:lnTo>
                  <a:lnTo>
                    <a:pt x="374" y="1013"/>
                  </a:lnTo>
                  <a:lnTo>
                    <a:pt x="369" y="1010"/>
                  </a:lnTo>
                  <a:lnTo>
                    <a:pt x="366" y="1007"/>
                  </a:lnTo>
                  <a:lnTo>
                    <a:pt x="363" y="1007"/>
                  </a:lnTo>
                  <a:lnTo>
                    <a:pt x="361" y="1007"/>
                  </a:lnTo>
                  <a:lnTo>
                    <a:pt x="361" y="1007"/>
                  </a:lnTo>
                  <a:lnTo>
                    <a:pt x="358" y="1005"/>
                  </a:lnTo>
                  <a:lnTo>
                    <a:pt x="358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5"/>
                  </a:lnTo>
                  <a:lnTo>
                    <a:pt x="355" y="1002"/>
                  </a:lnTo>
                  <a:lnTo>
                    <a:pt x="353" y="999"/>
                  </a:lnTo>
                  <a:lnTo>
                    <a:pt x="353" y="999"/>
                  </a:lnTo>
                  <a:lnTo>
                    <a:pt x="350" y="997"/>
                  </a:lnTo>
                  <a:lnTo>
                    <a:pt x="350" y="997"/>
                  </a:lnTo>
                  <a:lnTo>
                    <a:pt x="350" y="994"/>
                  </a:lnTo>
                  <a:lnTo>
                    <a:pt x="347" y="991"/>
                  </a:lnTo>
                  <a:lnTo>
                    <a:pt x="347" y="991"/>
                  </a:lnTo>
                  <a:lnTo>
                    <a:pt x="347" y="991"/>
                  </a:lnTo>
                  <a:lnTo>
                    <a:pt x="347" y="989"/>
                  </a:lnTo>
                  <a:lnTo>
                    <a:pt x="347" y="989"/>
                  </a:lnTo>
                  <a:lnTo>
                    <a:pt x="350" y="986"/>
                  </a:lnTo>
                  <a:lnTo>
                    <a:pt x="350" y="983"/>
                  </a:lnTo>
                  <a:lnTo>
                    <a:pt x="350" y="981"/>
                  </a:lnTo>
                  <a:lnTo>
                    <a:pt x="350" y="978"/>
                  </a:lnTo>
                  <a:lnTo>
                    <a:pt x="350" y="975"/>
                  </a:lnTo>
                  <a:lnTo>
                    <a:pt x="350" y="973"/>
                  </a:lnTo>
                  <a:lnTo>
                    <a:pt x="353" y="973"/>
                  </a:lnTo>
                  <a:lnTo>
                    <a:pt x="355" y="973"/>
                  </a:lnTo>
                  <a:lnTo>
                    <a:pt x="361" y="970"/>
                  </a:lnTo>
                  <a:lnTo>
                    <a:pt x="363" y="970"/>
                  </a:lnTo>
                  <a:lnTo>
                    <a:pt x="363" y="970"/>
                  </a:lnTo>
                  <a:lnTo>
                    <a:pt x="363" y="967"/>
                  </a:lnTo>
                  <a:lnTo>
                    <a:pt x="366" y="967"/>
                  </a:lnTo>
                  <a:lnTo>
                    <a:pt x="366" y="967"/>
                  </a:lnTo>
                  <a:lnTo>
                    <a:pt x="369" y="965"/>
                  </a:lnTo>
                  <a:lnTo>
                    <a:pt x="371" y="965"/>
                  </a:lnTo>
                  <a:lnTo>
                    <a:pt x="371" y="962"/>
                  </a:lnTo>
                  <a:lnTo>
                    <a:pt x="374" y="962"/>
                  </a:lnTo>
                  <a:lnTo>
                    <a:pt x="374" y="959"/>
                  </a:lnTo>
                  <a:lnTo>
                    <a:pt x="377" y="957"/>
                  </a:lnTo>
                  <a:lnTo>
                    <a:pt x="377" y="954"/>
                  </a:lnTo>
                  <a:lnTo>
                    <a:pt x="377" y="954"/>
                  </a:lnTo>
                  <a:lnTo>
                    <a:pt x="379" y="954"/>
                  </a:lnTo>
                  <a:lnTo>
                    <a:pt x="382" y="957"/>
                  </a:lnTo>
                  <a:lnTo>
                    <a:pt x="385" y="959"/>
                  </a:lnTo>
                  <a:lnTo>
                    <a:pt x="385" y="959"/>
                  </a:lnTo>
                  <a:lnTo>
                    <a:pt x="387" y="962"/>
                  </a:lnTo>
                  <a:lnTo>
                    <a:pt x="390" y="965"/>
                  </a:lnTo>
                  <a:lnTo>
                    <a:pt x="393" y="965"/>
                  </a:lnTo>
                  <a:lnTo>
                    <a:pt x="395" y="967"/>
                  </a:lnTo>
                  <a:lnTo>
                    <a:pt x="395" y="965"/>
                  </a:lnTo>
                  <a:lnTo>
                    <a:pt x="398" y="962"/>
                  </a:lnTo>
                  <a:lnTo>
                    <a:pt x="398" y="959"/>
                  </a:lnTo>
                  <a:lnTo>
                    <a:pt x="401" y="957"/>
                  </a:lnTo>
                  <a:lnTo>
                    <a:pt x="403" y="954"/>
                  </a:lnTo>
                  <a:lnTo>
                    <a:pt x="403" y="951"/>
                  </a:lnTo>
                  <a:lnTo>
                    <a:pt x="409" y="949"/>
                  </a:lnTo>
                  <a:lnTo>
                    <a:pt x="411" y="946"/>
                  </a:lnTo>
                  <a:lnTo>
                    <a:pt x="414" y="940"/>
                  </a:lnTo>
                  <a:lnTo>
                    <a:pt x="414" y="938"/>
                  </a:lnTo>
                  <a:lnTo>
                    <a:pt x="417" y="935"/>
                  </a:lnTo>
                  <a:lnTo>
                    <a:pt x="419" y="930"/>
                  </a:lnTo>
                  <a:lnTo>
                    <a:pt x="422" y="930"/>
                  </a:lnTo>
                  <a:lnTo>
                    <a:pt x="425" y="924"/>
                  </a:lnTo>
                  <a:lnTo>
                    <a:pt x="427" y="922"/>
                  </a:lnTo>
                  <a:lnTo>
                    <a:pt x="427" y="919"/>
                  </a:lnTo>
                  <a:lnTo>
                    <a:pt x="430" y="916"/>
                  </a:lnTo>
                  <a:lnTo>
                    <a:pt x="430" y="914"/>
                  </a:lnTo>
                  <a:lnTo>
                    <a:pt x="430" y="911"/>
                  </a:lnTo>
                  <a:lnTo>
                    <a:pt x="430" y="911"/>
                  </a:lnTo>
                  <a:lnTo>
                    <a:pt x="430" y="908"/>
                  </a:lnTo>
                  <a:lnTo>
                    <a:pt x="430" y="908"/>
                  </a:lnTo>
                  <a:lnTo>
                    <a:pt x="427" y="908"/>
                  </a:lnTo>
                  <a:lnTo>
                    <a:pt x="427" y="908"/>
                  </a:lnTo>
                  <a:lnTo>
                    <a:pt x="427" y="906"/>
                  </a:lnTo>
                  <a:lnTo>
                    <a:pt x="427" y="906"/>
                  </a:lnTo>
                  <a:lnTo>
                    <a:pt x="430" y="906"/>
                  </a:lnTo>
                  <a:lnTo>
                    <a:pt x="430" y="903"/>
                  </a:lnTo>
                  <a:lnTo>
                    <a:pt x="427" y="903"/>
                  </a:lnTo>
                  <a:lnTo>
                    <a:pt x="427" y="903"/>
                  </a:lnTo>
                  <a:lnTo>
                    <a:pt x="425" y="903"/>
                  </a:lnTo>
                  <a:lnTo>
                    <a:pt x="427" y="900"/>
                  </a:lnTo>
                  <a:lnTo>
                    <a:pt x="427" y="900"/>
                  </a:lnTo>
                  <a:lnTo>
                    <a:pt x="427" y="898"/>
                  </a:lnTo>
                  <a:lnTo>
                    <a:pt x="425" y="898"/>
                  </a:lnTo>
                  <a:lnTo>
                    <a:pt x="425" y="895"/>
                  </a:lnTo>
                  <a:lnTo>
                    <a:pt x="425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2"/>
                  </a:lnTo>
                  <a:lnTo>
                    <a:pt x="422" y="890"/>
                  </a:lnTo>
                  <a:lnTo>
                    <a:pt x="425" y="890"/>
                  </a:lnTo>
                  <a:lnTo>
                    <a:pt x="425" y="887"/>
                  </a:lnTo>
                  <a:lnTo>
                    <a:pt x="425" y="884"/>
                  </a:lnTo>
                  <a:lnTo>
                    <a:pt x="422" y="884"/>
                  </a:lnTo>
                  <a:lnTo>
                    <a:pt x="422" y="884"/>
                  </a:lnTo>
                  <a:lnTo>
                    <a:pt x="419" y="884"/>
                  </a:lnTo>
                  <a:lnTo>
                    <a:pt x="419" y="882"/>
                  </a:lnTo>
                  <a:lnTo>
                    <a:pt x="419" y="882"/>
                  </a:lnTo>
                  <a:lnTo>
                    <a:pt x="417" y="879"/>
                  </a:lnTo>
                  <a:lnTo>
                    <a:pt x="417" y="876"/>
                  </a:lnTo>
                  <a:lnTo>
                    <a:pt x="417" y="876"/>
                  </a:lnTo>
                  <a:lnTo>
                    <a:pt x="417" y="876"/>
                  </a:lnTo>
                  <a:lnTo>
                    <a:pt x="419" y="874"/>
                  </a:lnTo>
                  <a:lnTo>
                    <a:pt x="422" y="871"/>
                  </a:lnTo>
                  <a:lnTo>
                    <a:pt x="419" y="871"/>
                  </a:lnTo>
                  <a:lnTo>
                    <a:pt x="419" y="868"/>
                  </a:lnTo>
                  <a:lnTo>
                    <a:pt x="417" y="866"/>
                  </a:lnTo>
                  <a:lnTo>
                    <a:pt x="417" y="863"/>
                  </a:lnTo>
                  <a:lnTo>
                    <a:pt x="417" y="863"/>
                  </a:lnTo>
                  <a:lnTo>
                    <a:pt x="417" y="860"/>
                  </a:lnTo>
                  <a:lnTo>
                    <a:pt x="417" y="858"/>
                  </a:lnTo>
                  <a:lnTo>
                    <a:pt x="417" y="855"/>
                  </a:lnTo>
                  <a:lnTo>
                    <a:pt x="414" y="852"/>
                  </a:lnTo>
                  <a:lnTo>
                    <a:pt x="414" y="852"/>
                  </a:lnTo>
                  <a:lnTo>
                    <a:pt x="414" y="850"/>
                  </a:lnTo>
                  <a:lnTo>
                    <a:pt x="414" y="850"/>
                  </a:lnTo>
                  <a:lnTo>
                    <a:pt x="414" y="847"/>
                  </a:lnTo>
                  <a:lnTo>
                    <a:pt x="414" y="847"/>
                  </a:lnTo>
                  <a:lnTo>
                    <a:pt x="414" y="844"/>
                  </a:lnTo>
                  <a:lnTo>
                    <a:pt x="411" y="842"/>
                  </a:lnTo>
                  <a:lnTo>
                    <a:pt x="411" y="842"/>
                  </a:lnTo>
                  <a:lnTo>
                    <a:pt x="411" y="842"/>
                  </a:lnTo>
                  <a:lnTo>
                    <a:pt x="411" y="839"/>
                  </a:lnTo>
                  <a:lnTo>
                    <a:pt x="411" y="839"/>
                  </a:lnTo>
                  <a:lnTo>
                    <a:pt x="411" y="839"/>
                  </a:lnTo>
                  <a:lnTo>
                    <a:pt x="411" y="836"/>
                  </a:lnTo>
                  <a:lnTo>
                    <a:pt x="409" y="836"/>
                  </a:lnTo>
                  <a:lnTo>
                    <a:pt x="409" y="834"/>
                  </a:lnTo>
                  <a:lnTo>
                    <a:pt x="409" y="831"/>
                  </a:lnTo>
                  <a:lnTo>
                    <a:pt x="406" y="831"/>
                  </a:lnTo>
                  <a:lnTo>
                    <a:pt x="406" y="828"/>
                  </a:lnTo>
                  <a:lnTo>
                    <a:pt x="406" y="828"/>
                  </a:lnTo>
                  <a:lnTo>
                    <a:pt x="406" y="828"/>
                  </a:lnTo>
                  <a:lnTo>
                    <a:pt x="406" y="826"/>
                  </a:lnTo>
                  <a:lnTo>
                    <a:pt x="403" y="826"/>
                  </a:lnTo>
                  <a:lnTo>
                    <a:pt x="403" y="826"/>
                  </a:lnTo>
                  <a:lnTo>
                    <a:pt x="403" y="826"/>
                  </a:lnTo>
                  <a:lnTo>
                    <a:pt x="403" y="823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6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09" y="820"/>
                  </a:lnTo>
                  <a:lnTo>
                    <a:pt x="411" y="820"/>
                  </a:lnTo>
                  <a:lnTo>
                    <a:pt x="411" y="820"/>
                  </a:lnTo>
                  <a:lnTo>
                    <a:pt x="414" y="820"/>
                  </a:lnTo>
                  <a:lnTo>
                    <a:pt x="414" y="820"/>
                  </a:lnTo>
                  <a:lnTo>
                    <a:pt x="414" y="820"/>
                  </a:lnTo>
                  <a:lnTo>
                    <a:pt x="417" y="818"/>
                  </a:lnTo>
                  <a:lnTo>
                    <a:pt x="417" y="818"/>
                  </a:lnTo>
                  <a:lnTo>
                    <a:pt x="419" y="818"/>
                  </a:lnTo>
                  <a:lnTo>
                    <a:pt x="419" y="815"/>
                  </a:lnTo>
                  <a:lnTo>
                    <a:pt x="422" y="815"/>
                  </a:lnTo>
                  <a:lnTo>
                    <a:pt x="425" y="815"/>
                  </a:lnTo>
                  <a:lnTo>
                    <a:pt x="425" y="812"/>
                  </a:lnTo>
                  <a:lnTo>
                    <a:pt x="427" y="812"/>
                  </a:lnTo>
                  <a:lnTo>
                    <a:pt x="427" y="812"/>
                  </a:lnTo>
                  <a:lnTo>
                    <a:pt x="430" y="812"/>
                  </a:lnTo>
                  <a:lnTo>
                    <a:pt x="433" y="812"/>
                  </a:lnTo>
                  <a:lnTo>
                    <a:pt x="433" y="810"/>
                  </a:lnTo>
                  <a:lnTo>
                    <a:pt x="435" y="810"/>
                  </a:lnTo>
                  <a:lnTo>
                    <a:pt x="435" y="807"/>
                  </a:lnTo>
                  <a:lnTo>
                    <a:pt x="438" y="807"/>
                  </a:lnTo>
                  <a:lnTo>
                    <a:pt x="441" y="804"/>
                  </a:lnTo>
                  <a:lnTo>
                    <a:pt x="441" y="804"/>
                  </a:lnTo>
                  <a:lnTo>
                    <a:pt x="446" y="804"/>
                  </a:lnTo>
                  <a:lnTo>
                    <a:pt x="446" y="804"/>
                  </a:lnTo>
                  <a:lnTo>
                    <a:pt x="449" y="804"/>
                  </a:lnTo>
                  <a:lnTo>
                    <a:pt x="449" y="804"/>
                  </a:lnTo>
                  <a:lnTo>
                    <a:pt x="451" y="804"/>
                  </a:lnTo>
                  <a:lnTo>
                    <a:pt x="451" y="804"/>
                  </a:lnTo>
                  <a:lnTo>
                    <a:pt x="454" y="804"/>
                  </a:lnTo>
                  <a:lnTo>
                    <a:pt x="454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7" y="802"/>
                  </a:lnTo>
                  <a:lnTo>
                    <a:pt x="459" y="802"/>
                  </a:lnTo>
                  <a:lnTo>
                    <a:pt x="459" y="802"/>
                  </a:lnTo>
                  <a:lnTo>
                    <a:pt x="462" y="802"/>
                  </a:lnTo>
                  <a:lnTo>
                    <a:pt x="462" y="804"/>
                  </a:lnTo>
                  <a:lnTo>
                    <a:pt x="465" y="802"/>
                  </a:lnTo>
                  <a:lnTo>
                    <a:pt x="465" y="802"/>
                  </a:lnTo>
                  <a:lnTo>
                    <a:pt x="465" y="802"/>
                  </a:lnTo>
                  <a:lnTo>
                    <a:pt x="467" y="802"/>
                  </a:lnTo>
                  <a:lnTo>
                    <a:pt x="467" y="802"/>
                  </a:lnTo>
                  <a:lnTo>
                    <a:pt x="467" y="799"/>
                  </a:lnTo>
                  <a:lnTo>
                    <a:pt x="467" y="799"/>
                  </a:lnTo>
                  <a:lnTo>
                    <a:pt x="470" y="799"/>
                  </a:lnTo>
                  <a:lnTo>
                    <a:pt x="470" y="796"/>
                  </a:lnTo>
                  <a:lnTo>
                    <a:pt x="470" y="796"/>
                  </a:lnTo>
                  <a:lnTo>
                    <a:pt x="470" y="796"/>
                  </a:lnTo>
                  <a:lnTo>
                    <a:pt x="473" y="796"/>
                  </a:lnTo>
                  <a:lnTo>
                    <a:pt x="473" y="794"/>
                  </a:lnTo>
                  <a:lnTo>
                    <a:pt x="475" y="794"/>
                  </a:lnTo>
                  <a:lnTo>
                    <a:pt x="475" y="791"/>
                  </a:lnTo>
                  <a:lnTo>
                    <a:pt x="475" y="791"/>
                  </a:lnTo>
                  <a:lnTo>
                    <a:pt x="475" y="791"/>
                  </a:lnTo>
                  <a:lnTo>
                    <a:pt x="478" y="788"/>
                  </a:lnTo>
                  <a:lnTo>
                    <a:pt x="478" y="785"/>
                  </a:lnTo>
                  <a:lnTo>
                    <a:pt x="478" y="785"/>
                  </a:lnTo>
                  <a:lnTo>
                    <a:pt x="478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1" y="783"/>
                  </a:lnTo>
                  <a:lnTo>
                    <a:pt x="483" y="783"/>
                  </a:lnTo>
                  <a:lnTo>
                    <a:pt x="483" y="783"/>
                  </a:lnTo>
                  <a:lnTo>
                    <a:pt x="483" y="780"/>
                  </a:lnTo>
                  <a:lnTo>
                    <a:pt x="483" y="777"/>
                  </a:lnTo>
                  <a:lnTo>
                    <a:pt x="483" y="777"/>
                  </a:lnTo>
                  <a:lnTo>
                    <a:pt x="486" y="777"/>
                  </a:lnTo>
                  <a:lnTo>
                    <a:pt x="486" y="777"/>
                  </a:lnTo>
                  <a:lnTo>
                    <a:pt x="486" y="777"/>
                  </a:lnTo>
                  <a:lnTo>
                    <a:pt x="489" y="777"/>
                  </a:lnTo>
                  <a:lnTo>
                    <a:pt x="486" y="775"/>
                  </a:lnTo>
                  <a:lnTo>
                    <a:pt x="486" y="775"/>
                  </a:lnTo>
                  <a:lnTo>
                    <a:pt x="489" y="775"/>
                  </a:lnTo>
                  <a:lnTo>
                    <a:pt x="489" y="775"/>
                  </a:lnTo>
                  <a:lnTo>
                    <a:pt x="489" y="775"/>
                  </a:lnTo>
                  <a:lnTo>
                    <a:pt x="491" y="772"/>
                  </a:lnTo>
                  <a:lnTo>
                    <a:pt x="491" y="772"/>
                  </a:lnTo>
                  <a:lnTo>
                    <a:pt x="491" y="769"/>
                  </a:lnTo>
                  <a:lnTo>
                    <a:pt x="491" y="769"/>
                  </a:lnTo>
                  <a:lnTo>
                    <a:pt x="494" y="769"/>
                  </a:lnTo>
                  <a:lnTo>
                    <a:pt x="494" y="772"/>
                  </a:lnTo>
                  <a:lnTo>
                    <a:pt x="494" y="772"/>
                  </a:lnTo>
                  <a:lnTo>
                    <a:pt x="494" y="769"/>
                  </a:lnTo>
                  <a:lnTo>
                    <a:pt x="497" y="769"/>
                  </a:lnTo>
                  <a:lnTo>
                    <a:pt x="497" y="769"/>
                  </a:lnTo>
                  <a:lnTo>
                    <a:pt x="497" y="767"/>
                  </a:lnTo>
                  <a:lnTo>
                    <a:pt x="497" y="767"/>
                  </a:lnTo>
                  <a:lnTo>
                    <a:pt x="497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499" y="764"/>
                  </a:lnTo>
                  <a:lnTo>
                    <a:pt x="502" y="764"/>
                  </a:lnTo>
                  <a:lnTo>
                    <a:pt x="502" y="764"/>
                  </a:lnTo>
                  <a:lnTo>
                    <a:pt x="502" y="761"/>
                  </a:lnTo>
                  <a:lnTo>
                    <a:pt x="505" y="761"/>
                  </a:lnTo>
                  <a:lnTo>
                    <a:pt x="505" y="761"/>
                  </a:lnTo>
                  <a:lnTo>
                    <a:pt x="505" y="761"/>
                  </a:lnTo>
                  <a:lnTo>
                    <a:pt x="507" y="759"/>
                  </a:lnTo>
                  <a:lnTo>
                    <a:pt x="507" y="759"/>
                  </a:lnTo>
                  <a:lnTo>
                    <a:pt x="507" y="759"/>
                  </a:lnTo>
                  <a:lnTo>
                    <a:pt x="507" y="756"/>
                  </a:lnTo>
                  <a:lnTo>
                    <a:pt x="507" y="756"/>
                  </a:lnTo>
                  <a:lnTo>
                    <a:pt x="507" y="753"/>
                  </a:lnTo>
                  <a:lnTo>
                    <a:pt x="507" y="753"/>
                  </a:lnTo>
                  <a:lnTo>
                    <a:pt x="507" y="751"/>
                  </a:lnTo>
                  <a:lnTo>
                    <a:pt x="507" y="748"/>
                  </a:lnTo>
                  <a:lnTo>
                    <a:pt x="507" y="745"/>
                  </a:lnTo>
                  <a:lnTo>
                    <a:pt x="507" y="745"/>
                  </a:lnTo>
                  <a:lnTo>
                    <a:pt x="507" y="743"/>
                  </a:lnTo>
                  <a:lnTo>
                    <a:pt x="510" y="737"/>
                  </a:lnTo>
                  <a:lnTo>
                    <a:pt x="510" y="735"/>
                  </a:lnTo>
                  <a:lnTo>
                    <a:pt x="507" y="732"/>
                  </a:lnTo>
                  <a:lnTo>
                    <a:pt x="507" y="729"/>
                  </a:lnTo>
                  <a:lnTo>
                    <a:pt x="507" y="729"/>
                  </a:lnTo>
                  <a:lnTo>
                    <a:pt x="507" y="727"/>
                  </a:lnTo>
                  <a:lnTo>
                    <a:pt x="507" y="724"/>
                  </a:lnTo>
                  <a:lnTo>
                    <a:pt x="507" y="724"/>
                  </a:lnTo>
                  <a:lnTo>
                    <a:pt x="507" y="721"/>
                  </a:lnTo>
                  <a:lnTo>
                    <a:pt x="505" y="721"/>
                  </a:lnTo>
                  <a:lnTo>
                    <a:pt x="505" y="719"/>
                  </a:lnTo>
                  <a:lnTo>
                    <a:pt x="505" y="716"/>
                  </a:lnTo>
                  <a:lnTo>
                    <a:pt x="505" y="713"/>
                  </a:lnTo>
                  <a:lnTo>
                    <a:pt x="502" y="711"/>
                  </a:lnTo>
                  <a:lnTo>
                    <a:pt x="502" y="711"/>
                  </a:lnTo>
                  <a:lnTo>
                    <a:pt x="499" y="711"/>
                  </a:lnTo>
                  <a:lnTo>
                    <a:pt x="497" y="708"/>
                  </a:lnTo>
                  <a:lnTo>
                    <a:pt x="494" y="708"/>
                  </a:lnTo>
                  <a:lnTo>
                    <a:pt x="491" y="708"/>
                  </a:lnTo>
                  <a:lnTo>
                    <a:pt x="491" y="708"/>
                  </a:lnTo>
                  <a:lnTo>
                    <a:pt x="489" y="711"/>
                  </a:lnTo>
                  <a:lnTo>
                    <a:pt x="489" y="711"/>
                  </a:lnTo>
                  <a:lnTo>
                    <a:pt x="486" y="711"/>
                  </a:lnTo>
                  <a:lnTo>
                    <a:pt x="486" y="713"/>
                  </a:lnTo>
                  <a:lnTo>
                    <a:pt x="486" y="713"/>
                  </a:lnTo>
                  <a:lnTo>
                    <a:pt x="483" y="713"/>
                  </a:lnTo>
                  <a:lnTo>
                    <a:pt x="483" y="713"/>
                  </a:lnTo>
                  <a:lnTo>
                    <a:pt x="481" y="713"/>
                  </a:lnTo>
                  <a:lnTo>
                    <a:pt x="481" y="716"/>
                  </a:lnTo>
                  <a:lnTo>
                    <a:pt x="475" y="716"/>
                  </a:lnTo>
                  <a:lnTo>
                    <a:pt x="475" y="716"/>
                  </a:lnTo>
                  <a:lnTo>
                    <a:pt x="473" y="716"/>
                  </a:lnTo>
                  <a:lnTo>
                    <a:pt x="470" y="716"/>
                  </a:lnTo>
                  <a:lnTo>
                    <a:pt x="470" y="716"/>
                  </a:lnTo>
                  <a:lnTo>
                    <a:pt x="467" y="719"/>
                  </a:lnTo>
                  <a:lnTo>
                    <a:pt x="467" y="719"/>
                  </a:lnTo>
                  <a:lnTo>
                    <a:pt x="465" y="719"/>
                  </a:lnTo>
                  <a:lnTo>
                    <a:pt x="465" y="719"/>
                  </a:lnTo>
                  <a:lnTo>
                    <a:pt x="462" y="719"/>
                  </a:lnTo>
                  <a:lnTo>
                    <a:pt x="462" y="719"/>
                  </a:lnTo>
                  <a:lnTo>
                    <a:pt x="462" y="721"/>
                  </a:lnTo>
                  <a:lnTo>
                    <a:pt x="462" y="721"/>
                  </a:lnTo>
                  <a:lnTo>
                    <a:pt x="462" y="721"/>
                  </a:lnTo>
                  <a:lnTo>
                    <a:pt x="459" y="721"/>
                  </a:lnTo>
                  <a:lnTo>
                    <a:pt x="459" y="721"/>
                  </a:lnTo>
                  <a:lnTo>
                    <a:pt x="459" y="724"/>
                  </a:lnTo>
                  <a:lnTo>
                    <a:pt x="459" y="727"/>
                  </a:lnTo>
                  <a:lnTo>
                    <a:pt x="462" y="729"/>
                  </a:lnTo>
                  <a:lnTo>
                    <a:pt x="462" y="732"/>
                  </a:lnTo>
                  <a:lnTo>
                    <a:pt x="465" y="735"/>
                  </a:lnTo>
                  <a:lnTo>
                    <a:pt x="467" y="735"/>
                  </a:lnTo>
                  <a:lnTo>
                    <a:pt x="470" y="737"/>
                  </a:lnTo>
                  <a:lnTo>
                    <a:pt x="470" y="740"/>
                  </a:lnTo>
                  <a:lnTo>
                    <a:pt x="470" y="743"/>
                  </a:lnTo>
                  <a:lnTo>
                    <a:pt x="473" y="743"/>
                  </a:lnTo>
                  <a:lnTo>
                    <a:pt x="473" y="745"/>
                  </a:lnTo>
                  <a:lnTo>
                    <a:pt x="473" y="748"/>
                  </a:lnTo>
                  <a:lnTo>
                    <a:pt x="473" y="748"/>
                  </a:lnTo>
                  <a:lnTo>
                    <a:pt x="470" y="751"/>
                  </a:lnTo>
                  <a:lnTo>
                    <a:pt x="470" y="751"/>
                  </a:lnTo>
                  <a:lnTo>
                    <a:pt x="470" y="748"/>
                  </a:lnTo>
                  <a:lnTo>
                    <a:pt x="470" y="748"/>
                  </a:lnTo>
                  <a:lnTo>
                    <a:pt x="467" y="745"/>
                  </a:lnTo>
                  <a:lnTo>
                    <a:pt x="467" y="745"/>
                  </a:lnTo>
                  <a:lnTo>
                    <a:pt x="467" y="743"/>
                  </a:lnTo>
                  <a:lnTo>
                    <a:pt x="467" y="743"/>
                  </a:lnTo>
                  <a:lnTo>
                    <a:pt x="467" y="743"/>
                  </a:lnTo>
                  <a:lnTo>
                    <a:pt x="467" y="740"/>
                  </a:lnTo>
                  <a:lnTo>
                    <a:pt x="467" y="740"/>
                  </a:lnTo>
                  <a:lnTo>
                    <a:pt x="467" y="740"/>
                  </a:lnTo>
                  <a:lnTo>
                    <a:pt x="465" y="740"/>
                  </a:lnTo>
                  <a:lnTo>
                    <a:pt x="465" y="740"/>
                  </a:lnTo>
                  <a:lnTo>
                    <a:pt x="465" y="740"/>
                  </a:lnTo>
                  <a:lnTo>
                    <a:pt x="462" y="743"/>
                  </a:lnTo>
                  <a:lnTo>
                    <a:pt x="459" y="743"/>
                  </a:lnTo>
                  <a:lnTo>
                    <a:pt x="457" y="743"/>
                  </a:lnTo>
                  <a:lnTo>
                    <a:pt x="454" y="745"/>
                  </a:lnTo>
                  <a:lnTo>
                    <a:pt x="451" y="745"/>
                  </a:lnTo>
                  <a:lnTo>
                    <a:pt x="451" y="745"/>
                  </a:lnTo>
                  <a:lnTo>
                    <a:pt x="449" y="745"/>
                  </a:lnTo>
                  <a:lnTo>
                    <a:pt x="449" y="745"/>
                  </a:lnTo>
                  <a:lnTo>
                    <a:pt x="446" y="745"/>
                  </a:lnTo>
                  <a:lnTo>
                    <a:pt x="441" y="743"/>
                  </a:lnTo>
                  <a:lnTo>
                    <a:pt x="441" y="743"/>
                  </a:lnTo>
                  <a:lnTo>
                    <a:pt x="438" y="743"/>
                  </a:lnTo>
                  <a:lnTo>
                    <a:pt x="438" y="743"/>
                  </a:lnTo>
                  <a:lnTo>
                    <a:pt x="438" y="743"/>
                  </a:lnTo>
                  <a:lnTo>
                    <a:pt x="435" y="740"/>
                  </a:lnTo>
                  <a:lnTo>
                    <a:pt x="433" y="740"/>
                  </a:lnTo>
                  <a:lnTo>
                    <a:pt x="430" y="737"/>
                  </a:lnTo>
                  <a:lnTo>
                    <a:pt x="430" y="737"/>
                  </a:lnTo>
                  <a:lnTo>
                    <a:pt x="427" y="735"/>
                  </a:lnTo>
                  <a:lnTo>
                    <a:pt x="427" y="732"/>
                  </a:lnTo>
                  <a:lnTo>
                    <a:pt x="425" y="729"/>
                  </a:lnTo>
                  <a:lnTo>
                    <a:pt x="425" y="727"/>
                  </a:lnTo>
                  <a:lnTo>
                    <a:pt x="422" y="724"/>
                  </a:lnTo>
                  <a:lnTo>
                    <a:pt x="422" y="721"/>
                  </a:lnTo>
                  <a:lnTo>
                    <a:pt x="419" y="719"/>
                  </a:lnTo>
                  <a:lnTo>
                    <a:pt x="419" y="716"/>
                  </a:lnTo>
                  <a:lnTo>
                    <a:pt x="417" y="713"/>
                  </a:lnTo>
                  <a:lnTo>
                    <a:pt x="417" y="711"/>
                  </a:lnTo>
                  <a:lnTo>
                    <a:pt x="414" y="711"/>
                  </a:lnTo>
                  <a:lnTo>
                    <a:pt x="414" y="708"/>
                  </a:lnTo>
                  <a:lnTo>
                    <a:pt x="414" y="705"/>
                  </a:lnTo>
                  <a:lnTo>
                    <a:pt x="411" y="703"/>
                  </a:lnTo>
                  <a:lnTo>
                    <a:pt x="411" y="700"/>
                  </a:lnTo>
                  <a:lnTo>
                    <a:pt x="411" y="695"/>
                  </a:lnTo>
                  <a:lnTo>
                    <a:pt x="409" y="692"/>
                  </a:lnTo>
                  <a:lnTo>
                    <a:pt x="409" y="689"/>
                  </a:lnTo>
                  <a:lnTo>
                    <a:pt x="406" y="684"/>
                  </a:lnTo>
                  <a:lnTo>
                    <a:pt x="406" y="681"/>
                  </a:lnTo>
                  <a:lnTo>
                    <a:pt x="406" y="679"/>
                  </a:lnTo>
                  <a:lnTo>
                    <a:pt x="406" y="679"/>
                  </a:lnTo>
                  <a:lnTo>
                    <a:pt x="406" y="673"/>
                  </a:lnTo>
                  <a:lnTo>
                    <a:pt x="403" y="671"/>
                  </a:lnTo>
                  <a:lnTo>
                    <a:pt x="403" y="668"/>
                  </a:lnTo>
                  <a:lnTo>
                    <a:pt x="406" y="665"/>
                  </a:lnTo>
                  <a:lnTo>
                    <a:pt x="406" y="660"/>
                  </a:lnTo>
                  <a:lnTo>
                    <a:pt x="406" y="657"/>
                  </a:lnTo>
                  <a:lnTo>
                    <a:pt x="406" y="655"/>
                  </a:lnTo>
                  <a:lnTo>
                    <a:pt x="406" y="652"/>
                  </a:lnTo>
                  <a:lnTo>
                    <a:pt x="406" y="649"/>
                  </a:lnTo>
                  <a:lnTo>
                    <a:pt x="406" y="649"/>
                  </a:lnTo>
                  <a:lnTo>
                    <a:pt x="406" y="647"/>
                  </a:lnTo>
                  <a:lnTo>
                    <a:pt x="406" y="647"/>
                  </a:lnTo>
                  <a:lnTo>
                    <a:pt x="403" y="644"/>
                  </a:lnTo>
                  <a:lnTo>
                    <a:pt x="406" y="641"/>
                  </a:lnTo>
                  <a:lnTo>
                    <a:pt x="406" y="641"/>
                  </a:lnTo>
                  <a:lnTo>
                    <a:pt x="406" y="639"/>
                  </a:lnTo>
                  <a:lnTo>
                    <a:pt x="406" y="639"/>
                  </a:lnTo>
                  <a:lnTo>
                    <a:pt x="406" y="636"/>
                  </a:lnTo>
                  <a:lnTo>
                    <a:pt x="406" y="633"/>
                  </a:lnTo>
                  <a:lnTo>
                    <a:pt x="406" y="631"/>
                  </a:lnTo>
                  <a:lnTo>
                    <a:pt x="406" y="628"/>
                  </a:lnTo>
                  <a:lnTo>
                    <a:pt x="403" y="628"/>
                  </a:lnTo>
                  <a:lnTo>
                    <a:pt x="403" y="628"/>
                  </a:lnTo>
                  <a:lnTo>
                    <a:pt x="403" y="631"/>
                  </a:lnTo>
                  <a:lnTo>
                    <a:pt x="403" y="631"/>
                  </a:lnTo>
                  <a:lnTo>
                    <a:pt x="403" y="631"/>
                  </a:lnTo>
                  <a:lnTo>
                    <a:pt x="401" y="631"/>
                  </a:lnTo>
                  <a:lnTo>
                    <a:pt x="398" y="631"/>
                  </a:lnTo>
                  <a:lnTo>
                    <a:pt x="395" y="631"/>
                  </a:lnTo>
                  <a:lnTo>
                    <a:pt x="393" y="628"/>
                  </a:lnTo>
                  <a:lnTo>
                    <a:pt x="390" y="625"/>
                  </a:lnTo>
                  <a:lnTo>
                    <a:pt x="393" y="625"/>
                  </a:lnTo>
                  <a:lnTo>
                    <a:pt x="393" y="625"/>
                  </a:lnTo>
                  <a:lnTo>
                    <a:pt x="393" y="622"/>
                  </a:lnTo>
                  <a:lnTo>
                    <a:pt x="393" y="622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3" y="620"/>
                  </a:lnTo>
                  <a:lnTo>
                    <a:pt x="395" y="620"/>
                  </a:lnTo>
                  <a:lnTo>
                    <a:pt x="395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0"/>
                  </a:lnTo>
                  <a:lnTo>
                    <a:pt x="398" y="622"/>
                  </a:lnTo>
                  <a:lnTo>
                    <a:pt x="401" y="620"/>
                  </a:lnTo>
                  <a:lnTo>
                    <a:pt x="403" y="620"/>
                  </a:lnTo>
                  <a:lnTo>
                    <a:pt x="403" y="620"/>
                  </a:lnTo>
                  <a:lnTo>
                    <a:pt x="403" y="620"/>
                  </a:lnTo>
                  <a:lnTo>
                    <a:pt x="406" y="620"/>
                  </a:lnTo>
                  <a:lnTo>
                    <a:pt x="406" y="620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09" y="622"/>
                  </a:lnTo>
                  <a:lnTo>
                    <a:pt x="409" y="622"/>
                  </a:lnTo>
                  <a:lnTo>
                    <a:pt x="409" y="620"/>
                  </a:lnTo>
                  <a:lnTo>
                    <a:pt x="406" y="620"/>
                  </a:lnTo>
                  <a:lnTo>
                    <a:pt x="406" y="617"/>
                  </a:lnTo>
                  <a:lnTo>
                    <a:pt x="403" y="617"/>
                  </a:lnTo>
                  <a:lnTo>
                    <a:pt x="403" y="614"/>
                  </a:lnTo>
                  <a:lnTo>
                    <a:pt x="401" y="614"/>
                  </a:lnTo>
                  <a:lnTo>
                    <a:pt x="398" y="614"/>
                  </a:lnTo>
                  <a:lnTo>
                    <a:pt x="398" y="614"/>
                  </a:lnTo>
                  <a:lnTo>
                    <a:pt x="395" y="614"/>
                  </a:lnTo>
                  <a:lnTo>
                    <a:pt x="395" y="614"/>
                  </a:lnTo>
                  <a:lnTo>
                    <a:pt x="393" y="614"/>
                  </a:lnTo>
                  <a:lnTo>
                    <a:pt x="393" y="614"/>
                  </a:lnTo>
                  <a:lnTo>
                    <a:pt x="390" y="614"/>
                  </a:lnTo>
                  <a:lnTo>
                    <a:pt x="390" y="612"/>
                  </a:lnTo>
                  <a:lnTo>
                    <a:pt x="390" y="609"/>
                  </a:lnTo>
                  <a:lnTo>
                    <a:pt x="390" y="609"/>
                  </a:lnTo>
                  <a:lnTo>
                    <a:pt x="390" y="606"/>
                  </a:lnTo>
                  <a:lnTo>
                    <a:pt x="390" y="606"/>
                  </a:lnTo>
                  <a:lnTo>
                    <a:pt x="390" y="604"/>
                  </a:lnTo>
                  <a:lnTo>
                    <a:pt x="393" y="604"/>
                  </a:lnTo>
                  <a:lnTo>
                    <a:pt x="393" y="604"/>
                  </a:lnTo>
                  <a:lnTo>
                    <a:pt x="393" y="604"/>
                  </a:lnTo>
                  <a:lnTo>
                    <a:pt x="395" y="601"/>
                  </a:lnTo>
                  <a:lnTo>
                    <a:pt x="395" y="601"/>
                  </a:lnTo>
                  <a:lnTo>
                    <a:pt x="395" y="601"/>
                  </a:lnTo>
                  <a:lnTo>
                    <a:pt x="398" y="601"/>
                  </a:lnTo>
                  <a:lnTo>
                    <a:pt x="398" y="604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6"/>
                  </a:lnTo>
                  <a:lnTo>
                    <a:pt x="398" y="604"/>
                  </a:lnTo>
                  <a:lnTo>
                    <a:pt x="398" y="601"/>
                  </a:lnTo>
                  <a:lnTo>
                    <a:pt x="395" y="601"/>
                  </a:lnTo>
                  <a:lnTo>
                    <a:pt x="395" y="598"/>
                  </a:lnTo>
                  <a:lnTo>
                    <a:pt x="393" y="598"/>
                  </a:lnTo>
                  <a:lnTo>
                    <a:pt x="393" y="596"/>
                  </a:lnTo>
                  <a:lnTo>
                    <a:pt x="390" y="593"/>
                  </a:lnTo>
                  <a:lnTo>
                    <a:pt x="390" y="593"/>
                  </a:lnTo>
                  <a:lnTo>
                    <a:pt x="387" y="593"/>
                  </a:lnTo>
                  <a:lnTo>
                    <a:pt x="385" y="590"/>
                  </a:lnTo>
                  <a:lnTo>
                    <a:pt x="385" y="590"/>
                  </a:lnTo>
                  <a:lnTo>
                    <a:pt x="382" y="590"/>
                  </a:lnTo>
                  <a:lnTo>
                    <a:pt x="379" y="590"/>
                  </a:lnTo>
                  <a:lnTo>
                    <a:pt x="379" y="590"/>
                  </a:lnTo>
                  <a:lnTo>
                    <a:pt x="377" y="590"/>
                  </a:lnTo>
                  <a:lnTo>
                    <a:pt x="377" y="590"/>
                  </a:lnTo>
                  <a:lnTo>
                    <a:pt x="377" y="590"/>
                  </a:lnTo>
                  <a:lnTo>
                    <a:pt x="374" y="588"/>
                  </a:lnTo>
                  <a:lnTo>
                    <a:pt x="377" y="588"/>
                  </a:lnTo>
                  <a:lnTo>
                    <a:pt x="377" y="585"/>
                  </a:lnTo>
                  <a:lnTo>
                    <a:pt x="377" y="582"/>
                  </a:lnTo>
                  <a:lnTo>
                    <a:pt x="374" y="580"/>
                  </a:lnTo>
                  <a:lnTo>
                    <a:pt x="374" y="577"/>
                  </a:lnTo>
                  <a:lnTo>
                    <a:pt x="374" y="577"/>
                  </a:lnTo>
                  <a:lnTo>
                    <a:pt x="374" y="577"/>
                  </a:lnTo>
                  <a:lnTo>
                    <a:pt x="374" y="574"/>
                  </a:lnTo>
                  <a:lnTo>
                    <a:pt x="374" y="572"/>
                  </a:lnTo>
                  <a:lnTo>
                    <a:pt x="371" y="572"/>
                  </a:lnTo>
                  <a:lnTo>
                    <a:pt x="371" y="572"/>
                  </a:lnTo>
                  <a:lnTo>
                    <a:pt x="369" y="569"/>
                  </a:lnTo>
                  <a:lnTo>
                    <a:pt x="366" y="569"/>
                  </a:lnTo>
                  <a:lnTo>
                    <a:pt x="366" y="566"/>
                  </a:lnTo>
                  <a:lnTo>
                    <a:pt x="363" y="566"/>
                  </a:lnTo>
                  <a:lnTo>
                    <a:pt x="361" y="564"/>
                  </a:lnTo>
                  <a:lnTo>
                    <a:pt x="361" y="561"/>
                  </a:lnTo>
                  <a:lnTo>
                    <a:pt x="361" y="558"/>
                  </a:lnTo>
                  <a:lnTo>
                    <a:pt x="358" y="558"/>
                  </a:lnTo>
                  <a:lnTo>
                    <a:pt x="361" y="556"/>
                  </a:lnTo>
                  <a:lnTo>
                    <a:pt x="361" y="556"/>
                  </a:lnTo>
                  <a:lnTo>
                    <a:pt x="361" y="553"/>
                  </a:lnTo>
                  <a:lnTo>
                    <a:pt x="361" y="550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3" y="548"/>
                  </a:lnTo>
                  <a:lnTo>
                    <a:pt x="363" y="545"/>
                  </a:lnTo>
                  <a:lnTo>
                    <a:pt x="366" y="545"/>
                  </a:lnTo>
                  <a:lnTo>
                    <a:pt x="366" y="545"/>
                  </a:lnTo>
                  <a:lnTo>
                    <a:pt x="366" y="545"/>
                  </a:lnTo>
                  <a:lnTo>
                    <a:pt x="366" y="542"/>
                  </a:lnTo>
                  <a:lnTo>
                    <a:pt x="363" y="540"/>
                  </a:lnTo>
                  <a:lnTo>
                    <a:pt x="363" y="537"/>
                  </a:lnTo>
                  <a:lnTo>
                    <a:pt x="363" y="534"/>
                  </a:lnTo>
                  <a:lnTo>
                    <a:pt x="363" y="534"/>
                  </a:lnTo>
                  <a:lnTo>
                    <a:pt x="363" y="532"/>
                  </a:lnTo>
                  <a:lnTo>
                    <a:pt x="363" y="529"/>
                  </a:lnTo>
                  <a:lnTo>
                    <a:pt x="366" y="526"/>
                  </a:lnTo>
                  <a:lnTo>
                    <a:pt x="366" y="524"/>
                  </a:lnTo>
                  <a:lnTo>
                    <a:pt x="366" y="524"/>
                  </a:lnTo>
                  <a:lnTo>
                    <a:pt x="366" y="524"/>
                  </a:lnTo>
                  <a:lnTo>
                    <a:pt x="369" y="524"/>
                  </a:lnTo>
                  <a:lnTo>
                    <a:pt x="369" y="524"/>
                  </a:lnTo>
                  <a:lnTo>
                    <a:pt x="369" y="521"/>
                  </a:lnTo>
                  <a:lnTo>
                    <a:pt x="371" y="524"/>
                  </a:lnTo>
                  <a:lnTo>
                    <a:pt x="371" y="524"/>
                  </a:lnTo>
                  <a:lnTo>
                    <a:pt x="374" y="524"/>
                  </a:lnTo>
                  <a:lnTo>
                    <a:pt x="374" y="524"/>
                  </a:lnTo>
                  <a:lnTo>
                    <a:pt x="377" y="524"/>
                  </a:lnTo>
                  <a:lnTo>
                    <a:pt x="377" y="521"/>
                  </a:lnTo>
                  <a:lnTo>
                    <a:pt x="379" y="521"/>
                  </a:lnTo>
                  <a:lnTo>
                    <a:pt x="379" y="521"/>
                  </a:lnTo>
                  <a:lnTo>
                    <a:pt x="379" y="518"/>
                  </a:lnTo>
                  <a:lnTo>
                    <a:pt x="379" y="518"/>
                  </a:lnTo>
                  <a:lnTo>
                    <a:pt x="382" y="518"/>
                  </a:lnTo>
                  <a:lnTo>
                    <a:pt x="382" y="518"/>
                  </a:lnTo>
                  <a:lnTo>
                    <a:pt x="382" y="516"/>
                  </a:lnTo>
                  <a:lnTo>
                    <a:pt x="382" y="513"/>
                  </a:lnTo>
                  <a:lnTo>
                    <a:pt x="379" y="513"/>
                  </a:lnTo>
                  <a:lnTo>
                    <a:pt x="379" y="513"/>
                  </a:lnTo>
                  <a:lnTo>
                    <a:pt x="377" y="513"/>
                  </a:lnTo>
                  <a:lnTo>
                    <a:pt x="377" y="513"/>
                  </a:lnTo>
                  <a:lnTo>
                    <a:pt x="374" y="510"/>
                  </a:lnTo>
                  <a:lnTo>
                    <a:pt x="374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8"/>
                  </a:lnTo>
                  <a:lnTo>
                    <a:pt x="377" y="505"/>
                  </a:lnTo>
                  <a:lnTo>
                    <a:pt x="377" y="505"/>
                  </a:lnTo>
                  <a:lnTo>
                    <a:pt x="377" y="502"/>
                  </a:lnTo>
                  <a:lnTo>
                    <a:pt x="379" y="502"/>
                  </a:lnTo>
                  <a:lnTo>
                    <a:pt x="379" y="502"/>
                  </a:lnTo>
                  <a:lnTo>
                    <a:pt x="382" y="502"/>
                  </a:lnTo>
                  <a:lnTo>
                    <a:pt x="382" y="502"/>
                  </a:lnTo>
                  <a:lnTo>
                    <a:pt x="385" y="502"/>
                  </a:lnTo>
                  <a:lnTo>
                    <a:pt x="387" y="502"/>
                  </a:lnTo>
                  <a:lnTo>
                    <a:pt x="387" y="502"/>
                  </a:lnTo>
                  <a:lnTo>
                    <a:pt x="390" y="502"/>
                  </a:lnTo>
                  <a:lnTo>
                    <a:pt x="390" y="502"/>
                  </a:lnTo>
                  <a:lnTo>
                    <a:pt x="390" y="502"/>
                  </a:lnTo>
                  <a:lnTo>
                    <a:pt x="393" y="502"/>
                  </a:lnTo>
                  <a:lnTo>
                    <a:pt x="395" y="502"/>
                  </a:lnTo>
                  <a:lnTo>
                    <a:pt x="395" y="502"/>
                  </a:lnTo>
                  <a:lnTo>
                    <a:pt x="398" y="502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6" y="508"/>
                  </a:lnTo>
                  <a:lnTo>
                    <a:pt x="406" y="508"/>
                  </a:lnTo>
                  <a:lnTo>
                    <a:pt x="409" y="510"/>
                  </a:lnTo>
                  <a:lnTo>
                    <a:pt x="411" y="510"/>
                  </a:lnTo>
                  <a:lnTo>
                    <a:pt x="411" y="510"/>
                  </a:lnTo>
                  <a:lnTo>
                    <a:pt x="411" y="513"/>
                  </a:lnTo>
                  <a:lnTo>
                    <a:pt x="414" y="513"/>
                  </a:lnTo>
                  <a:lnTo>
                    <a:pt x="414" y="510"/>
                  </a:lnTo>
                  <a:lnTo>
                    <a:pt x="414" y="510"/>
                  </a:lnTo>
                  <a:lnTo>
                    <a:pt x="414" y="510"/>
                  </a:lnTo>
                  <a:lnTo>
                    <a:pt x="414" y="508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7" y="502"/>
                  </a:lnTo>
                  <a:lnTo>
                    <a:pt x="417" y="502"/>
                  </a:lnTo>
                  <a:lnTo>
                    <a:pt x="417" y="500"/>
                  </a:lnTo>
                  <a:lnTo>
                    <a:pt x="414" y="497"/>
                  </a:lnTo>
                  <a:lnTo>
                    <a:pt x="414" y="494"/>
                  </a:lnTo>
                  <a:lnTo>
                    <a:pt x="414" y="492"/>
                  </a:lnTo>
                  <a:lnTo>
                    <a:pt x="414" y="492"/>
                  </a:lnTo>
                  <a:lnTo>
                    <a:pt x="414" y="489"/>
                  </a:lnTo>
                  <a:lnTo>
                    <a:pt x="414" y="486"/>
                  </a:lnTo>
                  <a:lnTo>
                    <a:pt x="411" y="486"/>
                  </a:lnTo>
                  <a:lnTo>
                    <a:pt x="411" y="486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9" y="484"/>
                  </a:lnTo>
                  <a:lnTo>
                    <a:pt x="409" y="484"/>
                  </a:lnTo>
                  <a:lnTo>
                    <a:pt x="406" y="484"/>
                  </a:lnTo>
                  <a:lnTo>
                    <a:pt x="406" y="481"/>
                  </a:lnTo>
                  <a:lnTo>
                    <a:pt x="406" y="481"/>
                  </a:lnTo>
                  <a:lnTo>
                    <a:pt x="403" y="481"/>
                  </a:lnTo>
                  <a:lnTo>
                    <a:pt x="403" y="481"/>
                  </a:lnTo>
                  <a:lnTo>
                    <a:pt x="401" y="481"/>
                  </a:lnTo>
                  <a:lnTo>
                    <a:pt x="401" y="484"/>
                  </a:lnTo>
                  <a:lnTo>
                    <a:pt x="401" y="484"/>
                  </a:lnTo>
                  <a:lnTo>
                    <a:pt x="401" y="486"/>
                  </a:lnTo>
                  <a:lnTo>
                    <a:pt x="401" y="486"/>
                  </a:lnTo>
                  <a:lnTo>
                    <a:pt x="398" y="486"/>
                  </a:lnTo>
                  <a:lnTo>
                    <a:pt x="398" y="484"/>
                  </a:lnTo>
                  <a:lnTo>
                    <a:pt x="398" y="484"/>
                  </a:lnTo>
                  <a:lnTo>
                    <a:pt x="398" y="484"/>
                  </a:lnTo>
                  <a:lnTo>
                    <a:pt x="398" y="481"/>
                  </a:lnTo>
                  <a:lnTo>
                    <a:pt x="398" y="481"/>
                  </a:lnTo>
                  <a:lnTo>
                    <a:pt x="401" y="481"/>
                  </a:lnTo>
                  <a:lnTo>
                    <a:pt x="401" y="478"/>
                  </a:lnTo>
                  <a:lnTo>
                    <a:pt x="401" y="478"/>
                  </a:lnTo>
                  <a:lnTo>
                    <a:pt x="398" y="476"/>
                  </a:lnTo>
                  <a:lnTo>
                    <a:pt x="398" y="476"/>
                  </a:lnTo>
                  <a:lnTo>
                    <a:pt x="398" y="473"/>
                  </a:lnTo>
                  <a:lnTo>
                    <a:pt x="398" y="473"/>
                  </a:lnTo>
                  <a:lnTo>
                    <a:pt x="398" y="470"/>
                  </a:lnTo>
                  <a:lnTo>
                    <a:pt x="401" y="473"/>
                  </a:lnTo>
                  <a:lnTo>
                    <a:pt x="401" y="476"/>
                  </a:lnTo>
                  <a:lnTo>
                    <a:pt x="401" y="476"/>
                  </a:lnTo>
                  <a:lnTo>
                    <a:pt x="401" y="476"/>
                  </a:lnTo>
                  <a:lnTo>
                    <a:pt x="403" y="478"/>
                  </a:lnTo>
                  <a:lnTo>
                    <a:pt x="403" y="476"/>
                  </a:lnTo>
                  <a:lnTo>
                    <a:pt x="403" y="476"/>
                  </a:lnTo>
                  <a:lnTo>
                    <a:pt x="403" y="478"/>
                  </a:lnTo>
                  <a:lnTo>
                    <a:pt x="406" y="478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6"/>
                  </a:lnTo>
                  <a:lnTo>
                    <a:pt x="406" y="473"/>
                  </a:lnTo>
                  <a:lnTo>
                    <a:pt x="406" y="470"/>
                  </a:lnTo>
                  <a:lnTo>
                    <a:pt x="406" y="467"/>
                  </a:lnTo>
                  <a:lnTo>
                    <a:pt x="406" y="467"/>
                  </a:lnTo>
                  <a:lnTo>
                    <a:pt x="406" y="465"/>
                  </a:lnTo>
                  <a:lnTo>
                    <a:pt x="406" y="462"/>
                  </a:lnTo>
                  <a:lnTo>
                    <a:pt x="406" y="459"/>
                  </a:lnTo>
                  <a:lnTo>
                    <a:pt x="403" y="459"/>
                  </a:lnTo>
                  <a:lnTo>
                    <a:pt x="403" y="459"/>
                  </a:lnTo>
                  <a:lnTo>
                    <a:pt x="401" y="457"/>
                  </a:lnTo>
                  <a:lnTo>
                    <a:pt x="401" y="457"/>
                  </a:lnTo>
                  <a:lnTo>
                    <a:pt x="401" y="457"/>
                  </a:lnTo>
                  <a:lnTo>
                    <a:pt x="403" y="457"/>
                  </a:lnTo>
                  <a:lnTo>
                    <a:pt x="403" y="457"/>
                  </a:lnTo>
                  <a:lnTo>
                    <a:pt x="403" y="457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6" y="459"/>
                  </a:lnTo>
                  <a:lnTo>
                    <a:pt x="409" y="457"/>
                  </a:lnTo>
                  <a:lnTo>
                    <a:pt x="409" y="457"/>
                  </a:lnTo>
                  <a:lnTo>
                    <a:pt x="409" y="454"/>
                  </a:lnTo>
                  <a:lnTo>
                    <a:pt x="409" y="454"/>
                  </a:lnTo>
                  <a:lnTo>
                    <a:pt x="409" y="451"/>
                  </a:lnTo>
                  <a:lnTo>
                    <a:pt x="409" y="451"/>
                  </a:lnTo>
                  <a:lnTo>
                    <a:pt x="409" y="449"/>
                  </a:lnTo>
                  <a:lnTo>
                    <a:pt x="409" y="449"/>
                  </a:lnTo>
                  <a:lnTo>
                    <a:pt x="411" y="446"/>
                  </a:lnTo>
                  <a:lnTo>
                    <a:pt x="411" y="446"/>
                  </a:lnTo>
                  <a:lnTo>
                    <a:pt x="411" y="443"/>
                  </a:lnTo>
                  <a:lnTo>
                    <a:pt x="411" y="441"/>
                  </a:lnTo>
                  <a:lnTo>
                    <a:pt x="409" y="441"/>
                  </a:lnTo>
                  <a:lnTo>
                    <a:pt x="409" y="438"/>
                  </a:lnTo>
                  <a:lnTo>
                    <a:pt x="411" y="438"/>
                  </a:lnTo>
                  <a:lnTo>
                    <a:pt x="411" y="435"/>
                  </a:lnTo>
                  <a:lnTo>
                    <a:pt x="411" y="433"/>
                  </a:lnTo>
                  <a:lnTo>
                    <a:pt x="411" y="430"/>
                  </a:lnTo>
                  <a:lnTo>
                    <a:pt x="411" y="427"/>
                  </a:lnTo>
                  <a:lnTo>
                    <a:pt x="411" y="425"/>
                  </a:lnTo>
                  <a:lnTo>
                    <a:pt x="411" y="425"/>
                  </a:lnTo>
                  <a:lnTo>
                    <a:pt x="411" y="422"/>
                  </a:lnTo>
                  <a:lnTo>
                    <a:pt x="411" y="422"/>
                  </a:lnTo>
                  <a:lnTo>
                    <a:pt x="411" y="419"/>
                  </a:lnTo>
                  <a:lnTo>
                    <a:pt x="411" y="419"/>
                  </a:lnTo>
                  <a:lnTo>
                    <a:pt x="411" y="417"/>
                  </a:lnTo>
                  <a:lnTo>
                    <a:pt x="411" y="417"/>
                  </a:lnTo>
                  <a:lnTo>
                    <a:pt x="411" y="414"/>
                  </a:lnTo>
                  <a:lnTo>
                    <a:pt x="411" y="414"/>
                  </a:lnTo>
                  <a:lnTo>
                    <a:pt x="414" y="414"/>
                  </a:lnTo>
                  <a:lnTo>
                    <a:pt x="414" y="411"/>
                  </a:lnTo>
                  <a:lnTo>
                    <a:pt x="414" y="411"/>
                  </a:lnTo>
                  <a:lnTo>
                    <a:pt x="414" y="411"/>
                  </a:lnTo>
                  <a:lnTo>
                    <a:pt x="417" y="411"/>
                  </a:lnTo>
                  <a:lnTo>
                    <a:pt x="417" y="411"/>
                  </a:lnTo>
                  <a:lnTo>
                    <a:pt x="417" y="411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7" y="406"/>
                  </a:lnTo>
                  <a:lnTo>
                    <a:pt x="417" y="406"/>
                  </a:lnTo>
                  <a:lnTo>
                    <a:pt x="417" y="409"/>
                  </a:lnTo>
                  <a:lnTo>
                    <a:pt x="417" y="409"/>
                  </a:lnTo>
                  <a:lnTo>
                    <a:pt x="419" y="409"/>
                  </a:lnTo>
                  <a:lnTo>
                    <a:pt x="419" y="409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19" y="411"/>
                  </a:lnTo>
                  <a:lnTo>
                    <a:pt x="422" y="411"/>
                  </a:lnTo>
                  <a:lnTo>
                    <a:pt x="422" y="411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7"/>
                  </a:lnTo>
                  <a:lnTo>
                    <a:pt x="422" y="417"/>
                  </a:lnTo>
                  <a:lnTo>
                    <a:pt x="422" y="419"/>
                  </a:lnTo>
                  <a:lnTo>
                    <a:pt x="422" y="419"/>
                  </a:lnTo>
                  <a:lnTo>
                    <a:pt x="419" y="419"/>
                  </a:lnTo>
                  <a:lnTo>
                    <a:pt x="419" y="419"/>
                  </a:lnTo>
                  <a:lnTo>
                    <a:pt x="422" y="419"/>
                  </a:lnTo>
                  <a:lnTo>
                    <a:pt x="422" y="422"/>
                  </a:lnTo>
                  <a:lnTo>
                    <a:pt x="425" y="422"/>
                  </a:lnTo>
                  <a:lnTo>
                    <a:pt x="425" y="422"/>
                  </a:lnTo>
                  <a:lnTo>
                    <a:pt x="425" y="425"/>
                  </a:lnTo>
                  <a:lnTo>
                    <a:pt x="427" y="425"/>
                  </a:lnTo>
                  <a:lnTo>
                    <a:pt x="427" y="427"/>
                  </a:lnTo>
                  <a:lnTo>
                    <a:pt x="430" y="427"/>
                  </a:lnTo>
                  <a:lnTo>
                    <a:pt x="430" y="427"/>
                  </a:lnTo>
                  <a:lnTo>
                    <a:pt x="430" y="427"/>
                  </a:lnTo>
                  <a:lnTo>
                    <a:pt x="433" y="427"/>
                  </a:lnTo>
                  <a:lnTo>
                    <a:pt x="433" y="430"/>
                  </a:lnTo>
                  <a:lnTo>
                    <a:pt x="435" y="433"/>
                  </a:lnTo>
                  <a:lnTo>
                    <a:pt x="435" y="433"/>
                  </a:lnTo>
                  <a:lnTo>
                    <a:pt x="435" y="435"/>
                  </a:lnTo>
                  <a:lnTo>
                    <a:pt x="435" y="435"/>
                  </a:lnTo>
                  <a:lnTo>
                    <a:pt x="435" y="438"/>
                  </a:lnTo>
                  <a:lnTo>
                    <a:pt x="435" y="438"/>
                  </a:lnTo>
                  <a:lnTo>
                    <a:pt x="435" y="438"/>
                  </a:lnTo>
                  <a:lnTo>
                    <a:pt x="438" y="441"/>
                  </a:lnTo>
                  <a:lnTo>
                    <a:pt x="438" y="441"/>
                  </a:lnTo>
                  <a:lnTo>
                    <a:pt x="438" y="441"/>
                  </a:lnTo>
                  <a:lnTo>
                    <a:pt x="438" y="443"/>
                  </a:lnTo>
                  <a:lnTo>
                    <a:pt x="441" y="443"/>
                  </a:lnTo>
                  <a:lnTo>
                    <a:pt x="441" y="446"/>
                  </a:lnTo>
                  <a:lnTo>
                    <a:pt x="441" y="446"/>
                  </a:lnTo>
                  <a:lnTo>
                    <a:pt x="441" y="446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3" y="449"/>
                  </a:lnTo>
                  <a:lnTo>
                    <a:pt x="446" y="449"/>
                  </a:lnTo>
                  <a:lnTo>
                    <a:pt x="446" y="449"/>
                  </a:lnTo>
                  <a:lnTo>
                    <a:pt x="446" y="451"/>
                  </a:lnTo>
                  <a:lnTo>
                    <a:pt x="449" y="454"/>
                  </a:lnTo>
                  <a:lnTo>
                    <a:pt x="449" y="457"/>
                  </a:lnTo>
                  <a:lnTo>
                    <a:pt x="449" y="457"/>
                  </a:lnTo>
                  <a:lnTo>
                    <a:pt x="449" y="459"/>
                  </a:lnTo>
                  <a:lnTo>
                    <a:pt x="451" y="459"/>
                  </a:lnTo>
                  <a:lnTo>
                    <a:pt x="451" y="459"/>
                  </a:lnTo>
                  <a:lnTo>
                    <a:pt x="451" y="462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7" y="465"/>
                  </a:lnTo>
                  <a:lnTo>
                    <a:pt x="457" y="465"/>
                  </a:lnTo>
                  <a:lnTo>
                    <a:pt x="457" y="465"/>
                  </a:lnTo>
                  <a:lnTo>
                    <a:pt x="459" y="462"/>
                  </a:lnTo>
                  <a:lnTo>
                    <a:pt x="459" y="462"/>
                  </a:lnTo>
                  <a:lnTo>
                    <a:pt x="462" y="459"/>
                  </a:lnTo>
                  <a:lnTo>
                    <a:pt x="462" y="457"/>
                  </a:lnTo>
                  <a:lnTo>
                    <a:pt x="462" y="457"/>
                  </a:lnTo>
                  <a:lnTo>
                    <a:pt x="462" y="457"/>
                  </a:lnTo>
                  <a:lnTo>
                    <a:pt x="462" y="454"/>
                  </a:lnTo>
                  <a:lnTo>
                    <a:pt x="462" y="451"/>
                  </a:lnTo>
                  <a:lnTo>
                    <a:pt x="459" y="449"/>
                  </a:lnTo>
                  <a:lnTo>
                    <a:pt x="459" y="446"/>
                  </a:lnTo>
                  <a:lnTo>
                    <a:pt x="459" y="443"/>
                  </a:lnTo>
                  <a:lnTo>
                    <a:pt x="459" y="441"/>
                  </a:lnTo>
                  <a:lnTo>
                    <a:pt x="459" y="438"/>
                  </a:lnTo>
                  <a:lnTo>
                    <a:pt x="459" y="435"/>
                  </a:lnTo>
                  <a:lnTo>
                    <a:pt x="457" y="433"/>
                  </a:lnTo>
                  <a:lnTo>
                    <a:pt x="457" y="430"/>
                  </a:lnTo>
                  <a:lnTo>
                    <a:pt x="457" y="430"/>
                  </a:lnTo>
                  <a:lnTo>
                    <a:pt x="457" y="427"/>
                  </a:lnTo>
                  <a:lnTo>
                    <a:pt x="457" y="425"/>
                  </a:lnTo>
                  <a:lnTo>
                    <a:pt x="457" y="422"/>
                  </a:lnTo>
                  <a:lnTo>
                    <a:pt x="457" y="419"/>
                  </a:lnTo>
                  <a:lnTo>
                    <a:pt x="454" y="419"/>
                  </a:lnTo>
                  <a:lnTo>
                    <a:pt x="454" y="417"/>
                  </a:lnTo>
                  <a:lnTo>
                    <a:pt x="454" y="414"/>
                  </a:lnTo>
                  <a:lnTo>
                    <a:pt x="454" y="414"/>
                  </a:lnTo>
                  <a:lnTo>
                    <a:pt x="454" y="411"/>
                  </a:lnTo>
                  <a:lnTo>
                    <a:pt x="451" y="411"/>
                  </a:lnTo>
                  <a:lnTo>
                    <a:pt x="451" y="409"/>
                  </a:lnTo>
                  <a:lnTo>
                    <a:pt x="451" y="411"/>
                  </a:lnTo>
                  <a:lnTo>
                    <a:pt x="451" y="411"/>
                  </a:lnTo>
                  <a:lnTo>
                    <a:pt x="451" y="409"/>
                  </a:lnTo>
                  <a:lnTo>
                    <a:pt x="451" y="409"/>
                  </a:lnTo>
                  <a:lnTo>
                    <a:pt x="451" y="409"/>
                  </a:lnTo>
                  <a:lnTo>
                    <a:pt x="451" y="406"/>
                  </a:lnTo>
                  <a:lnTo>
                    <a:pt x="451" y="406"/>
                  </a:lnTo>
                  <a:lnTo>
                    <a:pt x="451" y="406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51" y="403"/>
                  </a:lnTo>
                  <a:lnTo>
                    <a:pt x="449" y="403"/>
                  </a:lnTo>
                  <a:lnTo>
                    <a:pt x="449" y="403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49" y="401"/>
                  </a:lnTo>
                  <a:lnTo>
                    <a:pt x="451" y="401"/>
                  </a:lnTo>
                  <a:lnTo>
                    <a:pt x="451" y="401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8"/>
                  </a:lnTo>
                  <a:lnTo>
                    <a:pt x="451" y="395"/>
                  </a:lnTo>
                  <a:lnTo>
                    <a:pt x="451" y="395"/>
                  </a:lnTo>
                  <a:lnTo>
                    <a:pt x="451" y="395"/>
                  </a:lnTo>
                  <a:lnTo>
                    <a:pt x="451" y="393"/>
                  </a:lnTo>
                  <a:lnTo>
                    <a:pt x="451" y="393"/>
                  </a:lnTo>
                  <a:lnTo>
                    <a:pt x="449" y="393"/>
                  </a:lnTo>
                  <a:lnTo>
                    <a:pt x="449" y="393"/>
                  </a:lnTo>
                  <a:lnTo>
                    <a:pt x="449" y="393"/>
                  </a:lnTo>
                  <a:lnTo>
                    <a:pt x="446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90"/>
                  </a:lnTo>
                  <a:lnTo>
                    <a:pt x="443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87"/>
                  </a:lnTo>
                  <a:lnTo>
                    <a:pt x="446" y="390"/>
                  </a:lnTo>
                  <a:lnTo>
                    <a:pt x="446" y="390"/>
                  </a:lnTo>
                  <a:lnTo>
                    <a:pt x="449" y="390"/>
                  </a:lnTo>
                  <a:lnTo>
                    <a:pt x="449" y="390"/>
                  </a:lnTo>
                  <a:lnTo>
                    <a:pt x="449" y="390"/>
                  </a:lnTo>
                  <a:lnTo>
                    <a:pt x="451" y="390"/>
                  </a:lnTo>
                  <a:lnTo>
                    <a:pt x="451" y="390"/>
                  </a:lnTo>
                  <a:lnTo>
                    <a:pt x="454" y="390"/>
                  </a:lnTo>
                  <a:lnTo>
                    <a:pt x="454" y="390"/>
                  </a:lnTo>
                  <a:lnTo>
                    <a:pt x="454" y="387"/>
                  </a:lnTo>
                  <a:lnTo>
                    <a:pt x="454" y="387"/>
                  </a:lnTo>
                  <a:lnTo>
                    <a:pt x="454" y="387"/>
                  </a:lnTo>
                  <a:lnTo>
                    <a:pt x="457" y="385"/>
                  </a:lnTo>
                  <a:lnTo>
                    <a:pt x="457" y="385"/>
                  </a:lnTo>
                  <a:lnTo>
                    <a:pt x="457" y="382"/>
                  </a:lnTo>
                  <a:lnTo>
                    <a:pt x="457" y="382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4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9"/>
                  </a:lnTo>
                  <a:lnTo>
                    <a:pt x="457" y="377"/>
                  </a:lnTo>
                  <a:lnTo>
                    <a:pt x="457" y="377"/>
                  </a:lnTo>
                  <a:lnTo>
                    <a:pt x="454" y="377"/>
                  </a:lnTo>
                  <a:lnTo>
                    <a:pt x="454" y="377"/>
                  </a:lnTo>
                  <a:lnTo>
                    <a:pt x="451" y="377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1" y="374"/>
                  </a:lnTo>
                  <a:lnTo>
                    <a:pt x="454" y="374"/>
                  </a:lnTo>
                  <a:lnTo>
                    <a:pt x="454" y="374"/>
                  </a:lnTo>
                  <a:lnTo>
                    <a:pt x="454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69"/>
                  </a:lnTo>
                  <a:lnTo>
                    <a:pt x="457" y="369"/>
                  </a:lnTo>
                  <a:lnTo>
                    <a:pt x="457" y="369"/>
                  </a:lnTo>
                  <a:lnTo>
                    <a:pt x="457" y="371"/>
                  </a:lnTo>
                  <a:lnTo>
                    <a:pt x="459" y="371"/>
                  </a:lnTo>
                  <a:lnTo>
                    <a:pt x="459" y="371"/>
                  </a:lnTo>
                  <a:lnTo>
                    <a:pt x="459" y="371"/>
                  </a:lnTo>
                  <a:lnTo>
                    <a:pt x="459" y="369"/>
                  </a:lnTo>
                  <a:lnTo>
                    <a:pt x="462" y="369"/>
                  </a:lnTo>
                  <a:lnTo>
                    <a:pt x="462" y="369"/>
                  </a:lnTo>
                  <a:lnTo>
                    <a:pt x="462" y="366"/>
                  </a:lnTo>
                  <a:lnTo>
                    <a:pt x="462" y="363"/>
                  </a:lnTo>
                  <a:lnTo>
                    <a:pt x="462" y="363"/>
                  </a:lnTo>
                  <a:lnTo>
                    <a:pt x="462" y="361"/>
                  </a:lnTo>
                  <a:lnTo>
                    <a:pt x="462" y="358"/>
                  </a:lnTo>
                  <a:lnTo>
                    <a:pt x="465" y="358"/>
                  </a:lnTo>
                  <a:lnTo>
                    <a:pt x="465" y="358"/>
                  </a:lnTo>
                  <a:lnTo>
                    <a:pt x="465" y="358"/>
                  </a:lnTo>
                  <a:lnTo>
                    <a:pt x="465" y="355"/>
                  </a:lnTo>
                  <a:lnTo>
                    <a:pt x="465" y="355"/>
                  </a:lnTo>
                  <a:lnTo>
                    <a:pt x="462" y="355"/>
                  </a:lnTo>
                  <a:lnTo>
                    <a:pt x="462" y="355"/>
                  </a:lnTo>
                  <a:lnTo>
                    <a:pt x="462" y="355"/>
                  </a:lnTo>
                  <a:lnTo>
                    <a:pt x="459" y="355"/>
                  </a:lnTo>
                  <a:lnTo>
                    <a:pt x="459" y="355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59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2" y="353"/>
                  </a:lnTo>
                  <a:lnTo>
                    <a:pt x="465" y="353"/>
                  </a:lnTo>
                  <a:lnTo>
                    <a:pt x="465" y="355"/>
                  </a:lnTo>
                  <a:lnTo>
                    <a:pt x="465" y="355"/>
                  </a:lnTo>
                  <a:lnTo>
                    <a:pt x="467" y="353"/>
                  </a:lnTo>
                  <a:lnTo>
                    <a:pt x="467" y="350"/>
                  </a:lnTo>
                  <a:lnTo>
                    <a:pt x="467" y="347"/>
                  </a:lnTo>
                  <a:lnTo>
                    <a:pt x="467" y="345"/>
                  </a:lnTo>
                  <a:lnTo>
                    <a:pt x="470" y="342"/>
                  </a:lnTo>
                  <a:lnTo>
                    <a:pt x="470" y="339"/>
                  </a:lnTo>
                  <a:lnTo>
                    <a:pt x="473" y="337"/>
                  </a:lnTo>
                  <a:lnTo>
                    <a:pt x="473" y="334"/>
                  </a:lnTo>
                  <a:lnTo>
                    <a:pt x="475" y="329"/>
                  </a:lnTo>
                  <a:lnTo>
                    <a:pt x="478" y="326"/>
                  </a:lnTo>
                  <a:lnTo>
                    <a:pt x="481" y="323"/>
                  </a:lnTo>
                  <a:lnTo>
                    <a:pt x="481" y="323"/>
                  </a:lnTo>
                  <a:lnTo>
                    <a:pt x="481" y="323"/>
                  </a:lnTo>
                  <a:lnTo>
                    <a:pt x="483" y="323"/>
                  </a:lnTo>
                  <a:lnTo>
                    <a:pt x="483" y="323"/>
                  </a:lnTo>
                  <a:lnTo>
                    <a:pt x="486" y="323"/>
                  </a:lnTo>
                  <a:lnTo>
                    <a:pt x="486" y="323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89" y="321"/>
                  </a:lnTo>
                  <a:lnTo>
                    <a:pt x="491" y="321"/>
                  </a:lnTo>
                  <a:lnTo>
                    <a:pt x="489" y="321"/>
                  </a:lnTo>
                  <a:lnTo>
                    <a:pt x="489" y="318"/>
                  </a:lnTo>
                  <a:lnTo>
                    <a:pt x="491" y="318"/>
                  </a:lnTo>
                  <a:lnTo>
                    <a:pt x="491" y="315"/>
                  </a:lnTo>
                  <a:lnTo>
                    <a:pt x="494" y="315"/>
                  </a:lnTo>
                  <a:lnTo>
                    <a:pt x="494" y="315"/>
                  </a:lnTo>
                  <a:lnTo>
                    <a:pt x="494" y="313"/>
                  </a:lnTo>
                  <a:lnTo>
                    <a:pt x="497" y="313"/>
                  </a:lnTo>
                  <a:lnTo>
                    <a:pt x="497" y="313"/>
                  </a:lnTo>
                  <a:lnTo>
                    <a:pt x="497" y="310"/>
                  </a:lnTo>
                  <a:lnTo>
                    <a:pt x="497" y="310"/>
                  </a:lnTo>
                  <a:lnTo>
                    <a:pt x="499" y="310"/>
                  </a:lnTo>
                  <a:lnTo>
                    <a:pt x="499" y="310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502" y="304"/>
                  </a:lnTo>
                  <a:lnTo>
                    <a:pt x="502" y="304"/>
                  </a:lnTo>
                  <a:lnTo>
                    <a:pt x="502" y="304"/>
                  </a:lnTo>
                  <a:lnTo>
                    <a:pt x="505" y="304"/>
                  </a:lnTo>
                  <a:lnTo>
                    <a:pt x="505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2" y="302"/>
                  </a:lnTo>
                  <a:lnTo>
                    <a:pt x="505" y="302"/>
                  </a:lnTo>
                  <a:lnTo>
                    <a:pt x="505" y="299"/>
                  </a:lnTo>
                  <a:lnTo>
                    <a:pt x="505" y="299"/>
                  </a:lnTo>
                  <a:lnTo>
                    <a:pt x="502" y="296"/>
                  </a:lnTo>
                  <a:lnTo>
                    <a:pt x="502" y="296"/>
                  </a:lnTo>
                  <a:lnTo>
                    <a:pt x="502" y="296"/>
                  </a:lnTo>
                  <a:lnTo>
                    <a:pt x="505" y="294"/>
                  </a:lnTo>
                  <a:lnTo>
                    <a:pt x="505" y="294"/>
                  </a:lnTo>
                  <a:lnTo>
                    <a:pt x="505" y="294"/>
                  </a:lnTo>
                  <a:lnTo>
                    <a:pt x="507" y="294"/>
                  </a:lnTo>
                  <a:lnTo>
                    <a:pt x="507" y="294"/>
                  </a:lnTo>
                  <a:lnTo>
                    <a:pt x="507" y="294"/>
                  </a:lnTo>
                  <a:lnTo>
                    <a:pt x="510" y="294"/>
                  </a:lnTo>
                  <a:lnTo>
                    <a:pt x="510" y="294"/>
                  </a:lnTo>
                  <a:lnTo>
                    <a:pt x="510" y="294"/>
                  </a:lnTo>
                  <a:lnTo>
                    <a:pt x="513" y="294"/>
                  </a:lnTo>
                  <a:lnTo>
                    <a:pt x="513" y="296"/>
                  </a:lnTo>
                  <a:lnTo>
                    <a:pt x="510" y="296"/>
                  </a:lnTo>
                  <a:lnTo>
                    <a:pt x="510" y="296"/>
                  </a:lnTo>
                  <a:lnTo>
                    <a:pt x="510" y="299"/>
                  </a:lnTo>
                  <a:lnTo>
                    <a:pt x="507" y="299"/>
                  </a:lnTo>
                  <a:lnTo>
                    <a:pt x="507" y="299"/>
                  </a:lnTo>
                  <a:lnTo>
                    <a:pt x="507" y="299"/>
                  </a:lnTo>
                  <a:lnTo>
                    <a:pt x="510" y="299"/>
                  </a:lnTo>
                  <a:lnTo>
                    <a:pt x="510" y="299"/>
                  </a:lnTo>
                  <a:lnTo>
                    <a:pt x="513" y="299"/>
                  </a:lnTo>
                  <a:lnTo>
                    <a:pt x="513" y="296"/>
                  </a:lnTo>
                  <a:lnTo>
                    <a:pt x="515" y="296"/>
                  </a:lnTo>
                  <a:lnTo>
                    <a:pt x="515" y="296"/>
                  </a:lnTo>
                  <a:lnTo>
                    <a:pt x="518" y="296"/>
                  </a:lnTo>
                  <a:lnTo>
                    <a:pt x="518" y="296"/>
                  </a:lnTo>
                  <a:lnTo>
                    <a:pt x="518" y="296"/>
                  </a:lnTo>
                  <a:lnTo>
                    <a:pt x="521" y="296"/>
                  </a:lnTo>
                  <a:lnTo>
                    <a:pt x="521" y="296"/>
                  </a:lnTo>
                  <a:lnTo>
                    <a:pt x="521" y="296"/>
                  </a:lnTo>
                  <a:lnTo>
                    <a:pt x="523" y="296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6" y="294"/>
                  </a:lnTo>
                  <a:lnTo>
                    <a:pt x="529" y="294"/>
                  </a:lnTo>
                  <a:lnTo>
                    <a:pt x="529" y="294"/>
                  </a:lnTo>
                  <a:lnTo>
                    <a:pt x="531" y="294"/>
                  </a:lnTo>
                  <a:lnTo>
                    <a:pt x="531" y="294"/>
                  </a:lnTo>
                  <a:lnTo>
                    <a:pt x="531" y="294"/>
                  </a:lnTo>
                  <a:lnTo>
                    <a:pt x="534" y="294"/>
                  </a:lnTo>
                  <a:lnTo>
                    <a:pt x="534" y="294"/>
                  </a:lnTo>
                  <a:lnTo>
                    <a:pt x="534" y="294"/>
                  </a:lnTo>
                  <a:lnTo>
                    <a:pt x="537" y="294"/>
                  </a:lnTo>
                  <a:lnTo>
                    <a:pt x="537" y="296"/>
                  </a:lnTo>
                  <a:lnTo>
                    <a:pt x="537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39" y="296"/>
                  </a:lnTo>
                  <a:lnTo>
                    <a:pt x="542" y="296"/>
                  </a:lnTo>
                  <a:lnTo>
                    <a:pt x="542" y="299"/>
                  </a:lnTo>
                  <a:lnTo>
                    <a:pt x="545" y="299"/>
                  </a:lnTo>
                  <a:lnTo>
                    <a:pt x="545" y="299"/>
                  </a:lnTo>
                  <a:lnTo>
                    <a:pt x="547" y="299"/>
                  </a:lnTo>
                  <a:lnTo>
                    <a:pt x="550" y="299"/>
                  </a:lnTo>
                  <a:lnTo>
                    <a:pt x="550" y="299"/>
                  </a:lnTo>
                  <a:lnTo>
                    <a:pt x="550" y="299"/>
                  </a:lnTo>
                  <a:lnTo>
                    <a:pt x="550" y="296"/>
                  </a:lnTo>
                  <a:lnTo>
                    <a:pt x="553" y="296"/>
                  </a:lnTo>
                  <a:lnTo>
                    <a:pt x="553" y="296"/>
                  </a:lnTo>
                  <a:lnTo>
                    <a:pt x="555" y="294"/>
                  </a:lnTo>
                  <a:lnTo>
                    <a:pt x="555" y="294"/>
                  </a:lnTo>
                  <a:lnTo>
                    <a:pt x="558" y="294"/>
                  </a:lnTo>
                  <a:lnTo>
                    <a:pt x="555" y="294"/>
                  </a:lnTo>
                  <a:lnTo>
                    <a:pt x="555" y="294"/>
                  </a:lnTo>
                  <a:lnTo>
                    <a:pt x="555" y="296"/>
                  </a:lnTo>
                  <a:lnTo>
                    <a:pt x="555" y="296"/>
                  </a:lnTo>
                  <a:lnTo>
                    <a:pt x="555" y="299"/>
                  </a:lnTo>
                  <a:lnTo>
                    <a:pt x="553" y="299"/>
                  </a:lnTo>
                  <a:lnTo>
                    <a:pt x="553" y="299"/>
                  </a:lnTo>
                  <a:lnTo>
                    <a:pt x="553" y="299"/>
                  </a:lnTo>
                  <a:lnTo>
                    <a:pt x="555" y="302"/>
                  </a:lnTo>
                  <a:lnTo>
                    <a:pt x="555" y="302"/>
                  </a:lnTo>
                  <a:lnTo>
                    <a:pt x="558" y="302"/>
                  </a:lnTo>
                  <a:lnTo>
                    <a:pt x="558" y="302"/>
                  </a:lnTo>
                  <a:lnTo>
                    <a:pt x="561" y="302"/>
                  </a:lnTo>
                  <a:lnTo>
                    <a:pt x="561" y="304"/>
                  </a:lnTo>
                  <a:lnTo>
                    <a:pt x="561" y="304"/>
                  </a:lnTo>
                  <a:lnTo>
                    <a:pt x="563" y="304"/>
                  </a:lnTo>
                  <a:lnTo>
                    <a:pt x="563" y="304"/>
                  </a:lnTo>
                  <a:lnTo>
                    <a:pt x="566" y="304"/>
                  </a:lnTo>
                  <a:lnTo>
                    <a:pt x="566" y="304"/>
                  </a:lnTo>
                  <a:lnTo>
                    <a:pt x="569" y="304"/>
                  </a:lnTo>
                  <a:lnTo>
                    <a:pt x="569" y="304"/>
                  </a:lnTo>
                  <a:lnTo>
                    <a:pt x="571" y="304"/>
                  </a:lnTo>
                  <a:lnTo>
                    <a:pt x="571" y="304"/>
                  </a:lnTo>
                  <a:lnTo>
                    <a:pt x="571" y="304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2"/>
                  </a:lnTo>
                  <a:lnTo>
                    <a:pt x="577" y="302"/>
                  </a:lnTo>
                  <a:lnTo>
                    <a:pt x="577" y="304"/>
                  </a:lnTo>
                  <a:lnTo>
                    <a:pt x="577" y="304"/>
                  </a:lnTo>
                  <a:lnTo>
                    <a:pt x="579" y="307"/>
                  </a:lnTo>
                  <a:lnTo>
                    <a:pt x="579" y="307"/>
                  </a:lnTo>
                  <a:lnTo>
                    <a:pt x="582" y="307"/>
                  </a:lnTo>
                  <a:lnTo>
                    <a:pt x="585" y="307"/>
                  </a:lnTo>
                  <a:lnTo>
                    <a:pt x="585" y="304"/>
                  </a:lnTo>
                  <a:lnTo>
                    <a:pt x="585" y="304"/>
                  </a:lnTo>
                  <a:lnTo>
                    <a:pt x="587" y="304"/>
                  </a:lnTo>
                  <a:lnTo>
                    <a:pt x="587" y="304"/>
                  </a:lnTo>
                  <a:lnTo>
                    <a:pt x="587" y="304"/>
                  </a:lnTo>
                  <a:lnTo>
                    <a:pt x="590" y="302"/>
                  </a:lnTo>
                  <a:lnTo>
                    <a:pt x="590" y="302"/>
                  </a:lnTo>
                  <a:lnTo>
                    <a:pt x="590" y="299"/>
                  </a:lnTo>
                  <a:lnTo>
                    <a:pt x="590" y="299"/>
                  </a:lnTo>
                  <a:lnTo>
                    <a:pt x="590" y="296"/>
                  </a:lnTo>
                  <a:lnTo>
                    <a:pt x="587" y="294"/>
                  </a:lnTo>
                  <a:lnTo>
                    <a:pt x="587" y="294"/>
                  </a:lnTo>
                  <a:lnTo>
                    <a:pt x="585" y="291"/>
                  </a:lnTo>
                  <a:lnTo>
                    <a:pt x="585" y="288"/>
                  </a:lnTo>
                  <a:lnTo>
                    <a:pt x="582" y="288"/>
                  </a:lnTo>
                  <a:lnTo>
                    <a:pt x="582" y="286"/>
                  </a:lnTo>
                  <a:lnTo>
                    <a:pt x="582" y="286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9" y="283"/>
                  </a:lnTo>
                  <a:lnTo>
                    <a:pt x="577" y="280"/>
                  </a:lnTo>
                  <a:lnTo>
                    <a:pt x="577" y="280"/>
                  </a:lnTo>
                  <a:lnTo>
                    <a:pt x="574" y="280"/>
                  </a:lnTo>
                  <a:lnTo>
                    <a:pt x="574" y="278"/>
                  </a:lnTo>
                  <a:lnTo>
                    <a:pt x="574" y="278"/>
                  </a:lnTo>
                  <a:lnTo>
                    <a:pt x="574" y="278"/>
                  </a:lnTo>
                  <a:lnTo>
                    <a:pt x="571" y="275"/>
                  </a:lnTo>
                  <a:lnTo>
                    <a:pt x="571" y="275"/>
                  </a:lnTo>
                  <a:lnTo>
                    <a:pt x="571" y="275"/>
                  </a:lnTo>
                  <a:lnTo>
                    <a:pt x="571" y="272"/>
                  </a:lnTo>
                  <a:lnTo>
                    <a:pt x="571" y="272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70"/>
                  </a:lnTo>
                  <a:lnTo>
                    <a:pt x="571" y="267"/>
                  </a:lnTo>
                  <a:lnTo>
                    <a:pt x="571" y="264"/>
                  </a:lnTo>
                  <a:lnTo>
                    <a:pt x="571" y="264"/>
                  </a:lnTo>
                  <a:lnTo>
                    <a:pt x="569" y="262"/>
                  </a:lnTo>
                  <a:lnTo>
                    <a:pt x="569" y="262"/>
                  </a:lnTo>
                  <a:lnTo>
                    <a:pt x="569" y="262"/>
                  </a:lnTo>
                  <a:lnTo>
                    <a:pt x="566" y="262"/>
                  </a:lnTo>
                  <a:lnTo>
                    <a:pt x="566" y="262"/>
                  </a:lnTo>
                  <a:lnTo>
                    <a:pt x="566" y="262"/>
                  </a:lnTo>
                  <a:lnTo>
                    <a:pt x="563" y="262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1" y="259"/>
                  </a:lnTo>
                  <a:lnTo>
                    <a:pt x="561" y="259"/>
                  </a:lnTo>
                  <a:lnTo>
                    <a:pt x="561" y="259"/>
                  </a:lnTo>
                  <a:lnTo>
                    <a:pt x="558" y="262"/>
                  </a:lnTo>
                  <a:lnTo>
                    <a:pt x="558" y="259"/>
                  </a:lnTo>
                  <a:lnTo>
                    <a:pt x="558" y="259"/>
                  </a:lnTo>
                  <a:lnTo>
                    <a:pt x="558" y="259"/>
                  </a:lnTo>
                  <a:lnTo>
                    <a:pt x="558" y="256"/>
                  </a:lnTo>
                  <a:lnTo>
                    <a:pt x="561" y="256"/>
                  </a:lnTo>
                  <a:lnTo>
                    <a:pt x="561" y="256"/>
                  </a:lnTo>
                  <a:lnTo>
                    <a:pt x="563" y="256"/>
                  </a:lnTo>
                  <a:lnTo>
                    <a:pt x="563" y="256"/>
                  </a:lnTo>
                  <a:lnTo>
                    <a:pt x="566" y="254"/>
                  </a:lnTo>
                  <a:lnTo>
                    <a:pt x="566" y="254"/>
                  </a:lnTo>
                  <a:lnTo>
                    <a:pt x="566" y="254"/>
                  </a:lnTo>
                  <a:lnTo>
                    <a:pt x="566" y="251"/>
                  </a:lnTo>
                  <a:lnTo>
                    <a:pt x="566" y="251"/>
                  </a:lnTo>
                  <a:lnTo>
                    <a:pt x="566" y="248"/>
                  </a:lnTo>
                  <a:lnTo>
                    <a:pt x="563" y="248"/>
                  </a:lnTo>
                  <a:lnTo>
                    <a:pt x="563" y="248"/>
                  </a:lnTo>
                  <a:lnTo>
                    <a:pt x="563" y="246"/>
                  </a:lnTo>
                  <a:lnTo>
                    <a:pt x="561" y="248"/>
                  </a:lnTo>
                  <a:lnTo>
                    <a:pt x="561" y="248"/>
                  </a:lnTo>
                  <a:lnTo>
                    <a:pt x="561" y="246"/>
                  </a:lnTo>
                  <a:lnTo>
                    <a:pt x="558" y="246"/>
                  </a:lnTo>
                  <a:lnTo>
                    <a:pt x="561" y="246"/>
                  </a:lnTo>
                  <a:lnTo>
                    <a:pt x="561" y="243"/>
                  </a:lnTo>
                  <a:lnTo>
                    <a:pt x="563" y="243"/>
                  </a:lnTo>
                  <a:lnTo>
                    <a:pt x="563" y="243"/>
                  </a:lnTo>
                  <a:lnTo>
                    <a:pt x="563" y="243"/>
                  </a:lnTo>
                  <a:lnTo>
                    <a:pt x="563" y="240"/>
                  </a:lnTo>
                  <a:lnTo>
                    <a:pt x="566" y="240"/>
                  </a:lnTo>
                  <a:lnTo>
                    <a:pt x="566" y="240"/>
                  </a:lnTo>
                  <a:lnTo>
                    <a:pt x="566" y="238"/>
                  </a:lnTo>
                  <a:lnTo>
                    <a:pt x="566" y="235"/>
                  </a:lnTo>
                  <a:lnTo>
                    <a:pt x="566" y="235"/>
                  </a:lnTo>
                  <a:lnTo>
                    <a:pt x="566" y="232"/>
                  </a:lnTo>
                  <a:lnTo>
                    <a:pt x="566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27"/>
                  </a:lnTo>
                  <a:lnTo>
                    <a:pt x="569" y="227"/>
                  </a:lnTo>
                  <a:lnTo>
                    <a:pt x="569" y="224"/>
                  </a:lnTo>
                  <a:lnTo>
                    <a:pt x="569" y="222"/>
                  </a:lnTo>
                  <a:lnTo>
                    <a:pt x="569" y="222"/>
                  </a:lnTo>
                  <a:lnTo>
                    <a:pt x="569" y="219"/>
                  </a:lnTo>
                  <a:lnTo>
                    <a:pt x="569" y="219"/>
                  </a:lnTo>
                  <a:lnTo>
                    <a:pt x="569" y="216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9" y="214"/>
                  </a:lnTo>
                  <a:lnTo>
                    <a:pt x="566" y="211"/>
                  </a:lnTo>
                  <a:lnTo>
                    <a:pt x="566" y="211"/>
                  </a:lnTo>
                  <a:lnTo>
                    <a:pt x="566" y="208"/>
                  </a:lnTo>
                  <a:lnTo>
                    <a:pt x="563" y="208"/>
                  </a:lnTo>
                  <a:lnTo>
                    <a:pt x="563" y="208"/>
                  </a:lnTo>
                  <a:lnTo>
                    <a:pt x="563" y="206"/>
                  </a:lnTo>
                  <a:lnTo>
                    <a:pt x="561" y="206"/>
                  </a:lnTo>
                  <a:lnTo>
                    <a:pt x="561" y="206"/>
                  </a:lnTo>
                  <a:lnTo>
                    <a:pt x="561" y="203"/>
                  </a:lnTo>
                  <a:lnTo>
                    <a:pt x="561" y="206"/>
                  </a:lnTo>
                  <a:lnTo>
                    <a:pt x="563" y="206"/>
                  </a:lnTo>
                  <a:lnTo>
                    <a:pt x="563" y="206"/>
                  </a:lnTo>
                  <a:lnTo>
                    <a:pt x="566" y="206"/>
                  </a:lnTo>
                  <a:lnTo>
                    <a:pt x="566" y="206"/>
                  </a:lnTo>
                  <a:lnTo>
                    <a:pt x="566" y="208"/>
                  </a:lnTo>
                  <a:lnTo>
                    <a:pt x="566" y="208"/>
                  </a:lnTo>
                  <a:lnTo>
                    <a:pt x="566" y="208"/>
                  </a:lnTo>
                  <a:lnTo>
                    <a:pt x="566" y="211"/>
                  </a:lnTo>
                  <a:lnTo>
                    <a:pt x="566" y="208"/>
                  </a:lnTo>
                  <a:lnTo>
                    <a:pt x="566" y="206"/>
                  </a:lnTo>
                  <a:lnTo>
                    <a:pt x="566" y="206"/>
                  </a:lnTo>
                  <a:lnTo>
                    <a:pt x="566" y="203"/>
                  </a:lnTo>
                  <a:lnTo>
                    <a:pt x="569" y="203"/>
                  </a:lnTo>
                  <a:lnTo>
                    <a:pt x="569" y="200"/>
                  </a:lnTo>
                  <a:lnTo>
                    <a:pt x="569" y="200"/>
                  </a:lnTo>
                  <a:lnTo>
                    <a:pt x="569" y="198"/>
                  </a:lnTo>
                  <a:lnTo>
                    <a:pt x="566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8"/>
                  </a:lnTo>
                  <a:lnTo>
                    <a:pt x="563" y="195"/>
                  </a:lnTo>
                  <a:lnTo>
                    <a:pt x="566" y="195"/>
                  </a:lnTo>
                  <a:lnTo>
                    <a:pt x="566" y="192"/>
                  </a:lnTo>
                  <a:lnTo>
                    <a:pt x="566" y="192"/>
                  </a:lnTo>
                  <a:lnTo>
                    <a:pt x="566" y="190"/>
                  </a:lnTo>
                  <a:lnTo>
                    <a:pt x="563" y="190"/>
                  </a:lnTo>
                  <a:lnTo>
                    <a:pt x="563" y="187"/>
                  </a:lnTo>
                  <a:lnTo>
                    <a:pt x="566" y="187"/>
                  </a:lnTo>
                  <a:lnTo>
                    <a:pt x="566" y="187"/>
                  </a:lnTo>
                  <a:lnTo>
                    <a:pt x="566" y="187"/>
                  </a:lnTo>
                  <a:lnTo>
                    <a:pt x="569" y="187"/>
                  </a:lnTo>
                  <a:lnTo>
                    <a:pt x="569" y="187"/>
                  </a:lnTo>
                  <a:lnTo>
                    <a:pt x="569" y="184"/>
                  </a:lnTo>
                  <a:lnTo>
                    <a:pt x="569" y="184"/>
                  </a:lnTo>
                  <a:lnTo>
                    <a:pt x="571" y="184"/>
                  </a:lnTo>
                  <a:lnTo>
                    <a:pt x="571" y="182"/>
                  </a:lnTo>
                  <a:lnTo>
                    <a:pt x="571" y="182"/>
                  </a:lnTo>
                  <a:lnTo>
                    <a:pt x="571" y="179"/>
                  </a:lnTo>
                  <a:lnTo>
                    <a:pt x="569" y="179"/>
                  </a:lnTo>
                  <a:lnTo>
                    <a:pt x="569" y="179"/>
                  </a:lnTo>
                  <a:lnTo>
                    <a:pt x="569" y="176"/>
                  </a:lnTo>
                  <a:lnTo>
                    <a:pt x="569" y="176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6" y="174"/>
                  </a:lnTo>
                  <a:lnTo>
                    <a:pt x="569" y="174"/>
                  </a:lnTo>
                  <a:lnTo>
                    <a:pt x="569" y="174"/>
                  </a:lnTo>
                  <a:lnTo>
                    <a:pt x="569" y="174"/>
                  </a:lnTo>
                  <a:lnTo>
                    <a:pt x="571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6"/>
                  </a:lnTo>
                  <a:lnTo>
                    <a:pt x="574" y="174"/>
                  </a:lnTo>
                  <a:lnTo>
                    <a:pt x="574" y="174"/>
                  </a:lnTo>
                  <a:lnTo>
                    <a:pt x="571" y="171"/>
                  </a:lnTo>
                  <a:lnTo>
                    <a:pt x="571" y="171"/>
                  </a:lnTo>
                  <a:lnTo>
                    <a:pt x="569" y="168"/>
                  </a:lnTo>
                  <a:lnTo>
                    <a:pt x="569" y="168"/>
                  </a:lnTo>
                  <a:lnTo>
                    <a:pt x="571" y="166"/>
                  </a:lnTo>
                  <a:lnTo>
                    <a:pt x="571" y="166"/>
                  </a:lnTo>
                  <a:lnTo>
                    <a:pt x="571" y="163"/>
                  </a:lnTo>
                  <a:lnTo>
                    <a:pt x="569" y="163"/>
                  </a:lnTo>
                  <a:lnTo>
                    <a:pt x="566" y="163"/>
                  </a:lnTo>
                  <a:lnTo>
                    <a:pt x="566" y="163"/>
                  </a:lnTo>
                  <a:lnTo>
                    <a:pt x="563" y="163"/>
                  </a:lnTo>
                  <a:lnTo>
                    <a:pt x="563" y="163"/>
                  </a:lnTo>
                  <a:lnTo>
                    <a:pt x="563" y="163"/>
                  </a:lnTo>
                  <a:lnTo>
                    <a:pt x="561" y="163"/>
                  </a:lnTo>
                  <a:lnTo>
                    <a:pt x="561" y="160"/>
                  </a:lnTo>
                  <a:lnTo>
                    <a:pt x="558" y="160"/>
                  </a:lnTo>
                  <a:lnTo>
                    <a:pt x="558" y="163"/>
                  </a:lnTo>
                  <a:lnTo>
                    <a:pt x="555" y="160"/>
                  </a:lnTo>
                  <a:lnTo>
                    <a:pt x="555" y="160"/>
                  </a:lnTo>
                  <a:lnTo>
                    <a:pt x="558" y="160"/>
                  </a:lnTo>
                  <a:lnTo>
                    <a:pt x="558" y="160"/>
                  </a:lnTo>
                  <a:lnTo>
                    <a:pt x="561" y="160"/>
                  </a:lnTo>
                  <a:lnTo>
                    <a:pt x="561" y="158"/>
                  </a:lnTo>
                  <a:lnTo>
                    <a:pt x="561" y="158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6" y="158"/>
                  </a:lnTo>
                  <a:lnTo>
                    <a:pt x="566" y="158"/>
                  </a:lnTo>
                  <a:lnTo>
                    <a:pt x="566" y="158"/>
                  </a:lnTo>
                  <a:lnTo>
                    <a:pt x="569" y="158"/>
                  </a:lnTo>
                  <a:lnTo>
                    <a:pt x="569" y="158"/>
                  </a:lnTo>
                  <a:lnTo>
                    <a:pt x="569" y="158"/>
                  </a:lnTo>
                  <a:lnTo>
                    <a:pt x="571" y="155"/>
                  </a:lnTo>
                  <a:lnTo>
                    <a:pt x="571" y="155"/>
                  </a:lnTo>
                  <a:lnTo>
                    <a:pt x="571" y="155"/>
                  </a:lnTo>
                  <a:lnTo>
                    <a:pt x="571" y="152"/>
                  </a:lnTo>
                  <a:lnTo>
                    <a:pt x="571" y="152"/>
                  </a:lnTo>
                  <a:lnTo>
                    <a:pt x="571" y="150"/>
                  </a:lnTo>
                  <a:lnTo>
                    <a:pt x="571" y="150"/>
                  </a:lnTo>
                  <a:lnTo>
                    <a:pt x="571" y="147"/>
                  </a:lnTo>
                  <a:lnTo>
                    <a:pt x="569" y="147"/>
                  </a:lnTo>
                  <a:lnTo>
                    <a:pt x="569" y="147"/>
                  </a:lnTo>
                  <a:lnTo>
                    <a:pt x="569" y="147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9" y="150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6" y="147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52"/>
                  </a:lnTo>
                  <a:lnTo>
                    <a:pt x="561" y="152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1" y="150"/>
                  </a:lnTo>
                  <a:lnTo>
                    <a:pt x="563" y="150"/>
                  </a:lnTo>
                  <a:lnTo>
                    <a:pt x="563" y="150"/>
                  </a:lnTo>
                  <a:lnTo>
                    <a:pt x="563" y="147"/>
                  </a:lnTo>
                  <a:lnTo>
                    <a:pt x="563" y="147"/>
                  </a:lnTo>
                  <a:lnTo>
                    <a:pt x="563" y="147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1"/>
                  </a:lnTo>
                  <a:lnTo>
                    <a:pt x="563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58" y="144"/>
                  </a:lnTo>
                  <a:lnTo>
                    <a:pt x="558" y="144"/>
                  </a:lnTo>
                  <a:lnTo>
                    <a:pt x="558" y="141"/>
                  </a:lnTo>
                  <a:lnTo>
                    <a:pt x="555" y="141"/>
                  </a:lnTo>
                  <a:lnTo>
                    <a:pt x="555" y="141"/>
                  </a:lnTo>
                  <a:lnTo>
                    <a:pt x="555" y="141"/>
                  </a:lnTo>
                  <a:lnTo>
                    <a:pt x="555" y="139"/>
                  </a:lnTo>
                  <a:lnTo>
                    <a:pt x="555" y="139"/>
                  </a:lnTo>
                  <a:lnTo>
                    <a:pt x="558" y="139"/>
                  </a:lnTo>
                  <a:lnTo>
                    <a:pt x="558" y="139"/>
                  </a:lnTo>
                  <a:lnTo>
                    <a:pt x="558" y="139"/>
                  </a:lnTo>
                  <a:lnTo>
                    <a:pt x="561" y="139"/>
                  </a:lnTo>
                  <a:lnTo>
                    <a:pt x="561" y="139"/>
                  </a:lnTo>
                  <a:lnTo>
                    <a:pt x="561" y="139"/>
                  </a:lnTo>
                  <a:lnTo>
                    <a:pt x="563" y="139"/>
                  </a:lnTo>
                  <a:lnTo>
                    <a:pt x="563" y="139"/>
                  </a:lnTo>
                  <a:lnTo>
                    <a:pt x="566" y="136"/>
                  </a:lnTo>
                  <a:lnTo>
                    <a:pt x="566" y="136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28"/>
                  </a:lnTo>
                  <a:lnTo>
                    <a:pt x="563" y="125"/>
                  </a:lnTo>
                  <a:lnTo>
                    <a:pt x="566" y="125"/>
                  </a:lnTo>
                  <a:lnTo>
                    <a:pt x="566" y="125"/>
                  </a:lnTo>
                  <a:lnTo>
                    <a:pt x="566" y="123"/>
                  </a:lnTo>
                  <a:lnTo>
                    <a:pt x="563" y="123"/>
                  </a:lnTo>
                  <a:lnTo>
                    <a:pt x="563" y="123"/>
                  </a:lnTo>
                  <a:lnTo>
                    <a:pt x="561" y="123"/>
                  </a:lnTo>
                  <a:lnTo>
                    <a:pt x="561" y="123"/>
                  </a:lnTo>
                  <a:lnTo>
                    <a:pt x="561" y="123"/>
                  </a:lnTo>
                  <a:lnTo>
                    <a:pt x="558" y="123"/>
                  </a:lnTo>
                  <a:lnTo>
                    <a:pt x="558" y="123"/>
                  </a:lnTo>
                  <a:lnTo>
                    <a:pt x="555" y="123"/>
                  </a:lnTo>
                  <a:lnTo>
                    <a:pt x="558" y="123"/>
                  </a:lnTo>
                  <a:lnTo>
                    <a:pt x="558" y="123"/>
                  </a:lnTo>
                  <a:lnTo>
                    <a:pt x="558" y="120"/>
                  </a:lnTo>
                  <a:lnTo>
                    <a:pt x="561" y="120"/>
                  </a:lnTo>
                  <a:lnTo>
                    <a:pt x="561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3" y="120"/>
                  </a:lnTo>
                  <a:lnTo>
                    <a:pt x="566" y="120"/>
                  </a:lnTo>
                  <a:lnTo>
                    <a:pt x="566" y="117"/>
                  </a:lnTo>
                  <a:lnTo>
                    <a:pt x="566" y="117"/>
                  </a:lnTo>
                  <a:lnTo>
                    <a:pt x="569" y="117"/>
                  </a:lnTo>
                  <a:lnTo>
                    <a:pt x="569" y="115"/>
                  </a:lnTo>
                  <a:lnTo>
                    <a:pt x="569" y="115"/>
                  </a:lnTo>
                  <a:lnTo>
                    <a:pt x="566" y="112"/>
                  </a:lnTo>
                  <a:lnTo>
                    <a:pt x="566" y="112"/>
                  </a:lnTo>
                  <a:lnTo>
                    <a:pt x="566" y="112"/>
                  </a:lnTo>
                  <a:lnTo>
                    <a:pt x="563" y="112"/>
                  </a:lnTo>
                  <a:lnTo>
                    <a:pt x="563" y="112"/>
                  </a:lnTo>
                  <a:lnTo>
                    <a:pt x="563" y="112"/>
                  </a:lnTo>
                  <a:lnTo>
                    <a:pt x="561" y="112"/>
                  </a:lnTo>
                  <a:lnTo>
                    <a:pt x="561" y="112"/>
                  </a:lnTo>
                  <a:lnTo>
                    <a:pt x="558" y="112"/>
                  </a:lnTo>
                  <a:lnTo>
                    <a:pt x="558" y="112"/>
                  </a:lnTo>
                  <a:lnTo>
                    <a:pt x="555" y="112"/>
                  </a:lnTo>
                  <a:lnTo>
                    <a:pt x="555" y="115"/>
                  </a:lnTo>
                  <a:lnTo>
                    <a:pt x="553" y="115"/>
                  </a:lnTo>
                  <a:lnTo>
                    <a:pt x="553" y="115"/>
                  </a:lnTo>
                  <a:lnTo>
                    <a:pt x="550" y="115"/>
                  </a:lnTo>
                  <a:lnTo>
                    <a:pt x="550" y="115"/>
                  </a:lnTo>
                  <a:lnTo>
                    <a:pt x="550" y="115"/>
                  </a:lnTo>
                  <a:lnTo>
                    <a:pt x="550" y="112"/>
                  </a:lnTo>
                  <a:lnTo>
                    <a:pt x="550" y="112"/>
                  </a:lnTo>
                  <a:lnTo>
                    <a:pt x="550" y="109"/>
                  </a:lnTo>
                  <a:lnTo>
                    <a:pt x="550" y="109"/>
                  </a:lnTo>
                  <a:lnTo>
                    <a:pt x="553" y="107"/>
                  </a:lnTo>
                  <a:lnTo>
                    <a:pt x="553" y="107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3" y="104"/>
                  </a:lnTo>
                  <a:lnTo>
                    <a:pt x="555" y="107"/>
                  </a:lnTo>
                  <a:lnTo>
                    <a:pt x="555" y="104"/>
                  </a:lnTo>
                  <a:lnTo>
                    <a:pt x="558" y="104"/>
                  </a:lnTo>
                  <a:lnTo>
                    <a:pt x="561" y="104"/>
                  </a:lnTo>
                  <a:lnTo>
                    <a:pt x="561" y="104"/>
                  </a:lnTo>
                  <a:lnTo>
                    <a:pt x="561" y="104"/>
                  </a:lnTo>
                  <a:lnTo>
                    <a:pt x="563" y="104"/>
                  </a:lnTo>
                  <a:lnTo>
                    <a:pt x="563" y="101"/>
                  </a:lnTo>
                  <a:lnTo>
                    <a:pt x="563" y="101"/>
                  </a:lnTo>
                  <a:lnTo>
                    <a:pt x="566" y="99"/>
                  </a:lnTo>
                  <a:lnTo>
                    <a:pt x="566" y="99"/>
                  </a:lnTo>
                  <a:lnTo>
                    <a:pt x="566" y="96"/>
                  </a:lnTo>
                  <a:lnTo>
                    <a:pt x="566" y="93"/>
                  </a:lnTo>
                  <a:lnTo>
                    <a:pt x="566" y="91"/>
                  </a:lnTo>
                  <a:lnTo>
                    <a:pt x="563" y="91"/>
                  </a:lnTo>
                  <a:lnTo>
                    <a:pt x="563" y="88"/>
                  </a:lnTo>
                  <a:lnTo>
                    <a:pt x="563" y="88"/>
                  </a:lnTo>
                  <a:lnTo>
                    <a:pt x="561" y="85"/>
                  </a:lnTo>
                  <a:lnTo>
                    <a:pt x="561" y="85"/>
                  </a:lnTo>
                  <a:lnTo>
                    <a:pt x="561" y="83"/>
                  </a:lnTo>
                  <a:lnTo>
                    <a:pt x="561" y="83"/>
                  </a:lnTo>
                  <a:lnTo>
                    <a:pt x="561" y="83"/>
                  </a:lnTo>
                  <a:lnTo>
                    <a:pt x="563" y="80"/>
                  </a:lnTo>
                  <a:lnTo>
                    <a:pt x="563" y="80"/>
                  </a:lnTo>
                  <a:lnTo>
                    <a:pt x="563" y="80"/>
                  </a:lnTo>
                  <a:lnTo>
                    <a:pt x="563" y="77"/>
                  </a:lnTo>
                  <a:lnTo>
                    <a:pt x="563" y="77"/>
                  </a:lnTo>
                  <a:lnTo>
                    <a:pt x="561" y="75"/>
                  </a:lnTo>
                  <a:lnTo>
                    <a:pt x="561" y="75"/>
                  </a:lnTo>
                  <a:lnTo>
                    <a:pt x="558" y="75"/>
                  </a:lnTo>
                  <a:lnTo>
                    <a:pt x="558" y="72"/>
                  </a:lnTo>
                  <a:lnTo>
                    <a:pt x="555" y="72"/>
                  </a:lnTo>
                  <a:lnTo>
                    <a:pt x="555" y="69"/>
                  </a:lnTo>
                  <a:lnTo>
                    <a:pt x="553" y="67"/>
                  </a:lnTo>
                  <a:lnTo>
                    <a:pt x="550" y="67"/>
                  </a:lnTo>
                  <a:lnTo>
                    <a:pt x="550" y="64"/>
                  </a:lnTo>
                  <a:lnTo>
                    <a:pt x="550" y="64"/>
                  </a:lnTo>
                  <a:lnTo>
                    <a:pt x="550" y="64"/>
                  </a:lnTo>
                  <a:lnTo>
                    <a:pt x="550" y="61"/>
                  </a:lnTo>
                  <a:lnTo>
                    <a:pt x="553" y="61"/>
                  </a:lnTo>
                  <a:lnTo>
                    <a:pt x="553" y="61"/>
                  </a:lnTo>
                  <a:lnTo>
                    <a:pt x="553" y="59"/>
                  </a:lnTo>
                  <a:lnTo>
                    <a:pt x="555" y="59"/>
                  </a:lnTo>
                  <a:lnTo>
                    <a:pt x="555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58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3" y="59"/>
                  </a:lnTo>
                  <a:lnTo>
                    <a:pt x="563" y="59"/>
                  </a:lnTo>
                  <a:lnTo>
                    <a:pt x="563" y="59"/>
                  </a:lnTo>
                  <a:lnTo>
                    <a:pt x="566" y="59"/>
                  </a:lnTo>
                  <a:lnTo>
                    <a:pt x="566" y="59"/>
                  </a:lnTo>
                  <a:lnTo>
                    <a:pt x="566" y="59"/>
                  </a:lnTo>
                  <a:lnTo>
                    <a:pt x="566" y="56"/>
                  </a:lnTo>
                  <a:lnTo>
                    <a:pt x="566" y="56"/>
                  </a:lnTo>
                  <a:lnTo>
                    <a:pt x="566" y="53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51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6" y="48"/>
                  </a:lnTo>
                  <a:lnTo>
                    <a:pt x="563" y="45"/>
                  </a:lnTo>
                  <a:lnTo>
                    <a:pt x="563" y="45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3" y="40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3" y="43"/>
                  </a:lnTo>
                  <a:lnTo>
                    <a:pt x="561" y="43"/>
                  </a:lnTo>
                  <a:lnTo>
                    <a:pt x="558" y="40"/>
                  </a:lnTo>
                  <a:lnTo>
                    <a:pt x="558" y="40"/>
                  </a:lnTo>
                  <a:lnTo>
                    <a:pt x="561" y="40"/>
                  </a:lnTo>
                  <a:lnTo>
                    <a:pt x="561" y="37"/>
                  </a:lnTo>
                  <a:lnTo>
                    <a:pt x="558" y="37"/>
                  </a:lnTo>
                  <a:lnTo>
                    <a:pt x="561" y="37"/>
                  </a:lnTo>
                  <a:lnTo>
                    <a:pt x="561" y="35"/>
                  </a:lnTo>
                  <a:lnTo>
                    <a:pt x="561" y="35"/>
                  </a:lnTo>
                  <a:lnTo>
                    <a:pt x="561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3" y="35"/>
                  </a:lnTo>
                  <a:lnTo>
                    <a:pt x="566" y="37"/>
                  </a:lnTo>
                  <a:lnTo>
                    <a:pt x="566" y="37"/>
                  </a:lnTo>
                  <a:lnTo>
                    <a:pt x="566" y="35"/>
                  </a:lnTo>
                  <a:lnTo>
                    <a:pt x="566" y="35"/>
                  </a:lnTo>
                  <a:lnTo>
                    <a:pt x="566" y="32"/>
                  </a:lnTo>
                  <a:lnTo>
                    <a:pt x="569" y="32"/>
                  </a:lnTo>
                  <a:lnTo>
                    <a:pt x="569" y="29"/>
                  </a:lnTo>
                  <a:lnTo>
                    <a:pt x="569" y="29"/>
                  </a:lnTo>
                  <a:lnTo>
                    <a:pt x="566" y="27"/>
                  </a:lnTo>
                  <a:lnTo>
                    <a:pt x="566" y="27"/>
                  </a:lnTo>
                  <a:lnTo>
                    <a:pt x="566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69" y="27"/>
                  </a:lnTo>
                  <a:lnTo>
                    <a:pt x="571" y="27"/>
                  </a:lnTo>
                  <a:lnTo>
                    <a:pt x="571" y="27"/>
                  </a:lnTo>
                  <a:lnTo>
                    <a:pt x="571" y="27"/>
                  </a:lnTo>
                  <a:lnTo>
                    <a:pt x="574" y="24"/>
                  </a:lnTo>
                  <a:lnTo>
                    <a:pt x="571" y="24"/>
                  </a:lnTo>
                  <a:lnTo>
                    <a:pt x="571" y="24"/>
                  </a:lnTo>
                  <a:lnTo>
                    <a:pt x="571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4"/>
                  </a:lnTo>
                  <a:lnTo>
                    <a:pt x="569" y="21"/>
                  </a:lnTo>
                  <a:lnTo>
                    <a:pt x="569" y="21"/>
                  </a:lnTo>
                  <a:lnTo>
                    <a:pt x="566" y="21"/>
                  </a:lnTo>
                  <a:lnTo>
                    <a:pt x="566" y="19"/>
                  </a:lnTo>
                  <a:lnTo>
                    <a:pt x="566" y="19"/>
                  </a:lnTo>
                  <a:lnTo>
                    <a:pt x="563" y="19"/>
                  </a:lnTo>
                  <a:lnTo>
                    <a:pt x="563" y="19"/>
                  </a:lnTo>
                  <a:lnTo>
                    <a:pt x="563" y="19"/>
                  </a:lnTo>
                  <a:lnTo>
                    <a:pt x="561" y="19"/>
                  </a:lnTo>
                  <a:lnTo>
                    <a:pt x="561" y="19"/>
                  </a:lnTo>
                  <a:lnTo>
                    <a:pt x="561" y="19"/>
                  </a:lnTo>
                  <a:lnTo>
                    <a:pt x="558" y="16"/>
                  </a:lnTo>
                  <a:lnTo>
                    <a:pt x="558" y="16"/>
                  </a:lnTo>
                  <a:lnTo>
                    <a:pt x="558" y="16"/>
                  </a:lnTo>
                  <a:lnTo>
                    <a:pt x="555" y="16"/>
                  </a:lnTo>
                  <a:lnTo>
                    <a:pt x="555" y="16"/>
                  </a:lnTo>
                  <a:lnTo>
                    <a:pt x="553" y="16"/>
                  </a:lnTo>
                  <a:lnTo>
                    <a:pt x="553" y="16"/>
                  </a:lnTo>
                  <a:lnTo>
                    <a:pt x="550" y="16"/>
                  </a:lnTo>
                  <a:lnTo>
                    <a:pt x="550" y="16"/>
                  </a:lnTo>
                  <a:lnTo>
                    <a:pt x="547" y="13"/>
                  </a:lnTo>
                  <a:lnTo>
                    <a:pt x="547" y="13"/>
                  </a:lnTo>
                  <a:lnTo>
                    <a:pt x="547" y="13"/>
                  </a:lnTo>
                  <a:lnTo>
                    <a:pt x="545" y="13"/>
                  </a:lnTo>
                  <a:lnTo>
                    <a:pt x="545" y="13"/>
                  </a:lnTo>
                  <a:lnTo>
                    <a:pt x="542" y="16"/>
                  </a:lnTo>
                  <a:lnTo>
                    <a:pt x="542" y="19"/>
                  </a:lnTo>
                  <a:lnTo>
                    <a:pt x="539" y="19"/>
                  </a:lnTo>
                  <a:lnTo>
                    <a:pt x="539" y="19"/>
                  </a:lnTo>
                  <a:lnTo>
                    <a:pt x="537" y="19"/>
                  </a:lnTo>
                  <a:lnTo>
                    <a:pt x="537" y="19"/>
                  </a:lnTo>
                  <a:lnTo>
                    <a:pt x="534" y="19"/>
                  </a:lnTo>
                  <a:lnTo>
                    <a:pt x="534" y="16"/>
                  </a:lnTo>
                  <a:lnTo>
                    <a:pt x="531" y="16"/>
                  </a:lnTo>
                  <a:lnTo>
                    <a:pt x="531" y="16"/>
                  </a:lnTo>
                  <a:lnTo>
                    <a:pt x="531" y="13"/>
                  </a:lnTo>
                  <a:lnTo>
                    <a:pt x="531" y="13"/>
                  </a:lnTo>
                  <a:lnTo>
                    <a:pt x="529" y="13"/>
                  </a:lnTo>
                  <a:lnTo>
                    <a:pt x="526" y="13"/>
                  </a:lnTo>
                  <a:lnTo>
                    <a:pt x="526" y="13"/>
                  </a:lnTo>
                  <a:lnTo>
                    <a:pt x="523" y="13"/>
                  </a:lnTo>
                  <a:lnTo>
                    <a:pt x="523" y="13"/>
                  </a:lnTo>
                  <a:lnTo>
                    <a:pt x="523" y="16"/>
                  </a:lnTo>
                  <a:lnTo>
                    <a:pt x="521" y="16"/>
                  </a:lnTo>
                  <a:lnTo>
                    <a:pt x="518" y="16"/>
                  </a:lnTo>
                  <a:lnTo>
                    <a:pt x="518" y="13"/>
                  </a:lnTo>
                  <a:lnTo>
                    <a:pt x="518" y="13"/>
                  </a:lnTo>
                  <a:lnTo>
                    <a:pt x="518" y="11"/>
                  </a:lnTo>
                  <a:lnTo>
                    <a:pt x="518" y="11"/>
                  </a:lnTo>
                  <a:lnTo>
                    <a:pt x="518" y="8"/>
                  </a:lnTo>
                  <a:lnTo>
                    <a:pt x="518" y="8"/>
                  </a:lnTo>
                  <a:lnTo>
                    <a:pt x="518" y="8"/>
                  </a:lnTo>
                  <a:lnTo>
                    <a:pt x="518" y="5"/>
                  </a:lnTo>
                  <a:lnTo>
                    <a:pt x="518" y="5"/>
                  </a:lnTo>
                  <a:lnTo>
                    <a:pt x="518" y="3"/>
                  </a:lnTo>
                  <a:lnTo>
                    <a:pt x="518" y="3"/>
                  </a:lnTo>
                  <a:lnTo>
                    <a:pt x="515" y="3"/>
                  </a:lnTo>
                  <a:lnTo>
                    <a:pt x="515" y="0"/>
                  </a:lnTo>
                  <a:lnTo>
                    <a:pt x="513" y="0"/>
                  </a:lnTo>
                  <a:lnTo>
                    <a:pt x="510" y="0"/>
                  </a:lnTo>
                  <a:lnTo>
                    <a:pt x="510" y="0"/>
                  </a:lnTo>
                  <a:lnTo>
                    <a:pt x="507" y="0"/>
                  </a:lnTo>
                  <a:lnTo>
                    <a:pt x="507" y="0"/>
                  </a:lnTo>
                  <a:lnTo>
                    <a:pt x="507" y="0"/>
                  </a:lnTo>
                  <a:lnTo>
                    <a:pt x="505" y="3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499" y="5"/>
                  </a:lnTo>
                  <a:lnTo>
                    <a:pt x="497" y="3"/>
                  </a:lnTo>
                  <a:lnTo>
                    <a:pt x="497" y="3"/>
                  </a:lnTo>
                  <a:lnTo>
                    <a:pt x="497" y="5"/>
                  </a:lnTo>
                  <a:lnTo>
                    <a:pt x="494" y="5"/>
                  </a:lnTo>
                  <a:lnTo>
                    <a:pt x="494" y="8"/>
                  </a:lnTo>
                  <a:lnTo>
                    <a:pt x="491" y="8"/>
                  </a:lnTo>
                  <a:lnTo>
                    <a:pt x="491" y="11"/>
                  </a:lnTo>
                  <a:lnTo>
                    <a:pt x="489" y="13"/>
                  </a:lnTo>
                  <a:lnTo>
                    <a:pt x="489" y="13"/>
                  </a:lnTo>
                  <a:lnTo>
                    <a:pt x="486" y="11"/>
                  </a:lnTo>
                  <a:lnTo>
                    <a:pt x="486" y="13"/>
                  </a:lnTo>
                  <a:lnTo>
                    <a:pt x="486" y="13"/>
                  </a:lnTo>
                  <a:lnTo>
                    <a:pt x="486" y="16"/>
                  </a:lnTo>
                  <a:lnTo>
                    <a:pt x="489" y="16"/>
                  </a:lnTo>
                  <a:lnTo>
                    <a:pt x="486" y="19"/>
                  </a:lnTo>
                  <a:lnTo>
                    <a:pt x="486" y="21"/>
                  </a:lnTo>
                  <a:lnTo>
                    <a:pt x="486" y="21"/>
                  </a:lnTo>
                  <a:lnTo>
                    <a:pt x="486" y="24"/>
                  </a:lnTo>
                  <a:lnTo>
                    <a:pt x="486" y="24"/>
                  </a:lnTo>
                  <a:lnTo>
                    <a:pt x="486" y="27"/>
                  </a:lnTo>
                  <a:lnTo>
                    <a:pt x="486" y="29"/>
                  </a:lnTo>
                  <a:lnTo>
                    <a:pt x="483" y="29"/>
                  </a:lnTo>
                  <a:lnTo>
                    <a:pt x="483" y="32"/>
                  </a:lnTo>
                  <a:lnTo>
                    <a:pt x="481" y="32"/>
                  </a:lnTo>
                  <a:lnTo>
                    <a:pt x="483" y="32"/>
                  </a:lnTo>
                  <a:lnTo>
                    <a:pt x="483" y="35"/>
                  </a:lnTo>
                  <a:lnTo>
                    <a:pt x="483" y="35"/>
                  </a:lnTo>
                  <a:lnTo>
                    <a:pt x="483" y="37"/>
                  </a:lnTo>
                  <a:lnTo>
                    <a:pt x="483" y="40"/>
                  </a:lnTo>
                  <a:lnTo>
                    <a:pt x="483" y="40"/>
                  </a:lnTo>
                  <a:lnTo>
                    <a:pt x="483" y="43"/>
                  </a:lnTo>
                  <a:lnTo>
                    <a:pt x="481" y="43"/>
                  </a:lnTo>
                  <a:lnTo>
                    <a:pt x="481" y="43"/>
                  </a:lnTo>
                  <a:lnTo>
                    <a:pt x="478" y="43"/>
                  </a:lnTo>
                  <a:lnTo>
                    <a:pt x="481" y="48"/>
                  </a:lnTo>
                  <a:lnTo>
                    <a:pt x="481" y="48"/>
                  </a:lnTo>
                  <a:lnTo>
                    <a:pt x="481" y="51"/>
                  </a:lnTo>
                  <a:lnTo>
                    <a:pt x="481" y="51"/>
                  </a:lnTo>
                  <a:lnTo>
                    <a:pt x="481" y="51"/>
                  </a:lnTo>
                  <a:lnTo>
                    <a:pt x="478" y="51"/>
                  </a:lnTo>
                  <a:lnTo>
                    <a:pt x="475" y="51"/>
                  </a:lnTo>
                  <a:lnTo>
                    <a:pt x="473" y="51"/>
                  </a:lnTo>
                  <a:lnTo>
                    <a:pt x="473" y="51"/>
                  </a:lnTo>
                  <a:lnTo>
                    <a:pt x="470" y="51"/>
                  </a:lnTo>
                  <a:lnTo>
                    <a:pt x="467" y="53"/>
                  </a:lnTo>
                  <a:lnTo>
                    <a:pt x="467" y="53"/>
                  </a:lnTo>
                  <a:lnTo>
                    <a:pt x="465" y="53"/>
                  </a:lnTo>
                  <a:lnTo>
                    <a:pt x="465" y="56"/>
                  </a:lnTo>
                  <a:lnTo>
                    <a:pt x="462" y="59"/>
                  </a:lnTo>
                  <a:lnTo>
                    <a:pt x="462" y="61"/>
                  </a:lnTo>
                  <a:lnTo>
                    <a:pt x="462" y="61"/>
                  </a:lnTo>
                  <a:lnTo>
                    <a:pt x="462" y="64"/>
                  </a:lnTo>
                  <a:lnTo>
                    <a:pt x="465" y="64"/>
                  </a:lnTo>
                  <a:lnTo>
                    <a:pt x="462" y="67"/>
                  </a:lnTo>
                  <a:lnTo>
                    <a:pt x="462" y="67"/>
                  </a:lnTo>
                  <a:lnTo>
                    <a:pt x="462" y="67"/>
                  </a:lnTo>
                  <a:lnTo>
                    <a:pt x="459" y="69"/>
                  </a:lnTo>
                  <a:lnTo>
                    <a:pt x="459" y="69"/>
                  </a:lnTo>
                  <a:lnTo>
                    <a:pt x="459" y="69"/>
                  </a:lnTo>
                  <a:lnTo>
                    <a:pt x="457" y="67"/>
                  </a:lnTo>
                  <a:lnTo>
                    <a:pt x="457" y="67"/>
                  </a:lnTo>
                  <a:lnTo>
                    <a:pt x="454" y="67"/>
                  </a:lnTo>
                  <a:lnTo>
                    <a:pt x="454" y="67"/>
                  </a:lnTo>
                  <a:lnTo>
                    <a:pt x="451" y="69"/>
                  </a:lnTo>
                  <a:lnTo>
                    <a:pt x="451" y="69"/>
                  </a:lnTo>
                  <a:lnTo>
                    <a:pt x="451" y="69"/>
                  </a:lnTo>
                  <a:lnTo>
                    <a:pt x="449" y="72"/>
                  </a:lnTo>
                  <a:lnTo>
                    <a:pt x="449" y="72"/>
                  </a:lnTo>
                  <a:lnTo>
                    <a:pt x="449" y="75"/>
                  </a:lnTo>
                  <a:lnTo>
                    <a:pt x="449" y="75"/>
                  </a:lnTo>
                  <a:lnTo>
                    <a:pt x="449" y="75"/>
                  </a:lnTo>
                  <a:lnTo>
                    <a:pt x="449" y="77"/>
                  </a:lnTo>
                  <a:lnTo>
                    <a:pt x="449" y="77"/>
                  </a:lnTo>
                  <a:lnTo>
                    <a:pt x="449" y="80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9" y="85"/>
                  </a:lnTo>
                  <a:lnTo>
                    <a:pt x="449" y="85"/>
                  </a:lnTo>
                  <a:lnTo>
                    <a:pt x="449" y="88"/>
                  </a:lnTo>
                  <a:lnTo>
                    <a:pt x="446" y="88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3" y="93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3" y="99"/>
                  </a:lnTo>
                  <a:lnTo>
                    <a:pt x="443" y="101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38" y="101"/>
                  </a:lnTo>
                  <a:lnTo>
                    <a:pt x="435" y="101"/>
                  </a:lnTo>
                  <a:lnTo>
                    <a:pt x="435" y="104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5" y="109"/>
                  </a:lnTo>
                  <a:lnTo>
                    <a:pt x="435" y="109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4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0" y="107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30" y="112"/>
                  </a:lnTo>
                  <a:lnTo>
                    <a:pt x="430" y="112"/>
                  </a:lnTo>
                  <a:lnTo>
                    <a:pt x="430" y="115"/>
                  </a:lnTo>
                  <a:lnTo>
                    <a:pt x="427" y="115"/>
                  </a:lnTo>
                  <a:lnTo>
                    <a:pt x="427" y="117"/>
                  </a:lnTo>
                  <a:lnTo>
                    <a:pt x="430" y="117"/>
                  </a:lnTo>
                  <a:lnTo>
                    <a:pt x="430" y="117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30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5" y="125"/>
                  </a:lnTo>
                  <a:lnTo>
                    <a:pt x="427" y="125"/>
                  </a:lnTo>
                  <a:lnTo>
                    <a:pt x="427" y="128"/>
                  </a:lnTo>
                  <a:lnTo>
                    <a:pt x="427" y="128"/>
                  </a:lnTo>
                  <a:lnTo>
                    <a:pt x="427" y="128"/>
                  </a:lnTo>
                  <a:lnTo>
                    <a:pt x="425" y="131"/>
                  </a:lnTo>
                  <a:lnTo>
                    <a:pt x="425" y="131"/>
                  </a:lnTo>
                  <a:lnTo>
                    <a:pt x="422" y="131"/>
                  </a:lnTo>
                  <a:lnTo>
                    <a:pt x="422" y="133"/>
                  </a:lnTo>
                  <a:lnTo>
                    <a:pt x="422" y="133"/>
                  </a:lnTo>
                  <a:lnTo>
                    <a:pt x="422" y="133"/>
                  </a:lnTo>
                  <a:lnTo>
                    <a:pt x="419" y="133"/>
                  </a:lnTo>
                  <a:lnTo>
                    <a:pt x="419" y="133"/>
                  </a:lnTo>
                  <a:lnTo>
                    <a:pt x="419" y="136"/>
                  </a:lnTo>
                  <a:lnTo>
                    <a:pt x="417" y="136"/>
                  </a:lnTo>
                  <a:lnTo>
                    <a:pt x="417" y="136"/>
                  </a:lnTo>
                  <a:lnTo>
                    <a:pt x="417" y="136"/>
                  </a:lnTo>
                  <a:lnTo>
                    <a:pt x="414" y="136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4" y="139"/>
                  </a:lnTo>
                  <a:lnTo>
                    <a:pt x="411" y="139"/>
                  </a:lnTo>
                  <a:lnTo>
                    <a:pt x="411" y="141"/>
                  </a:lnTo>
                  <a:lnTo>
                    <a:pt x="409" y="141"/>
                  </a:lnTo>
                  <a:lnTo>
                    <a:pt x="409" y="141"/>
                  </a:lnTo>
                  <a:lnTo>
                    <a:pt x="409" y="144"/>
                  </a:lnTo>
                  <a:lnTo>
                    <a:pt x="409" y="144"/>
                  </a:lnTo>
                  <a:lnTo>
                    <a:pt x="409" y="147"/>
                  </a:lnTo>
                  <a:lnTo>
                    <a:pt x="409" y="147"/>
                  </a:lnTo>
                  <a:lnTo>
                    <a:pt x="409" y="147"/>
                  </a:lnTo>
                  <a:lnTo>
                    <a:pt x="406" y="147"/>
                  </a:lnTo>
                  <a:lnTo>
                    <a:pt x="406" y="150"/>
                  </a:lnTo>
                  <a:lnTo>
                    <a:pt x="406" y="150"/>
                  </a:lnTo>
                  <a:lnTo>
                    <a:pt x="403" y="150"/>
                  </a:lnTo>
                  <a:lnTo>
                    <a:pt x="403" y="150"/>
                  </a:lnTo>
                  <a:lnTo>
                    <a:pt x="403" y="150"/>
                  </a:lnTo>
                  <a:lnTo>
                    <a:pt x="403" y="147"/>
                  </a:lnTo>
                  <a:lnTo>
                    <a:pt x="401" y="147"/>
                  </a:lnTo>
                  <a:lnTo>
                    <a:pt x="401" y="147"/>
                  </a:lnTo>
                  <a:lnTo>
                    <a:pt x="398" y="147"/>
                  </a:lnTo>
                  <a:lnTo>
                    <a:pt x="398" y="147"/>
                  </a:lnTo>
                  <a:lnTo>
                    <a:pt x="395" y="147"/>
                  </a:lnTo>
                  <a:lnTo>
                    <a:pt x="395" y="144"/>
                  </a:lnTo>
                  <a:lnTo>
                    <a:pt x="395" y="144"/>
                  </a:lnTo>
                  <a:lnTo>
                    <a:pt x="393" y="141"/>
                  </a:lnTo>
                  <a:lnTo>
                    <a:pt x="393" y="144"/>
                  </a:lnTo>
                  <a:lnTo>
                    <a:pt x="390" y="144"/>
                  </a:lnTo>
                  <a:lnTo>
                    <a:pt x="390" y="144"/>
                  </a:lnTo>
                  <a:lnTo>
                    <a:pt x="390" y="141"/>
                  </a:lnTo>
                  <a:lnTo>
                    <a:pt x="387" y="141"/>
                  </a:lnTo>
                  <a:lnTo>
                    <a:pt x="387" y="139"/>
                  </a:lnTo>
                  <a:lnTo>
                    <a:pt x="385" y="139"/>
                  </a:lnTo>
                  <a:lnTo>
                    <a:pt x="382" y="141"/>
                  </a:lnTo>
                  <a:lnTo>
                    <a:pt x="382" y="141"/>
                  </a:lnTo>
                  <a:lnTo>
                    <a:pt x="379" y="139"/>
                  </a:lnTo>
                  <a:lnTo>
                    <a:pt x="379" y="136"/>
                  </a:lnTo>
                  <a:lnTo>
                    <a:pt x="377" y="133"/>
                  </a:lnTo>
                  <a:lnTo>
                    <a:pt x="377" y="133"/>
                  </a:lnTo>
                  <a:lnTo>
                    <a:pt x="377" y="133"/>
                  </a:lnTo>
                  <a:lnTo>
                    <a:pt x="374" y="131"/>
                  </a:lnTo>
                  <a:lnTo>
                    <a:pt x="374" y="131"/>
                  </a:lnTo>
                  <a:lnTo>
                    <a:pt x="371" y="128"/>
                  </a:lnTo>
                  <a:lnTo>
                    <a:pt x="369" y="131"/>
                  </a:lnTo>
                  <a:lnTo>
                    <a:pt x="369" y="133"/>
                  </a:lnTo>
                  <a:lnTo>
                    <a:pt x="369" y="133"/>
                  </a:lnTo>
                  <a:lnTo>
                    <a:pt x="369" y="136"/>
                  </a:lnTo>
                  <a:lnTo>
                    <a:pt x="366" y="136"/>
                  </a:lnTo>
                  <a:lnTo>
                    <a:pt x="366" y="136"/>
                  </a:lnTo>
                  <a:lnTo>
                    <a:pt x="366" y="136"/>
                  </a:lnTo>
                  <a:lnTo>
                    <a:pt x="363" y="136"/>
                  </a:lnTo>
                  <a:lnTo>
                    <a:pt x="363" y="139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61" y="139"/>
                  </a:lnTo>
                  <a:lnTo>
                    <a:pt x="358" y="139"/>
                  </a:lnTo>
                  <a:lnTo>
                    <a:pt x="358" y="139"/>
                  </a:lnTo>
                  <a:lnTo>
                    <a:pt x="355" y="141"/>
                  </a:lnTo>
                  <a:lnTo>
                    <a:pt x="353" y="139"/>
                  </a:lnTo>
                  <a:lnTo>
                    <a:pt x="353" y="139"/>
                  </a:lnTo>
                  <a:lnTo>
                    <a:pt x="350" y="139"/>
                  </a:lnTo>
                  <a:lnTo>
                    <a:pt x="350" y="139"/>
                  </a:lnTo>
                  <a:lnTo>
                    <a:pt x="347" y="139"/>
                  </a:lnTo>
                  <a:lnTo>
                    <a:pt x="347" y="139"/>
                  </a:lnTo>
                  <a:lnTo>
                    <a:pt x="344" y="139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39"/>
                  </a:lnTo>
                  <a:lnTo>
                    <a:pt x="339" y="139"/>
                  </a:lnTo>
                  <a:lnTo>
                    <a:pt x="339" y="139"/>
                  </a:lnTo>
                  <a:lnTo>
                    <a:pt x="336" y="139"/>
                  </a:lnTo>
                  <a:lnTo>
                    <a:pt x="336" y="139"/>
                  </a:lnTo>
                  <a:lnTo>
                    <a:pt x="336" y="139"/>
                  </a:lnTo>
                  <a:lnTo>
                    <a:pt x="334" y="139"/>
                  </a:lnTo>
                  <a:lnTo>
                    <a:pt x="331" y="139"/>
                  </a:lnTo>
                  <a:lnTo>
                    <a:pt x="331" y="139"/>
                  </a:lnTo>
                  <a:lnTo>
                    <a:pt x="328" y="141"/>
                  </a:lnTo>
                  <a:lnTo>
                    <a:pt x="328" y="141"/>
                  </a:lnTo>
                  <a:lnTo>
                    <a:pt x="326" y="141"/>
                  </a:lnTo>
                  <a:lnTo>
                    <a:pt x="326" y="141"/>
                  </a:lnTo>
                  <a:lnTo>
                    <a:pt x="323" y="141"/>
                  </a:lnTo>
                  <a:lnTo>
                    <a:pt x="320" y="141"/>
                  </a:lnTo>
                  <a:lnTo>
                    <a:pt x="320" y="141"/>
                  </a:lnTo>
                  <a:lnTo>
                    <a:pt x="320" y="144"/>
                  </a:lnTo>
                  <a:lnTo>
                    <a:pt x="320" y="144"/>
                  </a:lnTo>
                  <a:lnTo>
                    <a:pt x="318" y="147"/>
                  </a:lnTo>
                  <a:lnTo>
                    <a:pt x="318" y="150"/>
                  </a:lnTo>
                  <a:lnTo>
                    <a:pt x="315" y="150"/>
                  </a:lnTo>
                  <a:lnTo>
                    <a:pt x="315" y="150"/>
                  </a:lnTo>
                  <a:lnTo>
                    <a:pt x="312" y="150"/>
                  </a:lnTo>
                  <a:lnTo>
                    <a:pt x="312" y="152"/>
                  </a:lnTo>
                  <a:lnTo>
                    <a:pt x="310" y="152"/>
                  </a:lnTo>
                  <a:lnTo>
                    <a:pt x="310" y="152"/>
                  </a:lnTo>
                  <a:lnTo>
                    <a:pt x="310" y="152"/>
                  </a:lnTo>
                  <a:lnTo>
                    <a:pt x="307" y="152"/>
                  </a:lnTo>
                  <a:lnTo>
                    <a:pt x="307" y="152"/>
                  </a:lnTo>
                  <a:lnTo>
                    <a:pt x="307" y="152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2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1" y="158"/>
                  </a:lnTo>
                  <a:lnTo>
                    <a:pt x="291" y="158"/>
                  </a:lnTo>
                  <a:lnTo>
                    <a:pt x="291" y="155"/>
                  </a:lnTo>
                  <a:lnTo>
                    <a:pt x="291" y="152"/>
                  </a:lnTo>
                  <a:lnTo>
                    <a:pt x="291" y="150"/>
                  </a:lnTo>
                  <a:lnTo>
                    <a:pt x="291" y="150"/>
                  </a:lnTo>
                  <a:lnTo>
                    <a:pt x="291" y="147"/>
                  </a:lnTo>
                  <a:lnTo>
                    <a:pt x="291" y="147"/>
                  </a:lnTo>
                  <a:lnTo>
                    <a:pt x="288" y="144"/>
                  </a:lnTo>
                  <a:lnTo>
                    <a:pt x="288" y="144"/>
                  </a:lnTo>
                  <a:lnTo>
                    <a:pt x="288" y="141"/>
                  </a:lnTo>
                  <a:lnTo>
                    <a:pt x="291" y="141"/>
                  </a:lnTo>
                  <a:lnTo>
                    <a:pt x="291" y="141"/>
                  </a:lnTo>
                  <a:lnTo>
                    <a:pt x="294" y="139"/>
                  </a:lnTo>
                  <a:lnTo>
                    <a:pt x="291" y="139"/>
                  </a:lnTo>
                  <a:lnTo>
                    <a:pt x="291" y="139"/>
                  </a:lnTo>
                  <a:lnTo>
                    <a:pt x="288" y="139"/>
                  </a:lnTo>
                  <a:lnTo>
                    <a:pt x="288" y="139"/>
                  </a:lnTo>
                  <a:lnTo>
                    <a:pt x="288" y="136"/>
                  </a:lnTo>
                  <a:lnTo>
                    <a:pt x="288" y="136"/>
                  </a:lnTo>
                  <a:lnTo>
                    <a:pt x="291" y="136"/>
                  </a:lnTo>
                  <a:lnTo>
                    <a:pt x="291" y="133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6" y="125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0"/>
                  </a:lnTo>
                  <a:lnTo>
                    <a:pt x="286" y="120"/>
                  </a:lnTo>
                  <a:lnTo>
                    <a:pt x="286" y="117"/>
                  </a:lnTo>
                  <a:lnTo>
                    <a:pt x="286" y="115"/>
                  </a:lnTo>
                  <a:lnTo>
                    <a:pt x="286" y="112"/>
                  </a:lnTo>
                  <a:lnTo>
                    <a:pt x="286" y="112"/>
                  </a:lnTo>
                  <a:lnTo>
                    <a:pt x="283" y="109"/>
                  </a:lnTo>
                  <a:lnTo>
                    <a:pt x="283" y="109"/>
                  </a:lnTo>
                  <a:lnTo>
                    <a:pt x="283" y="107"/>
                  </a:lnTo>
                  <a:lnTo>
                    <a:pt x="283" y="107"/>
                  </a:lnTo>
                  <a:lnTo>
                    <a:pt x="283" y="104"/>
                  </a:lnTo>
                  <a:lnTo>
                    <a:pt x="283" y="101"/>
                  </a:lnTo>
                  <a:lnTo>
                    <a:pt x="283" y="101"/>
                  </a:lnTo>
                  <a:lnTo>
                    <a:pt x="283" y="99"/>
                  </a:lnTo>
                  <a:lnTo>
                    <a:pt x="283" y="96"/>
                  </a:lnTo>
                  <a:lnTo>
                    <a:pt x="286" y="96"/>
                  </a:lnTo>
                  <a:lnTo>
                    <a:pt x="286" y="93"/>
                  </a:lnTo>
                  <a:lnTo>
                    <a:pt x="286" y="91"/>
                  </a:lnTo>
                  <a:lnTo>
                    <a:pt x="286" y="91"/>
                  </a:lnTo>
                  <a:lnTo>
                    <a:pt x="286" y="88"/>
                  </a:lnTo>
                  <a:lnTo>
                    <a:pt x="286" y="88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6" y="85"/>
                  </a:lnTo>
                  <a:lnTo>
                    <a:pt x="283" y="85"/>
                  </a:lnTo>
                  <a:lnTo>
                    <a:pt x="283" y="83"/>
                  </a:lnTo>
                  <a:lnTo>
                    <a:pt x="283" y="80"/>
                  </a:lnTo>
                  <a:lnTo>
                    <a:pt x="283" y="80"/>
                  </a:lnTo>
                  <a:lnTo>
                    <a:pt x="280" y="77"/>
                  </a:lnTo>
                  <a:lnTo>
                    <a:pt x="280" y="77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5" y="75"/>
                  </a:lnTo>
                  <a:lnTo>
                    <a:pt x="275" y="75"/>
                  </a:lnTo>
                  <a:lnTo>
                    <a:pt x="275" y="75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67" y="69"/>
                  </a:lnTo>
                  <a:lnTo>
                    <a:pt x="267" y="69"/>
                  </a:lnTo>
                  <a:lnTo>
                    <a:pt x="267" y="69"/>
                  </a:lnTo>
                  <a:lnTo>
                    <a:pt x="264" y="69"/>
                  </a:lnTo>
                  <a:lnTo>
                    <a:pt x="264" y="69"/>
                  </a:lnTo>
                  <a:lnTo>
                    <a:pt x="262" y="72"/>
                  </a:lnTo>
                  <a:lnTo>
                    <a:pt x="262" y="72"/>
                  </a:lnTo>
                  <a:lnTo>
                    <a:pt x="259" y="72"/>
                  </a:lnTo>
                  <a:lnTo>
                    <a:pt x="259" y="72"/>
                  </a:lnTo>
                  <a:lnTo>
                    <a:pt x="256" y="69"/>
                  </a:lnTo>
                  <a:lnTo>
                    <a:pt x="256" y="69"/>
                  </a:lnTo>
                  <a:lnTo>
                    <a:pt x="256" y="69"/>
                  </a:lnTo>
                  <a:lnTo>
                    <a:pt x="254" y="69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1" y="67"/>
                  </a:lnTo>
                  <a:lnTo>
                    <a:pt x="251" y="69"/>
                  </a:lnTo>
                  <a:lnTo>
                    <a:pt x="248" y="69"/>
                  </a:lnTo>
                  <a:lnTo>
                    <a:pt x="248" y="72"/>
                  </a:lnTo>
                  <a:lnTo>
                    <a:pt x="248" y="72"/>
                  </a:lnTo>
                  <a:lnTo>
                    <a:pt x="246" y="75"/>
                  </a:lnTo>
                  <a:lnTo>
                    <a:pt x="243" y="77"/>
                  </a:lnTo>
                  <a:lnTo>
                    <a:pt x="243" y="77"/>
                  </a:lnTo>
                  <a:lnTo>
                    <a:pt x="240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5" y="80"/>
                  </a:lnTo>
                  <a:lnTo>
                    <a:pt x="232" y="80"/>
                  </a:lnTo>
                  <a:lnTo>
                    <a:pt x="232" y="77"/>
                  </a:lnTo>
                  <a:lnTo>
                    <a:pt x="232" y="77"/>
                  </a:lnTo>
                  <a:lnTo>
                    <a:pt x="232" y="77"/>
                  </a:lnTo>
                  <a:lnTo>
                    <a:pt x="230" y="77"/>
                  </a:lnTo>
                  <a:lnTo>
                    <a:pt x="230" y="75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7" y="75"/>
                  </a:lnTo>
                  <a:lnTo>
                    <a:pt x="224" y="72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19" y="72"/>
                  </a:lnTo>
                  <a:lnTo>
                    <a:pt x="219" y="69"/>
                  </a:lnTo>
                  <a:lnTo>
                    <a:pt x="216" y="69"/>
                  </a:lnTo>
                  <a:lnTo>
                    <a:pt x="216" y="69"/>
                  </a:lnTo>
                  <a:lnTo>
                    <a:pt x="214" y="72"/>
                  </a:lnTo>
                  <a:lnTo>
                    <a:pt x="208" y="72"/>
                  </a:lnTo>
                  <a:lnTo>
                    <a:pt x="206" y="72"/>
                  </a:lnTo>
                  <a:lnTo>
                    <a:pt x="203" y="69"/>
                  </a:lnTo>
                  <a:lnTo>
                    <a:pt x="200" y="69"/>
                  </a:lnTo>
                  <a:lnTo>
                    <a:pt x="200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2" y="77"/>
                  </a:lnTo>
                  <a:lnTo>
                    <a:pt x="192" y="77"/>
                  </a:lnTo>
                  <a:lnTo>
                    <a:pt x="190" y="77"/>
                  </a:lnTo>
                  <a:lnTo>
                    <a:pt x="190" y="80"/>
                  </a:lnTo>
                  <a:lnTo>
                    <a:pt x="192" y="83"/>
                  </a:lnTo>
                  <a:lnTo>
                    <a:pt x="190" y="83"/>
                  </a:lnTo>
                  <a:lnTo>
                    <a:pt x="190" y="85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82" y="91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79" y="91"/>
                  </a:lnTo>
                  <a:lnTo>
                    <a:pt x="179" y="88"/>
                  </a:lnTo>
                  <a:lnTo>
                    <a:pt x="176" y="91"/>
                  </a:lnTo>
                  <a:lnTo>
                    <a:pt x="176" y="91"/>
                  </a:lnTo>
                  <a:lnTo>
                    <a:pt x="176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4" y="93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68" y="96"/>
                  </a:lnTo>
                  <a:lnTo>
                    <a:pt x="168" y="93"/>
                  </a:lnTo>
                  <a:lnTo>
                    <a:pt x="166" y="93"/>
                  </a:lnTo>
                  <a:lnTo>
                    <a:pt x="166" y="93"/>
                  </a:lnTo>
                  <a:lnTo>
                    <a:pt x="166" y="91"/>
                  </a:lnTo>
                  <a:lnTo>
                    <a:pt x="163" y="91"/>
                  </a:lnTo>
                  <a:lnTo>
                    <a:pt x="163" y="93"/>
                  </a:lnTo>
                  <a:lnTo>
                    <a:pt x="160" y="93"/>
                  </a:lnTo>
                  <a:lnTo>
                    <a:pt x="160" y="93"/>
                  </a:lnTo>
                  <a:lnTo>
                    <a:pt x="158" y="91"/>
                  </a:lnTo>
                  <a:lnTo>
                    <a:pt x="158" y="91"/>
                  </a:lnTo>
                  <a:lnTo>
                    <a:pt x="158" y="91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0" y="93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6" y="93"/>
                  </a:lnTo>
                  <a:lnTo>
                    <a:pt x="136" y="96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6" y="101"/>
                  </a:lnTo>
                  <a:lnTo>
                    <a:pt x="136" y="101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4" y="104"/>
                  </a:lnTo>
                  <a:lnTo>
                    <a:pt x="134" y="107"/>
                  </a:lnTo>
                  <a:lnTo>
                    <a:pt x="134" y="109"/>
                  </a:lnTo>
                  <a:lnTo>
                    <a:pt x="134" y="109"/>
                  </a:lnTo>
                  <a:lnTo>
                    <a:pt x="131" y="109"/>
                  </a:lnTo>
                  <a:lnTo>
                    <a:pt x="131" y="109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3" y="117"/>
                  </a:lnTo>
                  <a:lnTo>
                    <a:pt x="118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3"/>
                  </a:lnTo>
                  <a:lnTo>
                    <a:pt x="109" y="123"/>
                  </a:lnTo>
                  <a:lnTo>
                    <a:pt x="109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4" y="133"/>
                  </a:lnTo>
                  <a:lnTo>
                    <a:pt x="104" y="136"/>
                  </a:lnTo>
                  <a:lnTo>
                    <a:pt x="104" y="136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9" y="136"/>
                  </a:lnTo>
                  <a:lnTo>
                    <a:pt x="99" y="136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93" y="133"/>
                  </a:lnTo>
                  <a:lnTo>
                    <a:pt x="93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8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3" y="131"/>
                  </a:lnTo>
                  <a:lnTo>
                    <a:pt x="83" y="128"/>
                  </a:lnTo>
                  <a:lnTo>
                    <a:pt x="80" y="128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5" y="133"/>
                  </a:lnTo>
                  <a:lnTo>
                    <a:pt x="75" y="136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7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1" y="139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6" y="141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7"/>
                  </a:lnTo>
                  <a:lnTo>
                    <a:pt x="56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2"/>
                  </a:lnTo>
                  <a:lnTo>
                    <a:pt x="61" y="152"/>
                  </a:lnTo>
                  <a:lnTo>
                    <a:pt x="61" y="152"/>
                  </a:lnTo>
                  <a:lnTo>
                    <a:pt x="64" y="152"/>
                  </a:lnTo>
                  <a:lnTo>
                    <a:pt x="64" y="155"/>
                  </a:lnTo>
                  <a:lnTo>
                    <a:pt x="64" y="155"/>
                  </a:lnTo>
                  <a:lnTo>
                    <a:pt x="67" y="155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1" y="160"/>
                  </a:lnTo>
                  <a:lnTo>
                    <a:pt x="61" y="160"/>
                  </a:lnTo>
                  <a:lnTo>
                    <a:pt x="59" y="158"/>
                  </a:lnTo>
                  <a:lnTo>
                    <a:pt x="56" y="158"/>
                  </a:lnTo>
                  <a:lnTo>
                    <a:pt x="53" y="158"/>
                  </a:lnTo>
                  <a:lnTo>
                    <a:pt x="53" y="158"/>
                  </a:lnTo>
                  <a:lnTo>
                    <a:pt x="51" y="158"/>
                  </a:lnTo>
                  <a:lnTo>
                    <a:pt x="48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0" y="160"/>
                  </a:lnTo>
                  <a:lnTo>
                    <a:pt x="37" y="160"/>
                  </a:lnTo>
                  <a:lnTo>
                    <a:pt x="37" y="160"/>
                  </a:lnTo>
                  <a:lnTo>
                    <a:pt x="35" y="160"/>
                  </a:lnTo>
                  <a:lnTo>
                    <a:pt x="32" y="160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24" y="163"/>
                  </a:lnTo>
                  <a:lnTo>
                    <a:pt x="21" y="163"/>
                  </a:lnTo>
                  <a:lnTo>
                    <a:pt x="21" y="166"/>
                  </a:lnTo>
                  <a:lnTo>
                    <a:pt x="21" y="166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21" y="171"/>
                  </a:lnTo>
                  <a:lnTo>
                    <a:pt x="21" y="171"/>
                  </a:lnTo>
                  <a:lnTo>
                    <a:pt x="21" y="174"/>
                  </a:lnTo>
                  <a:lnTo>
                    <a:pt x="21" y="174"/>
                  </a:lnTo>
                  <a:lnTo>
                    <a:pt x="19" y="174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8" y="184"/>
                  </a:lnTo>
                  <a:lnTo>
                    <a:pt x="8" y="184"/>
                  </a:lnTo>
                  <a:lnTo>
                    <a:pt x="5" y="182"/>
                  </a:lnTo>
                  <a:lnTo>
                    <a:pt x="5" y="182"/>
                  </a:lnTo>
                  <a:lnTo>
                    <a:pt x="5" y="184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3" y="187"/>
                  </a:lnTo>
                  <a:lnTo>
                    <a:pt x="3" y="187"/>
                  </a:lnTo>
                  <a:lnTo>
                    <a:pt x="3" y="187"/>
                  </a:lnTo>
                  <a:lnTo>
                    <a:pt x="5" y="190"/>
                  </a:lnTo>
                  <a:lnTo>
                    <a:pt x="5" y="190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5" y="198"/>
                  </a:lnTo>
                  <a:lnTo>
                    <a:pt x="5" y="198"/>
                  </a:lnTo>
                  <a:lnTo>
                    <a:pt x="5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3" y="208"/>
                  </a:lnTo>
                  <a:lnTo>
                    <a:pt x="3" y="208"/>
                  </a:lnTo>
                  <a:lnTo>
                    <a:pt x="3" y="208"/>
                  </a:lnTo>
                  <a:lnTo>
                    <a:pt x="5" y="208"/>
                  </a:lnTo>
                  <a:lnTo>
                    <a:pt x="5" y="208"/>
                  </a:lnTo>
                  <a:lnTo>
                    <a:pt x="8" y="208"/>
                  </a:lnTo>
                  <a:lnTo>
                    <a:pt x="8" y="208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1" y="214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9"/>
                  </a:lnTo>
                  <a:lnTo>
                    <a:pt x="16" y="219"/>
                  </a:lnTo>
                  <a:lnTo>
                    <a:pt x="16" y="222"/>
                  </a:lnTo>
                  <a:lnTo>
                    <a:pt x="19" y="222"/>
                  </a:lnTo>
                  <a:lnTo>
                    <a:pt x="21" y="224"/>
                  </a:lnTo>
                  <a:lnTo>
                    <a:pt x="24" y="224"/>
                  </a:lnTo>
                  <a:lnTo>
                    <a:pt x="24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32" y="224"/>
                  </a:lnTo>
                  <a:lnTo>
                    <a:pt x="35" y="224"/>
                  </a:lnTo>
                  <a:lnTo>
                    <a:pt x="37" y="224"/>
                  </a:lnTo>
                  <a:lnTo>
                    <a:pt x="37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30"/>
                  </a:lnTo>
                  <a:lnTo>
                    <a:pt x="40" y="230"/>
                  </a:lnTo>
                  <a:lnTo>
                    <a:pt x="40" y="232"/>
                  </a:lnTo>
                  <a:lnTo>
                    <a:pt x="40" y="232"/>
                  </a:lnTo>
                  <a:lnTo>
                    <a:pt x="40" y="235"/>
                  </a:lnTo>
                  <a:lnTo>
                    <a:pt x="40" y="235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40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3" y="246"/>
                  </a:lnTo>
                  <a:lnTo>
                    <a:pt x="45" y="246"/>
                  </a:lnTo>
                  <a:lnTo>
                    <a:pt x="45" y="248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5" y="251"/>
                  </a:lnTo>
                  <a:lnTo>
                    <a:pt x="43" y="254"/>
                  </a:lnTo>
                  <a:lnTo>
                    <a:pt x="43" y="254"/>
                  </a:lnTo>
                  <a:lnTo>
                    <a:pt x="40" y="254"/>
                  </a:lnTo>
                  <a:lnTo>
                    <a:pt x="40" y="256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7" y="259"/>
                  </a:lnTo>
                  <a:lnTo>
                    <a:pt x="37" y="262"/>
                  </a:lnTo>
                  <a:lnTo>
                    <a:pt x="37" y="262"/>
                  </a:lnTo>
                  <a:lnTo>
                    <a:pt x="37" y="264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40" y="267"/>
                  </a:lnTo>
                  <a:lnTo>
                    <a:pt x="43" y="270"/>
                  </a:lnTo>
                  <a:lnTo>
                    <a:pt x="45" y="272"/>
                  </a:lnTo>
                  <a:lnTo>
                    <a:pt x="48" y="272"/>
                  </a:lnTo>
                  <a:lnTo>
                    <a:pt x="48" y="272"/>
                  </a:lnTo>
                  <a:lnTo>
                    <a:pt x="51" y="272"/>
                  </a:lnTo>
                  <a:lnTo>
                    <a:pt x="53" y="275"/>
                  </a:lnTo>
                  <a:lnTo>
                    <a:pt x="56" y="275"/>
                  </a:lnTo>
                  <a:lnTo>
                    <a:pt x="56" y="278"/>
                  </a:lnTo>
                  <a:lnTo>
                    <a:pt x="56" y="280"/>
                  </a:lnTo>
                  <a:lnTo>
                    <a:pt x="59" y="280"/>
                  </a:lnTo>
                  <a:lnTo>
                    <a:pt x="61" y="280"/>
                  </a:lnTo>
                  <a:lnTo>
                    <a:pt x="59" y="283"/>
                  </a:lnTo>
                  <a:lnTo>
                    <a:pt x="56" y="283"/>
                  </a:lnTo>
                  <a:lnTo>
                    <a:pt x="56" y="283"/>
                  </a:lnTo>
                  <a:lnTo>
                    <a:pt x="56" y="286"/>
                  </a:lnTo>
                  <a:lnTo>
                    <a:pt x="56" y="288"/>
                  </a:lnTo>
                  <a:lnTo>
                    <a:pt x="56" y="288"/>
                  </a:lnTo>
                  <a:lnTo>
                    <a:pt x="59" y="291"/>
                  </a:lnTo>
                  <a:lnTo>
                    <a:pt x="61" y="294"/>
                  </a:lnTo>
                  <a:lnTo>
                    <a:pt x="61" y="296"/>
                  </a:lnTo>
                  <a:lnTo>
                    <a:pt x="64" y="296"/>
                  </a:lnTo>
                  <a:lnTo>
                    <a:pt x="67" y="296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7" y="296"/>
                  </a:lnTo>
                  <a:lnTo>
                    <a:pt x="77" y="296"/>
                  </a:lnTo>
                  <a:lnTo>
                    <a:pt x="77" y="296"/>
                  </a:lnTo>
                  <a:lnTo>
                    <a:pt x="80" y="299"/>
                  </a:lnTo>
                  <a:lnTo>
                    <a:pt x="83" y="299"/>
                  </a:lnTo>
                  <a:lnTo>
                    <a:pt x="83" y="302"/>
                  </a:lnTo>
                  <a:lnTo>
                    <a:pt x="85" y="304"/>
                  </a:lnTo>
                  <a:lnTo>
                    <a:pt x="85" y="307"/>
                  </a:lnTo>
                  <a:lnTo>
                    <a:pt x="88" y="307"/>
                  </a:lnTo>
                  <a:lnTo>
                    <a:pt x="88" y="310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5"/>
                  </a:lnTo>
                  <a:lnTo>
                    <a:pt x="88" y="315"/>
                  </a:lnTo>
                  <a:lnTo>
                    <a:pt x="88" y="318"/>
                  </a:lnTo>
                  <a:lnTo>
                    <a:pt x="88" y="318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5" y="321"/>
                  </a:lnTo>
                  <a:lnTo>
                    <a:pt x="85" y="323"/>
                  </a:lnTo>
                  <a:lnTo>
                    <a:pt x="85" y="326"/>
                  </a:lnTo>
                  <a:lnTo>
                    <a:pt x="85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91" y="329"/>
                  </a:lnTo>
                  <a:lnTo>
                    <a:pt x="93" y="329"/>
                  </a:lnTo>
                  <a:lnTo>
                    <a:pt x="96" y="329"/>
                  </a:lnTo>
                  <a:lnTo>
                    <a:pt x="96" y="329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6" y="331"/>
                  </a:lnTo>
                  <a:lnTo>
                    <a:pt x="99" y="331"/>
                  </a:lnTo>
                  <a:lnTo>
                    <a:pt x="99" y="331"/>
                  </a:lnTo>
                  <a:lnTo>
                    <a:pt x="101" y="334"/>
                  </a:lnTo>
                  <a:lnTo>
                    <a:pt x="101" y="334"/>
                  </a:lnTo>
                  <a:lnTo>
                    <a:pt x="104" y="337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1" y="342"/>
                  </a:lnTo>
                  <a:lnTo>
                    <a:pt x="101" y="342"/>
                  </a:lnTo>
                  <a:lnTo>
                    <a:pt x="99" y="342"/>
                  </a:lnTo>
                  <a:lnTo>
                    <a:pt x="99" y="345"/>
                  </a:lnTo>
                  <a:lnTo>
                    <a:pt x="99" y="345"/>
                  </a:lnTo>
                  <a:lnTo>
                    <a:pt x="99" y="347"/>
                  </a:lnTo>
                  <a:lnTo>
                    <a:pt x="101" y="347"/>
                  </a:lnTo>
                  <a:lnTo>
                    <a:pt x="101" y="347"/>
                  </a:lnTo>
                  <a:lnTo>
                    <a:pt x="101" y="350"/>
                  </a:lnTo>
                  <a:lnTo>
                    <a:pt x="101" y="350"/>
                  </a:lnTo>
                  <a:lnTo>
                    <a:pt x="101" y="353"/>
                  </a:lnTo>
                  <a:lnTo>
                    <a:pt x="99" y="353"/>
                  </a:lnTo>
                  <a:lnTo>
                    <a:pt x="99" y="353"/>
                  </a:lnTo>
                  <a:lnTo>
                    <a:pt x="99" y="353"/>
                  </a:lnTo>
                  <a:lnTo>
                    <a:pt x="96" y="353"/>
                  </a:lnTo>
                  <a:lnTo>
                    <a:pt x="96" y="353"/>
                  </a:lnTo>
                  <a:lnTo>
                    <a:pt x="96" y="355"/>
                  </a:lnTo>
                  <a:lnTo>
                    <a:pt x="96" y="355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6" y="361"/>
                  </a:lnTo>
                  <a:lnTo>
                    <a:pt x="99" y="361"/>
                  </a:lnTo>
                  <a:lnTo>
                    <a:pt x="99" y="363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101" y="366"/>
                  </a:lnTo>
                  <a:lnTo>
                    <a:pt x="101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7" y="371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9" y="374"/>
                  </a:lnTo>
                  <a:lnTo>
                    <a:pt x="109" y="374"/>
                  </a:lnTo>
                  <a:lnTo>
                    <a:pt x="112" y="371"/>
                  </a:lnTo>
                  <a:lnTo>
                    <a:pt x="115" y="371"/>
                  </a:lnTo>
                  <a:lnTo>
                    <a:pt x="115" y="371"/>
                  </a:lnTo>
                  <a:lnTo>
                    <a:pt x="118" y="371"/>
                  </a:lnTo>
                  <a:lnTo>
                    <a:pt x="120" y="371"/>
                  </a:lnTo>
                  <a:lnTo>
                    <a:pt x="120" y="371"/>
                  </a:lnTo>
                  <a:lnTo>
                    <a:pt x="123" y="371"/>
                  </a:lnTo>
                  <a:lnTo>
                    <a:pt x="126" y="371"/>
                  </a:lnTo>
                  <a:lnTo>
                    <a:pt x="126" y="371"/>
                  </a:lnTo>
                  <a:lnTo>
                    <a:pt x="128" y="371"/>
                  </a:lnTo>
                  <a:lnTo>
                    <a:pt x="128" y="374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31" y="377"/>
                  </a:lnTo>
                  <a:lnTo>
                    <a:pt x="134" y="377"/>
                  </a:lnTo>
                  <a:lnTo>
                    <a:pt x="134" y="377"/>
                  </a:lnTo>
                  <a:lnTo>
                    <a:pt x="134" y="377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39" y="371"/>
                  </a:lnTo>
                  <a:lnTo>
                    <a:pt x="139" y="371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2" y="374"/>
                  </a:lnTo>
                  <a:lnTo>
                    <a:pt x="144" y="374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4" y="379"/>
                  </a:lnTo>
                  <a:lnTo>
                    <a:pt x="144" y="379"/>
                  </a:lnTo>
                  <a:lnTo>
                    <a:pt x="144" y="382"/>
                  </a:lnTo>
                  <a:lnTo>
                    <a:pt x="144" y="385"/>
                  </a:lnTo>
                  <a:lnTo>
                    <a:pt x="144" y="385"/>
                  </a:lnTo>
                  <a:lnTo>
                    <a:pt x="144" y="385"/>
                  </a:lnTo>
                  <a:lnTo>
                    <a:pt x="147" y="385"/>
                  </a:lnTo>
                  <a:lnTo>
                    <a:pt x="150" y="387"/>
                  </a:lnTo>
                  <a:lnTo>
                    <a:pt x="150" y="387"/>
                  </a:lnTo>
                  <a:lnTo>
                    <a:pt x="152" y="387"/>
                  </a:lnTo>
                  <a:lnTo>
                    <a:pt x="155" y="390"/>
                  </a:lnTo>
                  <a:lnTo>
                    <a:pt x="155" y="390"/>
                  </a:lnTo>
                  <a:lnTo>
                    <a:pt x="158" y="393"/>
                  </a:lnTo>
                  <a:lnTo>
                    <a:pt x="158" y="393"/>
                  </a:lnTo>
                  <a:lnTo>
                    <a:pt x="160" y="395"/>
                  </a:lnTo>
                  <a:lnTo>
                    <a:pt x="160" y="395"/>
                  </a:lnTo>
                  <a:lnTo>
                    <a:pt x="163" y="401"/>
                  </a:lnTo>
                  <a:lnTo>
                    <a:pt x="166" y="401"/>
                  </a:lnTo>
                  <a:lnTo>
                    <a:pt x="166" y="403"/>
                  </a:lnTo>
                  <a:lnTo>
                    <a:pt x="166" y="406"/>
                  </a:lnTo>
                  <a:lnTo>
                    <a:pt x="166" y="406"/>
                  </a:lnTo>
                  <a:lnTo>
                    <a:pt x="166" y="409"/>
                  </a:lnTo>
                  <a:lnTo>
                    <a:pt x="166" y="409"/>
                  </a:lnTo>
                  <a:lnTo>
                    <a:pt x="166" y="409"/>
                  </a:lnTo>
                  <a:lnTo>
                    <a:pt x="166" y="411"/>
                  </a:lnTo>
                  <a:lnTo>
                    <a:pt x="166" y="411"/>
                  </a:lnTo>
                  <a:lnTo>
                    <a:pt x="163" y="411"/>
                  </a:lnTo>
                  <a:lnTo>
                    <a:pt x="163" y="409"/>
                  </a:lnTo>
                  <a:lnTo>
                    <a:pt x="163" y="411"/>
                  </a:lnTo>
                  <a:lnTo>
                    <a:pt x="160" y="411"/>
                  </a:lnTo>
                  <a:lnTo>
                    <a:pt x="163" y="411"/>
                  </a:lnTo>
                  <a:lnTo>
                    <a:pt x="163" y="414"/>
                  </a:lnTo>
                  <a:lnTo>
                    <a:pt x="163" y="414"/>
                  </a:lnTo>
                  <a:lnTo>
                    <a:pt x="160" y="414"/>
                  </a:lnTo>
                  <a:lnTo>
                    <a:pt x="160" y="417"/>
                  </a:lnTo>
                  <a:lnTo>
                    <a:pt x="158" y="417"/>
                  </a:lnTo>
                  <a:lnTo>
                    <a:pt x="158" y="419"/>
                  </a:lnTo>
                  <a:lnTo>
                    <a:pt x="158" y="422"/>
                  </a:lnTo>
                  <a:lnTo>
                    <a:pt x="158" y="422"/>
                  </a:lnTo>
                  <a:lnTo>
                    <a:pt x="158" y="422"/>
                  </a:lnTo>
                  <a:lnTo>
                    <a:pt x="158" y="425"/>
                  </a:lnTo>
                  <a:lnTo>
                    <a:pt x="158" y="425"/>
                  </a:lnTo>
                  <a:lnTo>
                    <a:pt x="155" y="427"/>
                  </a:lnTo>
                  <a:lnTo>
                    <a:pt x="155" y="427"/>
                  </a:lnTo>
                  <a:lnTo>
                    <a:pt x="155" y="430"/>
                  </a:lnTo>
                  <a:lnTo>
                    <a:pt x="155" y="430"/>
                  </a:lnTo>
                  <a:lnTo>
                    <a:pt x="158" y="433"/>
                  </a:lnTo>
                  <a:lnTo>
                    <a:pt x="158" y="433"/>
                  </a:lnTo>
                  <a:lnTo>
                    <a:pt x="160" y="433"/>
                  </a:lnTo>
                  <a:lnTo>
                    <a:pt x="163" y="430"/>
                  </a:lnTo>
                  <a:lnTo>
                    <a:pt x="163" y="430"/>
                  </a:lnTo>
                  <a:lnTo>
                    <a:pt x="166" y="430"/>
                  </a:lnTo>
                  <a:lnTo>
                    <a:pt x="166" y="430"/>
                  </a:lnTo>
                  <a:lnTo>
                    <a:pt x="166" y="427"/>
                  </a:lnTo>
                  <a:lnTo>
                    <a:pt x="168" y="427"/>
                  </a:lnTo>
                  <a:lnTo>
                    <a:pt x="168" y="427"/>
                  </a:lnTo>
                  <a:lnTo>
                    <a:pt x="168" y="427"/>
                  </a:lnTo>
                  <a:lnTo>
                    <a:pt x="171" y="425"/>
                  </a:lnTo>
                  <a:lnTo>
                    <a:pt x="171" y="425"/>
                  </a:lnTo>
                  <a:lnTo>
                    <a:pt x="171" y="425"/>
                  </a:lnTo>
                  <a:lnTo>
                    <a:pt x="174" y="425"/>
                  </a:lnTo>
                  <a:lnTo>
                    <a:pt x="174" y="427"/>
                  </a:lnTo>
                  <a:lnTo>
                    <a:pt x="174" y="427"/>
                  </a:lnTo>
                  <a:lnTo>
                    <a:pt x="176" y="427"/>
                  </a:lnTo>
                  <a:lnTo>
                    <a:pt x="179" y="430"/>
                  </a:lnTo>
                  <a:lnTo>
                    <a:pt x="179" y="433"/>
                  </a:lnTo>
                  <a:lnTo>
                    <a:pt x="176" y="433"/>
                  </a:lnTo>
                  <a:lnTo>
                    <a:pt x="176" y="433"/>
                  </a:lnTo>
                  <a:lnTo>
                    <a:pt x="179" y="435"/>
                  </a:lnTo>
                  <a:lnTo>
                    <a:pt x="179" y="435"/>
                  </a:lnTo>
                  <a:lnTo>
                    <a:pt x="179" y="438"/>
                  </a:lnTo>
                  <a:lnTo>
                    <a:pt x="179" y="441"/>
                  </a:lnTo>
                  <a:lnTo>
                    <a:pt x="176" y="441"/>
                  </a:lnTo>
                  <a:lnTo>
                    <a:pt x="176" y="441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6" y="443"/>
                  </a:lnTo>
                  <a:lnTo>
                    <a:pt x="179" y="443"/>
                  </a:lnTo>
                  <a:lnTo>
                    <a:pt x="182" y="443"/>
                  </a:lnTo>
                  <a:lnTo>
                    <a:pt x="182" y="446"/>
                  </a:lnTo>
                  <a:lnTo>
                    <a:pt x="182" y="446"/>
                  </a:lnTo>
                  <a:lnTo>
                    <a:pt x="184" y="446"/>
                  </a:lnTo>
                  <a:lnTo>
                    <a:pt x="184" y="449"/>
                  </a:lnTo>
                  <a:lnTo>
                    <a:pt x="187" y="449"/>
                  </a:lnTo>
                  <a:lnTo>
                    <a:pt x="187" y="449"/>
                  </a:lnTo>
                  <a:lnTo>
                    <a:pt x="190" y="449"/>
                  </a:lnTo>
                  <a:lnTo>
                    <a:pt x="192" y="449"/>
                  </a:lnTo>
                  <a:lnTo>
                    <a:pt x="192" y="449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2" y="451"/>
                  </a:lnTo>
                  <a:lnTo>
                    <a:pt x="195" y="451"/>
                  </a:lnTo>
                  <a:lnTo>
                    <a:pt x="195" y="451"/>
                  </a:lnTo>
                  <a:lnTo>
                    <a:pt x="195" y="454"/>
                  </a:lnTo>
                  <a:lnTo>
                    <a:pt x="198" y="454"/>
                  </a:lnTo>
                  <a:lnTo>
                    <a:pt x="198" y="457"/>
                  </a:lnTo>
                  <a:lnTo>
                    <a:pt x="198" y="457"/>
                  </a:lnTo>
                  <a:lnTo>
                    <a:pt x="198" y="457"/>
                  </a:lnTo>
                  <a:lnTo>
                    <a:pt x="200" y="459"/>
                  </a:lnTo>
                  <a:lnTo>
                    <a:pt x="200" y="4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8" name="Freeform 8884">
              <a:extLst>
                <a:ext uri="{FF2B5EF4-FFF2-40B4-BE49-F238E27FC236}">
                  <a16:creationId xmlns:a16="http://schemas.microsoft.com/office/drawing/2014/main" id="{849A4D58-8CE8-DA4C-8A7A-505FF0456751}"/>
                </a:ext>
              </a:extLst>
            </p:cNvPr>
            <p:cNvSpPr/>
            <p:nvPr/>
          </p:nvSpPr>
          <p:spPr bwMode="auto">
            <a:xfrm>
              <a:off x="11195839" y="2908302"/>
              <a:ext cx="568324" cy="1098549"/>
            </a:xfrm>
            <a:custGeom>
              <a:avLst/>
              <a:gdLst>
                <a:gd name="T0" fmla="*/ 224 w 358"/>
                <a:gd name="T1" fmla="*/ 37 h 692"/>
                <a:gd name="T2" fmla="*/ 246 w 358"/>
                <a:gd name="T3" fmla="*/ 26 h 692"/>
                <a:gd name="T4" fmla="*/ 283 w 358"/>
                <a:gd name="T5" fmla="*/ 56 h 692"/>
                <a:gd name="T6" fmla="*/ 283 w 358"/>
                <a:gd name="T7" fmla="*/ 85 h 692"/>
                <a:gd name="T8" fmla="*/ 262 w 358"/>
                <a:gd name="T9" fmla="*/ 83 h 692"/>
                <a:gd name="T10" fmla="*/ 246 w 358"/>
                <a:gd name="T11" fmla="*/ 117 h 692"/>
                <a:gd name="T12" fmla="*/ 256 w 358"/>
                <a:gd name="T13" fmla="*/ 139 h 692"/>
                <a:gd name="T14" fmla="*/ 297 w 358"/>
                <a:gd name="T15" fmla="*/ 190 h 692"/>
                <a:gd name="T16" fmla="*/ 329 w 358"/>
                <a:gd name="T17" fmla="*/ 198 h 692"/>
                <a:gd name="T18" fmla="*/ 334 w 358"/>
                <a:gd name="T19" fmla="*/ 224 h 692"/>
                <a:gd name="T20" fmla="*/ 321 w 358"/>
                <a:gd name="T21" fmla="*/ 251 h 692"/>
                <a:gd name="T22" fmla="*/ 291 w 358"/>
                <a:gd name="T23" fmla="*/ 278 h 692"/>
                <a:gd name="T24" fmla="*/ 289 w 358"/>
                <a:gd name="T25" fmla="*/ 326 h 692"/>
                <a:gd name="T26" fmla="*/ 310 w 358"/>
                <a:gd name="T27" fmla="*/ 369 h 692"/>
                <a:gd name="T28" fmla="*/ 318 w 358"/>
                <a:gd name="T29" fmla="*/ 369 h 692"/>
                <a:gd name="T30" fmla="*/ 329 w 358"/>
                <a:gd name="T31" fmla="*/ 385 h 692"/>
                <a:gd name="T32" fmla="*/ 345 w 358"/>
                <a:gd name="T33" fmla="*/ 398 h 692"/>
                <a:gd name="T34" fmla="*/ 355 w 358"/>
                <a:gd name="T35" fmla="*/ 398 h 692"/>
                <a:gd name="T36" fmla="*/ 337 w 358"/>
                <a:gd name="T37" fmla="*/ 406 h 692"/>
                <a:gd name="T38" fmla="*/ 331 w 358"/>
                <a:gd name="T39" fmla="*/ 406 h 692"/>
                <a:gd name="T40" fmla="*/ 318 w 358"/>
                <a:gd name="T41" fmla="*/ 430 h 692"/>
                <a:gd name="T42" fmla="*/ 305 w 358"/>
                <a:gd name="T43" fmla="*/ 465 h 692"/>
                <a:gd name="T44" fmla="*/ 297 w 358"/>
                <a:gd name="T45" fmla="*/ 470 h 692"/>
                <a:gd name="T46" fmla="*/ 305 w 358"/>
                <a:gd name="T47" fmla="*/ 470 h 692"/>
                <a:gd name="T48" fmla="*/ 313 w 358"/>
                <a:gd name="T49" fmla="*/ 483 h 692"/>
                <a:gd name="T50" fmla="*/ 315 w 358"/>
                <a:gd name="T51" fmla="*/ 497 h 692"/>
                <a:gd name="T52" fmla="*/ 331 w 358"/>
                <a:gd name="T53" fmla="*/ 507 h 692"/>
                <a:gd name="T54" fmla="*/ 342 w 358"/>
                <a:gd name="T55" fmla="*/ 516 h 692"/>
                <a:gd name="T56" fmla="*/ 345 w 358"/>
                <a:gd name="T57" fmla="*/ 540 h 692"/>
                <a:gd name="T58" fmla="*/ 353 w 358"/>
                <a:gd name="T59" fmla="*/ 564 h 692"/>
                <a:gd name="T60" fmla="*/ 355 w 358"/>
                <a:gd name="T61" fmla="*/ 588 h 692"/>
                <a:gd name="T62" fmla="*/ 350 w 358"/>
                <a:gd name="T63" fmla="*/ 609 h 692"/>
                <a:gd name="T64" fmla="*/ 350 w 358"/>
                <a:gd name="T65" fmla="*/ 633 h 692"/>
                <a:gd name="T66" fmla="*/ 350 w 358"/>
                <a:gd name="T67" fmla="*/ 660 h 692"/>
                <a:gd name="T68" fmla="*/ 350 w 358"/>
                <a:gd name="T69" fmla="*/ 687 h 692"/>
                <a:gd name="T70" fmla="*/ 334 w 358"/>
                <a:gd name="T71" fmla="*/ 671 h 692"/>
                <a:gd name="T72" fmla="*/ 305 w 358"/>
                <a:gd name="T73" fmla="*/ 654 h 692"/>
                <a:gd name="T74" fmla="*/ 262 w 358"/>
                <a:gd name="T75" fmla="*/ 609 h 692"/>
                <a:gd name="T76" fmla="*/ 216 w 358"/>
                <a:gd name="T77" fmla="*/ 577 h 692"/>
                <a:gd name="T78" fmla="*/ 144 w 358"/>
                <a:gd name="T79" fmla="*/ 510 h 692"/>
                <a:gd name="T80" fmla="*/ 75 w 358"/>
                <a:gd name="T81" fmla="*/ 451 h 692"/>
                <a:gd name="T82" fmla="*/ 30 w 358"/>
                <a:gd name="T83" fmla="*/ 406 h 692"/>
                <a:gd name="T84" fmla="*/ 0 w 358"/>
                <a:gd name="T85" fmla="*/ 366 h 692"/>
                <a:gd name="T86" fmla="*/ 40 w 358"/>
                <a:gd name="T87" fmla="*/ 344 h 692"/>
                <a:gd name="T88" fmla="*/ 86 w 358"/>
                <a:gd name="T89" fmla="*/ 307 h 692"/>
                <a:gd name="T90" fmla="*/ 88 w 358"/>
                <a:gd name="T91" fmla="*/ 280 h 692"/>
                <a:gd name="T92" fmla="*/ 78 w 358"/>
                <a:gd name="T93" fmla="*/ 251 h 692"/>
                <a:gd name="T94" fmla="*/ 32 w 358"/>
                <a:gd name="T95" fmla="*/ 246 h 692"/>
                <a:gd name="T96" fmla="*/ 30 w 358"/>
                <a:gd name="T97" fmla="*/ 214 h 692"/>
                <a:gd name="T98" fmla="*/ 62 w 358"/>
                <a:gd name="T99" fmla="*/ 200 h 692"/>
                <a:gd name="T100" fmla="*/ 104 w 358"/>
                <a:gd name="T101" fmla="*/ 163 h 692"/>
                <a:gd name="T102" fmla="*/ 104 w 358"/>
                <a:gd name="T103" fmla="*/ 139 h 692"/>
                <a:gd name="T104" fmla="*/ 94 w 358"/>
                <a:gd name="T105" fmla="*/ 117 h 692"/>
                <a:gd name="T106" fmla="*/ 88 w 358"/>
                <a:gd name="T107" fmla="*/ 83 h 692"/>
                <a:gd name="T108" fmla="*/ 83 w 358"/>
                <a:gd name="T109" fmla="*/ 61 h 692"/>
                <a:gd name="T110" fmla="*/ 102 w 358"/>
                <a:gd name="T111" fmla="*/ 56 h 692"/>
                <a:gd name="T112" fmla="*/ 131 w 358"/>
                <a:gd name="T113" fmla="*/ 45 h 692"/>
                <a:gd name="T114" fmla="*/ 147 w 358"/>
                <a:gd name="T115" fmla="*/ 37 h 692"/>
                <a:gd name="T116" fmla="*/ 160 w 358"/>
                <a:gd name="T117" fmla="*/ 21 h 692"/>
                <a:gd name="T118" fmla="*/ 171 w 358"/>
                <a:gd name="T119" fmla="*/ 10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8" h="692" extrusionOk="0">
                  <a:moveTo>
                    <a:pt x="184" y="0"/>
                  </a:moveTo>
                  <a:lnTo>
                    <a:pt x="184" y="0"/>
                  </a:lnTo>
                  <a:lnTo>
                    <a:pt x="187" y="0"/>
                  </a:lnTo>
                  <a:lnTo>
                    <a:pt x="187" y="2"/>
                  </a:lnTo>
                  <a:lnTo>
                    <a:pt x="190" y="2"/>
                  </a:lnTo>
                  <a:lnTo>
                    <a:pt x="190" y="5"/>
                  </a:lnTo>
                  <a:lnTo>
                    <a:pt x="192" y="8"/>
                  </a:lnTo>
                  <a:lnTo>
                    <a:pt x="195" y="10"/>
                  </a:lnTo>
                  <a:lnTo>
                    <a:pt x="198" y="13"/>
                  </a:lnTo>
                  <a:lnTo>
                    <a:pt x="200" y="13"/>
                  </a:lnTo>
                  <a:lnTo>
                    <a:pt x="200" y="13"/>
                  </a:lnTo>
                  <a:lnTo>
                    <a:pt x="203" y="13"/>
                  </a:lnTo>
                  <a:lnTo>
                    <a:pt x="208" y="16"/>
                  </a:lnTo>
                  <a:lnTo>
                    <a:pt x="211" y="18"/>
                  </a:lnTo>
                  <a:lnTo>
                    <a:pt x="211" y="21"/>
                  </a:lnTo>
                  <a:lnTo>
                    <a:pt x="216" y="26"/>
                  </a:lnTo>
                  <a:lnTo>
                    <a:pt x="216" y="29"/>
                  </a:lnTo>
                  <a:lnTo>
                    <a:pt x="219" y="35"/>
                  </a:lnTo>
                  <a:lnTo>
                    <a:pt x="224" y="37"/>
                  </a:lnTo>
                  <a:lnTo>
                    <a:pt x="224" y="40"/>
                  </a:lnTo>
                  <a:lnTo>
                    <a:pt x="230" y="40"/>
                  </a:lnTo>
                  <a:lnTo>
                    <a:pt x="232" y="40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7"/>
                  </a:lnTo>
                  <a:lnTo>
                    <a:pt x="235" y="35"/>
                  </a:lnTo>
                  <a:lnTo>
                    <a:pt x="238" y="35"/>
                  </a:lnTo>
                  <a:lnTo>
                    <a:pt x="235" y="32"/>
                  </a:lnTo>
                  <a:lnTo>
                    <a:pt x="238" y="32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40" y="29"/>
                  </a:lnTo>
                  <a:lnTo>
                    <a:pt x="243" y="26"/>
                  </a:lnTo>
                  <a:lnTo>
                    <a:pt x="243" y="26"/>
                  </a:lnTo>
                  <a:lnTo>
                    <a:pt x="243" y="24"/>
                  </a:lnTo>
                  <a:lnTo>
                    <a:pt x="246" y="24"/>
                  </a:lnTo>
                  <a:lnTo>
                    <a:pt x="246" y="26"/>
                  </a:lnTo>
                  <a:lnTo>
                    <a:pt x="246" y="26"/>
                  </a:lnTo>
                  <a:lnTo>
                    <a:pt x="248" y="26"/>
                  </a:lnTo>
                  <a:lnTo>
                    <a:pt x="251" y="29"/>
                  </a:lnTo>
                  <a:lnTo>
                    <a:pt x="251" y="32"/>
                  </a:lnTo>
                  <a:lnTo>
                    <a:pt x="254" y="32"/>
                  </a:lnTo>
                  <a:lnTo>
                    <a:pt x="256" y="35"/>
                  </a:lnTo>
                  <a:lnTo>
                    <a:pt x="259" y="35"/>
                  </a:lnTo>
                  <a:lnTo>
                    <a:pt x="259" y="37"/>
                  </a:lnTo>
                  <a:lnTo>
                    <a:pt x="262" y="40"/>
                  </a:lnTo>
                  <a:lnTo>
                    <a:pt x="264" y="40"/>
                  </a:lnTo>
                  <a:lnTo>
                    <a:pt x="264" y="43"/>
                  </a:lnTo>
                  <a:lnTo>
                    <a:pt x="267" y="45"/>
                  </a:lnTo>
                  <a:lnTo>
                    <a:pt x="267" y="45"/>
                  </a:lnTo>
                  <a:lnTo>
                    <a:pt x="273" y="45"/>
                  </a:lnTo>
                  <a:lnTo>
                    <a:pt x="273" y="45"/>
                  </a:lnTo>
                  <a:lnTo>
                    <a:pt x="275" y="48"/>
                  </a:lnTo>
                  <a:lnTo>
                    <a:pt x="278" y="48"/>
                  </a:lnTo>
                  <a:lnTo>
                    <a:pt x="278" y="53"/>
                  </a:lnTo>
                  <a:lnTo>
                    <a:pt x="281" y="53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9" y="56"/>
                  </a:lnTo>
                  <a:lnTo>
                    <a:pt x="286" y="59"/>
                  </a:lnTo>
                  <a:lnTo>
                    <a:pt x="286" y="59"/>
                  </a:lnTo>
                  <a:lnTo>
                    <a:pt x="286" y="61"/>
                  </a:lnTo>
                  <a:lnTo>
                    <a:pt x="286" y="64"/>
                  </a:lnTo>
                  <a:lnTo>
                    <a:pt x="283" y="64"/>
                  </a:lnTo>
                  <a:lnTo>
                    <a:pt x="283" y="67"/>
                  </a:lnTo>
                  <a:lnTo>
                    <a:pt x="283" y="69"/>
                  </a:lnTo>
                  <a:lnTo>
                    <a:pt x="283" y="72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7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83"/>
                  </a:lnTo>
                  <a:lnTo>
                    <a:pt x="283" y="85"/>
                  </a:lnTo>
                  <a:lnTo>
                    <a:pt x="281" y="85"/>
                  </a:lnTo>
                  <a:lnTo>
                    <a:pt x="281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8" y="85"/>
                  </a:lnTo>
                  <a:lnTo>
                    <a:pt x="275" y="85"/>
                  </a:lnTo>
                  <a:lnTo>
                    <a:pt x="275" y="85"/>
                  </a:lnTo>
                  <a:lnTo>
                    <a:pt x="273" y="85"/>
                  </a:lnTo>
                  <a:lnTo>
                    <a:pt x="273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4" y="85"/>
                  </a:lnTo>
                  <a:lnTo>
                    <a:pt x="264" y="85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2" y="83"/>
                  </a:lnTo>
                  <a:lnTo>
                    <a:pt x="259" y="83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4" y="85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48" y="93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46" y="99"/>
                  </a:lnTo>
                  <a:lnTo>
                    <a:pt x="246" y="101"/>
                  </a:lnTo>
                  <a:lnTo>
                    <a:pt x="243" y="104"/>
                  </a:lnTo>
                  <a:lnTo>
                    <a:pt x="243" y="107"/>
                  </a:lnTo>
                  <a:lnTo>
                    <a:pt x="243" y="109"/>
                  </a:lnTo>
                  <a:lnTo>
                    <a:pt x="243" y="112"/>
                  </a:lnTo>
                  <a:lnTo>
                    <a:pt x="243" y="112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6" y="117"/>
                  </a:lnTo>
                  <a:lnTo>
                    <a:pt x="246" y="117"/>
                  </a:lnTo>
                  <a:lnTo>
                    <a:pt x="248" y="117"/>
                  </a:lnTo>
                  <a:lnTo>
                    <a:pt x="248" y="117"/>
                  </a:lnTo>
                  <a:lnTo>
                    <a:pt x="248" y="120"/>
                  </a:lnTo>
                  <a:lnTo>
                    <a:pt x="248" y="120"/>
                  </a:lnTo>
                  <a:lnTo>
                    <a:pt x="251" y="123"/>
                  </a:lnTo>
                  <a:lnTo>
                    <a:pt x="251" y="123"/>
                  </a:lnTo>
                  <a:lnTo>
                    <a:pt x="251" y="125"/>
                  </a:lnTo>
                  <a:lnTo>
                    <a:pt x="251" y="125"/>
                  </a:lnTo>
                  <a:lnTo>
                    <a:pt x="251" y="128"/>
                  </a:lnTo>
                  <a:lnTo>
                    <a:pt x="251" y="131"/>
                  </a:lnTo>
                  <a:lnTo>
                    <a:pt x="254" y="131"/>
                  </a:lnTo>
                  <a:lnTo>
                    <a:pt x="254" y="133"/>
                  </a:lnTo>
                  <a:lnTo>
                    <a:pt x="254" y="133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6" y="136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9" y="139"/>
                  </a:lnTo>
                  <a:lnTo>
                    <a:pt x="259" y="141"/>
                  </a:lnTo>
                  <a:lnTo>
                    <a:pt x="259" y="144"/>
                  </a:lnTo>
                  <a:lnTo>
                    <a:pt x="259" y="147"/>
                  </a:lnTo>
                  <a:lnTo>
                    <a:pt x="259" y="152"/>
                  </a:lnTo>
                  <a:lnTo>
                    <a:pt x="262" y="155"/>
                  </a:lnTo>
                  <a:lnTo>
                    <a:pt x="264" y="160"/>
                  </a:lnTo>
                  <a:lnTo>
                    <a:pt x="264" y="163"/>
                  </a:lnTo>
                  <a:lnTo>
                    <a:pt x="267" y="165"/>
                  </a:lnTo>
                  <a:lnTo>
                    <a:pt x="270" y="168"/>
                  </a:lnTo>
                  <a:lnTo>
                    <a:pt x="273" y="173"/>
                  </a:lnTo>
                  <a:lnTo>
                    <a:pt x="275" y="173"/>
                  </a:lnTo>
                  <a:lnTo>
                    <a:pt x="278" y="176"/>
                  </a:lnTo>
                  <a:lnTo>
                    <a:pt x="281" y="179"/>
                  </a:lnTo>
                  <a:lnTo>
                    <a:pt x="286" y="181"/>
                  </a:lnTo>
                  <a:lnTo>
                    <a:pt x="289" y="184"/>
                  </a:lnTo>
                  <a:lnTo>
                    <a:pt x="294" y="187"/>
                  </a:lnTo>
                  <a:lnTo>
                    <a:pt x="297" y="190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5" y="192"/>
                  </a:lnTo>
                  <a:lnTo>
                    <a:pt x="307" y="192"/>
                  </a:lnTo>
                  <a:lnTo>
                    <a:pt x="310" y="192"/>
                  </a:lnTo>
                  <a:lnTo>
                    <a:pt x="310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8" y="195"/>
                  </a:lnTo>
                  <a:lnTo>
                    <a:pt x="321" y="195"/>
                  </a:lnTo>
                  <a:lnTo>
                    <a:pt x="321" y="195"/>
                  </a:lnTo>
                  <a:lnTo>
                    <a:pt x="321" y="195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6" y="198"/>
                  </a:lnTo>
                  <a:lnTo>
                    <a:pt x="326" y="198"/>
                  </a:lnTo>
                  <a:lnTo>
                    <a:pt x="329" y="198"/>
                  </a:lnTo>
                  <a:lnTo>
                    <a:pt x="329" y="198"/>
                  </a:lnTo>
                  <a:lnTo>
                    <a:pt x="329" y="198"/>
                  </a:lnTo>
                  <a:lnTo>
                    <a:pt x="329" y="200"/>
                  </a:lnTo>
                  <a:lnTo>
                    <a:pt x="329" y="200"/>
                  </a:lnTo>
                  <a:lnTo>
                    <a:pt x="329" y="200"/>
                  </a:lnTo>
                  <a:lnTo>
                    <a:pt x="331" y="203"/>
                  </a:lnTo>
                  <a:lnTo>
                    <a:pt x="334" y="203"/>
                  </a:lnTo>
                  <a:lnTo>
                    <a:pt x="334" y="203"/>
                  </a:lnTo>
                  <a:lnTo>
                    <a:pt x="334" y="206"/>
                  </a:lnTo>
                  <a:lnTo>
                    <a:pt x="334" y="206"/>
                  </a:lnTo>
                  <a:lnTo>
                    <a:pt x="334" y="208"/>
                  </a:lnTo>
                  <a:lnTo>
                    <a:pt x="334" y="208"/>
                  </a:lnTo>
                  <a:lnTo>
                    <a:pt x="334" y="211"/>
                  </a:lnTo>
                  <a:lnTo>
                    <a:pt x="334" y="214"/>
                  </a:lnTo>
                  <a:lnTo>
                    <a:pt x="334" y="214"/>
                  </a:lnTo>
                  <a:lnTo>
                    <a:pt x="334" y="216"/>
                  </a:lnTo>
                  <a:lnTo>
                    <a:pt x="334" y="219"/>
                  </a:lnTo>
                  <a:lnTo>
                    <a:pt x="334" y="222"/>
                  </a:lnTo>
                  <a:lnTo>
                    <a:pt x="334" y="224"/>
                  </a:lnTo>
                  <a:lnTo>
                    <a:pt x="334" y="224"/>
                  </a:lnTo>
                  <a:lnTo>
                    <a:pt x="334" y="227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4" y="232"/>
                  </a:lnTo>
                  <a:lnTo>
                    <a:pt x="334" y="232"/>
                  </a:lnTo>
                  <a:lnTo>
                    <a:pt x="334" y="235"/>
                  </a:lnTo>
                  <a:lnTo>
                    <a:pt x="334" y="235"/>
                  </a:lnTo>
                  <a:lnTo>
                    <a:pt x="334" y="238"/>
                  </a:lnTo>
                  <a:lnTo>
                    <a:pt x="334" y="238"/>
                  </a:lnTo>
                  <a:lnTo>
                    <a:pt x="331" y="240"/>
                  </a:lnTo>
                  <a:lnTo>
                    <a:pt x="331" y="243"/>
                  </a:lnTo>
                  <a:lnTo>
                    <a:pt x="329" y="243"/>
                  </a:lnTo>
                  <a:lnTo>
                    <a:pt x="329" y="243"/>
                  </a:lnTo>
                  <a:lnTo>
                    <a:pt x="326" y="246"/>
                  </a:lnTo>
                  <a:lnTo>
                    <a:pt x="326" y="246"/>
                  </a:lnTo>
                  <a:lnTo>
                    <a:pt x="323" y="248"/>
                  </a:lnTo>
                  <a:lnTo>
                    <a:pt x="323" y="248"/>
                  </a:lnTo>
                  <a:lnTo>
                    <a:pt x="323" y="251"/>
                  </a:lnTo>
                  <a:lnTo>
                    <a:pt x="321" y="251"/>
                  </a:lnTo>
                  <a:lnTo>
                    <a:pt x="321" y="254"/>
                  </a:lnTo>
                  <a:lnTo>
                    <a:pt x="321" y="254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5" y="256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07" y="254"/>
                  </a:lnTo>
                  <a:lnTo>
                    <a:pt x="305" y="254"/>
                  </a:lnTo>
                  <a:lnTo>
                    <a:pt x="302" y="256"/>
                  </a:lnTo>
                  <a:lnTo>
                    <a:pt x="302" y="259"/>
                  </a:lnTo>
                  <a:lnTo>
                    <a:pt x="297" y="264"/>
                  </a:lnTo>
                  <a:lnTo>
                    <a:pt x="297" y="267"/>
                  </a:lnTo>
                  <a:lnTo>
                    <a:pt x="294" y="270"/>
                  </a:lnTo>
                  <a:lnTo>
                    <a:pt x="294" y="275"/>
                  </a:lnTo>
                  <a:lnTo>
                    <a:pt x="291" y="278"/>
                  </a:lnTo>
                  <a:lnTo>
                    <a:pt x="291" y="280"/>
                  </a:lnTo>
                  <a:lnTo>
                    <a:pt x="291" y="286"/>
                  </a:lnTo>
                  <a:lnTo>
                    <a:pt x="291" y="288"/>
                  </a:lnTo>
                  <a:lnTo>
                    <a:pt x="289" y="294"/>
                  </a:lnTo>
                  <a:lnTo>
                    <a:pt x="289" y="296"/>
                  </a:lnTo>
                  <a:lnTo>
                    <a:pt x="289" y="299"/>
                  </a:lnTo>
                  <a:lnTo>
                    <a:pt x="289" y="302"/>
                  </a:lnTo>
                  <a:lnTo>
                    <a:pt x="289" y="304"/>
                  </a:lnTo>
                  <a:lnTo>
                    <a:pt x="289" y="307"/>
                  </a:lnTo>
                  <a:lnTo>
                    <a:pt x="289" y="310"/>
                  </a:lnTo>
                  <a:lnTo>
                    <a:pt x="291" y="310"/>
                  </a:lnTo>
                  <a:lnTo>
                    <a:pt x="289" y="312"/>
                  </a:lnTo>
                  <a:lnTo>
                    <a:pt x="289" y="315"/>
                  </a:lnTo>
                  <a:lnTo>
                    <a:pt x="289" y="315"/>
                  </a:lnTo>
                  <a:lnTo>
                    <a:pt x="289" y="318"/>
                  </a:lnTo>
                  <a:lnTo>
                    <a:pt x="289" y="318"/>
                  </a:lnTo>
                  <a:lnTo>
                    <a:pt x="289" y="320"/>
                  </a:lnTo>
                  <a:lnTo>
                    <a:pt x="289" y="323"/>
                  </a:lnTo>
                  <a:lnTo>
                    <a:pt x="289" y="326"/>
                  </a:lnTo>
                  <a:lnTo>
                    <a:pt x="289" y="328"/>
                  </a:lnTo>
                  <a:lnTo>
                    <a:pt x="289" y="334"/>
                  </a:lnTo>
                  <a:lnTo>
                    <a:pt x="291" y="336"/>
                  </a:lnTo>
                  <a:lnTo>
                    <a:pt x="291" y="336"/>
                  </a:lnTo>
                  <a:lnTo>
                    <a:pt x="294" y="339"/>
                  </a:lnTo>
                  <a:lnTo>
                    <a:pt x="294" y="342"/>
                  </a:lnTo>
                  <a:lnTo>
                    <a:pt x="297" y="344"/>
                  </a:lnTo>
                  <a:lnTo>
                    <a:pt x="297" y="347"/>
                  </a:lnTo>
                  <a:lnTo>
                    <a:pt x="297" y="350"/>
                  </a:lnTo>
                  <a:lnTo>
                    <a:pt x="299" y="353"/>
                  </a:lnTo>
                  <a:lnTo>
                    <a:pt x="302" y="355"/>
                  </a:lnTo>
                  <a:lnTo>
                    <a:pt x="302" y="358"/>
                  </a:lnTo>
                  <a:lnTo>
                    <a:pt x="305" y="361"/>
                  </a:lnTo>
                  <a:lnTo>
                    <a:pt x="307" y="363"/>
                  </a:lnTo>
                  <a:lnTo>
                    <a:pt x="307" y="366"/>
                  </a:lnTo>
                  <a:lnTo>
                    <a:pt x="310" y="366"/>
                  </a:lnTo>
                  <a:lnTo>
                    <a:pt x="310" y="366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05" y="369"/>
                  </a:lnTo>
                  <a:lnTo>
                    <a:pt x="305" y="369"/>
                  </a:lnTo>
                  <a:lnTo>
                    <a:pt x="305" y="366"/>
                  </a:lnTo>
                  <a:lnTo>
                    <a:pt x="302" y="366"/>
                  </a:lnTo>
                  <a:lnTo>
                    <a:pt x="302" y="369"/>
                  </a:lnTo>
                  <a:lnTo>
                    <a:pt x="302" y="369"/>
                  </a:lnTo>
                  <a:lnTo>
                    <a:pt x="305" y="369"/>
                  </a:lnTo>
                  <a:lnTo>
                    <a:pt x="305" y="369"/>
                  </a:lnTo>
                  <a:lnTo>
                    <a:pt x="307" y="369"/>
                  </a:lnTo>
                  <a:lnTo>
                    <a:pt x="307" y="369"/>
                  </a:lnTo>
                  <a:lnTo>
                    <a:pt x="310" y="369"/>
                  </a:lnTo>
                  <a:lnTo>
                    <a:pt x="310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9"/>
                  </a:lnTo>
                  <a:lnTo>
                    <a:pt x="313" y="366"/>
                  </a:lnTo>
                  <a:lnTo>
                    <a:pt x="315" y="366"/>
                  </a:lnTo>
                  <a:lnTo>
                    <a:pt x="318" y="369"/>
                  </a:lnTo>
                  <a:lnTo>
                    <a:pt x="318" y="369"/>
                  </a:lnTo>
                  <a:lnTo>
                    <a:pt x="321" y="371"/>
                  </a:lnTo>
                  <a:lnTo>
                    <a:pt x="323" y="371"/>
                  </a:lnTo>
                  <a:lnTo>
                    <a:pt x="326" y="374"/>
                  </a:lnTo>
                  <a:lnTo>
                    <a:pt x="326" y="377"/>
                  </a:lnTo>
                  <a:lnTo>
                    <a:pt x="329" y="379"/>
                  </a:lnTo>
                  <a:lnTo>
                    <a:pt x="326" y="379"/>
                  </a:lnTo>
                  <a:lnTo>
                    <a:pt x="326" y="379"/>
                  </a:lnTo>
                  <a:lnTo>
                    <a:pt x="323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79"/>
                  </a:lnTo>
                  <a:lnTo>
                    <a:pt x="321" y="382"/>
                  </a:lnTo>
                  <a:lnTo>
                    <a:pt x="321" y="382"/>
                  </a:lnTo>
                  <a:lnTo>
                    <a:pt x="321" y="382"/>
                  </a:lnTo>
                  <a:lnTo>
                    <a:pt x="323" y="382"/>
                  </a:lnTo>
                  <a:lnTo>
                    <a:pt x="326" y="385"/>
                  </a:lnTo>
                  <a:lnTo>
                    <a:pt x="329" y="385"/>
                  </a:lnTo>
                  <a:lnTo>
                    <a:pt x="331" y="387"/>
                  </a:lnTo>
                  <a:lnTo>
                    <a:pt x="331" y="387"/>
                  </a:lnTo>
                  <a:lnTo>
                    <a:pt x="331" y="387"/>
                  </a:lnTo>
                  <a:lnTo>
                    <a:pt x="331" y="385"/>
                  </a:lnTo>
                  <a:lnTo>
                    <a:pt x="331" y="385"/>
                  </a:lnTo>
                  <a:lnTo>
                    <a:pt x="334" y="385"/>
                  </a:lnTo>
                  <a:lnTo>
                    <a:pt x="334" y="387"/>
                  </a:lnTo>
                  <a:lnTo>
                    <a:pt x="334" y="387"/>
                  </a:lnTo>
                  <a:lnTo>
                    <a:pt x="334" y="387"/>
                  </a:lnTo>
                  <a:lnTo>
                    <a:pt x="337" y="390"/>
                  </a:lnTo>
                  <a:lnTo>
                    <a:pt x="337" y="390"/>
                  </a:lnTo>
                  <a:lnTo>
                    <a:pt x="337" y="387"/>
                  </a:lnTo>
                  <a:lnTo>
                    <a:pt x="339" y="390"/>
                  </a:lnTo>
                  <a:lnTo>
                    <a:pt x="339" y="390"/>
                  </a:lnTo>
                  <a:lnTo>
                    <a:pt x="339" y="393"/>
                  </a:lnTo>
                  <a:lnTo>
                    <a:pt x="342" y="393"/>
                  </a:lnTo>
                  <a:lnTo>
                    <a:pt x="342" y="395"/>
                  </a:lnTo>
                  <a:lnTo>
                    <a:pt x="345" y="395"/>
                  </a:lnTo>
                  <a:lnTo>
                    <a:pt x="345" y="398"/>
                  </a:lnTo>
                  <a:lnTo>
                    <a:pt x="345" y="398"/>
                  </a:lnTo>
                  <a:lnTo>
                    <a:pt x="345" y="398"/>
                  </a:lnTo>
                  <a:lnTo>
                    <a:pt x="345" y="395"/>
                  </a:lnTo>
                  <a:lnTo>
                    <a:pt x="345" y="395"/>
                  </a:lnTo>
                  <a:lnTo>
                    <a:pt x="345" y="393"/>
                  </a:lnTo>
                  <a:lnTo>
                    <a:pt x="342" y="393"/>
                  </a:lnTo>
                  <a:lnTo>
                    <a:pt x="342" y="393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0"/>
                  </a:lnTo>
                  <a:lnTo>
                    <a:pt x="345" y="393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47" y="393"/>
                  </a:lnTo>
                  <a:lnTo>
                    <a:pt x="350" y="395"/>
                  </a:lnTo>
                  <a:lnTo>
                    <a:pt x="350" y="395"/>
                  </a:lnTo>
                  <a:lnTo>
                    <a:pt x="353" y="395"/>
                  </a:lnTo>
                  <a:lnTo>
                    <a:pt x="355" y="398"/>
                  </a:lnTo>
                  <a:lnTo>
                    <a:pt x="355" y="398"/>
                  </a:lnTo>
                  <a:lnTo>
                    <a:pt x="355" y="401"/>
                  </a:lnTo>
                  <a:lnTo>
                    <a:pt x="355" y="401"/>
                  </a:lnTo>
                  <a:lnTo>
                    <a:pt x="355" y="403"/>
                  </a:lnTo>
                  <a:lnTo>
                    <a:pt x="355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3" y="403"/>
                  </a:lnTo>
                  <a:lnTo>
                    <a:pt x="350" y="403"/>
                  </a:lnTo>
                  <a:lnTo>
                    <a:pt x="350" y="403"/>
                  </a:lnTo>
                  <a:lnTo>
                    <a:pt x="347" y="403"/>
                  </a:lnTo>
                  <a:lnTo>
                    <a:pt x="347" y="403"/>
                  </a:lnTo>
                  <a:lnTo>
                    <a:pt x="345" y="403"/>
                  </a:lnTo>
                  <a:lnTo>
                    <a:pt x="345" y="403"/>
                  </a:lnTo>
                  <a:lnTo>
                    <a:pt x="342" y="403"/>
                  </a:lnTo>
                  <a:lnTo>
                    <a:pt x="342" y="403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9" y="406"/>
                  </a:lnTo>
                  <a:lnTo>
                    <a:pt x="337" y="406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3"/>
                  </a:lnTo>
                  <a:lnTo>
                    <a:pt x="337" y="401"/>
                  </a:lnTo>
                  <a:lnTo>
                    <a:pt x="337" y="401"/>
                  </a:lnTo>
                  <a:lnTo>
                    <a:pt x="337" y="398"/>
                  </a:lnTo>
                  <a:lnTo>
                    <a:pt x="334" y="398"/>
                  </a:lnTo>
                  <a:lnTo>
                    <a:pt x="334" y="398"/>
                  </a:lnTo>
                  <a:lnTo>
                    <a:pt x="334" y="398"/>
                  </a:lnTo>
                  <a:lnTo>
                    <a:pt x="334" y="401"/>
                  </a:lnTo>
                  <a:lnTo>
                    <a:pt x="334" y="401"/>
                  </a:lnTo>
                  <a:lnTo>
                    <a:pt x="334" y="403"/>
                  </a:lnTo>
                  <a:lnTo>
                    <a:pt x="334" y="403"/>
                  </a:lnTo>
                  <a:lnTo>
                    <a:pt x="334" y="406"/>
                  </a:lnTo>
                  <a:lnTo>
                    <a:pt x="334" y="406"/>
                  </a:lnTo>
                  <a:lnTo>
                    <a:pt x="331" y="406"/>
                  </a:lnTo>
                  <a:lnTo>
                    <a:pt x="331" y="406"/>
                  </a:lnTo>
                  <a:lnTo>
                    <a:pt x="331" y="406"/>
                  </a:lnTo>
                  <a:lnTo>
                    <a:pt x="329" y="406"/>
                  </a:lnTo>
                  <a:lnTo>
                    <a:pt x="329" y="406"/>
                  </a:lnTo>
                  <a:lnTo>
                    <a:pt x="329" y="409"/>
                  </a:lnTo>
                  <a:lnTo>
                    <a:pt x="326" y="409"/>
                  </a:lnTo>
                  <a:lnTo>
                    <a:pt x="326" y="411"/>
                  </a:lnTo>
                  <a:lnTo>
                    <a:pt x="326" y="411"/>
                  </a:lnTo>
                  <a:lnTo>
                    <a:pt x="323" y="414"/>
                  </a:lnTo>
                  <a:lnTo>
                    <a:pt x="323" y="414"/>
                  </a:lnTo>
                  <a:lnTo>
                    <a:pt x="323" y="417"/>
                  </a:lnTo>
                  <a:lnTo>
                    <a:pt x="323" y="419"/>
                  </a:lnTo>
                  <a:lnTo>
                    <a:pt x="326" y="419"/>
                  </a:lnTo>
                  <a:lnTo>
                    <a:pt x="326" y="422"/>
                  </a:lnTo>
                  <a:lnTo>
                    <a:pt x="326" y="422"/>
                  </a:lnTo>
                  <a:lnTo>
                    <a:pt x="323" y="422"/>
                  </a:lnTo>
                  <a:lnTo>
                    <a:pt x="323" y="422"/>
                  </a:lnTo>
                  <a:lnTo>
                    <a:pt x="321" y="425"/>
                  </a:lnTo>
                  <a:lnTo>
                    <a:pt x="321" y="425"/>
                  </a:lnTo>
                  <a:lnTo>
                    <a:pt x="321" y="427"/>
                  </a:lnTo>
                  <a:lnTo>
                    <a:pt x="318" y="430"/>
                  </a:lnTo>
                  <a:lnTo>
                    <a:pt x="318" y="433"/>
                  </a:lnTo>
                  <a:lnTo>
                    <a:pt x="315" y="435"/>
                  </a:lnTo>
                  <a:lnTo>
                    <a:pt x="313" y="441"/>
                  </a:lnTo>
                  <a:lnTo>
                    <a:pt x="313" y="443"/>
                  </a:lnTo>
                  <a:lnTo>
                    <a:pt x="313" y="446"/>
                  </a:lnTo>
                  <a:lnTo>
                    <a:pt x="313" y="449"/>
                  </a:lnTo>
                  <a:lnTo>
                    <a:pt x="313" y="451"/>
                  </a:lnTo>
                  <a:lnTo>
                    <a:pt x="313" y="457"/>
                  </a:lnTo>
                  <a:lnTo>
                    <a:pt x="313" y="459"/>
                  </a:lnTo>
                  <a:lnTo>
                    <a:pt x="313" y="462"/>
                  </a:lnTo>
                  <a:lnTo>
                    <a:pt x="315" y="462"/>
                  </a:lnTo>
                  <a:lnTo>
                    <a:pt x="313" y="467"/>
                  </a:lnTo>
                  <a:lnTo>
                    <a:pt x="313" y="467"/>
                  </a:lnTo>
                  <a:lnTo>
                    <a:pt x="310" y="467"/>
                  </a:lnTo>
                  <a:lnTo>
                    <a:pt x="310" y="465"/>
                  </a:lnTo>
                  <a:lnTo>
                    <a:pt x="310" y="465"/>
                  </a:lnTo>
                  <a:lnTo>
                    <a:pt x="307" y="465"/>
                  </a:lnTo>
                  <a:lnTo>
                    <a:pt x="307" y="465"/>
                  </a:lnTo>
                  <a:lnTo>
                    <a:pt x="305" y="465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02" y="459"/>
                  </a:lnTo>
                  <a:lnTo>
                    <a:pt x="302" y="459"/>
                  </a:lnTo>
                  <a:lnTo>
                    <a:pt x="299" y="459"/>
                  </a:lnTo>
                  <a:lnTo>
                    <a:pt x="299" y="459"/>
                  </a:lnTo>
                  <a:lnTo>
                    <a:pt x="297" y="459"/>
                  </a:lnTo>
                  <a:lnTo>
                    <a:pt x="297" y="459"/>
                  </a:lnTo>
                  <a:lnTo>
                    <a:pt x="297" y="462"/>
                  </a:lnTo>
                  <a:lnTo>
                    <a:pt x="297" y="462"/>
                  </a:lnTo>
                  <a:lnTo>
                    <a:pt x="294" y="465"/>
                  </a:lnTo>
                  <a:lnTo>
                    <a:pt x="294" y="467"/>
                  </a:lnTo>
                  <a:lnTo>
                    <a:pt x="294" y="467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73"/>
                  </a:lnTo>
                  <a:lnTo>
                    <a:pt x="294" y="473"/>
                  </a:lnTo>
                  <a:lnTo>
                    <a:pt x="297" y="470"/>
                  </a:lnTo>
                  <a:lnTo>
                    <a:pt x="297" y="470"/>
                  </a:lnTo>
                  <a:lnTo>
                    <a:pt x="297" y="470"/>
                  </a:lnTo>
                  <a:lnTo>
                    <a:pt x="297" y="473"/>
                  </a:lnTo>
                  <a:lnTo>
                    <a:pt x="297" y="473"/>
                  </a:lnTo>
                  <a:lnTo>
                    <a:pt x="299" y="475"/>
                  </a:lnTo>
                  <a:lnTo>
                    <a:pt x="299" y="475"/>
                  </a:lnTo>
                  <a:lnTo>
                    <a:pt x="302" y="475"/>
                  </a:lnTo>
                  <a:lnTo>
                    <a:pt x="302" y="475"/>
                  </a:lnTo>
                  <a:lnTo>
                    <a:pt x="302" y="475"/>
                  </a:lnTo>
                  <a:lnTo>
                    <a:pt x="305" y="475"/>
                  </a:lnTo>
                  <a:lnTo>
                    <a:pt x="305" y="475"/>
                  </a:lnTo>
                  <a:lnTo>
                    <a:pt x="305" y="473"/>
                  </a:lnTo>
                  <a:lnTo>
                    <a:pt x="305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3"/>
                  </a:lnTo>
                  <a:lnTo>
                    <a:pt x="302" y="470"/>
                  </a:lnTo>
                  <a:lnTo>
                    <a:pt x="305" y="470"/>
                  </a:lnTo>
                  <a:lnTo>
                    <a:pt x="305" y="470"/>
                  </a:lnTo>
                  <a:lnTo>
                    <a:pt x="310" y="467"/>
                  </a:lnTo>
                  <a:lnTo>
                    <a:pt x="310" y="470"/>
                  </a:lnTo>
                  <a:lnTo>
                    <a:pt x="310" y="470"/>
                  </a:lnTo>
                  <a:lnTo>
                    <a:pt x="310" y="470"/>
                  </a:lnTo>
                  <a:lnTo>
                    <a:pt x="310" y="473"/>
                  </a:lnTo>
                  <a:lnTo>
                    <a:pt x="310" y="473"/>
                  </a:lnTo>
                  <a:lnTo>
                    <a:pt x="313" y="473"/>
                  </a:lnTo>
                  <a:lnTo>
                    <a:pt x="313" y="473"/>
                  </a:lnTo>
                  <a:lnTo>
                    <a:pt x="313" y="475"/>
                  </a:lnTo>
                  <a:lnTo>
                    <a:pt x="313" y="475"/>
                  </a:lnTo>
                  <a:lnTo>
                    <a:pt x="313" y="478"/>
                  </a:lnTo>
                  <a:lnTo>
                    <a:pt x="313" y="478"/>
                  </a:lnTo>
                  <a:lnTo>
                    <a:pt x="313" y="478"/>
                  </a:lnTo>
                  <a:lnTo>
                    <a:pt x="313" y="481"/>
                  </a:lnTo>
                  <a:lnTo>
                    <a:pt x="313" y="481"/>
                  </a:lnTo>
                  <a:lnTo>
                    <a:pt x="313" y="483"/>
                  </a:lnTo>
                  <a:lnTo>
                    <a:pt x="313" y="483"/>
                  </a:lnTo>
                  <a:lnTo>
                    <a:pt x="313" y="483"/>
                  </a:lnTo>
                  <a:lnTo>
                    <a:pt x="313" y="486"/>
                  </a:lnTo>
                  <a:lnTo>
                    <a:pt x="313" y="486"/>
                  </a:lnTo>
                  <a:lnTo>
                    <a:pt x="315" y="486"/>
                  </a:lnTo>
                  <a:lnTo>
                    <a:pt x="315" y="486"/>
                  </a:lnTo>
                  <a:lnTo>
                    <a:pt x="318" y="486"/>
                  </a:lnTo>
                  <a:lnTo>
                    <a:pt x="321" y="486"/>
                  </a:lnTo>
                  <a:lnTo>
                    <a:pt x="321" y="486"/>
                  </a:lnTo>
                  <a:lnTo>
                    <a:pt x="321" y="486"/>
                  </a:lnTo>
                  <a:lnTo>
                    <a:pt x="321" y="489"/>
                  </a:lnTo>
                  <a:lnTo>
                    <a:pt x="321" y="489"/>
                  </a:lnTo>
                  <a:lnTo>
                    <a:pt x="323" y="491"/>
                  </a:lnTo>
                  <a:lnTo>
                    <a:pt x="323" y="491"/>
                  </a:lnTo>
                  <a:lnTo>
                    <a:pt x="323" y="494"/>
                  </a:lnTo>
                  <a:lnTo>
                    <a:pt x="321" y="494"/>
                  </a:lnTo>
                  <a:lnTo>
                    <a:pt x="321" y="494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15" y="497"/>
                  </a:lnTo>
                  <a:lnTo>
                    <a:pt x="315" y="497"/>
                  </a:lnTo>
                  <a:lnTo>
                    <a:pt x="315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18" y="497"/>
                  </a:lnTo>
                  <a:lnTo>
                    <a:pt x="321" y="499"/>
                  </a:lnTo>
                  <a:lnTo>
                    <a:pt x="321" y="499"/>
                  </a:lnTo>
                  <a:lnTo>
                    <a:pt x="323" y="499"/>
                  </a:lnTo>
                  <a:lnTo>
                    <a:pt x="323" y="499"/>
                  </a:lnTo>
                  <a:lnTo>
                    <a:pt x="326" y="499"/>
                  </a:lnTo>
                  <a:lnTo>
                    <a:pt x="329" y="499"/>
                  </a:lnTo>
                  <a:lnTo>
                    <a:pt x="329" y="502"/>
                  </a:lnTo>
                  <a:lnTo>
                    <a:pt x="329" y="502"/>
                  </a:lnTo>
                  <a:lnTo>
                    <a:pt x="329" y="502"/>
                  </a:lnTo>
                  <a:lnTo>
                    <a:pt x="331" y="502"/>
                  </a:lnTo>
                  <a:lnTo>
                    <a:pt x="331" y="505"/>
                  </a:lnTo>
                  <a:lnTo>
                    <a:pt x="331" y="505"/>
                  </a:lnTo>
                  <a:lnTo>
                    <a:pt x="331" y="507"/>
                  </a:lnTo>
                  <a:lnTo>
                    <a:pt x="331" y="507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1" y="513"/>
                  </a:lnTo>
                  <a:lnTo>
                    <a:pt x="331" y="510"/>
                  </a:lnTo>
                  <a:lnTo>
                    <a:pt x="331" y="510"/>
                  </a:lnTo>
                  <a:lnTo>
                    <a:pt x="334" y="507"/>
                  </a:lnTo>
                  <a:lnTo>
                    <a:pt x="334" y="507"/>
                  </a:lnTo>
                  <a:lnTo>
                    <a:pt x="337" y="507"/>
                  </a:lnTo>
                  <a:lnTo>
                    <a:pt x="337" y="507"/>
                  </a:lnTo>
                  <a:lnTo>
                    <a:pt x="337" y="507"/>
                  </a:lnTo>
                  <a:lnTo>
                    <a:pt x="339" y="510"/>
                  </a:lnTo>
                  <a:lnTo>
                    <a:pt x="339" y="510"/>
                  </a:lnTo>
                  <a:lnTo>
                    <a:pt x="339" y="513"/>
                  </a:lnTo>
                  <a:lnTo>
                    <a:pt x="339" y="513"/>
                  </a:lnTo>
                  <a:lnTo>
                    <a:pt x="339" y="513"/>
                  </a:lnTo>
                  <a:lnTo>
                    <a:pt x="342" y="513"/>
                  </a:lnTo>
                  <a:lnTo>
                    <a:pt x="342" y="513"/>
                  </a:lnTo>
                  <a:lnTo>
                    <a:pt x="342" y="516"/>
                  </a:lnTo>
                  <a:lnTo>
                    <a:pt x="342" y="516"/>
                  </a:lnTo>
                  <a:lnTo>
                    <a:pt x="342" y="518"/>
                  </a:lnTo>
                  <a:lnTo>
                    <a:pt x="342" y="521"/>
                  </a:lnTo>
                  <a:lnTo>
                    <a:pt x="342" y="521"/>
                  </a:lnTo>
                  <a:lnTo>
                    <a:pt x="342" y="521"/>
                  </a:lnTo>
                  <a:lnTo>
                    <a:pt x="342" y="524"/>
                  </a:lnTo>
                  <a:lnTo>
                    <a:pt x="342" y="526"/>
                  </a:lnTo>
                  <a:lnTo>
                    <a:pt x="342" y="526"/>
                  </a:lnTo>
                  <a:lnTo>
                    <a:pt x="342" y="526"/>
                  </a:lnTo>
                  <a:lnTo>
                    <a:pt x="342" y="529"/>
                  </a:lnTo>
                  <a:lnTo>
                    <a:pt x="345" y="529"/>
                  </a:lnTo>
                  <a:lnTo>
                    <a:pt x="345" y="529"/>
                  </a:lnTo>
                  <a:lnTo>
                    <a:pt x="345" y="532"/>
                  </a:lnTo>
                  <a:lnTo>
                    <a:pt x="345" y="534"/>
                  </a:lnTo>
                  <a:lnTo>
                    <a:pt x="345" y="534"/>
                  </a:lnTo>
                  <a:lnTo>
                    <a:pt x="342" y="537"/>
                  </a:lnTo>
                  <a:lnTo>
                    <a:pt x="345" y="540"/>
                  </a:lnTo>
                  <a:lnTo>
                    <a:pt x="345" y="540"/>
                  </a:lnTo>
                  <a:lnTo>
                    <a:pt x="345" y="540"/>
                  </a:lnTo>
                  <a:lnTo>
                    <a:pt x="347" y="542"/>
                  </a:lnTo>
                  <a:lnTo>
                    <a:pt x="347" y="542"/>
                  </a:lnTo>
                  <a:lnTo>
                    <a:pt x="347" y="542"/>
                  </a:lnTo>
                  <a:lnTo>
                    <a:pt x="347" y="545"/>
                  </a:lnTo>
                  <a:lnTo>
                    <a:pt x="347" y="545"/>
                  </a:lnTo>
                  <a:lnTo>
                    <a:pt x="350" y="545"/>
                  </a:lnTo>
                  <a:lnTo>
                    <a:pt x="350" y="548"/>
                  </a:lnTo>
                  <a:lnTo>
                    <a:pt x="350" y="548"/>
                  </a:lnTo>
                  <a:lnTo>
                    <a:pt x="353" y="548"/>
                  </a:lnTo>
                  <a:lnTo>
                    <a:pt x="353" y="550"/>
                  </a:lnTo>
                  <a:lnTo>
                    <a:pt x="353" y="550"/>
                  </a:lnTo>
                  <a:lnTo>
                    <a:pt x="353" y="550"/>
                  </a:lnTo>
                  <a:lnTo>
                    <a:pt x="353" y="553"/>
                  </a:lnTo>
                  <a:lnTo>
                    <a:pt x="353" y="553"/>
                  </a:lnTo>
                  <a:lnTo>
                    <a:pt x="353" y="558"/>
                  </a:lnTo>
                  <a:lnTo>
                    <a:pt x="353" y="561"/>
                  </a:lnTo>
                  <a:lnTo>
                    <a:pt x="353" y="561"/>
                  </a:lnTo>
                  <a:lnTo>
                    <a:pt x="353" y="564"/>
                  </a:lnTo>
                  <a:lnTo>
                    <a:pt x="353" y="564"/>
                  </a:lnTo>
                  <a:lnTo>
                    <a:pt x="353" y="564"/>
                  </a:lnTo>
                  <a:lnTo>
                    <a:pt x="355" y="564"/>
                  </a:lnTo>
                  <a:lnTo>
                    <a:pt x="355" y="566"/>
                  </a:lnTo>
                  <a:lnTo>
                    <a:pt x="353" y="566"/>
                  </a:lnTo>
                  <a:lnTo>
                    <a:pt x="355" y="569"/>
                  </a:lnTo>
                  <a:lnTo>
                    <a:pt x="355" y="569"/>
                  </a:lnTo>
                  <a:lnTo>
                    <a:pt x="355" y="569"/>
                  </a:lnTo>
                  <a:lnTo>
                    <a:pt x="355" y="572"/>
                  </a:lnTo>
                  <a:lnTo>
                    <a:pt x="353" y="572"/>
                  </a:lnTo>
                  <a:lnTo>
                    <a:pt x="353" y="574"/>
                  </a:lnTo>
                  <a:lnTo>
                    <a:pt x="355" y="574"/>
                  </a:lnTo>
                  <a:lnTo>
                    <a:pt x="355" y="577"/>
                  </a:lnTo>
                  <a:lnTo>
                    <a:pt x="355" y="577"/>
                  </a:lnTo>
                  <a:lnTo>
                    <a:pt x="355" y="580"/>
                  </a:lnTo>
                  <a:lnTo>
                    <a:pt x="355" y="580"/>
                  </a:lnTo>
                  <a:lnTo>
                    <a:pt x="355" y="582"/>
                  </a:lnTo>
                  <a:lnTo>
                    <a:pt x="355" y="582"/>
                  </a:lnTo>
                  <a:lnTo>
                    <a:pt x="355" y="585"/>
                  </a:lnTo>
                  <a:lnTo>
                    <a:pt x="355" y="588"/>
                  </a:lnTo>
                  <a:lnTo>
                    <a:pt x="358" y="588"/>
                  </a:lnTo>
                  <a:lnTo>
                    <a:pt x="355" y="590"/>
                  </a:lnTo>
                  <a:lnTo>
                    <a:pt x="355" y="590"/>
                  </a:lnTo>
                  <a:lnTo>
                    <a:pt x="355" y="593"/>
                  </a:lnTo>
                  <a:lnTo>
                    <a:pt x="355" y="593"/>
                  </a:lnTo>
                  <a:lnTo>
                    <a:pt x="355" y="596"/>
                  </a:lnTo>
                  <a:lnTo>
                    <a:pt x="355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5" y="598"/>
                  </a:lnTo>
                  <a:lnTo>
                    <a:pt x="355" y="601"/>
                  </a:lnTo>
                  <a:lnTo>
                    <a:pt x="353" y="601"/>
                  </a:lnTo>
                  <a:lnTo>
                    <a:pt x="353" y="604"/>
                  </a:lnTo>
                  <a:lnTo>
                    <a:pt x="353" y="604"/>
                  </a:lnTo>
                  <a:lnTo>
                    <a:pt x="353" y="606"/>
                  </a:lnTo>
                  <a:lnTo>
                    <a:pt x="353" y="606"/>
                  </a:lnTo>
                  <a:lnTo>
                    <a:pt x="353" y="609"/>
                  </a:lnTo>
                  <a:lnTo>
                    <a:pt x="350" y="609"/>
                  </a:lnTo>
                  <a:lnTo>
                    <a:pt x="350" y="609"/>
                  </a:lnTo>
                  <a:lnTo>
                    <a:pt x="350" y="612"/>
                  </a:lnTo>
                  <a:lnTo>
                    <a:pt x="350" y="614"/>
                  </a:lnTo>
                  <a:lnTo>
                    <a:pt x="350" y="614"/>
                  </a:lnTo>
                  <a:lnTo>
                    <a:pt x="350" y="617"/>
                  </a:lnTo>
                  <a:lnTo>
                    <a:pt x="350" y="617"/>
                  </a:lnTo>
                  <a:lnTo>
                    <a:pt x="350" y="620"/>
                  </a:lnTo>
                  <a:lnTo>
                    <a:pt x="350" y="620"/>
                  </a:lnTo>
                  <a:lnTo>
                    <a:pt x="350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3" y="622"/>
                  </a:lnTo>
                  <a:lnTo>
                    <a:pt x="355" y="625"/>
                  </a:lnTo>
                  <a:lnTo>
                    <a:pt x="353" y="628"/>
                  </a:lnTo>
                  <a:lnTo>
                    <a:pt x="353" y="628"/>
                  </a:lnTo>
                  <a:lnTo>
                    <a:pt x="353" y="628"/>
                  </a:lnTo>
                  <a:lnTo>
                    <a:pt x="353" y="630"/>
                  </a:lnTo>
                  <a:lnTo>
                    <a:pt x="350" y="630"/>
                  </a:lnTo>
                  <a:lnTo>
                    <a:pt x="350" y="633"/>
                  </a:lnTo>
                  <a:lnTo>
                    <a:pt x="350" y="633"/>
                  </a:lnTo>
                  <a:lnTo>
                    <a:pt x="350" y="636"/>
                  </a:lnTo>
                  <a:lnTo>
                    <a:pt x="353" y="638"/>
                  </a:lnTo>
                  <a:lnTo>
                    <a:pt x="353" y="638"/>
                  </a:lnTo>
                  <a:lnTo>
                    <a:pt x="353" y="641"/>
                  </a:lnTo>
                  <a:lnTo>
                    <a:pt x="353" y="641"/>
                  </a:lnTo>
                  <a:lnTo>
                    <a:pt x="353" y="644"/>
                  </a:lnTo>
                  <a:lnTo>
                    <a:pt x="353" y="646"/>
                  </a:lnTo>
                  <a:lnTo>
                    <a:pt x="353" y="646"/>
                  </a:lnTo>
                  <a:lnTo>
                    <a:pt x="353" y="652"/>
                  </a:lnTo>
                  <a:lnTo>
                    <a:pt x="353" y="652"/>
                  </a:lnTo>
                  <a:lnTo>
                    <a:pt x="350" y="652"/>
                  </a:lnTo>
                  <a:lnTo>
                    <a:pt x="350" y="654"/>
                  </a:lnTo>
                  <a:lnTo>
                    <a:pt x="350" y="654"/>
                  </a:lnTo>
                  <a:lnTo>
                    <a:pt x="350" y="657"/>
                  </a:lnTo>
                  <a:lnTo>
                    <a:pt x="350" y="657"/>
                  </a:lnTo>
                  <a:lnTo>
                    <a:pt x="350" y="657"/>
                  </a:lnTo>
                  <a:lnTo>
                    <a:pt x="350" y="660"/>
                  </a:lnTo>
                  <a:lnTo>
                    <a:pt x="350" y="660"/>
                  </a:lnTo>
                  <a:lnTo>
                    <a:pt x="350" y="662"/>
                  </a:lnTo>
                  <a:lnTo>
                    <a:pt x="350" y="662"/>
                  </a:lnTo>
                  <a:lnTo>
                    <a:pt x="350" y="665"/>
                  </a:lnTo>
                  <a:lnTo>
                    <a:pt x="350" y="665"/>
                  </a:lnTo>
                  <a:lnTo>
                    <a:pt x="350" y="668"/>
                  </a:lnTo>
                  <a:lnTo>
                    <a:pt x="350" y="668"/>
                  </a:lnTo>
                  <a:lnTo>
                    <a:pt x="347" y="671"/>
                  </a:lnTo>
                  <a:lnTo>
                    <a:pt x="347" y="671"/>
                  </a:lnTo>
                  <a:lnTo>
                    <a:pt x="347" y="671"/>
                  </a:lnTo>
                  <a:lnTo>
                    <a:pt x="347" y="673"/>
                  </a:lnTo>
                  <a:lnTo>
                    <a:pt x="347" y="676"/>
                  </a:lnTo>
                  <a:lnTo>
                    <a:pt x="347" y="676"/>
                  </a:lnTo>
                  <a:lnTo>
                    <a:pt x="347" y="679"/>
                  </a:lnTo>
                  <a:lnTo>
                    <a:pt x="350" y="679"/>
                  </a:lnTo>
                  <a:lnTo>
                    <a:pt x="347" y="681"/>
                  </a:lnTo>
                  <a:lnTo>
                    <a:pt x="347" y="684"/>
                  </a:lnTo>
                  <a:lnTo>
                    <a:pt x="347" y="684"/>
                  </a:lnTo>
                  <a:lnTo>
                    <a:pt x="347" y="687"/>
                  </a:lnTo>
                  <a:lnTo>
                    <a:pt x="350" y="687"/>
                  </a:lnTo>
                  <a:lnTo>
                    <a:pt x="350" y="687"/>
                  </a:lnTo>
                  <a:lnTo>
                    <a:pt x="350" y="689"/>
                  </a:lnTo>
                  <a:lnTo>
                    <a:pt x="347" y="692"/>
                  </a:lnTo>
                  <a:lnTo>
                    <a:pt x="347" y="692"/>
                  </a:lnTo>
                  <a:lnTo>
                    <a:pt x="347" y="689"/>
                  </a:lnTo>
                  <a:lnTo>
                    <a:pt x="347" y="687"/>
                  </a:lnTo>
                  <a:lnTo>
                    <a:pt x="345" y="687"/>
                  </a:lnTo>
                  <a:lnTo>
                    <a:pt x="345" y="681"/>
                  </a:lnTo>
                  <a:lnTo>
                    <a:pt x="345" y="681"/>
                  </a:lnTo>
                  <a:lnTo>
                    <a:pt x="345" y="679"/>
                  </a:lnTo>
                  <a:lnTo>
                    <a:pt x="345" y="679"/>
                  </a:lnTo>
                  <a:lnTo>
                    <a:pt x="342" y="676"/>
                  </a:lnTo>
                  <a:lnTo>
                    <a:pt x="342" y="676"/>
                  </a:lnTo>
                  <a:lnTo>
                    <a:pt x="342" y="673"/>
                  </a:lnTo>
                  <a:lnTo>
                    <a:pt x="339" y="673"/>
                  </a:lnTo>
                  <a:lnTo>
                    <a:pt x="339" y="673"/>
                  </a:lnTo>
                  <a:lnTo>
                    <a:pt x="337" y="673"/>
                  </a:lnTo>
                  <a:lnTo>
                    <a:pt x="337" y="673"/>
                  </a:lnTo>
                  <a:lnTo>
                    <a:pt x="334" y="671"/>
                  </a:lnTo>
                  <a:lnTo>
                    <a:pt x="334" y="668"/>
                  </a:lnTo>
                  <a:lnTo>
                    <a:pt x="331" y="668"/>
                  </a:lnTo>
                  <a:lnTo>
                    <a:pt x="331" y="668"/>
                  </a:lnTo>
                  <a:lnTo>
                    <a:pt x="329" y="665"/>
                  </a:lnTo>
                  <a:lnTo>
                    <a:pt x="329" y="665"/>
                  </a:lnTo>
                  <a:lnTo>
                    <a:pt x="326" y="665"/>
                  </a:lnTo>
                  <a:lnTo>
                    <a:pt x="323" y="665"/>
                  </a:lnTo>
                  <a:lnTo>
                    <a:pt x="323" y="665"/>
                  </a:lnTo>
                  <a:lnTo>
                    <a:pt x="321" y="665"/>
                  </a:lnTo>
                  <a:lnTo>
                    <a:pt x="321" y="665"/>
                  </a:lnTo>
                  <a:lnTo>
                    <a:pt x="315" y="665"/>
                  </a:lnTo>
                  <a:lnTo>
                    <a:pt x="315" y="665"/>
                  </a:lnTo>
                  <a:lnTo>
                    <a:pt x="313" y="662"/>
                  </a:lnTo>
                  <a:lnTo>
                    <a:pt x="310" y="660"/>
                  </a:lnTo>
                  <a:lnTo>
                    <a:pt x="310" y="657"/>
                  </a:lnTo>
                  <a:lnTo>
                    <a:pt x="307" y="657"/>
                  </a:lnTo>
                  <a:lnTo>
                    <a:pt x="307" y="654"/>
                  </a:lnTo>
                  <a:lnTo>
                    <a:pt x="307" y="654"/>
                  </a:lnTo>
                  <a:lnTo>
                    <a:pt x="305" y="654"/>
                  </a:lnTo>
                  <a:lnTo>
                    <a:pt x="305" y="654"/>
                  </a:lnTo>
                  <a:lnTo>
                    <a:pt x="302" y="652"/>
                  </a:lnTo>
                  <a:lnTo>
                    <a:pt x="302" y="649"/>
                  </a:lnTo>
                  <a:lnTo>
                    <a:pt x="299" y="649"/>
                  </a:lnTo>
                  <a:lnTo>
                    <a:pt x="297" y="646"/>
                  </a:lnTo>
                  <a:lnTo>
                    <a:pt x="294" y="644"/>
                  </a:lnTo>
                  <a:lnTo>
                    <a:pt x="294" y="641"/>
                  </a:lnTo>
                  <a:lnTo>
                    <a:pt x="291" y="641"/>
                  </a:lnTo>
                  <a:lnTo>
                    <a:pt x="289" y="638"/>
                  </a:lnTo>
                  <a:lnTo>
                    <a:pt x="289" y="636"/>
                  </a:lnTo>
                  <a:lnTo>
                    <a:pt x="286" y="633"/>
                  </a:lnTo>
                  <a:lnTo>
                    <a:pt x="281" y="628"/>
                  </a:lnTo>
                  <a:lnTo>
                    <a:pt x="278" y="622"/>
                  </a:lnTo>
                  <a:lnTo>
                    <a:pt x="275" y="622"/>
                  </a:lnTo>
                  <a:lnTo>
                    <a:pt x="273" y="620"/>
                  </a:lnTo>
                  <a:lnTo>
                    <a:pt x="270" y="617"/>
                  </a:lnTo>
                  <a:lnTo>
                    <a:pt x="267" y="614"/>
                  </a:lnTo>
                  <a:lnTo>
                    <a:pt x="264" y="612"/>
                  </a:lnTo>
                  <a:lnTo>
                    <a:pt x="262" y="609"/>
                  </a:lnTo>
                  <a:lnTo>
                    <a:pt x="259" y="606"/>
                  </a:lnTo>
                  <a:lnTo>
                    <a:pt x="256" y="604"/>
                  </a:lnTo>
                  <a:lnTo>
                    <a:pt x="254" y="601"/>
                  </a:lnTo>
                  <a:lnTo>
                    <a:pt x="251" y="598"/>
                  </a:lnTo>
                  <a:lnTo>
                    <a:pt x="251" y="598"/>
                  </a:lnTo>
                  <a:lnTo>
                    <a:pt x="248" y="596"/>
                  </a:lnTo>
                  <a:lnTo>
                    <a:pt x="246" y="596"/>
                  </a:lnTo>
                  <a:lnTo>
                    <a:pt x="243" y="593"/>
                  </a:lnTo>
                  <a:lnTo>
                    <a:pt x="240" y="593"/>
                  </a:lnTo>
                  <a:lnTo>
                    <a:pt x="238" y="590"/>
                  </a:lnTo>
                  <a:lnTo>
                    <a:pt x="235" y="590"/>
                  </a:lnTo>
                  <a:lnTo>
                    <a:pt x="235" y="588"/>
                  </a:lnTo>
                  <a:lnTo>
                    <a:pt x="232" y="588"/>
                  </a:lnTo>
                  <a:lnTo>
                    <a:pt x="230" y="585"/>
                  </a:lnTo>
                  <a:lnTo>
                    <a:pt x="230" y="585"/>
                  </a:lnTo>
                  <a:lnTo>
                    <a:pt x="227" y="582"/>
                  </a:lnTo>
                  <a:lnTo>
                    <a:pt x="224" y="582"/>
                  </a:lnTo>
                  <a:lnTo>
                    <a:pt x="219" y="580"/>
                  </a:lnTo>
                  <a:lnTo>
                    <a:pt x="216" y="577"/>
                  </a:lnTo>
                  <a:lnTo>
                    <a:pt x="214" y="577"/>
                  </a:lnTo>
                  <a:lnTo>
                    <a:pt x="211" y="574"/>
                  </a:lnTo>
                  <a:lnTo>
                    <a:pt x="208" y="572"/>
                  </a:lnTo>
                  <a:lnTo>
                    <a:pt x="206" y="569"/>
                  </a:lnTo>
                  <a:lnTo>
                    <a:pt x="200" y="566"/>
                  </a:lnTo>
                  <a:lnTo>
                    <a:pt x="198" y="564"/>
                  </a:lnTo>
                  <a:lnTo>
                    <a:pt x="195" y="561"/>
                  </a:lnTo>
                  <a:lnTo>
                    <a:pt x="192" y="556"/>
                  </a:lnTo>
                  <a:lnTo>
                    <a:pt x="190" y="553"/>
                  </a:lnTo>
                  <a:lnTo>
                    <a:pt x="184" y="550"/>
                  </a:lnTo>
                  <a:lnTo>
                    <a:pt x="182" y="548"/>
                  </a:lnTo>
                  <a:lnTo>
                    <a:pt x="176" y="542"/>
                  </a:lnTo>
                  <a:lnTo>
                    <a:pt x="171" y="534"/>
                  </a:lnTo>
                  <a:lnTo>
                    <a:pt x="166" y="532"/>
                  </a:lnTo>
                  <a:lnTo>
                    <a:pt x="160" y="526"/>
                  </a:lnTo>
                  <a:lnTo>
                    <a:pt x="158" y="521"/>
                  </a:lnTo>
                  <a:lnTo>
                    <a:pt x="152" y="518"/>
                  </a:lnTo>
                  <a:lnTo>
                    <a:pt x="147" y="513"/>
                  </a:lnTo>
                  <a:lnTo>
                    <a:pt x="144" y="510"/>
                  </a:lnTo>
                  <a:lnTo>
                    <a:pt x="142" y="507"/>
                  </a:lnTo>
                  <a:lnTo>
                    <a:pt x="136" y="502"/>
                  </a:lnTo>
                  <a:lnTo>
                    <a:pt x="134" y="502"/>
                  </a:lnTo>
                  <a:lnTo>
                    <a:pt x="131" y="499"/>
                  </a:lnTo>
                  <a:lnTo>
                    <a:pt x="128" y="497"/>
                  </a:lnTo>
                  <a:lnTo>
                    <a:pt x="126" y="494"/>
                  </a:lnTo>
                  <a:lnTo>
                    <a:pt x="123" y="494"/>
                  </a:lnTo>
                  <a:lnTo>
                    <a:pt x="120" y="491"/>
                  </a:lnTo>
                  <a:lnTo>
                    <a:pt x="118" y="489"/>
                  </a:lnTo>
                  <a:lnTo>
                    <a:pt x="115" y="483"/>
                  </a:lnTo>
                  <a:lnTo>
                    <a:pt x="110" y="481"/>
                  </a:lnTo>
                  <a:lnTo>
                    <a:pt x="107" y="478"/>
                  </a:lnTo>
                  <a:lnTo>
                    <a:pt x="102" y="475"/>
                  </a:lnTo>
                  <a:lnTo>
                    <a:pt x="99" y="470"/>
                  </a:lnTo>
                  <a:lnTo>
                    <a:pt x="96" y="467"/>
                  </a:lnTo>
                  <a:lnTo>
                    <a:pt x="88" y="465"/>
                  </a:lnTo>
                  <a:lnTo>
                    <a:pt x="86" y="462"/>
                  </a:lnTo>
                  <a:lnTo>
                    <a:pt x="78" y="454"/>
                  </a:lnTo>
                  <a:lnTo>
                    <a:pt x="75" y="451"/>
                  </a:lnTo>
                  <a:lnTo>
                    <a:pt x="72" y="449"/>
                  </a:lnTo>
                  <a:lnTo>
                    <a:pt x="70" y="446"/>
                  </a:lnTo>
                  <a:lnTo>
                    <a:pt x="67" y="443"/>
                  </a:lnTo>
                  <a:lnTo>
                    <a:pt x="62" y="441"/>
                  </a:lnTo>
                  <a:lnTo>
                    <a:pt x="62" y="438"/>
                  </a:lnTo>
                  <a:lnTo>
                    <a:pt x="59" y="435"/>
                  </a:lnTo>
                  <a:lnTo>
                    <a:pt x="56" y="435"/>
                  </a:lnTo>
                  <a:lnTo>
                    <a:pt x="54" y="433"/>
                  </a:lnTo>
                  <a:lnTo>
                    <a:pt x="51" y="430"/>
                  </a:lnTo>
                  <a:lnTo>
                    <a:pt x="48" y="425"/>
                  </a:lnTo>
                  <a:lnTo>
                    <a:pt x="43" y="422"/>
                  </a:lnTo>
                  <a:lnTo>
                    <a:pt x="40" y="419"/>
                  </a:lnTo>
                  <a:lnTo>
                    <a:pt x="40" y="419"/>
                  </a:lnTo>
                  <a:lnTo>
                    <a:pt x="38" y="414"/>
                  </a:lnTo>
                  <a:lnTo>
                    <a:pt x="35" y="414"/>
                  </a:lnTo>
                  <a:lnTo>
                    <a:pt x="32" y="411"/>
                  </a:lnTo>
                  <a:lnTo>
                    <a:pt x="32" y="409"/>
                  </a:lnTo>
                  <a:lnTo>
                    <a:pt x="30" y="409"/>
                  </a:lnTo>
                  <a:lnTo>
                    <a:pt x="30" y="406"/>
                  </a:lnTo>
                  <a:lnTo>
                    <a:pt x="27" y="403"/>
                  </a:lnTo>
                  <a:lnTo>
                    <a:pt x="24" y="401"/>
                  </a:lnTo>
                  <a:lnTo>
                    <a:pt x="21" y="398"/>
                  </a:lnTo>
                  <a:lnTo>
                    <a:pt x="21" y="395"/>
                  </a:lnTo>
                  <a:lnTo>
                    <a:pt x="19" y="395"/>
                  </a:lnTo>
                  <a:lnTo>
                    <a:pt x="19" y="393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3" y="387"/>
                  </a:lnTo>
                  <a:lnTo>
                    <a:pt x="13" y="385"/>
                  </a:lnTo>
                  <a:lnTo>
                    <a:pt x="11" y="382"/>
                  </a:lnTo>
                  <a:lnTo>
                    <a:pt x="11" y="379"/>
                  </a:lnTo>
                  <a:lnTo>
                    <a:pt x="8" y="377"/>
                  </a:lnTo>
                  <a:lnTo>
                    <a:pt x="8" y="377"/>
                  </a:lnTo>
                  <a:lnTo>
                    <a:pt x="5" y="371"/>
                  </a:lnTo>
                  <a:lnTo>
                    <a:pt x="3" y="369"/>
                  </a:lnTo>
                  <a:lnTo>
                    <a:pt x="3" y="366"/>
                  </a:lnTo>
                  <a:lnTo>
                    <a:pt x="0" y="366"/>
                  </a:lnTo>
                  <a:lnTo>
                    <a:pt x="0" y="366"/>
                  </a:lnTo>
                  <a:lnTo>
                    <a:pt x="3" y="363"/>
                  </a:lnTo>
                  <a:lnTo>
                    <a:pt x="3" y="363"/>
                  </a:lnTo>
                  <a:lnTo>
                    <a:pt x="3" y="363"/>
                  </a:lnTo>
                  <a:lnTo>
                    <a:pt x="5" y="363"/>
                  </a:lnTo>
                  <a:lnTo>
                    <a:pt x="5" y="363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11" y="358"/>
                  </a:lnTo>
                  <a:lnTo>
                    <a:pt x="13" y="358"/>
                  </a:lnTo>
                  <a:lnTo>
                    <a:pt x="16" y="358"/>
                  </a:lnTo>
                  <a:lnTo>
                    <a:pt x="19" y="358"/>
                  </a:lnTo>
                  <a:lnTo>
                    <a:pt x="21" y="358"/>
                  </a:lnTo>
                  <a:lnTo>
                    <a:pt x="24" y="358"/>
                  </a:lnTo>
                  <a:lnTo>
                    <a:pt x="27" y="358"/>
                  </a:lnTo>
                  <a:lnTo>
                    <a:pt x="30" y="358"/>
                  </a:lnTo>
                  <a:lnTo>
                    <a:pt x="32" y="355"/>
                  </a:lnTo>
                  <a:lnTo>
                    <a:pt x="38" y="350"/>
                  </a:lnTo>
                  <a:lnTo>
                    <a:pt x="38" y="347"/>
                  </a:lnTo>
                  <a:lnTo>
                    <a:pt x="40" y="344"/>
                  </a:lnTo>
                  <a:lnTo>
                    <a:pt x="46" y="339"/>
                  </a:lnTo>
                  <a:lnTo>
                    <a:pt x="46" y="336"/>
                  </a:lnTo>
                  <a:lnTo>
                    <a:pt x="48" y="334"/>
                  </a:lnTo>
                  <a:lnTo>
                    <a:pt x="51" y="331"/>
                  </a:lnTo>
                  <a:lnTo>
                    <a:pt x="54" y="328"/>
                  </a:lnTo>
                  <a:lnTo>
                    <a:pt x="56" y="326"/>
                  </a:lnTo>
                  <a:lnTo>
                    <a:pt x="59" y="323"/>
                  </a:lnTo>
                  <a:lnTo>
                    <a:pt x="62" y="320"/>
                  </a:lnTo>
                  <a:lnTo>
                    <a:pt x="64" y="320"/>
                  </a:lnTo>
                  <a:lnTo>
                    <a:pt x="67" y="318"/>
                  </a:lnTo>
                  <a:lnTo>
                    <a:pt x="70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5" y="312"/>
                  </a:lnTo>
                  <a:lnTo>
                    <a:pt x="78" y="312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91" y="304"/>
                  </a:lnTo>
                  <a:lnTo>
                    <a:pt x="94" y="304"/>
                  </a:lnTo>
                  <a:lnTo>
                    <a:pt x="94" y="304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4" y="302"/>
                  </a:lnTo>
                  <a:lnTo>
                    <a:pt x="91" y="299"/>
                  </a:lnTo>
                  <a:lnTo>
                    <a:pt x="91" y="299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4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8" y="283"/>
                  </a:lnTo>
                  <a:lnTo>
                    <a:pt x="88" y="280"/>
                  </a:lnTo>
                  <a:lnTo>
                    <a:pt x="88" y="275"/>
                  </a:lnTo>
                  <a:lnTo>
                    <a:pt x="88" y="272"/>
                  </a:lnTo>
                  <a:lnTo>
                    <a:pt x="88" y="270"/>
                  </a:lnTo>
                  <a:lnTo>
                    <a:pt x="88" y="264"/>
                  </a:lnTo>
                  <a:lnTo>
                    <a:pt x="88" y="262"/>
                  </a:lnTo>
                  <a:lnTo>
                    <a:pt x="88" y="259"/>
                  </a:lnTo>
                  <a:lnTo>
                    <a:pt x="88" y="259"/>
                  </a:lnTo>
                  <a:lnTo>
                    <a:pt x="88" y="254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8" y="248"/>
                  </a:lnTo>
                  <a:lnTo>
                    <a:pt x="88" y="246"/>
                  </a:lnTo>
                  <a:lnTo>
                    <a:pt x="88" y="243"/>
                  </a:lnTo>
                  <a:lnTo>
                    <a:pt x="86" y="243"/>
                  </a:lnTo>
                  <a:lnTo>
                    <a:pt x="83" y="246"/>
                  </a:lnTo>
                  <a:lnTo>
                    <a:pt x="83" y="246"/>
                  </a:lnTo>
                  <a:lnTo>
                    <a:pt x="80" y="246"/>
                  </a:lnTo>
                  <a:lnTo>
                    <a:pt x="80" y="248"/>
                  </a:lnTo>
                  <a:lnTo>
                    <a:pt x="78" y="251"/>
                  </a:lnTo>
                  <a:lnTo>
                    <a:pt x="78" y="251"/>
                  </a:lnTo>
                  <a:lnTo>
                    <a:pt x="72" y="254"/>
                  </a:lnTo>
                  <a:lnTo>
                    <a:pt x="70" y="254"/>
                  </a:lnTo>
                  <a:lnTo>
                    <a:pt x="70" y="256"/>
                  </a:lnTo>
                  <a:lnTo>
                    <a:pt x="64" y="256"/>
                  </a:lnTo>
                  <a:lnTo>
                    <a:pt x="62" y="256"/>
                  </a:lnTo>
                  <a:lnTo>
                    <a:pt x="59" y="256"/>
                  </a:lnTo>
                  <a:lnTo>
                    <a:pt x="54" y="254"/>
                  </a:lnTo>
                  <a:lnTo>
                    <a:pt x="51" y="254"/>
                  </a:lnTo>
                  <a:lnTo>
                    <a:pt x="46" y="251"/>
                  </a:lnTo>
                  <a:lnTo>
                    <a:pt x="43" y="248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6"/>
                  </a:lnTo>
                  <a:lnTo>
                    <a:pt x="32" y="243"/>
                  </a:lnTo>
                  <a:lnTo>
                    <a:pt x="30" y="240"/>
                  </a:lnTo>
                  <a:lnTo>
                    <a:pt x="30" y="240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7" y="235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0"/>
                  </a:lnTo>
                  <a:lnTo>
                    <a:pt x="24" y="230"/>
                  </a:lnTo>
                  <a:lnTo>
                    <a:pt x="27" y="227"/>
                  </a:lnTo>
                  <a:lnTo>
                    <a:pt x="27" y="224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7" y="216"/>
                  </a:lnTo>
                  <a:lnTo>
                    <a:pt x="27" y="214"/>
                  </a:lnTo>
                  <a:lnTo>
                    <a:pt x="30" y="214"/>
                  </a:lnTo>
                  <a:lnTo>
                    <a:pt x="32" y="214"/>
                  </a:lnTo>
                  <a:lnTo>
                    <a:pt x="38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8"/>
                  </a:lnTo>
                  <a:lnTo>
                    <a:pt x="43" y="208"/>
                  </a:lnTo>
                  <a:lnTo>
                    <a:pt x="43" y="208"/>
                  </a:lnTo>
                  <a:lnTo>
                    <a:pt x="46" y="206"/>
                  </a:lnTo>
                  <a:lnTo>
                    <a:pt x="48" y="206"/>
                  </a:lnTo>
                  <a:lnTo>
                    <a:pt x="48" y="203"/>
                  </a:lnTo>
                  <a:lnTo>
                    <a:pt x="51" y="203"/>
                  </a:lnTo>
                  <a:lnTo>
                    <a:pt x="51" y="200"/>
                  </a:lnTo>
                  <a:lnTo>
                    <a:pt x="54" y="198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9" y="198"/>
                  </a:lnTo>
                  <a:lnTo>
                    <a:pt x="62" y="200"/>
                  </a:lnTo>
                  <a:lnTo>
                    <a:pt x="62" y="200"/>
                  </a:lnTo>
                  <a:lnTo>
                    <a:pt x="64" y="203"/>
                  </a:lnTo>
                  <a:lnTo>
                    <a:pt x="67" y="206"/>
                  </a:lnTo>
                  <a:lnTo>
                    <a:pt x="70" y="206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5" y="203"/>
                  </a:lnTo>
                  <a:lnTo>
                    <a:pt x="75" y="200"/>
                  </a:lnTo>
                  <a:lnTo>
                    <a:pt x="78" y="198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6" y="190"/>
                  </a:lnTo>
                  <a:lnTo>
                    <a:pt x="88" y="187"/>
                  </a:lnTo>
                  <a:lnTo>
                    <a:pt x="91" y="181"/>
                  </a:lnTo>
                  <a:lnTo>
                    <a:pt x="91" y="179"/>
                  </a:lnTo>
                  <a:lnTo>
                    <a:pt x="94" y="176"/>
                  </a:lnTo>
                  <a:lnTo>
                    <a:pt x="96" y="171"/>
                  </a:lnTo>
                  <a:lnTo>
                    <a:pt x="99" y="171"/>
                  </a:lnTo>
                  <a:lnTo>
                    <a:pt x="102" y="165"/>
                  </a:lnTo>
                  <a:lnTo>
                    <a:pt x="104" y="163"/>
                  </a:lnTo>
                  <a:lnTo>
                    <a:pt x="104" y="160"/>
                  </a:lnTo>
                  <a:lnTo>
                    <a:pt x="107" y="157"/>
                  </a:lnTo>
                  <a:lnTo>
                    <a:pt x="107" y="155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7" y="147"/>
                  </a:lnTo>
                  <a:lnTo>
                    <a:pt x="107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4" y="141"/>
                  </a:lnTo>
                  <a:lnTo>
                    <a:pt x="104" y="141"/>
                  </a:lnTo>
                  <a:lnTo>
                    <a:pt x="104" y="139"/>
                  </a:lnTo>
                  <a:lnTo>
                    <a:pt x="102" y="139"/>
                  </a:lnTo>
                  <a:lnTo>
                    <a:pt x="102" y="136"/>
                  </a:lnTo>
                  <a:lnTo>
                    <a:pt x="102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1"/>
                  </a:lnTo>
                  <a:lnTo>
                    <a:pt x="102" y="131"/>
                  </a:lnTo>
                  <a:lnTo>
                    <a:pt x="102" y="128"/>
                  </a:lnTo>
                  <a:lnTo>
                    <a:pt x="102" y="125"/>
                  </a:lnTo>
                  <a:lnTo>
                    <a:pt x="99" y="125"/>
                  </a:lnTo>
                  <a:lnTo>
                    <a:pt x="99" y="125"/>
                  </a:lnTo>
                  <a:lnTo>
                    <a:pt x="96" y="125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4" y="120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6" y="115"/>
                  </a:lnTo>
                  <a:lnTo>
                    <a:pt x="99" y="112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4" y="107"/>
                  </a:lnTo>
                  <a:lnTo>
                    <a:pt x="94" y="104"/>
                  </a:lnTo>
                  <a:lnTo>
                    <a:pt x="94" y="104"/>
                  </a:lnTo>
                  <a:lnTo>
                    <a:pt x="94" y="101"/>
                  </a:lnTo>
                  <a:lnTo>
                    <a:pt x="94" y="99"/>
                  </a:lnTo>
                  <a:lnTo>
                    <a:pt x="94" y="96"/>
                  </a:lnTo>
                  <a:lnTo>
                    <a:pt x="91" y="93"/>
                  </a:lnTo>
                  <a:lnTo>
                    <a:pt x="91" y="93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1" y="85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7"/>
                  </a:lnTo>
                  <a:lnTo>
                    <a:pt x="86" y="77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3" y="72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4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6" y="59"/>
                  </a:lnTo>
                  <a:lnTo>
                    <a:pt x="96" y="56"/>
                  </a:lnTo>
                  <a:lnTo>
                    <a:pt x="99" y="56"/>
                  </a:lnTo>
                  <a:lnTo>
                    <a:pt x="102" y="56"/>
                  </a:lnTo>
                  <a:lnTo>
                    <a:pt x="102" y="53"/>
                  </a:lnTo>
                  <a:lnTo>
                    <a:pt x="104" y="53"/>
                  </a:lnTo>
                  <a:lnTo>
                    <a:pt x="104" y="53"/>
                  </a:lnTo>
                  <a:lnTo>
                    <a:pt x="107" y="53"/>
                  </a:lnTo>
                  <a:lnTo>
                    <a:pt x="110" y="53"/>
                  </a:lnTo>
                  <a:lnTo>
                    <a:pt x="110" y="51"/>
                  </a:lnTo>
                  <a:lnTo>
                    <a:pt x="112" y="51"/>
                  </a:lnTo>
                  <a:lnTo>
                    <a:pt x="112" y="48"/>
                  </a:lnTo>
                  <a:lnTo>
                    <a:pt x="115" y="48"/>
                  </a:lnTo>
                  <a:lnTo>
                    <a:pt x="118" y="45"/>
                  </a:lnTo>
                  <a:lnTo>
                    <a:pt x="118" y="45"/>
                  </a:lnTo>
                  <a:lnTo>
                    <a:pt x="123" y="45"/>
                  </a:lnTo>
                  <a:lnTo>
                    <a:pt x="123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9" y="43"/>
                  </a:lnTo>
                  <a:lnTo>
                    <a:pt x="139" y="45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7" y="40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50" y="37"/>
                  </a:lnTo>
                  <a:lnTo>
                    <a:pt x="150" y="35"/>
                  </a:lnTo>
                  <a:lnTo>
                    <a:pt x="152" y="35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5" y="29"/>
                  </a:lnTo>
                  <a:lnTo>
                    <a:pt x="155" y="26"/>
                  </a:lnTo>
                  <a:lnTo>
                    <a:pt x="155" y="26"/>
                  </a:lnTo>
                  <a:lnTo>
                    <a:pt x="155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1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63" y="18"/>
                  </a:lnTo>
                  <a:lnTo>
                    <a:pt x="166" y="18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0"/>
                  </a:lnTo>
                  <a:lnTo>
                    <a:pt x="168" y="10"/>
                  </a:lnTo>
                  <a:lnTo>
                    <a:pt x="171" y="10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0"/>
                  </a:lnTo>
                  <a:lnTo>
                    <a:pt x="174" y="10"/>
                  </a:lnTo>
                  <a:lnTo>
                    <a:pt x="174" y="10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74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6" y="5"/>
                  </a:lnTo>
                  <a:lnTo>
                    <a:pt x="179" y="5"/>
                  </a:lnTo>
                  <a:lnTo>
                    <a:pt x="179" y="5"/>
                  </a:lnTo>
                  <a:lnTo>
                    <a:pt x="179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69" name="Freeform 8885">
              <a:extLst>
                <a:ext uri="{FF2B5EF4-FFF2-40B4-BE49-F238E27FC236}">
                  <a16:creationId xmlns:a16="http://schemas.microsoft.com/office/drawing/2014/main" id="{5127DA6E-A3C5-A042-98DB-D8795274D07B}"/>
                </a:ext>
              </a:extLst>
            </p:cNvPr>
            <p:cNvSpPr/>
            <p:nvPr/>
          </p:nvSpPr>
          <p:spPr bwMode="auto">
            <a:xfrm>
              <a:off x="9809953" y="2043115"/>
              <a:ext cx="1200149" cy="1428748"/>
            </a:xfrm>
            <a:custGeom>
              <a:avLst/>
              <a:gdLst>
                <a:gd name="T0" fmla="*/ 3 w 756"/>
                <a:gd name="T1" fmla="*/ 558 h 900"/>
                <a:gd name="T2" fmla="*/ 43 w 756"/>
                <a:gd name="T3" fmla="*/ 497 h 900"/>
                <a:gd name="T4" fmla="*/ 80 w 756"/>
                <a:gd name="T5" fmla="*/ 491 h 900"/>
                <a:gd name="T6" fmla="*/ 61 w 756"/>
                <a:gd name="T7" fmla="*/ 441 h 900"/>
                <a:gd name="T8" fmla="*/ 107 w 756"/>
                <a:gd name="T9" fmla="*/ 417 h 900"/>
                <a:gd name="T10" fmla="*/ 144 w 756"/>
                <a:gd name="T11" fmla="*/ 403 h 900"/>
                <a:gd name="T12" fmla="*/ 176 w 756"/>
                <a:gd name="T13" fmla="*/ 368 h 900"/>
                <a:gd name="T14" fmla="*/ 211 w 756"/>
                <a:gd name="T15" fmla="*/ 347 h 900"/>
                <a:gd name="T16" fmla="*/ 184 w 756"/>
                <a:gd name="T17" fmla="*/ 283 h 900"/>
                <a:gd name="T18" fmla="*/ 192 w 756"/>
                <a:gd name="T19" fmla="*/ 221 h 900"/>
                <a:gd name="T20" fmla="*/ 190 w 756"/>
                <a:gd name="T21" fmla="*/ 168 h 900"/>
                <a:gd name="T22" fmla="*/ 195 w 756"/>
                <a:gd name="T23" fmla="*/ 123 h 900"/>
                <a:gd name="T24" fmla="*/ 243 w 756"/>
                <a:gd name="T25" fmla="*/ 80 h 900"/>
                <a:gd name="T26" fmla="*/ 283 w 756"/>
                <a:gd name="T27" fmla="*/ 64 h 900"/>
                <a:gd name="T28" fmla="*/ 299 w 756"/>
                <a:gd name="T29" fmla="*/ 21 h 900"/>
                <a:gd name="T30" fmla="*/ 336 w 756"/>
                <a:gd name="T31" fmla="*/ 32 h 900"/>
                <a:gd name="T32" fmla="*/ 416 w 756"/>
                <a:gd name="T33" fmla="*/ 37 h 900"/>
                <a:gd name="T34" fmla="*/ 494 w 756"/>
                <a:gd name="T35" fmla="*/ 24 h 900"/>
                <a:gd name="T36" fmla="*/ 563 w 756"/>
                <a:gd name="T37" fmla="*/ 2 h 900"/>
                <a:gd name="T38" fmla="*/ 587 w 756"/>
                <a:gd name="T39" fmla="*/ 42 h 900"/>
                <a:gd name="T40" fmla="*/ 635 w 756"/>
                <a:gd name="T41" fmla="*/ 90 h 900"/>
                <a:gd name="T42" fmla="*/ 649 w 756"/>
                <a:gd name="T43" fmla="*/ 139 h 900"/>
                <a:gd name="T44" fmla="*/ 692 w 756"/>
                <a:gd name="T45" fmla="*/ 160 h 900"/>
                <a:gd name="T46" fmla="*/ 708 w 756"/>
                <a:gd name="T47" fmla="*/ 208 h 900"/>
                <a:gd name="T48" fmla="*/ 737 w 756"/>
                <a:gd name="T49" fmla="*/ 235 h 900"/>
                <a:gd name="T50" fmla="*/ 753 w 756"/>
                <a:gd name="T51" fmla="*/ 278 h 900"/>
                <a:gd name="T52" fmla="*/ 750 w 756"/>
                <a:gd name="T53" fmla="*/ 307 h 900"/>
                <a:gd name="T54" fmla="*/ 750 w 756"/>
                <a:gd name="T55" fmla="*/ 355 h 900"/>
                <a:gd name="T56" fmla="*/ 742 w 756"/>
                <a:gd name="T57" fmla="*/ 390 h 900"/>
                <a:gd name="T58" fmla="*/ 726 w 756"/>
                <a:gd name="T59" fmla="*/ 376 h 900"/>
                <a:gd name="T60" fmla="*/ 710 w 756"/>
                <a:gd name="T61" fmla="*/ 376 h 900"/>
                <a:gd name="T62" fmla="*/ 686 w 756"/>
                <a:gd name="T63" fmla="*/ 363 h 900"/>
                <a:gd name="T64" fmla="*/ 676 w 756"/>
                <a:gd name="T65" fmla="*/ 320 h 900"/>
                <a:gd name="T66" fmla="*/ 654 w 756"/>
                <a:gd name="T67" fmla="*/ 315 h 900"/>
                <a:gd name="T68" fmla="*/ 635 w 756"/>
                <a:gd name="T69" fmla="*/ 334 h 900"/>
                <a:gd name="T70" fmla="*/ 603 w 756"/>
                <a:gd name="T71" fmla="*/ 360 h 900"/>
                <a:gd name="T72" fmla="*/ 566 w 756"/>
                <a:gd name="T73" fmla="*/ 403 h 900"/>
                <a:gd name="T74" fmla="*/ 574 w 756"/>
                <a:gd name="T75" fmla="*/ 465 h 900"/>
                <a:gd name="T76" fmla="*/ 574 w 756"/>
                <a:gd name="T77" fmla="*/ 529 h 900"/>
                <a:gd name="T78" fmla="*/ 563 w 756"/>
                <a:gd name="T79" fmla="*/ 590 h 900"/>
                <a:gd name="T80" fmla="*/ 577 w 756"/>
                <a:gd name="T81" fmla="*/ 636 h 900"/>
                <a:gd name="T82" fmla="*/ 590 w 756"/>
                <a:gd name="T83" fmla="*/ 678 h 900"/>
                <a:gd name="T84" fmla="*/ 609 w 756"/>
                <a:gd name="T85" fmla="*/ 660 h 900"/>
                <a:gd name="T86" fmla="*/ 633 w 756"/>
                <a:gd name="T87" fmla="*/ 686 h 900"/>
                <a:gd name="T88" fmla="*/ 587 w 756"/>
                <a:gd name="T89" fmla="*/ 713 h 900"/>
                <a:gd name="T90" fmla="*/ 569 w 756"/>
                <a:gd name="T91" fmla="*/ 751 h 900"/>
                <a:gd name="T92" fmla="*/ 542 w 756"/>
                <a:gd name="T93" fmla="*/ 783 h 900"/>
                <a:gd name="T94" fmla="*/ 494 w 756"/>
                <a:gd name="T95" fmla="*/ 804 h 900"/>
                <a:gd name="T96" fmla="*/ 531 w 756"/>
                <a:gd name="T97" fmla="*/ 759 h 900"/>
                <a:gd name="T98" fmla="*/ 478 w 756"/>
                <a:gd name="T99" fmla="*/ 756 h 900"/>
                <a:gd name="T100" fmla="*/ 451 w 756"/>
                <a:gd name="T101" fmla="*/ 783 h 900"/>
                <a:gd name="T102" fmla="*/ 422 w 756"/>
                <a:gd name="T103" fmla="*/ 783 h 900"/>
                <a:gd name="T104" fmla="*/ 384 w 756"/>
                <a:gd name="T105" fmla="*/ 823 h 900"/>
                <a:gd name="T106" fmla="*/ 382 w 756"/>
                <a:gd name="T107" fmla="*/ 844 h 900"/>
                <a:gd name="T108" fmla="*/ 355 w 756"/>
                <a:gd name="T109" fmla="*/ 857 h 900"/>
                <a:gd name="T110" fmla="*/ 320 w 756"/>
                <a:gd name="T111" fmla="*/ 895 h 900"/>
                <a:gd name="T112" fmla="*/ 291 w 756"/>
                <a:gd name="T113" fmla="*/ 863 h 900"/>
                <a:gd name="T114" fmla="*/ 222 w 756"/>
                <a:gd name="T115" fmla="*/ 852 h 900"/>
                <a:gd name="T116" fmla="*/ 190 w 756"/>
                <a:gd name="T117" fmla="*/ 809 h 900"/>
                <a:gd name="T118" fmla="*/ 192 w 756"/>
                <a:gd name="T119" fmla="*/ 756 h 900"/>
                <a:gd name="T120" fmla="*/ 107 w 756"/>
                <a:gd name="T121" fmla="*/ 708 h 900"/>
                <a:gd name="T122" fmla="*/ 64 w 756"/>
                <a:gd name="T123" fmla="*/ 721 h 900"/>
                <a:gd name="T124" fmla="*/ 59 w 756"/>
                <a:gd name="T125" fmla="*/ 665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6" h="900" extrusionOk="0">
                  <a:moveTo>
                    <a:pt x="29" y="630"/>
                  </a:moveTo>
                  <a:lnTo>
                    <a:pt x="29" y="628"/>
                  </a:lnTo>
                  <a:lnTo>
                    <a:pt x="27" y="625"/>
                  </a:lnTo>
                  <a:lnTo>
                    <a:pt x="24" y="622"/>
                  </a:lnTo>
                  <a:lnTo>
                    <a:pt x="24" y="622"/>
                  </a:lnTo>
                  <a:lnTo>
                    <a:pt x="24" y="620"/>
                  </a:lnTo>
                  <a:lnTo>
                    <a:pt x="21" y="620"/>
                  </a:lnTo>
                  <a:lnTo>
                    <a:pt x="21" y="617"/>
                  </a:lnTo>
                  <a:lnTo>
                    <a:pt x="21" y="614"/>
                  </a:lnTo>
                  <a:lnTo>
                    <a:pt x="21" y="614"/>
                  </a:lnTo>
                  <a:lnTo>
                    <a:pt x="21" y="612"/>
                  </a:lnTo>
                  <a:lnTo>
                    <a:pt x="21" y="609"/>
                  </a:lnTo>
                  <a:lnTo>
                    <a:pt x="21" y="606"/>
                  </a:lnTo>
                  <a:lnTo>
                    <a:pt x="21" y="604"/>
                  </a:lnTo>
                  <a:lnTo>
                    <a:pt x="21" y="604"/>
                  </a:lnTo>
                  <a:lnTo>
                    <a:pt x="19" y="601"/>
                  </a:lnTo>
                  <a:lnTo>
                    <a:pt x="19" y="598"/>
                  </a:lnTo>
                  <a:lnTo>
                    <a:pt x="19" y="598"/>
                  </a:lnTo>
                  <a:lnTo>
                    <a:pt x="19" y="596"/>
                  </a:lnTo>
                  <a:lnTo>
                    <a:pt x="16" y="593"/>
                  </a:lnTo>
                  <a:lnTo>
                    <a:pt x="16" y="590"/>
                  </a:lnTo>
                  <a:lnTo>
                    <a:pt x="16" y="590"/>
                  </a:lnTo>
                  <a:lnTo>
                    <a:pt x="16" y="588"/>
                  </a:lnTo>
                  <a:lnTo>
                    <a:pt x="13" y="588"/>
                  </a:lnTo>
                  <a:lnTo>
                    <a:pt x="13" y="585"/>
                  </a:lnTo>
                  <a:lnTo>
                    <a:pt x="13" y="582"/>
                  </a:lnTo>
                  <a:lnTo>
                    <a:pt x="13" y="580"/>
                  </a:lnTo>
                  <a:lnTo>
                    <a:pt x="13" y="580"/>
                  </a:lnTo>
                  <a:lnTo>
                    <a:pt x="13" y="577"/>
                  </a:lnTo>
                  <a:lnTo>
                    <a:pt x="13" y="574"/>
                  </a:lnTo>
                  <a:lnTo>
                    <a:pt x="13" y="574"/>
                  </a:lnTo>
                  <a:lnTo>
                    <a:pt x="13" y="571"/>
                  </a:lnTo>
                  <a:lnTo>
                    <a:pt x="11" y="569"/>
                  </a:lnTo>
                  <a:lnTo>
                    <a:pt x="8" y="566"/>
                  </a:lnTo>
                  <a:lnTo>
                    <a:pt x="8" y="563"/>
                  </a:lnTo>
                  <a:lnTo>
                    <a:pt x="5" y="563"/>
                  </a:lnTo>
                  <a:lnTo>
                    <a:pt x="5" y="563"/>
                  </a:lnTo>
                  <a:lnTo>
                    <a:pt x="3" y="563"/>
                  </a:lnTo>
                  <a:lnTo>
                    <a:pt x="3" y="563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3" y="558"/>
                  </a:lnTo>
                  <a:lnTo>
                    <a:pt x="3" y="558"/>
                  </a:lnTo>
                  <a:lnTo>
                    <a:pt x="5" y="555"/>
                  </a:lnTo>
                  <a:lnTo>
                    <a:pt x="5" y="553"/>
                  </a:lnTo>
                  <a:lnTo>
                    <a:pt x="5" y="553"/>
                  </a:lnTo>
                  <a:lnTo>
                    <a:pt x="5" y="550"/>
                  </a:lnTo>
                  <a:lnTo>
                    <a:pt x="8" y="547"/>
                  </a:lnTo>
                  <a:lnTo>
                    <a:pt x="8" y="547"/>
                  </a:lnTo>
                  <a:lnTo>
                    <a:pt x="11" y="545"/>
                  </a:lnTo>
                  <a:lnTo>
                    <a:pt x="11" y="545"/>
                  </a:lnTo>
                  <a:lnTo>
                    <a:pt x="11" y="542"/>
                  </a:lnTo>
                  <a:lnTo>
                    <a:pt x="13" y="539"/>
                  </a:lnTo>
                  <a:lnTo>
                    <a:pt x="16" y="539"/>
                  </a:lnTo>
                  <a:lnTo>
                    <a:pt x="16" y="537"/>
                  </a:lnTo>
                  <a:lnTo>
                    <a:pt x="16" y="534"/>
                  </a:lnTo>
                  <a:lnTo>
                    <a:pt x="16" y="534"/>
                  </a:lnTo>
                  <a:lnTo>
                    <a:pt x="16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6" y="529"/>
                  </a:lnTo>
                  <a:lnTo>
                    <a:pt x="13" y="526"/>
                  </a:lnTo>
                  <a:lnTo>
                    <a:pt x="16" y="523"/>
                  </a:lnTo>
                  <a:lnTo>
                    <a:pt x="16" y="523"/>
                  </a:lnTo>
                  <a:lnTo>
                    <a:pt x="16" y="521"/>
                  </a:lnTo>
                  <a:lnTo>
                    <a:pt x="16" y="518"/>
                  </a:lnTo>
                  <a:lnTo>
                    <a:pt x="13" y="515"/>
                  </a:lnTo>
                  <a:lnTo>
                    <a:pt x="13" y="515"/>
                  </a:lnTo>
                  <a:lnTo>
                    <a:pt x="13" y="513"/>
                  </a:lnTo>
                  <a:lnTo>
                    <a:pt x="13" y="507"/>
                  </a:lnTo>
                  <a:lnTo>
                    <a:pt x="13" y="507"/>
                  </a:lnTo>
                  <a:lnTo>
                    <a:pt x="13" y="505"/>
                  </a:lnTo>
                  <a:lnTo>
                    <a:pt x="16" y="505"/>
                  </a:lnTo>
                  <a:lnTo>
                    <a:pt x="19" y="505"/>
                  </a:lnTo>
                  <a:lnTo>
                    <a:pt x="21" y="502"/>
                  </a:lnTo>
                  <a:lnTo>
                    <a:pt x="24" y="502"/>
                  </a:lnTo>
                  <a:lnTo>
                    <a:pt x="24" y="502"/>
                  </a:lnTo>
                  <a:lnTo>
                    <a:pt x="27" y="502"/>
                  </a:lnTo>
                  <a:lnTo>
                    <a:pt x="29" y="502"/>
                  </a:lnTo>
                  <a:lnTo>
                    <a:pt x="29" y="502"/>
                  </a:lnTo>
                  <a:lnTo>
                    <a:pt x="29" y="499"/>
                  </a:lnTo>
                  <a:lnTo>
                    <a:pt x="32" y="499"/>
                  </a:lnTo>
                  <a:lnTo>
                    <a:pt x="32" y="499"/>
                  </a:lnTo>
                  <a:lnTo>
                    <a:pt x="35" y="499"/>
                  </a:lnTo>
                  <a:lnTo>
                    <a:pt x="37" y="497"/>
                  </a:lnTo>
                  <a:lnTo>
                    <a:pt x="37" y="497"/>
                  </a:lnTo>
                  <a:lnTo>
                    <a:pt x="40" y="497"/>
                  </a:lnTo>
                  <a:lnTo>
                    <a:pt x="43" y="497"/>
                  </a:lnTo>
                  <a:lnTo>
                    <a:pt x="48" y="499"/>
                  </a:lnTo>
                  <a:lnTo>
                    <a:pt x="48" y="499"/>
                  </a:lnTo>
                  <a:lnTo>
                    <a:pt x="51" y="502"/>
                  </a:lnTo>
                  <a:lnTo>
                    <a:pt x="51" y="499"/>
                  </a:lnTo>
                  <a:lnTo>
                    <a:pt x="51" y="499"/>
                  </a:lnTo>
                  <a:lnTo>
                    <a:pt x="51" y="499"/>
                  </a:lnTo>
                  <a:lnTo>
                    <a:pt x="51" y="497"/>
                  </a:lnTo>
                  <a:lnTo>
                    <a:pt x="51" y="497"/>
                  </a:lnTo>
                  <a:lnTo>
                    <a:pt x="53" y="494"/>
                  </a:lnTo>
                  <a:lnTo>
                    <a:pt x="53" y="494"/>
                  </a:lnTo>
                  <a:lnTo>
                    <a:pt x="51" y="491"/>
                  </a:lnTo>
                  <a:lnTo>
                    <a:pt x="51" y="491"/>
                  </a:lnTo>
                  <a:lnTo>
                    <a:pt x="51" y="489"/>
                  </a:lnTo>
                  <a:lnTo>
                    <a:pt x="51" y="489"/>
                  </a:lnTo>
                  <a:lnTo>
                    <a:pt x="51" y="486"/>
                  </a:lnTo>
                  <a:lnTo>
                    <a:pt x="53" y="486"/>
                  </a:lnTo>
                  <a:lnTo>
                    <a:pt x="53" y="483"/>
                  </a:lnTo>
                  <a:lnTo>
                    <a:pt x="56" y="483"/>
                  </a:lnTo>
                  <a:lnTo>
                    <a:pt x="56" y="481"/>
                  </a:lnTo>
                  <a:lnTo>
                    <a:pt x="59" y="478"/>
                  </a:lnTo>
                  <a:lnTo>
                    <a:pt x="59" y="478"/>
                  </a:lnTo>
                  <a:lnTo>
                    <a:pt x="61" y="478"/>
                  </a:lnTo>
                  <a:lnTo>
                    <a:pt x="61" y="478"/>
                  </a:lnTo>
                  <a:lnTo>
                    <a:pt x="61" y="481"/>
                  </a:lnTo>
                  <a:lnTo>
                    <a:pt x="61" y="481"/>
                  </a:lnTo>
                  <a:lnTo>
                    <a:pt x="64" y="481"/>
                  </a:lnTo>
                  <a:lnTo>
                    <a:pt x="64" y="483"/>
                  </a:lnTo>
                  <a:lnTo>
                    <a:pt x="64" y="483"/>
                  </a:lnTo>
                  <a:lnTo>
                    <a:pt x="64" y="486"/>
                  </a:lnTo>
                  <a:lnTo>
                    <a:pt x="64" y="486"/>
                  </a:lnTo>
                  <a:lnTo>
                    <a:pt x="67" y="489"/>
                  </a:lnTo>
                  <a:lnTo>
                    <a:pt x="67" y="489"/>
                  </a:lnTo>
                  <a:lnTo>
                    <a:pt x="67" y="489"/>
                  </a:lnTo>
                  <a:lnTo>
                    <a:pt x="69" y="489"/>
                  </a:lnTo>
                  <a:lnTo>
                    <a:pt x="69" y="489"/>
                  </a:lnTo>
                  <a:lnTo>
                    <a:pt x="72" y="489"/>
                  </a:lnTo>
                  <a:lnTo>
                    <a:pt x="72" y="489"/>
                  </a:lnTo>
                  <a:lnTo>
                    <a:pt x="72" y="489"/>
                  </a:lnTo>
                  <a:lnTo>
                    <a:pt x="75" y="491"/>
                  </a:lnTo>
                  <a:lnTo>
                    <a:pt x="75" y="491"/>
                  </a:lnTo>
                  <a:lnTo>
                    <a:pt x="77" y="491"/>
                  </a:lnTo>
                  <a:lnTo>
                    <a:pt x="77" y="494"/>
                  </a:lnTo>
                  <a:lnTo>
                    <a:pt x="80" y="491"/>
                  </a:lnTo>
                  <a:lnTo>
                    <a:pt x="80" y="491"/>
                  </a:lnTo>
                  <a:lnTo>
                    <a:pt x="80" y="491"/>
                  </a:lnTo>
                  <a:lnTo>
                    <a:pt x="83" y="489"/>
                  </a:lnTo>
                  <a:lnTo>
                    <a:pt x="83" y="489"/>
                  </a:lnTo>
                  <a:lnTo>
                    <a:pt x="85" y="489"/>
                  </a:lnTo>
                  <a:lnTo>
                    <a:pt x="85" y="486"/>
                  </a:lnTo>
                  <a:lnTo>
                    <a:pt x="85" y="486"/>
                  </a:lnTo>
                  <a:lnTo>
                    <a:pt x="85" y="486"/>
                  </a:lnTo>
                  <a:lnTo>
                    <a:pt x="85" y="483"/>
                  </a:lnTo>
                  <a:lnTo>
                    <a:pt x="85" y="483"/>
                  </a:lnTo>
                  <a:lnTo>
                    <a:pt x="85" y="483"/>
                  </a:lnTo>
                  <a:lnTo>
                    <a:pt x="83" y="481"/>
                  </a:lnTo>
                  <a:lnTo>
                    <a:pt x="83" y="481"/>
                  </a:lnTo>
                  <a:lnTo>
                    <a:pt x="83" y="478"/>
                  </a:lnTo>
                  <a:lnTo>
                    <a:pt x="83" y="475"/>
                  </a:lnTo>
                  <a:lnTo>
                    <a:pt x="83" y="475"/>
                  </a:lnTo>
                  <a:lnTo>
                    <a:pt x="83" y="473"/>
                  </a:lnTo>
                  <a:lnTo>
                    <a:pt x="83" y="473"/>
                  </a:lnTo>
                  <a:lnTo>
                    <a:pt x="80" y="473"/>
                  </a:lnTo>
                  <a:lnTo>
                    <a:pt x="80" y="470"/>
                  </a:lnTo>
                  <a:lnTo>
                    <a:pt x="80" y="467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2"/>
                  </a:lnTo>
                  <a:lnTo>
                    <a:pt x="80" y="459"/>
                  </a:lnTo>
                  <a:lnTo>
                    <a:pt x="80" y="457"/>
                  </a:lnTo>
                  <a:lnTo>
                    <a:pt x="80" y="454"/>
                  </a:lnTo>
                  <a:lnTo>
                    <a:pt x="77" y="454"/>
                  </a:lnTo>
                  <a:lnTo>
                    <a:pt x="75" y="454"/>
                  </a:lnTo>
                  <a:lnTo>
                    <a:pt x="75" y="454"/>
                  </a:lnTo>
                  <a:lnTo>
                    <a:pt x="69" y="454"/>
                  </a:lnTo>
                  <a:lnTo>
                    <a:pt x="69" y="454"/>
                  </a:lnTo>
                  <a:lnTo>
                    <a:pt x="67" y="454"/>
                  </a:lnTo>
                  <a:lnTo>
                    <a:pt x="64" y="454"/>
                  </a:lnTo>
                  <a:lnTo>
                    <a:pt x="64" y="454"/>
                  </a:lnTo>
                  <a:lnTo>
                    <a:pt x="61" y="451"/>
                  </a:lnTo>
                  <a:lnTo>
                    <a:pt x="61" y="451"/>
                  </a:lnTo>
                  <a:lnTo>
                    <a:pt x="61" y="451"/>
                  </a:lnTo>
                  <a:lnTo>
                    <a:pt x="61" y="449"/>
                  </a:lnTo>
                  <a:lnTo>
                    <a:pt x="61" y="449"/>
                  </a:lnTo>
                  <a:lnTo>
                    <a:pt x="59" y="449"/>
                  </a:lnTo>
                  <a:lnTo>
                    <a:pt x="59" y="446"/>
                  </a:lnTo>
                  <a:lnTo>
                    <a:pt x="59" y="446"/>
                  </a:lnTo>
                  <a:lnTo>
                    <a:pt x="61" y="443"/>
                  </a:lnTo>
                  <a:lnTo>
                    <a:pt x="61" y="443"/>
                  </a:lnTo>
                  <a:lnTo>
                    <a:pt x="61" y="441"/>
                  </a:lnTo>
                  <a:lnTo>
                    <a:pt x="61" y="441"/>
                  </a:lnTo>
                  <a:lnTo>
                    <a:pt x="61" y="438"/>
                  </a:lnTo>
                  <a:lnTo>
                    <a:pt x="61" y="438"/>
                  </a:lnTo>
                  <a:lnTo>
                    <a:pt x="61" y="435"/>
                  </a:lnTo>
                  <a:lnTo>
                    <a:pt x="61" y="435"/>
                  </a:lnTo>
                  <a:lnTo>
                    <a:pt x="61" y="435"/>
                  </a:lnTo>
                  <a:lnTo>
                    <a:pt x="64" y="433"/>
                  </a:lnTo>
                  <a:lnTo>
                    <a:pt x="64" y="433"/>
                  </a:lnTo>
                  <a:lnTo>
                    <a:pt x="61" y="433"/>
                  </a:lnTo>
                  <a:lnTo>
                    <a:pt x="61" y="430"/>
                  </a:lnTo>
                  <a:lnTo>
                    <a:pt x="61" y="427"/>
                  </a:lnTo>
                  <a:lnTo>
                    <a:pt x="64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7"/>
                  </a:lnTo>
                  <a:lnTo>
                    <a:pt x="72" y="430"/>
                  </a:lnTo>
                  <a:lnTo>
                    <a:pt x="72" y="430"/>
                  </a:lnTo>
                  <a:lnTo>
                    <a:pt x="72" y="430"/>
                  </a:lnTo>
                  <a:lnTo>
                    <a:pt x="75" y="430"/>
                  </a:lnTo>
                  <a:lnTo>
                    <a:pt x="77" y="430"/>
                  </a:lnTo>
                  <a:lnTo>
                    <a:pt x="77" y="430"/>
                  </a:lnTo>
                  <a:lnTo>
                    <a:pt x="80" y="430"/>
                  </a:lnTo>
                  <a:lnTo>
                    <a:pt x="83" y="430"/>
                  </a:lnTo>
                  <a:lnTo>
                    <a:pt x="85" y="427"/>
                  </a:lnTo>
                  <a:lnTo>
                    <a:pt x="85" y="427"/>
                  </a:lnTo>
                  <a:lnTo>
                    <a:pt x="88" y="427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5"/>
                  </a:lnTo>
                  <a:lnTo>
                    <a:pt x="91" y="422"/>
                  </a:lnTo>
                  <a:lnTo>
                    <a:pt x="88" y="422"/>
                  </a:lnTo>
                  <a:lnTo>
                    <a:pt x="88" y="422"/>
                  </a:lnTo>
                  <a:lnTo>
                    <a:pt x="91" y="422"/>
                  </a:lnTo>
                  <a:lnTo>
                    <a:pt x="93" y="419"/>
                  </a:lnTo>
                  <a:lnTo>
                    <a:pt x="93" y="419"/>
                  </a:lnTo>
                  <a:lnTo>
                    <a:pt x="96" y="419"/>
                  </a:lnTo>
                  <a:lnTo>
                    <a:pt x="99" y="417"/>
                  </a:lnTo>
                  <a:lnTo>
                    <a:pt x="99" y="417"/>
                  </a:lnTo>
                  <a:lnTo>
                    <a:pt x="101" y="422"/>
                  </a:lnTo>
                  <a:lnTo>
                    <a:pt x="104" y="419"/>
                  </a:lnTo>
                  <a:lnTo>
                    <a:pt x="107" y="419"/>
                  </a:lnTo>
                  <a:lnTo>
                    <a:pt x="107" y="419"/>
                  </a:lnTo>
                  <a:lnTo>
                    <a:pt x="109" y="417"/>
                  </a:lnTo>
                  <a:lnTo>
                    <a:pt x="109" y="417"/>
                  </a:lnTo>
                  <a:lnTo>
                    <a:pt x="107" y="417"/>
                  </a:lnTo>
                  <a:lnTo>
                    <a:pt x="104" y="417"/>
                  </a:lnTo>
                  <a:lnTo>
                    <a:pt x="104" y="414"/>
                  </a:lnTo>
                  <a:lnTo>
                    <a:pt x="104" y="414"/>
                  </a:lnTo>
                  <a:lnTo>
                    <a:pt x="107" y="411"/>
                  </a:lnTo>
                  <a:lnTo>
                    <a:pt x="107" y="411"/>
                  </a:lnTo>
                  <a:lnTo>
                    <a:pt x="109" y="411"/>
                  </a:lnTo>
                  <a:lnTo>
                    <a:pt x="112" y="411"/>
                  </a:lnTo>
                  <a:lnTo>
                    <a:pt x="112" y="408"/>
                  </a:lnTo>
                  <a:lnTo>
                    <a:pt x="112" y="406"/>
                  </a:lnTo>
                  <a:lnTo>
                    <a:pt x="112" y="406"/>
                  </a:lnTo>
                  <a:lnTo>
                    <a:pt x="112" y="403"/>
                  </a:lnTo>
                  <a:lnTo>
                    <a:pt x="112" y="403"/>
                  </a:lnTo>
                  <a:lnTo>
                    <a:pt x="112" y="400"/>
                  </a:lnTo>
                  <a:lnTo>
                    <a:pt x="112" y="400"/>
                  </a:lnTo>
                  <a:lnTo>
                    <a:pt x="112" y="398"/>
                  </a:lnTo>
                  <a:lnTo>
                    <a:pt x="112" y="398"/>
                  </a:lnTo>
                  <a:lnTo>
                    <a:pt x="112" y="395"/>
                  </a:lnTo>
                  <a:lnTo>
                    <a:pt x="112" y="395"/>
                  </a:lnTo>
                  <a:lnTo>
                    <a:pt x="115" y="392"/>
                  </a:lnTo>
                  <a:lnTo>
                    <a:pt x="115" y="390"/>
                  </a:lnTo>
                  <a:lnTo>
                    <a:pt x="117" y="387"/>
                  </a:lnTo>
                  <a:lnTo>
                    <a:pt x="120" y="387"/>
                  </a:lnTo>
                  <a:lnTo>
                    <a:pt x="120" y="387"/>
                  </a:lnTo>
                  <a:lnTo>
                    <a:pt x="123" y="387"/>
                  </a:lnTo>
                  <a:lnTo>
                    <a:pt x="123" y="390"/>
                  </a:lnTo>
                  <a:lnTo>
                    <a:pt x="123" y="390"/>
                  </a:lnTo>
                  <a:lnTo>
                    <a:pt x="125" y="387"/>
                  </a:lnTo>
                  <a:lnTo>
                    <a:pt x="128" y="387"/>
                  </a:lnTo>
                  <a:lnTo>
                    <a:pt x="128" y="390"/>
                  </a:lnTo>
                  <a:lnTo>
                    <a:pt x="133" y="390"/>
                  </a:lnTo>
                  <a:lnTo>
                    <a:pt x="133" y="390"/>
                  </a:lnTo>
                  <a:lnTo>
                    <a:pt x="133" y="392"/>
                  </a:lnTo>
                  <a:lnTo>
                    <a:pt x="133" y="395"/>
                  </a:lnTo>
                  <a:lnTo>
                    <a:pt x="131" y="398"/>
                  </a:lnTo>
                  <a:lnTo>
                    <a:pt x="131" y="398"/>
                  </a:lnTo>
                  <a:lnTo>
                    <a:pt x="133" y="398"/>
                  </a:lnTo>
                  <a:lnTo>
                    <a:pt x="133" y="400"/>
                  </a:lnTo>
                  <a:lnTo>
                    <a:pt x="133" y="400"/>
                  </a:lnTo>
                  <a:lnTo>
                    <a:pt x="133" y="403"/>
                  </a:lnTo>
                  <a:lnTo>
                    <a:pt x="136" y="403"/>
                  </a:lnTo>
                  <a:lnTo>
                    <a:pt x="136" y="403"/>
                  </a:lnTo>
                  <a:lnTo>
                    <a:pt x="139" y="403"/>
                  </a:lnTo>
                  <a:lnTo>
                    <a:pt x="139" y="403"/>
                  </a:lnTo>
                  <a:lnTo>
                    <a:pt x="141" y="403"/>
                  </a:lnTo>
                  <a:lnTo>
                    <a:pt x="144" y="403"/>
                  </a:lnTo>
                  <a:lnTo>
                    <a:pt x="144" y="403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7" y="408"/>
                  </a:lnTo>
                  <a:lnTo>
                    <a:pt x="147" y="408"/>
                  </a:lnTo>
                  <a:lnTo>
                    <a:pt x="149" y="408"/>
                  </a:lnTo>
                  <a:lnTo>
                    <a:pt x="149" y="408"/>
                  </a:lnTo>
                  <a:lnTo>
                    <a:pt x="149" y="408"/>
                  </a:lnTo>
                  <a:lnTo>
                    <a:pt x="152" y="406"/>
                  </a:lnTo>
                  <a:lnTo>
                    <a:pt x="152" y="406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5" y="403"/>
                  </a:lnTo>
                  <a:lnTo>
                    <a:pt x="157" y="403"/>
                  </a:lnTo>
                  <a:lnTo>
                    <a:pt x="157" y="403"/>
                  </a:lnTo>
                  <a:lnTo>
                    <a:pt x="160" y="403"/>
                  </a:lnTo>
                  <a:lnTo>
                    <a:pt x="160" y="403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5" y="400"/>
                  </a:lnTo>
                  <a:lnTo>
                    <a:pt x="168" y="400"/>
                  </a:lnTo>
                  <a:lnTo>
                    <a:pt x="168" y="400"/>
                  </a:lnTo>
                  <a:lnTo>
                    <a:pt x="168" y="398"/>
                  </a:lnTo>
                  <a:lnTo>
                    <a:pt x="168" y="398"/>
                  </a:lnTo>
                  <a:lnTo>
                    <a:pt x="165" y="395"/>
                  </a:lnTo>
                  <a:lnTo>
                    <a:pt x="163" y="392"/>
                  </a:lnTo>
                  <a:lnTo>
                    <a:pt x="163" y="392"/>
                  </a:lnTo>
                  <a:lnTo>
                    <a:pt x="160" y="390"/>
                  </a:lnTo>
                  <a:lnTo>
                    <a:pt x="160" y="390"/>
                  </a:lnTo>
                  <a:lnTo>
                    <a:pt x="160" y="387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3" y="382"/>
                  </a:lnTo>
                  <a:lnTo>
                    <a:pt x="163" y="382"/>
                  </a:lnTo>
                  <a:lnTo>
                    <a:pt x="165" y="379"/>
                  </a:lnTo>
                  <a:lnTo>
                    <a:pt x="168" y="379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1" y="376"/>
                  </a:lnTo>
                  <a:lnTo>
                    <a:pt x="173" y="374"/>
                  </a:lnTo>
                  <a:lnTo>
                    <a:pt x="173" y="374"/>
                  </a:lnTo>
                  <a:lnTo>
                    <a:pt x="173" y="371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6" y="368"/>
                  </a:lnTo>
                  <a:lnTo>
                    <a:pt x="179" y="368"/>
                  </a:lnTo>
                  <a:lnTo>
                    <a:pt x="179" y="366"/>
                  </a:lnTo>
                  <a:lnTo>
                    <a:pt x="181" y="366"/>
                  </a:lnTo>
                  <a:lnTo>
                    <a:pt x="181" y="366"/>
                  </a:lnTo>
                  <a:lnTo>
                    <a:pt x="181" y="366"/>
                  </a:lnTo>
                  <a:lnTo>
                    <a:pt x="184" y="366"/>
                  </a:lnTo>
                  <a:lnTo>
                    <a:pt x="184" y="368"/>
                  </a:lnTo>
                  <a:lnTo>
                    <a:pt x="187" y="368"/>
                  </a:lnTo>
                  <a:lnTo>
                    <a:pt x="187" y="368"/>
                  </a:lnTo>
                  <a:lnTo>
                    <a:pt x="187" y="368"/>
                  </a:lnTo>
                  <a:lnTo>
                    <a:pt x="187" y="366"/>
                  </a:lnTo>
                  <a:lnTo>
                    <a:pt x="187" y="366"/>
                  </a:lnTo>
                  <a:lnTo>
                    <a:pt x="187" y="363"/>
                  </a:lnTo>
                  <a:lnTo>
                    <a:pt x="187" y="360"/>
                  </a:lnTo>
                  <a:lnTo>
                    <a:pt x="187" y="360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5"/>
                  </a:lnTo>
                  <a:lnTo>
                    <a:pt x="187" y="352"/>
                  </a:lnTo>
                  <a:lnTo>
                    <a:pt x="187" y="352"/>
                  </a:lnTo>
                  <a:lnTo>
                    <a:pt x="187" y="352"/>
                  </a:lnTo>
                  <a:lnTo>
                    <a:pt x="190" y="350"/>
                  </a:lnTo>
                  <a:lnTo>
                    <a:pt x="190" y="350"/>
                  </a:lnTo>
                  <a:lnTo>
                    <a:pt x="190" y="350"/>
                  </a:lnTo>
                  <a:lnTo>
                    <a:pt x="190" y="347"/>
                  </a:lnTo>
                  <a:lnTo>
                    <a:pt x="192" y="344"/>
                  </a:lnTo>
                  <a:lnTo>
                    <a:pt x="192" y="344"/>
                  </a:lnTo>
                  <a:lnTo>
                    <a:pt x="192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5" y="342"/>
                  </a:lnTo>
                  <a:lnTo>
                    <a:pt x="198" y="339"/>
                  </a:lnTo>
                  <a:lnTo>
                    <a:pt x="200" y="339"/>
                  </a:lnTo>
                  <a:lnTo>
                    <a:pt x="200" y="339"/>
                  </a:lnTo>
                  <a:lnTo>
                    <a:pt x="200" y="336"/>
                  </a:lnTo>
                  <a:lnTo>
                    <a:pt x="203" y="336"/>
                  </a:lnTo>
                  <a:lnTo>
                    <a:pt x="203" y="342"/>
                  </a:lnTo>
                  <a:lnTo>
                    <a:pt x="206" y="342"/>
                  </a:lnTo>
                  <a:lnTo>
                    <a:pt x="206" y="342"/>
                  </a:lnTo>
                  <a:lnTo>
                    <a:pt x="206" y="344"/>
                  </a:lnTo>
                  <a:lnTo>
                    <a:pt x="208" y="344"/>
                  </a:lnTo>
                  <a:lnTo>
                    <a:pt x="208" y="344"/>
                  </a:lnTo>
                  <a:lnTo>
                    <a:pt x="211" y="344"/>
                  </a:lnTo>
                  <a:lnTo>
                    <a:pt x="211" y="347"/>
                  </a:lnTo>
                  <a:lnTo>
                    <a:pt x="211" y="347"/>
                  </a:lnTo>
                  <a:lnTo>
                    <a:pt x="211" y="344"/>
                  </a:lnTo>
                  <a:lnTo>
                    <a:pt x="214" y="344"/>
                  </a:lnTo>
                  <a:lnTo>
                    <a:pt x="214" y="342"/>
                  </a:lnTo>
                  <a:lnTo>
                    <a:pt x="216" y="342"/>
                  </a:lnTo>
                  <a:lnTo>
                    <a:pt x="216" y="339"/>
                  </a:lnTo>
                  <a:lnTo>
                    <a:pt x="216" y="336"/>
                  </a:lnTo>
                  <a:lnTo>
                    <a:pt x="216" y="336"/>
                  </a:lnTo>
                  <a:lnTo>
                    <a:pt x="219" y="334"/>
                  </a:lnTo>
                  <a:lnTo>
                    <a:pt x="219" y="334"/>
                  </a:lnTo>
                  <a:lnTo>
                    <a:pt x="219" y="334"/>
                  </a:lnTo>
                  <a:lnTo>
                    <a:pt x="216" y="331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1" y="326"/>
                  </a:lnTo>
                  <a:lnTo>
                    <a:pt x="208" y="326"/>
                  </a:lnTo>
                  <a:lnTo>
                    <a:pt x="208" y="326"/>
                  </a:lnTo>
                  <a:lnTo>
                    <a:pt x="208" y="323"/>
                  </a:lnTo>
                  <a:lnTo>
                    <a:pt x="208" y="323"/>
                  </a:lnTo>
                  <a:lnTo>
                    <a:pt x="211" y="320"/>
                  </a:lnTo>
                  <a:lnTo>
                    <a:pt x="211" y="318"/>
                  </a:lnTo>
                  <a:lnTo>
                    <a:pt x="211" y="315"/>
                  </a:lnTo>
                  <a:lnTo>
                    <a:pt x="211" y="312"/>
                  </a:lnTo>
                  <a:lnTo>
                    <a:pt x="211" y="310"/>
                  </a:lnTo>
                  <a:lnTo>
                    <a:pt x="211" y="307"/>
                  </a:lnTo>
                  <a:lnTo>
                    <a:pt x="214" y="307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11" y="299"/>
                  </a:lnTo>
                  <a:lnTo>
                    <a:pt x="211" y="299"/>
                  </a:lnTo>
                  <a:lnTo>
                    <a:pt x="211" y="296"/>
                  </a:lnTo>
                  <a:lnTo>
                    <a:pt x="211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3" y="294"/>
                  </a:lnTo>
                  <a:lnTo>
                    <a:pt x="200" y="294"/>
                  </a:lnTo>
                  <a:lnTo>
                    <a:pt x="198" y="296"/>
                  </a:lnTo>
                  <a:lnTo>
                    <a:pt x="195" y="294"/>
                  </a:lnTo>
                  <a:lnTo>
                    <a:pt x="195" y="291"/>
                  </a:lnTo>
                  <a:lnTo>
                    <a:pt x="192" y="291"/>
                  </a:lnTo>
                  <a:lnTo>
                    <a:pt x="190" y="288"/>
                  </a:lnTo>
                  <a:lnTo>
                    <a:pt x="190" y="286"/>
                  </a:lnTo>
                  <a:lnTo>
                    <a:pt x="187" y="286"/>
                  </a:lnTo>
                  <a:lnTo>
                    <a:pt x="184" y="283"/>
                  </a:lnTo>
                  <a:lnTo>
                    <a:pt x="184" y="280"/>
                  </a:lnTo>
                  <a:lnTo>
                    <a:pt x="184" y="278"/>
                  </a:lnTo>
                  <a:lnTo>
                    <a:pt x="181" y="275"/>
                  </a:lnTo>
                  <a:lnTo>
                    <a:pt x="181" y="272"/>
                  </a:lnTo>
                  <a:lnTo>
                    <a:pt x="181" y="272"/>
                  </a:lnTo>
                  <a:lnTo>
                    <a:pt x="181" y="270"/>
                  </a:lnTo>
                  <a:lnTo>
                    <a:pt x="179" y="267"/>
                  </a:lnTo>
                  <a:lnTo>
                    <a:pt x="176" y="264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59"/>
                  </a:lnTo>
                  <a:lnTo>
                    <a:pt x="176" y="259"/>
                  </a:lnTo>
                  <a:lnTo>
                    <a:pt x="176" y="256"/>
                  </a:lnTo>
                  <a:lnTo>
                    <a:pt x="176" y="256"/>
                  </a:lnTo>
                  <a:lnTo>
                    <a:pt x="176" y="256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81" y="251"/>
                  </a:lnTo>
                  <a:lnTo>
                    <a:pt x="181" y="248"/>
                  </a:lnTo>
                  <a:lnTo>
                    <a:pt x="181" y="248"/>
                  </a:lnTo>
                  <a:lnTo>
                    <a:pt x="184" y="248"/>
                  </a:lnTo>
                  <a:lnTo>
                    <a:pt x="184" y="245"/>
                  </a:lnTo>
                  <a:lnTo>
                    <a:pt x="187" y="245"/>
                  </a:lnTo>
                  <a:lnTo>
                    <a:pt x="187" y="243"/>
                  </a:lnTo>
                  <a:lnTo>
                    <a:pt x="187" y="243"/>
                  </a:lnTo>
                  <a:lnTo>
                    <a:pt x="187" y="243"/>
                  </a:lnTo>
                  <a:lnTo>
                    <a:pt x="190" y="243"/>
                  </a:lnTo>
                  <a:lnTo>
                    <a:pt x="187" y="240"/>
                  </a:lnTo>
                  <a:lnTo>
                    <a:pt x="187" y="237"/>
                  </a:lnTo>
                  <a:lnTo>
                    <a:pt x="187" y="237"/>
                  </a:lnTo>
                  <a:lnTo>
                    <a:pt x="190" y="235"/>
                  </a:lnTo>
                  <a:lnTo>
                    <a:pt x="190" y="235"/>
                  </a:lnTo>
                  <a:lnTo>
                    <a:pt x="190" y="232"/>
                  </a:lnTo>
                  <a:lnTo>
                    <a:pt x="190" y="229"/>
                  </a:lnTo>
                  <a:lnTo>
                    <a:pt x="192" y="229"/>
                  </a:lnTo>
                  <a:lnTo>
                    <a:pt x="192" y="227"/>
                  </a:lnTo>
                  <a:lnTo>
                    <a:pt x="192" y="227"/>
                  </a:lnTo>
                  <a:lnTo>
                    <a:pt x="195" y="227"/>
                  </a:lnTo>
                  <a:lnTo>
                    <a:pt x="195" y="224"/>
                  </a:lnTo>
                  <a:lnTo>
                    <a:pt x="195" y="224"/>
                  </a:lnTo>
                  <a:lnTo>
                    <a:pt x="192" y="221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0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4" y="219"/>
                  </a:lnTo>
                  <a:lnTo>
                    <a:pt x="181" y="219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1" y="213"/>
                  </a:lnTo>
                  <a:lnTo>
                    <a:pt x="179" y="211"/>
                  </a:lnTo>
                  <a:lnTo>
                    <a:pt x="179" y="208"/>
                  </a:lnTo>
                  <a:lnTo>
                    <a:pt x="176" y="203"/>
                  </a:lnTo>
                  <a:lnTo>
                    <a:pt x="176" y="203"/>
                  </a:lnTo>
                  <a:lnTo>
                    <a:pt x="173" y="200"/>
                  </a:lnTo>
                  <a:lnTo>
                    <a:pt x="173" y="197"/>
                  </a:lnTo>
                  <a:lnTo>
                    <a:pt x="173" y="195"/>
                  </a:lnTo>
                  <a:lnTo>
                    <a:pt x="171" y="195"/>
                  </a:lnTo>
                  <a:lnTo>
                    <a:pt x="171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5" y="192"/>
                  </a:lnTo>
                  <a:lnTo>
                    <a:pt x="165" y="189"/>
                  </a:lnTo>
                  <a:lnTo>
                    <a:pt x="165" y="187"/>
                  </a:lnTo>
                  <a:lnTo>
                    <a:pt x="165" y="184"/>
                  </a:lnTo>
                  <a:lnTo>
                    <a:pt x="168" y="181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6" y="171"/>
                  </a:lnTo>
                  <a:lnTo>
                    <a:pt x="179" y="171"/>
                  </a:lnTo>
                  <a:lnTo>
                    <a:pt x="181" y="171"/>
                  </a:lnTo>
                  <a:lnTo>
                    <a:pt x="184" y="173"/>
                  </a:lnTo>
                  <a:lnTo>
                    <a:pt x="184" y="176"/>
                  </a:lnTo>
                  <a:lnTo>
                    <a:pt x="187" y="176"/>
                  </a:lnTo>
                  <a:lnTo>
                    <a:pt x="187" y="176"/>
                  </a:lnTo>
                  <a:lnTo>
                    <a:pt x="187" y="176"/>
                  </a:lnTo>
                  <a:lnTo>
                    <a:pt x="190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0" y="168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90" y="157"/>
                  </a:lnTo>
                  <a:lnTo>
                    <a:pt x="187" y="155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49"/>
                  </a:lnTo>
                  <a:lnTo>
                    <a:pt x="181" y="149"/>
                  </a:lnTo>
                  <a:lnTo>
                    <a:pt x="181" y="147"/>
                  </a:lnTo>
                  <a:lnTo>
                    <a:pt x="179" y="147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3" y="149"/>
                  </a:lnTo>
                  <a:lnTo>
                    <a:pt x="173" y="149"/>
                  </a:lnTo>
                  <a:lnTo>
                    <a:pt x="173" y="147"/>
                  </a:lnTo>
                  <a:lnTo>
                    <a:pt x="173" y="144"/>
                  </a:lnTo>
                  <a:lnTo>
                    <a:pt x="173" y="141"/>
                  </a:lnTo>
                  <a:lnTo>
                    <a:pt x="173" y="139"/>
                  </a:lnTo>
                  <a:lnTo>
                    <a:pt x="173" y="139"/>
                  </a:lnTo>
                  <a:lnTo>
                    <a:pt x="171" y="136"/>
                  </a:lnTo>
                  <a:lnTo>
                    <a:pt x="171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3" y="128"/>
                  </a:lnTo>
                  <a:lnTo>
                    <a:pt x="173" y="125"/>
                  </a:lnTo>
                  <a:lnTo>
                    <a:pt x="176" y="125"/>
                  </a:lnTo>
                  <a:lnTo>
                    <a:pt x="176" y="128"/>
                  </a:lnTo>
                  <a:lnTo>
                    <a:pt x="176" y="128"/>
                  </a:lnTo>
                  <a:lnTo>
                    <a:pt x="179" y="128"/>
                  </a:lnTo>
                  <a:lnTo>
                    <a:pt x="179" y="125"/>
                  </a:lnTo>
                  <a:lnTo>
                    <a:pt x="181" y="125"/>
                  </a:lnTo>
                  <a:lnTo>
                    <a:pt x="184" y="125"/>
                  </a:lnTo>
                  <a:lnTo>
                    <a:pt x="184" y="123"/>
                  </a:lnTo>
                  <a:lnTo>
                    <a:pt x="187" y="123"/>
                  </a:lnTo>
                  <a:lnTo>
                    <a:pt x="187" y="125"/>
                  </a:lnTo>
                  <a:lnTo>
                    <a:pt x="187" y="125"/>
                  </a:lnTo>
                  <a:lnTo>
                    <a:pt x="190" y="125"/>
                  </a:lnTo>
                  <a:lnTo>
                    <a:pt x="190" y="125"/>
                  </a:lnTo>
                  <a:lnTo>
                    <a:pt x="190" y="125"/>
                  </a:lnTo>
                  <a:lnTo>
                    <a:pt x="192" y="125"/>
                  </a:lnTo>
                  <a:lnTo>
                    <a:pt x="195" y="123"/>
                  </a:lnTo>
                  <a:lnTo>
                    <a:pt x="195" y="120"/>
                  </a:lnTo>
                  <a:lnTo>
                    <a:pt x="192" y="120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8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3" y="112"/>
                  </a:lnTo>
                  <a:lnTo>
                    <a:pt x="206" y="112"/>
                  </a:lnTo>
                  <a:lnTo>
                    <a:pt x="208" y="109"/>
                  </a:lnTo>
                  <a:lnTo>
                    <a:pt x="208" y="109"/>
                  </a:lnTo>
                  <a:lnTo>
                    <a:pt x="208" y="107"/>
                  </a:lnTo>
                  <a:lnTo>
                    <a:pt x="208" y="107"/>
                  </a:lnTo>
                  <a:lnTo>
                    <a:pt x="211" y="104"/>
                  </a:lnTo>
                  <a:lnTo>
                    <a:pt x="214" y="104"/>
                  </a:lnTo>
                  <a:lnTo>
                    <a:pt x="214" y="104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6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22" y="99"/>
                  </a:lnTo>
                  <a:lnTo>
                    <a:pt x="224" y="99"/>
                  </a:lnTo>
                  <a:lnTo>
                    <a:pt x="224" y="99"/>
                  </a:lnTo>
                  <a:lnTo>
                    <a:pt x="227" y="99"/>
                  </a:lnTo>
                  <a:lnTo>
                    <a:pt x="227" y="99"/>
                  </a:lnTo>
                  <a:lnTo>
                    <a:pt x="230" y="99"/>
                  </a:lnTo>
                  <a:lnTo>
                    <a:pt x="230" y="99"/>
                  </a:lnTo>
                  <a:lnTo>
                    <a:pt x="230" y="99"/>
                  </a:lnTo>
                  <a:lnTo>
                    <a:pt x="232" y="99"/>
                  </a:lnTo>
                  <a:lnTo>
                    <a:pt x="232" y="99"/>
                  </a:lnTo>
                  <a:lnTo>
                    <a:pt x="235" y="96"/>
                  </a:lnTo>
                  <a:lnTo>
                    <a:pt x="238" y="96"/>
                  </a:lnTo>
                  <a:lnTo>
                    <a:pt x="240" y="93"/>
                  </a:lnTo>
                  <a:lnTo>
                    <a:pt x="243" y="93"/>
                  </a:lnTo>
                  <a:lnTo>
                    <a:pt x="243" y="93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5"/>
                  </a:lnTo>
                  <a:lnTo>
                    <a:pt x="246" y="82"/>
                  </a:lnTo>
                  <a:lnTo>
                    <a:pt x="243" y="82"/>
                  </a:lnTo>
                  <a:lnTo>
                    <a:pt x="243" y="80"/>
                  </a:lnTo>
                  <a:lnTo>
                    <a:pt x="246" y="77"/>
                  </a:lnTo>
                  <a:lnTo>
                    <a:pt x="243" y="77"/>
                  </a:lnTo>
                  <a:lnTo>
                    <a:pt x="243" y="74"/>
                  </a:lnTo>
                  <a:lnTo>
                    <a:pt x="243" y="74"/>
                  </a:lnTo>
                  <a:lnTo>
                    <a:pt x="246" y="72"/>
                  </a:lnTo>
                  <a:lnTo>
                    <a:pt x="248" y="72"/>
                  </a:lnTo>
                  <a:lnTo>
                    <a:pt x="248" y="74"/>
                  </a:lnTo>
                  <a:lnTo>
                    <a:pt x="251" y="74"/>
                  </a:lnTo>
                  <a:lnTo>
                    <a:pt x="254" y="74"/>
                  </a:lnTo>
                  <a:lnTo>
                    <a:pt x="256" y="77"/>
                  </a:lnTo>
                  <a:lnTo>
                    <a:pt x="259" y="77"/>
                  </a:lnTo>
                  <a:lnTo>
                    <a:pt x="262" y="77"/>
                  </a:lnTo>
                  <a:lnTo>
                    <a:pt x="264" y="77"/>
                  </a:lnTo>
                  <a:lnTo>
                    <a:pt x="264" y="77"/>
                  </a:lnTo>
                  <a:lnTo>
                    <a:pt x="267" y="77"/>
                  </a:lnTo>
                  <a:lnTo>
                    <a:pt x="267" y="80"/>
                  </a:lnTo>
                  <a:lnTo>
                    <a:pt x="267" y="80"/>
                  </a:lnTo>
                  <a:lnTo>
                    <a:pt x="267" y="82"/>
                  </a:lnTo>
                  <a:lnTo>
                    <a:pt x="267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2" y="85"/>
                  </a:lnTo>
                  <a:lnTo>
                    <a:pt x="272" y="82"/>
                  </a:lnTo>
                  <a:lnTo>
                    <a:pt x="275" y="82"/>
                  </a:lnTo>
                  <a:lnTo>
                    <a:pt x="275" y="82"/>
                  </a:lnTo>
                  <a:lnTo>
                    <a:pt x="278" y="82"/>
                  </a:lnTo>
                  <a:lnTo>
                    <a:pt x="278" y="82"/>
                  </a:lnTo>
                  <a:lnTo>
                    <a:pt x="280" y="82"/>
                  </a:lnTo>
                  <a:lnTo>
                    <a:pt x="283" y="82"/>
                  </a:lnTo>
                  <a:lnTo>
                    <a:pt x="283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6" y="77"/>
                  </a:lnTo>
                  <a:lnTo>
                    <a:pt x="286" y="77"/>
                  </a:lnTo>
                  <a:lnTo>
                    <a:pt x="286" y="74"/>
                  </a:lnTo>
                  <a:lnTo>
                    <a:pt x="288" y="74"/>
                  </a:lnTo>
                  <a:lnTo>
                    <a:pt x="286" y="72"/>
                  </a:lnTo>
                  <a:lnTo>
                    <a:pt x="286" y="72"/>
                  </a:lnTo>
                  <a:lnTo>
                    <a:pt x="283" y="72"/>
                  </a:lnTo>
                  <a:lnTo>
                    <a:pt x="283" y="69"/>
                  </a:lnTo>
                  <a:lnTo>
                    <a:pt x="283" y="69"/>
                  </a:lnTo>
                  <a:lnTo>
                    <a:pt x="283" y="66"/>
                  </a:lnTo>
                  <a:lnTo>
                    <a:pt x="283" y="66"/>
                  </a:lnTo>
                  <a:lnTo>
                    <a:pt x="283" y="64"/>
                  </a:lnTo>
                  <a:lnTo>
                    <a:pt x="286" y="64"/>
                  </a:lnTo>
                  <a:lnTo>
                    <a:pt x="286" y="58"/>
                  </a:lnTo>
                  <a:lnTo>
                    <a:pt x="286" y="58"/>
                  </a:lnTo>
                  <a:lnTo>
                    <a:pt x="286" y="56"/>
                  </a:lnTo>
                  <a:lnTo>
                    <a:pt x="286" y="53"/>
                  </a:lnTo>
                  <a:lnTo>
                    <a:pt x="286" y="53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8" y="48"/>
                  </a:lnTo>
                  <a:lnTo>
                    <a:pt x="288" y="48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1" y="42"/>
                  </a:lnTo>
                  <a:lnTo>
                    <a:pt x="291" y="42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6" y="37"/>
                  </a:lnTo>
                  <a:lnTo>
                    <a:pt x="296" y="34"/>
                  </a:lnTo>
                  <a:lnTo>
                    <a:pt x="296" y="34"/>
                  </a:lnTo>
                  <a:lnTo>
                    <a:pt x="299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2" y="34"/>
                  </a:lnTo>
                  <a:lnTo>
                    <a:pt x="304" y="34"/>
                  </a:lnTo>
                  <a:lnTo>
                    <a:pt x="304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07" y="32"/>
                  </a:lnTo>
                  <a:lnTo>
                    <a:pt x="310" y="32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7" y="29"/>
                  </a:lnTo>
                  <a:lnTo>
                    <a:pt x="307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9" y="24"/>
                  </a:lnTo>
                  <a:lnTo>
                    <a:pt x="299" y="24"/>
                  </a:lnTo>
                  <a:lnTo>
                    <a:pt x="296" y="24"/>
                  </a:lnTo>
                  <a:lnTo>
                    <a:pt x="296" y="21"/>
                  </a:lnTo>
                  <a:lnTo>
                    <a:pt x="299" y="21"/>
                  </a:lnTo>
                  <a:lnTo>
                    <a:pt x="296" y="18"/>
                  </a:lnTo>
                  <a:lnTo>
                    <a:pt x="296" y="16"/>
                  </a:lnTo>
                  <a:lnTo>
                    <a:pt x="296" y="16"/>
                  </a:lnTo>
                  <a:lnTo>
                    <a:pt x="296" y="13"/>
                  </a:lnTo>
                  <a:lnTo>
                    <a:pt x="294" y="13"/>
                  </a:lnTo>
                  <a:lnTo>
                    <a:pt x="294" y="10"/>
                  </a:lnTo>
                  <a:lnTo>
                    <a:pt x="294" y="10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9" y="5"/>
                  </a:lnTo>
                  <a:lnTo>
                    <a:pt x="302" y="5"/>
                  </a:lnTo>
                  <a:lnTo>
                    <a:pt x="304" y="8"/>
                  </a:lnTo>
                  <a:lnTo>
                    <a:pt x="304" y="8"/>
                  </a:lnTo>
                  <a:lnTo>
                    <a:pt x="307" y="8"/>
                  </a:lnTo>
                  <a:lnTo>
                    <a:pt x="310" y="5"/>
                  </a:lnTo>
                  <a:lnTo>
                    <a:pt x="312" y="5"/>
                  </a:lnTo>
                  <a:lnTo>
                    <a:pt x="315" y="5"/>
                  </a:lnTo>
                  <a:lnTo>
                    <a:pt x="315" y="2"/>
                  </a:lnTo>
                  <a:lnTo>
                    <a:pt x="318" y="2"/>
                  </a:lnTo>
                  <a:lnTo>
                    <a:pt x="320" y="2"/>
                  </a:lnTo>
                  <a:lnTo>
                    <a:pt x="320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23" y="0"/>
                  </a:lnTo>
                  <a:lnTo>
                    <a:pt x="326" y="0"/>
                  </a:lnTo>
                  <a:lnTo>
                    <a:pt x="328" y="2"/>
                  </a:lnTo>
                  <a:lnTo>
                    <a:pt x="331" y="2"/>
                  </a:lnTo>
                  <a:lnTo>
                    <a:pt x="331" y="5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4" y="10"/>
                  </a:lnTo>
                  <a:lnTo>
                    <a:pt x="334" y="13"/>
                  </a:lnTo>
                  <a:lnTo>
                    <a:pt x="334" y="16"/>
                  </a:lnTo>
                  <a:lnTo>
                    <a:pt x="334" y="16"/>
                  </a:lnTo>
                  <a:lnTo>
                    <a:pt x="334" y="18"/>
                  </a:lnTo>
                  <a:lnTo>
                    <a:pt x="336" y="21"/>
                  </a:lnTo>
                  <a:lnTo>
                    <a:pt x="336" y="24"/>
                  </a:lnTo>
                  <a:lnTo>
                    <a:pt x="336" y="24"/>
                  </a:lnTo>
                  <a:lnTo>
                    <a:pt x="336" y="24"/>
                  </a:lnTo>
                  <a:lnTo>
                    <a:pt x="336" y="26"/>
                  </a:lnTo>
                  <a:lnTo>
                    <a:pt x="336" y="29"/>
                  </a:lnTo>
                  <a:lnTo>
                    <a:pt x="336" y="29"/>
                  </a:lnTo>
                  <a:lnTo>
                    <a:pt x="336" y="32"/>
                  </a:lnTo>
                  <a:lnTo>
                    <a:pt x="336" y="32"/>
                  </a:lnTo>
                  <a:lnTo>
                    <a:pt x="336" y="34"/>
                  </a:lnTo>
                  <a:lnTo>
                    <a:pt x="339" y="34"/>
                  </a:lnTo>
                  <a:lnTo>
                    <a:pt x="339" y="37"/>
                  </a:lnTo>
                  <a:lnTo>
                    <a:pt x="339" y="37"/>
                  </a:lnTo>
                  <a:lnTo>
                    <a:pt x="342" y="37"/>
                  </a:lnTo>
                  <a:lnTo>
                    <a:pt x="344" y="40"/>
                  </a:lnTo>
                  <a:lnTo>
                    <a:pt x="342" y="40"/>
                  </a:lnTo>
                  <a:lnTo>
                    <a:pt x="344" y="40"/>
                  </a:lnTo>
                  <a:lnTo>
                    <a:pt x="344" y="42"/>
                  </a:lnTo>
                  <a:lnTo>
                    <a:pt x="347" y="45"/>
                  </a:lnTo>
                  <a:lnTo>
                    <a:pt x="347" y="45"/>
                  </a:lnTo>
                  <a:lnTo>
                    <a:pt x="350" y="45"/>
                  </a:lnTo>
                  <a:lnTo>
                    <a:pt x="350" y="45"/>
                  </a:lnTo>
                  <a:lnTo>
                    <a:pt x="352" y="45"/>
                  </a:lnTo>
                  <a:lnTo>
                    <a:pt x="355" y="42"/>
                  </a:lnTo>
                  <a:lnTo>
                    <a:pt x="358" y="42"/>
                  </a:lnTo>
                  <a:lnTo>
                    <a:pt x="360" y="42"/>
                  </a:lnTo>
                  <a:lnTo>
                    <a:pt x="363" y="42"/>
                  </a:lnTo>
                  <a:lnTo>
                    <a:pt x="366" y="40"/>
                  </a:lnTo>
                  <a:lnTo>
                    <a:pt x="368" y="40"/>
                  </a:lnTo>
                  <a:lnTo>
                    <a:pt x="371" y="37"/>
                  </a:lnTo>
                  <a:lnTo>
                    <a:pt x="374" y="37"/>
                  </a:lnTo>
                  <a:lnTo>
                    <a:pt x="379" y="37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4" y="34"/>
                  </a:lnTo>
                  <a:lnTo>
                    <a:pt x="387" y="34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5" y="34"/>
                  </a:lnTo>
                  <a:lnTo>
                    <a:pt x="395" y="34"/>
                  </a:lnTo>
                  <a:lnTo>
                    <a:pt x="398" y="32"/>
                  </a:lnTo>
                  <a:lnTo>
                    <a:pt x="398" y="32"/>
                  </a:lnTo>
                  <a:lnTo>
                    <a:pt x="400" y="32"/>
                  </a:lnTo>
                  <a:lnTo>
                    <a:pt x="403" y="32"/>
                  </a:lnTo>
                  <a:lnTo>
                    <a:pt x="406" y="32"/>
                  </a:lnTo>
                  <a:lnTo>
                    <a:pt x="408" y="32"/>
                  </a:lnTo>
                  <a:lnTo>
                    <a:pt x="408" y="32"/>
                  </a:lnTo>
                  <a:lnTo>
                    <a:pt x="411" y="32"/>
                  </a:lnTo>
                  <a:lnTo>
                    <a:pt x="411" y="34"/>
                  </a:lnTo>
                  <a:lnTo>
                    <a:pt x="411" y="34"/>
                  </a:lnTo>
                  <a:lnTo>
                    <a:pt x="414" y="34"/>
                  </a:lnTo>
                  <a:lnTo>
                    <a:pt x="414" y="37"/>
                  </a:lnTo>
                  <a:lnTo>
                    <a:pt x="416" y="37"/>
                  </a:lnTo>
                  <a:lnTo>
                    <a:pt x="416" y="37"/>
                  </a:lnTo>
                  <a:lnTo>
                    <a:pt x="419" y="37"/>
                  </a:lnTo>
                  <a:lnTo>
                    <a:pt x="422" y="37"/>
                  </a:lnTo>
                  <a:lnTo>
                    <a:pt x="425" y="37"/>
                  </a:lnTo>
                  <a:lnTo>
                    <a:pt x="425" y="40"/>
                  </a:lnTo>
                  <a:lnTo>
                    <a:pt x="427" y="40"/>
                  </a:lnTo>
                  <a:lnTo>
                    <a:pt x="427" y="40"/>
                  </a:lnTo>
                  <a:lnTo>
                    <a:pt x="430" y="40"/>
                  </a:lnTo>
                  <a:lnTo>
                    <a:pt x="433" y="40"/>
                  </a:lnTo>
                  <a:lnTo>
                    <a:pt x="435" y="40"/>
                  </a:lnTo>
                  <a:lnTo>
                    <a:pt x="435" y="40"/>
                  </a:lnTo>
                  <a:lnTo>
                    <a:pt x="438" y="42"/>
                  </a:lnTo>
                  <a:lnTo>
                    <a:pt x="438" y="42"/>
                  </a:lnTo>
                  <a:lnTo>
                    <a:pt x="441" y="42"/>
                  </a:lnTo>
                  <a:lnTo>
                    <a:pt x="443" y="42"/>
                  </a:lnTo>
                  <a:lnTo>
                    <a:pt x="446" y="40"/>
                  </a:lnTo>
                  <a:lnTo>
                    <a:pt x="449" y="40"/>
                  </a:lnTo>
                  <a:lnTo>
                    <a:pt x="449" y="40"/>
                  </a:lnTo>
                  <a:lnTo>
                    <a:pt x="451" y="37"/>
                  </a:lnTo>
                  <a:lnTo>
                    <a:pt x="451" y="37"/>
                  </a:lnTo>
                  <a:lnTo>
                    <a:pt x="454" y="34"/>
                  </a:lnTo>
                  <a:lnTo>
                    <a:pt x="454" y="34"/>
                  </a:lnTo>
                  <a:lnTo>
                    <a:pt x="454" y="32"/>
                  </a:lnTo>
                  <a:lnTo>
                    <a:pt x="454" y="29"/>
                  </a:lnTo>
                  <a:lnTo>
                    <a:pt x="457" y="29"/>
                  </a:lnTo>
                  <a:lnTo>
                    <a:pt x="457" y="29"/>
                  </a:lnTo>
                  <a:lnTo>
                    <a:pt x="459" y="26"/>
                  </a:lnTo>
                  <a:lnTo>
                    <a:pt x="459" y="26"/>
                  </a:lnTo>
                  <a:lnTo>
                    <a:pt x="462" y="26"/>
                  </a:lnTo>
                  <a:lnTo>
                    <a:pt x="462" y="26"/>
                  </a:lnTo>
                  <a:lnTo>
                    <a:pt x="465" y="24"/>
                  </a:lnTo>
                  <a:lnTo>
                    <a:pt x="467" y="21"/>
                  </a:lnTo>
                  <a:lnTo>
                    <a:pt x="467" y="21"/>
                  </a:lnTo>
                  <a:lnTo>
                    <a:pt x="470" y="21"/>
                  </a:lnTo>
                  <a:lnTo>
                    <a:pt x="473" y="21"/>
                  </a:lnTo>
                  <a:lnTo>
                    <a:pt x="473" y="21"/>
                  </a:lnTo>
                  <a:lnTo>
                    <a:pt x="475" y="21"/>
                  </a:lnTo>
                  <a:lnTo>
                    <a:pt x="478" y="21"/>
                  </a:lnTo>
                  <a:lnTo>
                    <a:pt x="481" y="21"/>
                  </a:lnTo>
                  <a:lnTo>
                    <a:pt x="483" y="21"/>
                  </a:lnTo>
                  <a:lnTo>
                    <a:pt x="486" y="21"/>
                  </a:lnTo>
                  <a:lnTo>
                    <a:pt x="489" y="21"/>
                  </a:lnTo>
                  <a:lnTo>
                    <a:pt x="491" y="21"/>
                  </a:lnTo>
                  <a:lnTo>
                    <a:pt x="491" y="21"/>
                  </a:lnTo>
                  <a:lnTo>
                    <a:pt x="494" y="21"/>
                  </a:lnTo>
                  <a:lnTo>
                    <a:pt x="494" y="24"/>
                  </a:lnTo>
                  <a:lnTo>
                    <a:pt x="497" y="24"/>
                  </a:lnTo>
                  <a:lnTo>
                    <a:pt x="499" y="24"/>
                  </a:lnTo>
                  <a:lnTo>
                    <a:pt x="499" y="24"/>
                  </a:lnTo>
                  <a:lnTo>
                    <a:pt x="499" y="24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5" y="26"/>
                  </a:lnTo>
                  <a:lnTo>
                    <a:pt x="505" y="29"/>
                  </a:lnTo>
                  <a:lnTo>
                    <a:pt x="507" y="29"/>
                  </a:lnTo>
                  <a:lnTo>
                    <a:pt x="510" y="26"/>
                  </a:lnTo>
                  <a:lnTo>
                    <a:pt x="510" y="26"/>
                  </a:lnTo>
                  <a:lnTo>
                    <a:pt x="513" y="26"/>
                  </a:lnTo>
                  <a:lnTo>
                    <a:pt x="513" y="24"/>
                  </a:lnTo>
                  <a:lnTo>
                    <a:pt x="515" y="24"/>
                  </a:lnTo>
                  <a:lnTo>
                    <a:pt x="518" y="24"/>
                  </a:lnTo>
                  <a:lnTo>
                    <a:pt x="518" y="24"/>
                  </a:lnTo>
                  <a:lnTo>
                    <a:pt x="521" y="24"/>
                  </a:lnTo>
                  <a:lnTo>
                    <a:pt x="523" y="21"/>
                  </a:lnTo>
                  <a:lnTo>
                    <a:pt x="526" y="21"/>
                  </a:lnTo>
                  <a:lnTo>
                    <a:pt x="526" y="21"/>
                  </a:lnTo>
                  <a:lnTo>
                    <a:pt x="529" y="21"/>
                  </a:lnTo>
                  <a:lnTo>
                    <a:pt x="531" y="18"/>
                  </a:lnTo>
                  <a:lnTo>
                    <a:pt x="534" y="16"/>
                  </a:lnTo>
                  <a:lnTo>
                    <a:pt x="534" y="16"/>
                  </a:lnTo>
                  <a:lnTo>
                    <a:pt x="537" y="13"/>
                  </a:lnTo>
                  <a:lnTo>
                    <a:pt x="539" y="13"/>
                  </a:lnTo>
                  <a:lnTo>
                    <a:pt x="539" y="13"/>
                  </a:lnTo>
                  <a:lnTo>
                    <a:pt x="542" y="13"/>
                  </a:lnTo>
                  <a:lnTo>
                    <a:pt x="542" y="13"/>
                  </a:lnTo>
                  <a:lnTo>
                    <a:pt x="545" y="13"/>
                  </a:lnTo>
                  <a:lnTo>
                    <a:pt x="547" y="13"/>
                  </a:lnTo>
                  <a:lnTo>
                    <a:pt x="547" y="10"/>
                  </a:lnTo>
                  <a:lnTo>
                    <a:pt x="550" y="10"/>
                  </a:lnTo>
                  <a:lnTo>
                    <a:pt x="553" y="8"/>
                  </a:lnTo>
                  <a:lnTo>
                    <a:pt x="553" y="8"/>
                  </a:lnTo>
                  <a:lnTo>
                    <a:pt x="555" y="8"/>
                  </a:lnTo>
                  <a:lnTo>
                    <a:pt x="555" y="5"/>
                  </a:lnTo>
                  <a:lnTo>
                    <a:pt x="555" y="5"/>
                  </a:lnTo>
                  <a:lnTo>
                    <a:pt x="555" y="5"/>
                  </a:lnTo>
                  <a:lnTo>
                    <a:pt x="555" y="2"/>
                  </a:lnTo>
                  <a:lnTo>
                    <a:pt x="555" y="2"/>
                  </a:lnTo>
                  <a:lnTo>
                    <a:pt x="558" y="2"/>
                  </a:lnTo>
                  <a:lnTo>
                    <a:pt x="563" y="0"/>
                  </a:lnTo>
                  <a:lnTo>
                    <a:pt x="563" y="2"/>
                  </a:lnTo>
                  <a:lnTo>
                    <a:pt x="563" y="2"/>
                  </a:lnTo>
                  <a:lnTo>
                    <a:pt x="563" y="2"/>
                  </a:lnTo>
                  <a:lnTo>
                    <a:pt x="563" y="5"/>
                  </a:lnTo>
                  <a:lnTo>
                    <a:pt x="566" y="5"/>
                  </a:lnTo>
                  <a:lnTo>
                    <a:pt x="566" y="8"/>
                  </a:lnTo>
                  <a:lnTo>
                    <a:pt x="569" y="8"/>
                  </a:lnTo>
                  <a:lnTo>
                    <a:pt x="571" y="10"/>
                  </a:lnTo>
                  <a:lnTo>
                    <a:pt x="574" y="10"/>
                  </a:lnTo>
                  <a:lnTo>
                    <a:pt x="574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9" y="8"/>
                  </a:lnTo>
                  <a:lnTo>
                    <a:pt x="579" y="8"/>
                  </a:lnTo>
                  <a:lnTo>
                    <a:pt x="582" y="10"/>
                  </a:lnTo>
                  <a:lnTo>
                    <a:pt x="585" y="10"/>
                  </a:lnTo>
                  <a:lnTo>
                    <a:pt x="587" y="10"/>
                  </a:lnTo>
                  <a:lnTo>
                    <a:pt x="587" y="13"/>
                  </a:lnTo>
                  <a:lnTo>
                    <a:pt x="590" y="13"/>
                  </a:lnTo>
                  <a:lnTo>
                    <a:pt x="590" y="13"/>
                  </a:lnTo>
                  <a:lnTo>
                    <a:pt x="590" y="13"/>
                  </a:lnTo>
                  <a:lnTo>
                    <a:pt x="593" y="13"/>
                  </a:lnTo>
                  <a:lnTo>
                    <a:pt x="593" y="16"/>
                  </a:lnTo>
                  <a:lnTo>
                    <a:pt x="590" y="16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21"/>
                  </a:lnTo>
                  <a:lnTo>
                    <a:pt x="590" y="21"/>
                  </a:lnTo>
                  <a:lnTo>
                    <a:pt x="590" y="24"/>
                  </a:lnTo>
                  <a:lnTo>
                    <a:pt x="590" y="26"/>
                  </a:lnTo>
                  <a:lnTo>
                    <a:pt x="590" y="26"/>
                  </a:lnTo>
                  <a:lnTo>
                    <a:pt x="590" y="29"/>
                  </a:lnTo>
                  <a:lnTo>
                    <a:pt x="590" y="29"/>
                  </a:lnTo>
                  <a:lnTo>
                    <a:pt x="590" y="32"/>
                  </a:lnTo>
                  <a:lnTo>
                    <a:pt x="590" y="32"/>
                  </a:lnTo>
                  <a:lnTo>
                    <a:pt x="593" y="32"/>
                  </a:lnTo>
                  <a:lnTo>
                    <a:pt x="595" y="32"/>
                  </a:lnTo>
                  <a:lnTo>
                    <a:pt x="595" y="34"/>
                  </a:lnTo>
                  <a:lnTo>
                    <a:pt x="595" y="37"/>
                  </a:lnTo>
                  <a:lnTo>
                    <a:pt x="595" y="37"/>
                  </a:lnTo>
                  <a:lnTo>
                    <a:pt x="595" y="37"/>
                  </a:lnTo>
                  <a:lnTo>
                    <a:pt x="593" y="40"/>
                  </a:lnTo>
                  <a:lnTo>
                    <a:pt x="593" y="40"/>
                  </a:lnTo>
                  <a:lnTo>
                    <a:pt x="590" y="40"/>
                  </a:lnTo>
                  <a:lnTo>
                    <a:pt x="590" y="42"/>
                  </a:lnTo>
                  <a:lnTo>
                    <a:pt x="587" y="42"/>
                  </a:lnTo>
                  <a:lnTo>
                    <a:pt x="587" y="42"/>
                  </a:lnTo>
                  <a:lnTo>
                    <a:pt x="587" y="45"/>
                  </a:lnTo>
                  <a:lnTo>
                    <a:pt x="587" y="48"/>
                  </a:lnTo>
                  <a:lnTo>
                    <a:pt x="587" y="48"/>
                  </a:lnTo>
                  <a:lnTo>
                    <a:pt x="587" y="50"/>
                  </a:lnTo>
                  <a:lnTo>
                    <a:pt x="587" y="53"/>
                  </a:lnTo>
                  <a:lnTo>
                    <a:pt x="587" y="53"/>
                  </a:lnTo>
                  <a:lnTo>
                    <a:pt x="590" y="53"/>
                  </a:lnTo>
                  <a:lnTo>
                    <a:pt x="593" y="56"/>
                  </a:lnTo>
                  <a:lnTo>
                    <a:pt x="595" y="58"/>
                  </a:lnTo>
                  <a:lnTo>
                    <a:pt x="598" y="58"/>
                  </a:lnTo>
                  <a:lnTo>
                    <a:pt x="598" y="58"/>
                  </a:lnTo>
                  <a:lnTo>
                    <a:pt x="601" y="58"/>
                  </a:lnTo>
                  <a:lnTo>
                    <a:pt x="603" y="61"/>
                  </a:lnTo>
                  <a:lnTo>
                    <a:pt x="606" y="61"/>
                  </a:lnTo>
                  <a:lnTo>
                    <a:pt x="606" y="64"/>
                  </a:lnTo>
                  <a:lnTo>
                    <a:pt x="606" y="66"/>
                  </a:lnTo>
                  <a:lnTo>
                    <a:pt x="609" y="66"/>
                  </a:lnTo>
                  <a:lnTo>
                    <a:pt x="611" y="66"/>
                  </a:lnTo>
                  <a:lnTo>
                    <a:pt x="609" y="69"/>
                  </a:lnTo>
                  <a:lnTo>
                    <a:pt x="606" y="69"/>
                  </a:lnTo>
                  <a:lnTo>
                    <a:pt x="606" y="69"/>
                  </a:lnTo>
                  <a:lnTo>
                    <a:pt x="606" y="72"/>
                  </a:lnTo>
                  <a:lnTo>
                    <a:pt x="606" y="74"/>
                  </a:lnTo>
                  <a:lnTo>
                    <a:pt x="606" y="74"/>
                  </a:lnTo>
                  <a:lnTo>
                    <a:pt x="609" y="77"/>
                  </a:lnTo>
                  <a:lnTo>
                    <a:pt x="611" y="80"/>
                  </a:lnTo>
                  <a:lnTo>
                    <a:pt x="611" y="82"/>
                  </a:lnTo>
                  <a:lnTo>
                    <a:pt x="614" y="82"/>
                  </a:lnTo>
                  <a:lnTo>
                    <a:pt x="617" y="82"/>
                  </a:lnTo>
                  <a:lnTo>
                    <a:pt x="619" y="82"/>
                  </a:lnTo>
                  <a:lnTo>
                    <a:pt x="619" y="82"/>
                  </a:lnTo>
                  <a:lnTo>
                    <a:pt x="622" y="85"/>
                  </a:lnTo>
                  <a:lnTo>
                    <a:pt x="622" y="85"/>
                  </a:lnTo>
                  <a:lnTo>
                    <a:pt x="622" y="85"/>
                  </a:lnTo>
                  <a:lnTo>
                    <a:pt x="625" y="85"/>
                  </a:lnTo>
                  <a:lnTo>
                    <a:pt x="625" y="85"/>
                  </a:lnTo>
                  <a:lnTo>
                    <a:pt x="625" y="85"/>
                  </a:lnTo>
                  <a:lnTo>
                    <a:pt x="627" y="82"/>
                  </a:lnTo>
                  <a:lnTo>
                    <a:pt x="627" y="82"/>
                  </a:lnTo>
                  <a:lnTo>
                    <a:pt x="627" y="82"/>
                  </a:lnTo>
                  <a:lnTo>
                    <a:pt x="630" y="85"/>
                  </a:lnTo>
                  <a:lnTo>
                    <a:pt x="633" y="85"/>
                  </a:lnTo>
                  <a:lnTo>
                    <a:pt x="633" y="88"/>
                  </a:lnTo>
                  <a:lnTo>
                    <a:pt x="635" y="90"/>
                  </a:lnTo>
                  <a:lnTo>
                    <a:pt x="635" y="93"/>
                  </a:lnTo>
                  <a:lnTo>
                    <a:pt x="638" y="93"/>
                  </a:lnTo>
                  <a:lnTo>
                    <a:pt x="638" y="96"/>
                  </a:lnTo>
                  <a:lnTo>
                    <a:pt x="638" y="99"/>
                  </a:lnTo>
                  <a:lnTo>
                    <a:pt x="638" y="99"/>
                  </a:lnTo>
                  <a:lnTo>
                    <a:pt x="638" y="101"/>
                  </a:lnTo>
                  <a:lnTo>
                    <a:pt x="638" y="101"/>
                  </a:lnTo>
                  <a:lnTo>
                    <a:pt x="638" y="104"/>
                  </a:lnTo>
                  <a:lnTo>
                    <a:pt x="638" y="104"/>
                  </a:lnTo>
                  <a:lnTo>
                    <a:pt x="638" y="107"/>
                  </a:lnTo>
                  <a:lnTo>
                    <a:pt x="638" y="107"/>
                  </a:lnTo>
                  <a:lnTo>
                    <a:pt x="635" y="107"/>
                  </a:lnTo>
                  <a:lnTo>
                    <a:pt x="635" y="109"/>
                  </a:lnTo>
                  <a:lnTo>
                    <a:pt x="635" y="112"/>
                  </a:lnTo>
                  <a:lnTo>
                    <a:pt x="635" y="112"/>
                  </a:lnTo>
                  <a:lnTo>
                    <a:pt x="638" y="112"/>
                  </a:lnTo>
                  <a:lnTo>
                    <a:pt x="638" y="112"/>
                  </a:lnTo>
                  <a:lnTo>
                    <a:pt x="641" y="115"/>
                  </a:lnTo>
                  <a:lnTo>
                    <a:pt x="643" y="115"/>
                  </a:lnTo>
                  <a:lnTo>
                    <a:pt x="646" y="115"/>
                  </a:lnTo>
                  <a:lnTo>
                    <a:pt x="646" y="115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6" y="117"/>
                  </a:lnTo>
                  <a:lnTo>
                    <a:pt x="649" y="117"/>
                  </a:lnTo>
                  <a:lnTo>
                    <a:pt x="649" y="117"/>
                  </a:lnTo>
                  <a:lnTo>
                    <a:pt x="651" y="120"/>
                  </a:lnTo>
                  <a:lnTo>
                    <a:pt x="651" y="120"/>
                  </a:lnTo>
                  <a:lnTo>
                    <a:pt x="654" y="123"/>
                  </a:lnTo>
                  <a:lnTo>
                    <a:pt x="654" y="125"/>
                  </a:lnTo>
                  <a:lnTo>
                    <a:pt x="654" y="125"/>
                  </a:lnTo>
                  <a:lnTo>
                    <a:pt x="651" y="128"/>
                  </a:lnTo>
                  <a:lnTo>
                    <a:pt x="651" y="128"/>
                  </a:lnTo>
                  <a:lnTo>
                    <a:pt x="649" y="128"/>
                  </a:lnTo>
                  <a:lnTo>
                    <a:pt x="649" y="131"/>
                  </a:lnTo>
                  <a:lnTo>
                    <a:pt x="649" y="131"/>
                  </a:lnTo>
                  <a:lnTo>
                    <a:pt x="649" y="133"/>
                  </a:lnTo>
                  <a:lnTo>
                    <a:pt x="651" y="133"/>
                  </a:lnTo>
                  <a:lnTo>
                    <a:pt x="651" y="133"/>
                  </a:lnTo>
                  <a:lnTo>
                    <a:pt x="651" y="136"/>
                  </a:lnTo>
                  <a:lnTo>
                    <a:pt x="651" y="136"/>
                  </a:lnTo>
                  <a:lnTo>
                    <a:pt x="651" y="139"/>
                  </a:lnTo>
                  <a:lnTo>
                    <a:pt x="649" y="139"/>
                  </a:lnTo>
                  <a:lnTo>
                    <a:pt x="649" y="139"/>
                  </a:lnTo>
                  <a:lnTo>
                    <a:pt x="649" y="139"/>
                  </a:lnTo>
                  <a:lnTo>
                    <a:pt x="646" y="139"/>
                  </a:lnTo>
                  <a:lnTo>
                    <a:pt x="646" y="139"/>
                  </a:lnTo>
                  <a:lnTo>
                    <a:pt x="646" y="141"/>
                  </a:lnTo>
                  <a:lnTo>
                    <a:pt x="646" y="141"/>
                  </a:lnTo>
                  <a:lnTo>
                    <a:pt x="646" y="144"/>
                  </a:lnTo>
                  <a:lnTo>
                    <a:pt x="646" y="144"/>
                  </a:lnTo>
                  <a:lnTo>
                    <a:pt x="646" y="147"/>
                  </a:lnTo>
                  <a:lnTo>
                    <a:pt x="649" y="147"/>
                  </a:lnTo>
                  <a:lnTo>
                    <a:pt x="649" y="149"/>
                  </a:lnTo>
                  <a:lnTo>
                    <a:pt x="651" y="149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1" y="155"/>
                  </a:lnTo>
                  <a:lnTo>
                    <a:pt x="654" y="155"/>
                  </a:lnTo>
                  <a:lnTo>
                    <a:pt x="654" y="157"/>
                  </a:lnTo>
                  <a:lnTo>
                    <a:pt x="657" y="157"/>
                  </a:lnTo>
                  <a:lnTo>
                    <a:pt x="657" y="160"/>
                  </a:lnTo>
                  <a:lnTo>
                    <a:pt x="657" y="160"/>
                  </a:lnTo>
                  <a:lnTo>
                    <a:pt x="659" y="160"/>
                  </a:lnTo>
                  <a:lnTo>
                    <a:pt x="659" y="160"/>
                  </a:lnTo>
                  <a:lnTo>
                    <a:pt x="662" y="157"/>
                  </a:lnTo>
                  <a:lnTo>
                    <a:pt x="665" y="157"/>
                  </a:lnTo>
                  <a:lnTo>
                    <a:pt x="665" y="157"/>
                  </a:lnTo>
                  <a:lnTo>
                    <a:pt x="668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3" y="157"/>
                  </a:lnTo>
                  <a:lnTo>
                    <a:pt x="676" y="157"/>
                  </a:lnTo>
                  <a:lnTo>
                    <a:pt x="676" y="157"/>
                  </a:lnTo>
                  <a:lnTo>
                    <a:pt x="678" y="157"/>
                  </a:lnTo>
                  <a:lnTo>
                    <a:pt x="678" y="160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81" y="163"/>
                  </a:lnTo>
                  <a:lnTo>
                    <a:pt x="684" y="163"/>
                  </a:lnTo>
                  <a:lnTo>
                    <a:pt x="684" y="163"/>
                  </a:lnTo>
                  <a:lnTo>
                    <a:pt x="684" y="163"/>
                  </a:lnTo>
                  <a:lnTo>
                    <a:pt x="686" y="160"/>
                  </a:lnTo>
                  <a:lnTo>
                    <a:pt x="686" y="160"/>
                  </a:lnTo>
                  <a:lnTo>
                    <a:pt x="686" y="160"/>
                  </a:lnTo>
                  <a:lnTo>
                    <a:pt x="689" y="157"/>
                  </a:lnTo>
                  <a:lnTo>
                    <a:pt x="689" y="157"/>
                  </a:lnTo>
                  <a:lnTo>
                    <a:pt x="692" y="160"/>
                  </a:lnTo>
                  <a:lnTo>
                    <a:pt x="692" y="160"/>
                  </a:lnTo>
                  <a:lnTo>
                    <a:pt x="692" y="160"/>
                  </a:lnTo>
                  <a:lnTo>
                    <a:pt x="694" y="160"/>
                  </a:lnTo>
                  <a:lnTo>
                    <a:pt x="694" y="163"/>
                  </a:lnTo>
                  <a:lnTo>
                    <a:pt x="694" y="163"/>
                  </a:lnTo>
                  <a:lnTo>
                    <a:pt x="694" y="165"/>
                  </a:lnTo>
                  <a:lnTo>
                    <a:pt x="694" y="165"/>
                  </a:lnTo>
                  <a:lnTo>
                    <a:pt x="694" y="168"/>
                  </a:lnTo>
                  <a:lnTo>
                    <a:pt x="694" y="171"/>
                  </a:lnTo>
                  <a:lnTo>
                    <a:pt x="694" y="171"/>
                  </a:lnTo>
                  <a:lnTo>
                    <a:pt x="694" y="171"/>
                  </a:lnTo>
                  <a:lnTo>
                    <a:pt x="697" y="171"/>
                  </a:lnTo>
                  <a:lnTo>
                    <a:pt x="700" y="173"/>
                  </a:lnTo>
                  <a:lnTo>
                    <a:pt x="700" y="173"/>
                  </a:lnTo>
                  <a:lnTo>
                    <a:pt x="702" y="173"/>
                  </a:lnTo>
                  <a:lnTo>
                    <a:pt x="705" y="176"/>
                  </a:lnTo>
                  <a:lnTo>
                    <a:pt x="705" y="176"/>
                  </a:lnTo>
                  <a:lnTo>
                    <a:pt x="708" y="179"/>
                  </a:lnTo>
                  <a:lnTo>
                    <a:pt x="708" y="179"/>
                  </a:lnTo>
                  <a:lnTo>
                    <a:pt x="710" y="181"/>
                  </a:lnTo>
                  <a:lnTo>
                    <a:pt x="710" y="181"/>
                  </a:lnTo>
                  <a:lnTo>
                    <a:pt x="713" y="187"/>
                  </a:lnTo>
                  <a:lnTo>
                    <a:pt x="716" y="187"/>
                  </a:lnTo>
                  <a:lnTo>
                    <a:pt x="716" y="189"/>
                  </a:lnTo>
                  <a:lnTo>
                    <a:pt x="716" y="192"/>
                  </a:lnTo>
                  <a:lnTo>
                    <a:pt x="716" y="192"/>
                  </a:lnTo>
                  <a:lnTo>
                    <a:pt x="716" y="195"/>
                  </a:lnTo>
                  <a:lnTo>
                    <a:pt x="716" y="195"/>
                  </a:lnTo>
                  <a:lnTo>
                    <a:pt x="716" y="195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3" y="197"/>
                  </a:lnTo>
                  <a:lnTo>
                    <a:pt x="713" y="195"/>
                  </a:lnTo>
                  <a:lnTo>
                    <a:pt x="713" y="197"/>
                  </a:lnTo>
                  <a:lnTo>
                    <a:pt x="710" y="197"/>
                  </a:lnTo>
                  <a:lnTo>
                    <a:pt x="713" y="197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0" y="200"/>
                  </a:lnTo>
                  <a:lnTo>
                    <a:pt x="710" y="203"/>
                  </a:lnTo>
                  <a:lnTo>
                    <a:pt x="708" y="203"/>
                  </a:lnTo>
                  <a:lnTo>
                    <a:pt x="708" y="205"/>
                  </a:lnTo>
                  <a:lnTo>
                    <a:pt x="708" y="208"/>
                  </a:lnTo>
                  <a:lnTo>
                    <a:pt x="708" y="208"/>
                  </a:lnTo>
                  <a:lnTo>
                    <a:pt x="708" y="208"/>
                  </a:lnTo>
                  <a:lnTo>
                    <a:pt x="708" y="211"/>
                  </a:lnTo>
                  <a:lnTo>
                    <a:pt x="708" y="211"/>
                  </a:lnTo>
                  <a:lnTo>
                    <a:pt x="705" y="213"/>
                  </a:lnTo>
                  <a:lnTo>
                    <a:pt x="705" y="213"/>
                  </a:lnTo>
                  <a:lnTo>
                    <a:pt x="705" y="216"/>
                  </a:lnTo>
                  <a:lnTo>
                    <a:pt x="705" y="216"/>
                  </a:lnTo>
                  <a:lnTo>
                    <a:pt x="708" y="219"/>
                  </a:lnTo>
                  <a:lnTo>
                    <a:pt x="708" y="219"/>
                  </a:lnTo>
                  <a:lnTo>
                    <a:pt x="710" y="219"/>
                  </a:lnTo>
                  <a:lnTo>
                    <a:pt x="713" y="216"/>
                  </a:lnTo>
                  <a:lnTo>
                    <a:pt x="713" y="216"/>
                  </a:lnTo>
                  <a:lnTo>
                    <a:pt x="716" y="216"/>
                  </a:lnTo>
                  <a:lnTo>
                    <a:pt x="716" y="216"/>
                  </a:lnTo>
                  <a:lnTo>
                    <a:pt x="716" y="213"/>
                  </a:lnTo>
                  <a:lnTo>
                    <a:pt x="718" y="213"/>
                  </a:lnTo>
                  <a:lnTo>
                    <a:pt x="718" y="213"/>
                  </a:lnTo>
                  <a:lnTo>
                    <a:pt x="718" y="213"/>
                  </a:lnTo>
                  <a:lnTo>
                    <a:pt x="721" y="211"/>
                  </a:lnTo>
                  <a:lnTo>
                    <a:pt x="721" y="211"/>
                  </a:lnTo>
                  <a:lnTo>
                    <a:pt x="721" y="211"/>
                  </a:lnTo>
                  <a:lnTo>
                    <a:pt x="724" y="211"/>
                  </a:lnTo>
                  <a:lnTo>
                    <a:pt x="724" y="213"/>
                  </a:lnTo>
                  <a:lnTo>
                    <a:pt x="724" y="213"/>
                  </a:lnTo>
                  <a:lnTo>
                    <a:pt x="726" y="213"/>
                  </a:lnTo>
                  <a:lnTo>
                    <a:pt x="729" y="216"/>
                  </a:lnTo>
                  <a:lnTo>
                    <a:pt x="729" y="219"/>
                  </a:lnTo>
                  <a:lnTo>
                    <a:pt x="726" y="219"/>
                  </a:lnTo>
                  <a:lnTo>
                    <a:pt x="726" y="219"/>
                  </a:lnTo>
                  <a:lnTo>
                    <a:pt x="729" y="221"/>
                  </a:lnTo>
                  <a:lnTo>
                    <a:pt x="729" y="221"/>
                  </a:lnTo>
                  <a:lnTo>
                    <a:pt x="729" y="224"/>
                  </a:lnTo>
                  <a:lnTo>
                    <a:pt x="729" y="227"/>
                  </a:lnTo>
                  <a:lnTo>
                    <a:pt x="726" y="227"/>
                  </a:lnTo>
                  <a:lnTo>
                    <a:pt x="726" y="227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6" y="229"/>
                  </a:lnTo>
                  <a:lnTo>
                    <a:pt x="729" y="229"/>
                  </a:lnTo>
                  <a:lnTo>
                    <a:pt x="732" y="229"/>
                  </a:lnTo>
                  <a:lnTo>
                    <a:pt x="732" y="232"/>
                  </a:lnTo>
                  <a:lnTo>
                    <a:pt x="732" y="232"/>
                  </a:lnTo>
                  <a:lnTo>
                    <a:pt x="734" y="232"/>
                  </a:lnTo>
                  <a:lnTo>
                    <a:pt x="734" y="235"/>
                  </a:lnTo>
                  <a:lnTo>
                    <a:pt x="737" y="235"/>
                  </a:lnTo>
                  <a:lnTo>
                    <a:pt x="737" y="235"/>
                  </a:lnTo>
                  <a:lnTo>
                    <a:pt x="740" y="235"/>
                  </a:lnTo>
                  <a:lnTo>
                    <a:pt x="742" y="235"/>
                  </a:lnTo>
                  <a:lnTo>
                    <a:pt x="742" y="235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2" y="237"/>
                  </a:lnTo>
                  <a:lnTo>
                    <a:pt x="745" y="237"/>
                  </a:lnTo>
                  <a:lnTo>
                    <a:pt x="745" y="237"/>
                  </a:lnTo>
                  <a:lnTo>
                    <a:pt x="745" y="240"/>
                  </a:lnTo>
                  <a:lnTo>
                    <a:pt x="748" y="240"/>
                  </a:lnTo>
                  <a:lnTo>
                    <a:pt x="748" y="243"/>
                  </a:lnTo>
                  <a:lnTo>
                    <a:pt x="748" y="243"/>
                  </a:lnTo>
                  <a:lnTo>
                    <a:pt x="748" y="243"/>
                  </a:lnTo>
                  <a:lnTo>
                    <a:pt x="750" y="245"/>
                  </a:lnTo>
                  <a:lnTo>
                    <a:pt x="748" y="245"/>
                  </a:lnTo>
                  <a:lnTo>
                    <a:pt x="748" y="245"/>
                  </a:lnTo>
                  <a:lnTo>
                    <a:pt x="748" y="248"/>
                  </a:lnTo>
                  <a:lnTo>
                    <a:pt x="748" y="248"/>
                  </a:lnTo>
                  <a:lnTo>
                    <a:pt x="748" y="251"/>
                  </a:lnTo>
                  <a:lnTo>
                    <a:pt x="748" y="251"/>
                  </a:lnTo>
                  <a:lnTo>
                    <a:pt x="748" y="253"/>
                  </a:lnTo>
                  <a:lnTo>
                    <a:pt x="748" y="253"/>
                  </a:lnTo>
                  <a:lnTo>
                    <a:pt x="750" y="253"/>
                  </a:lnTo>
                  <a:lnTo>
                    <a:pt x="750" y="256"/>
                  </a:lnTo>
                  <a:lnTo>
                    <a:pt x="750" y="256"/>
                  </a:lnTo>
                  <a:lnTo>
                    <a:pt x="750" y="259"/>
                  </a:lnTo>
                  <a:lnTo>
                    <a:pt x="750" y="259"/>
                  </a:lnTo>
                  <a:lnTo>
                    <a:pt x="748" y="259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2"/>
                  </a:lnTo>
                  <a:lnTo>
                    <a:pt x="750" y="264"/>
                  </a:lnTo>
                  <a:lnTo>
                    <a:pt x="750" y="264"/>
                  </a:lnTo>
                  <a:lnTo>
                    <a:pt x="750" y="267"/>
                  </a:lnTo>
                  <a:lnTo>
                    <a:pt x="750" y="267"/>
                  </a:lnTo>
                  <a:lnTo>
                    <a:pt x="750" y="270"/>
                  </a:lnTo>
                  <a:lnTo>
                    <a:pt x="753" y="270"/>
                  </a:lnTo>
                  <a:lnTo>
                    <a:pt x="753" y="272"/>
                  </a:lnTo>
                  <a:lnTo>
                    <a:pt x="750" y="275"/>
                  </a:lnTo>
                  <a:lnTo>
                    <a:pt x="753" y="275"/>
                  </a:lnTo>
                  <a:lnTo>
                    <a:pt x="753" y="278"/>
                  </a:lnTo>
                  <a:lnTo>
                    <a:pt x="753" y="278"/>
                  </a:lnTo>
                  <a:lnTo>
                    <a:pt x="753" y="278"/>
                  </a:lnTo>
                  <a:lnTo>
                    <a:pt x="753" y="280"/>
                  </a:lnTo>
                  <a:lnTo>
                    <a:pt x="753" y="280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50" y="283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8" y="280"/>
                  </a:lnTo>
                  <a:lnTo>
                    <a:pt x="745" y="280"/>
                  </a:lnTo>
                  <a:lnTo>
                    <a:pt x="745" y="283"/>
                  </a:lnTo>
                  <a:lnTo>
                    <a:pt x="748" y="283"/>
                  </a:lnTo>
                  <a:lnTo>
                    <a:pt x="748" y="283"/>
                  </a:lnTo>
                  <a:lnTo>
                    <a:pt x="748" y="283"/>
                  </a:lnTo>
                  <a:lnTo>
                    <a:pt x="750" y="286"/>
                  </a:lnTo>
                  <a:lnTo>
                    <a:pt x="753" y="286"/>
                  </a:lnTo>
                  <a:lnTo>
                    <a:pt x="750" y="288"/>
                  </a:lnTo>
                  <a:lnTo>
                    <a:pt x="750" y="288"/>
                  </a:lnTo>
                  <a:lnTo>
                    <a:pt x="748" y="288"/>
                  </a:lnTo>
                  <a:lnTo>
                    <a:pt x="748" y="288"/>
                  </a:lnTo>
                  <a:lnTo>
                    <a:pt x="748" y="288"/>
                  </a:lnTo>
                  <a:lnTo>
                    <a:pt x="748" y="291"/>
                  </a:lnTo>
                  <a:lnTo>
                    <a:pt x="750" y="291"/>
                  </a:lnTo>
                  <a:lnTo>
                    <a:pt x="750" y="291"/>
                  </a:lnTo>
                  <a:lnTo>
                    <a:pt x="750" y="291"/>
                  </a:lnTo>
                  <a:lnTo>
                    <a:pt x="750" y="294"/>
                  </a:lnTo>
                  <a:lnTo>
                    <a:pt x="750" y="294"/>
                  </a:lnTo>
                  <a:lnTo>
                    <a:pt x="750" y="294"/>
                  </a:lnTo>
                  <a:lnTo>
                    <a:pt x="750" y="296"/>
                  </a:lnTo>
                  <a:lnTo>
                    <a:pt x="750" y="296"/>
                  </a:lnTo>
                  <a:lnTo>
                    <a:pt x="750" y="299"/>
                  </a:lnTo>
                  <a:lnTo>
                    <a:pt x="750" y="299"/>
                  </a:lnTo>
                  <a:lnTo>
                    <a:pt x="750" y="299"/>
                  </a:lnTo>
                  <a:lnTo>
                    <a:pt x="750" y="302"/>
                  </a:lnTo>
                  <a:lnTo>
                    <a:pt x="748" y="302"/>
                  </a:lnTo>
                  <a:lnTo>
                    <a:pt x="748" y="302"/>
                  </a:lnTo>
                  <a:lnTo>
                    <a:pt x="748" y="302"/>
                  </a:lnTo>
                  <a:lnTo>
                    <a:pt x="748" y="304"/>
                  </a:lnTo>
                  <a:lnTo>
                    <a:pt x="750" y="307"/>
                  </a:lnTo>
                  <a:lnTo>
                    <a:pt x="750" y="307"/>
                  </a:lnTo>
                  <a:lnTo>
                    <a:pt x="750" y="307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50" y="310"/>
                  </a:lnTo>
                  <a:lnTo>
                    <a:pt x="748" y="310"/>
                  </a:lnTo>
                  <a:lnTo>
                    <a:pt x="748" y="312"/>
                  </a:lnTo>
                  <a:lnTo>
                    <a:pt x="748" y="312"/>
                  </a:lnTo>
                  <a:lnTo>
                    <a:pt x="748" y="312"/>
                  </a:lnTo>
                  <a:lnTo>
                    <a:pt x="748" y="315"/>
                  </a:lnTo>
                  <a:lnTo>
                    <a:pt x="748" y="315"/>
                  </a:lnTo>
                  <a:lnTo>
                    <a:pt x="748" y="315"/>
                  </a:lnTo>
                  <a:lnTo>
                    <a:pt x="750" y="315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3"/>
                  </a:lnTo>
                  <a:lnTo>
                    <a:pt x="750" y="323"/>
                  </a:lnTo>
                  <a:lnTo>
                    <a:pt x="750" y="326"/>
                  </a:lnTo>
                  <a:lnTo>
                    <a:pt x="750" y="326"/>
                  </a:lnTo>
                  <a:lnTo>
                    <a:pt x="750" y="328"/>
                  </a:lnTo>
                  <a:lnTo>
                    <a:pt x="750" y="328"/>
                  </a:lnTo>
                  <a:lnTo>
                    <a:pt x="748" y="331"/>
                  </a:lnTo>
                  <a:lnTo>
                    <a:pt x="748" y="331"/>
                  </a:lnTo>
                  <a:lnTo>
                    <a:pt x="750" y="334"/>
                  </a:lnTo>
                  <a:lnTo>
                    <a:pt x="750" y="334"/>
                  </a:lnTo>
                  <a:lnTo>
                    <a:pt x="750" y="336"/>
                  </a:lnTo>
                  <a:lnTo>
                    <a:pt x="750" y="336"/>
                  </a:lnTo>
                  <a:lnTo>
                    <a:pt x="750" y="339"/>
                  </a:lnTo>
                  <a:lnTo>
                    <a:pt x="750" y="342"/>
                  </a:lnTo>
                  <a:lnTo>
                    <a:pt x="750" y="344"/>
                  </a:lnTo>
                  <a:lnTo>
                    <a:pt x="750" y="344"/>
                  </a:lnTo>
                  <a:lnTo>
                    <a:pt x="750" y="344"/>
                  </a:lnTo>
                  <a:lnTo>
                    <a:pt x="750" y="347"/>
                  </a:lnTo>
                  <a:lnTo>
                    <a:pt x="750" y="347"/>
                  </a:lnTo>
                  <a:lnTo>
                    <a:pt x="750" y="347"/>
                  </a:lnTo>
                  <a:lnTo>
                    <a:pt x="750" y="350"/>
                  </a:lnTo>
                  <a:lnTo>
                    <a:pt x="748" y="350"/>
                  </a:lnTo>
                  <a:lnTo>
                    <a:pt x="748" y="350"/>
                  </a:lnTo>
                  <a:lnTo>
                    <a:pt x="748" y="352"/>
                  </a:lnTo>
                  <a:lnTo>
                    <a:pt x="748" y="352"/>
                  </a:lnTo>
                  <a:lnTo>
                    <a:pt x="750" y="355"/>
                  </a:lnTo>
                  <a:lnTo>
                    <a:pt x="750" y="355"/>
                  </a:lnTo>
                  <a:lnTo>
                    <a:pt x="750" y="358"/>
                  </a:lnTo>
                  <a:lnTo>
                    <a:pt x="750" y="358"/>
                  </a:lnTo>
                  <a:lnTo>
                    <a:pt x="750" y="360"/>
                  </a:lnTo>
                  <a:lnTo>
                    <a:pt x="753" y="363"/>
                  </a:lnTo>
                  <a:lnTo>
                    <a:pt x="753" y="366"/>
                  </a:lnTo>
                  <a:lnTo>
                    <a:pt x="753" y="366"/>
                  </a:lnTo>
                  <a:lnTo>
                    <a:pt x="756" y="366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6" y="368"/>
                  </a:lnTo>
                  <a:lnTo>
                    <a:pt x="753" y="371"/>
                  </a:lnTo>
                  <a:lnTo>
                    <a:pt x="753" y="371"/>
                  </a:lnTo>
                  <a:lnTo>
                    <a:pt x="750" y="368"/>
                  </a:lnTo>
                  <a:lnTo>
                    <a:pt x="748" y="368"/>
                  </a:lnTo>
                  <a:lnTo>
                    <a:pt x="748" y="371"/>
                  </a:lnTo>
                  <a:lnTo>
                    <a:pt x="748" y="371"/>
                  </a:lnTo>
                  <a:lnTo>
                    <a:pt x="748" y="374"/>
                  </a:lnTo>
                  <a:lnTo>
                    <a:pt x="750" y="374"/>
                  </a:lnTo>
                  <a:lnTo>
                    <a:pt x="750" y="374"/>
                  </a:lnTo>
                  <a:lnTo>
                    <a:pt x="748" y="376"/>
                  </a:lnTo>
                  <a:lnTo>
                    <a:pt x="748" y="376"/>
                  </a:lnTo>
                  <a:lnTo>
                    <a:pt x="748" y="374"/>
                  </a:lnTo>
                  <a:lnTo>
                    <a:pt x="748" y="376"/>
                  </a:lnTo>
                  <a:lnTo>
                    <a:pt x="745" y="376"/>
                  </a:lnTo>
                  <a:lnTo>
                    <a:pt x="745" y="376"/>
                  </a:lnTo>
                  <a:lnTo>
                    <a:pt x="745" y="379"/>
                  </a:lnTo>
                  <a:lnTo>
                    <a:pt x="745" y="379"/>
                  </a:lnTo>
                  <a:lnTo>
                    <a:pt x="745" y="379"/>
                  </a:lnTo>
                  <a:lnTo>
                    <a:pt x="745" y="382"/>
                  </a:lnTo>
                  <a:lnTo>
                    <a:pt x="745" y="382"/>
                  </a:lnTo>
                  <a:lnTo>
                    <a:pt x="742" y="382"/>
                  </a:lnTo>
                  <a:lnTo>
                    <a:pt x="742" y="379"/>
                  </a:lnTo>
                  <a:lnTo>
                    <a:pt x="742" y="379"/>
                  </a:lnTo>
                  <a:lnTo>
                    <a:pt x="740" y="379"/>
                  </a:lnTo>
                  <a:lnTo>
                    <a:pt x="742" y="382"/>
                  </a:lnTo>
                  <a:lnTo>
                    <a:pt x="740" y="382"/>
                  </a:lnTo>
                  <a:lnTo>
                    <a:pt x="740" y="382"/>
                  </a:lnTo>
                  <a:lnTo>
                    <a:pt x="742" y="384"/>
                  </a:lnTo>
                  <a:lnTo>
                    <a:pt x="742" y="384"/>
                  </a:lnTo>
                  <a:lnTo>
                    <a:pt x="742" y="387"/>
                  </a:lnTo>
                  <a:lnTo>
                    <a:pt x="742" y="387"/>
                  </a:lnTo>
                  <a:lnTo>
                    <a:pt x="742" y="387"/>
                  </a:lnTo>
                  <a:lnTo>
                    <a:pt x="742" y="390"/>
                  </a:lnTo>
                  <a:lnTo>
                    <a:pt x="742" y="390"/>
                  </a:lnTo>
                  <a:lnTo>
                    <a:pt x="742" y="390"/>
                  </a:lnTo>
                  <a:lnTo>
                    <a:pt x="742" y="392"/>
                  </a:lnTo>
                  <a:lnTo>
                    <a:pt x="745" y="392"/>
                  </a:lnTo>
                  <a:lnTo>
                    <a:pt x="745" y="395"/>
                  </a:lnTo>
                  <a:lnTo>
                    <a:pt x="745" y="395"/>
                  </a:lnTo>
                  <a:lnTo>
                    <a:pt x="745" y="395"/>
                  </a:lnTo>
                  <a:lnTo>
                    <a:pt x="745" y="398"/>
                  </a:lnTo>
                  <a:lnTo>
                    <a:pt x="742" y="400"/>
                  </a:lnTo>
                  <a:lnTo>
                    <a:pt x="740" y="400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40" y="398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5"/>
                  </a:lnTo>
                  <a:lnTo>
                    <a:pt x="737" y="392"/>
                  </a:lnTo>
                  <a:lnTo>
                    <a:pt x="737" y="392"/>
                  </a:lnTo>
                  <a:lnTo>
                    <a:pt x="737" y="392"/>
                  </a:lnTo>
                  <a:lnTo>
                    <a:pt x="737" y="390"/>
                  </a:lnTo>
                  <a:lnTo>
                    <a:pt x="737" y="390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7" y="387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4" y="384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32" y="382"/>
                  </a:lnTo>
                  <a:lnTo>
                    <a:pt x="729" y="382"/>
                  </a:lnTo>
                  <a:lnTo>
                    <a:pt x="729" y="382"/>
                  </a:lnTo>
                  <a:lnTo>
                    <a:pt x="729" y="382"/>
                  </a:lnTo>
                  <a:lnTo>
                    <a:pt x="726" y="382"/>
                  </a:lnTo>
                  <a:lnTo>
                    <a:pt x="726" y="382"/>
                  </a:lnTo>
                  <a:lnTo>
                    <a:pt x="726" y="379"/>
                  </a:lnTo>
                  <a:lnTo>
                    <a:pt x="726" y="379"/>
                  </a:lnTo>
                  <a:lnTo>
                    <a:pt x="729" y="379"/>
                  </a:lnTo>
                  <a:lnTo>
                    <a:pt x="726" y="379"/>
                  </a:lnTo>
                  <a:lnTo>
                    <a:pt x="726" y="376"/>
                  </a:lnTo>
                  <a:lnTo>
                    <a:pt x="726" y="376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1"/>
                  </a:lnTo>
                  <a:lnTo>
                    <a:pt x="726" y="371"/>
                  </a:lnTo>
                  <a:lnTo>
                    <a:pt x="729" y="371"/>
                  </a:lnTo>
                  <a:lnTo>
                    <a:pt x="729" y="371"/>
                  </a:lnTo>
                  <a:lnTo>
                    <a:pt x="729" y="371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26" y="366"/>
                  </a:lnTo>
                  <a:lnTo>
                    <a:pt x="726" y="366"/>
                  </a:lnTo>
                  <a:lnTo>
                    <a:pt x="724" y="363"/>
                  </a:lnTo>
                  <a:lnTo>
                    <a:pt x="726" y="363"/>
                  </a:lnTo>
                  <a:lnTo>
                    <a:pt x="724" y="363"/>
                  </a:lnTo>
                  <a:lnTo>
                    <a:pt x="724" y="360"/>
                  </a:lnTo>
                  <a:lnTo>
                    <a:pt x="724" y="360"/>
                  </a:lnTo>
                  <a:lnTo>
                    <a:pt x="724" y="360"/>
                  </a:lnTo>
                  <a:lnTo>
                    <a:pt x="721" y="358"/>
                  </a:lnTo>
                  <a:lnTo>
                    <a:pt x="721" y="358"/>
                  </a:lnTo>
                  <a:lnTo>
                    <a:pt x="721" y="358"/>
                  </a:lnTo>
                  <a:lnTo>
                    <a:pt x="718" y="358"/>
                  </a:lnTo>
                  <a:lnTo>
                    <a:pt x="718" y="360"/>
                  </a:lnTo>
                  <a:lnTo>
                    <a:pt x="718" y="360"/>
                  </a:lnTo>
                  <a:lnTo>
                    <a:pt x="718" y="363"/>
                  </a:lnTo>
                  <a:lnTo>
                    <a:pt x="718" y="363"/>
                  </a:lnTo>
                  <a:lnTo>
                    <a:pt x="718" y="363"/>
                  </a:lnTo>
                  <a:lnTo>
                    <a:pt x="716" y="363"/>
                  </a:lnTo>
                  <a:lnTo>
                    <a:pt x="716" y="363"/>
                  </a:lnTo>
                  <a:lnTo>
                    <a:pt x="716" y="363"/>
                  </a:lnTo>
                  <a:lnTo>
                    <a:pt x="716" y="366"/>
                  </a:lnTo>
                  <a:lnTo>
                    <a:pt x="713" y="366"/>
                  </a:lnTo>
                  <a:lnTo>
                    <a:pt x="713" y="366"/>
                  </a:lnTo>
                  <a:lnTo>
                    <a:pt x="713" y="366"/>
                  </a:lnTo>
                  <a:lnTo>
                    <a:pt x="713" y="368"/>
                  </a:lnTo>
                  <a:lnTo>
                    <a:pt x="710" y="368"/>
                  </a:lnTo>
                  <a:lnTo>
                    <a:pt x="710" y="371"/>
                  </a:lnTo>
                  <a:lnTo>
                    <a:pt x="710" y="371"/>
                  </a:lnTo>
                  <a:lnTo>
                    <a:pt x="710" y="374"/>
                  </a:lnTo>
                  <a:lnTo>
                    <a:pt x="710" y="374"/>
                  </a:lnTo>
                  <a:lnTo>
                    <a:pt x="710" y="376"/>
                  </a:lnTo>
                  <a:lnTo>
                    <a:pt x="710" y="376"/>
                  </a:lnTo>
                  <a:lnTo>
                    <a:pt x="710" y="379"/>
                  </a:lnTo>
                  <a:lnTo>
                    <a:pt x="710" y="379"/>
                  </a:lnTo>
                  <a:lnTo>
                    <a:pt x="710" y="379"/>
                  </a:lnTo>
                  <a:lnTo>
                    <a:pt x="710" y="382"/>
                  </a:lnTo>
                  <a:lnTo>
                    <a:pt x="710" y="382"/>
                  </a:lnTo>
                  <a:lnTo>
                    <a:pt x="710" y="384"/>
                  </a:lnTo>
                  <a:lnTo>
                    <a:pt x="710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8" y="384"/>
                  </a:lnTo>
                  <a:lnTo>
                    <a:pt x="705" y="384"/>
                  </a:lnTo>
                  <a:lnTo>
                    <a:pt x="705" y="384"/>
                  </a:lnTo>
                  <a:lnTo>
                    <a:pt x="705" y="384"/>
                  </a:lnTo>
                  <a:lnTo>
                    <a:pt x="705" y="382"/>
                  </a:lnTo>
                  <a:lnTo>
                    <a:pt x="705" y="382"/>
                  </a:lnTo>
                  <a:lnTo>
                    <a:pt x="705" y="379"/>
                  </a:lnTo>
                  <a:lnTo>
                    <a:pt x="705" y="379"/>
                  </a:lnTo>
                  <a:lnTo>
                    <a:pt x="705" y="376"/>
                  </a:lnTo>
                  <a:lnTo>
                    <a:pt x="705" y="376"/>
                  </a:lnTo>
                  <a:lnTo>
                    <a:pt x="705" y="376"/>
                  </a:lnTo>
                  <a:lnTo>
                    <a:pt x="705" y="374"/>
                  </a:lnTo>
                  <a:lnTo>
                    <a:pt x="705" y="374"/>
                  </a:lnTo>
                  <a:lnTo>
                    <a:pt x="705" y="371"/>
                  </a:lnTo>
                  <a:lnTo>
                    <a:pt x="702" y="371"/>
                  </a:lnTo>
                  <a:lnTo>
                    <a:pt x="702" y="371"/>
                  </a:lnTo>
                  <a:lnTo>
                    <a:pt x="702" y="368"/>
                  </a:lnTo>
                  <a:lnTo>
                    <a:pt x="700" y="366"/>
                  </a:lnTo>
                  <a:lnTo>
                    <a:pt x="700" y="366"/>
                  </a:lnTo>
                  <a:lnTo>
                    <a:pt x="697" y="366"/>
                  </a:lnTo>
                  <a:lnTo>
                    <a:pt x="697" y="363"/>
                  </a:lnTo>
                  <a:lnTo>
                    <a:pt x="697" y="363"/>
                  </a:lnTo>
                  <a:lnTo>
                    <a:pt x="694" y="363"/>
                  </a:lnTo>
                  <a:lnTo>
                    <a:pt x="694" y="363"/>
                  </a:lnTo>
                  <a:lnTo>
                    <a:pt x="692" y="360"/>
                  </a:lnTo>
                  <a:lnTo>
                    <a:pt x="692" y="360"/>
                  </a:lnTo>
                  <a:lnTo>
                    <a:pt x="692" y="360"/>
                  </a:lnTo>
                  <a:lnTo>
                    <a:pt x="689" y="358"/>
                  </a:lnTo>
                  <a:lnTo>
                    <a:pt x="689" y="358"/>
                  </a:lnTo>
                  <a:lnTo>
                    <a:pt x="686" y="358"/>
                  </a:lnTo>
                  <a:lnTo>
                    <a:pt x="686" y="360"/>
                  </a:lnTo>
                  <a:lnTo>
                    <a:pt x="686" y="360"/>
                  </a:lnTo>
                  <a:lnTo>
                    <a:pt x="686" y="360"/>
                  </a:lnTo>
                  <a:lnTo>
                    <a:pt x="686" y="363"/>
                  </a:lnTo>
                  <a:lnTo>
                    <a:pt x="686" y="363"/>
                  </a:lnTo>
                  <a:lnTo>
                    <a:pt x="684" y="363"/>
                  </a:lnTo>
                  <a:lnTo>
                    <a:pt x="684" y="363"/>
                  </a:lnTo>
                  <a:lnTo>
                    <a:pt x="684" y="363"/>
                  </a:lnTo>
                  <a:lnTo>
                    <a:pt x="684" y="360"/>
                  </a:lnTo>
                  <a:lnTo>
                    <a:pt x="684" y="360"/>
                  </a:lnTo>
                  <a:lnTo>
                    <a:pt x="684" y="358"/>
                  </a:lnTo>
                  <a:lnTo>
                    <a:pt x="684" y="358"/>
                  </a:lnTo>
                  <a:lnTo>
                    <a:pt x="684" y="358"/>
                  </a:lnTo>
                  <a:lnTo>
                    <a:pt x="686" y="355"/>
                  </a:lnTo>
                  <a:lnTo>
                    <a:pt x="686" y="355"/>
                  </a:lnTo>
                  <a:lnTo>
                    <a:pt x="689" y="355"/>
                  </a:lnTo>
                  <a:lnTo>
                    <a:pt x="689" y="355"/>
                  </a:lnTo>
                  <a:lnTo>
                    <a:pt x="689" y="352"/>
                  </a:lnTo>
                  <a:lnTo>
                    <a:pt x="689" y="352"/>
                  </a:lnTo>
                  <a:lnTo>
                    <a:pt x="689" y="355"/>
                  </a:lnTo>
                  <a:lnTo>
                    <a:pt x="686" y="355"/>
                  </a:lnTo>
                  <a:lnTo>
                    <a:pt x="686" y="355"/>
                  </a:lnTo>
                  <a:lnTo>
                    <a:pt x="684" y="355"/>
                  </a:lnTo>
                  <a:lnTo>
                    <a:pt x="684" y="352"/>
                  </a:lnTo>
                  <a:lnTo>
                    <a:pt x="684" y="350"/>
                  </a:lnTo>
                  <a:lnTo>
                    <a:pt x="684" y="350"/>
                  </a:lnTo>
                  <a:lnTo>
                    <a:pt x="684" y="350"/>
                  </a:lnTo>
                  <a:lnTo>
                    <a:pt x="684" y="347"/>
                  </a:lnTo>
                  <a:lnTo>
                    <a:pt x="684" y="347"/>
                  </a:lnTo>
                  <a:lnTo>
                    <a:pt x="684" y="344"/>
                  </a:lnTo>
                  <a:lnTo>
                    <a:pt x="686" y="344"/>
                  </a:lnTo>
                  <a:lnTo>
                    <a:pt x="684" y="344"/>
                  </a:lnTo>
                  <a:lnTo>
                    <a:pt x="684" y="344"/>
                  </a:lnTo>
                  <a:lnTo>
                    <a:pt x="684" y="342"/>
                  </a:lnTo>
                  <a:lnTo>
                    <a:pt x="684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9"/>
                  </a:lnTo>
                  <a:lnTo>
                    <a:pt x="681" y="336"/>
                  </a:lnTo>
                  <a:lnTo>
                    <a:pt x="678" y="336"/>
                  </a:lnTo>
                  <a:lnTo>
                    <a:pt x="678" y="334"/>
                  </a:lnTo>
                  <a:lnTo>
                    <a:pt x="681" y="331"/>
                  </a:lnTo>
                  <a:lnTo>
                    <a:pt x="681" y="328"/>
                  </a:lnTo>
                  <a:lnTo>
                    <a:pt x="681" y="328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78" y="323"/>
                  </a:lnTo>
                  <a:lnTo>
                    <a:pt x="678" y="323"/>
                  </a:lnTo>
                  <a:lnTo>
                    <a:pt x="676" y="320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8"/>
                  </a:lnTo>
                  <a:lnTo>
                    <a:pt x="676" y="315"/>
                  </a:lnTo>
                  <a:lnTo>
                    <a:pt x="673" y="315"/>
                  </a:lnTo>
                  <a:lnTo>
                    <a:pt x="673" y="315"/>
                  </a:lnTo>
                  <a:lnTo>
                    <a:pt x="673" y="315"/>
                  </a:lnTo>
                  <a:lnTo>
                    <a:pt x="670" y="312"/>
                  </a:lnTo>
                  <a:lnTo>
                    <a:pt x="670" y="312"/>
                  </a:lnTo>
                  <a:lnTo>
                    <a:pt x="670" y="310"/>
                  </a:lnTo>
                  <a:lnTo>
                    <a:pt x="670" y="307"/>
                  </a:lnTo>
                  <a:lnTo>
                    <a:pt x="670" y="304"/>
                  </a:lnTo>
                  <a:lnTo>
                    <a:pt x="670" y="304"/>
                  </a:lnTo>
                  <a:lnTo>
                    <a:pt x="670" y="304"/>
                  </a:lnTo>
                  <a:lnTo>
                    <a:pt x="668" y="302"/>
                  </a:lnTo>
                  <a:lnTo>
                    <a:pt x="668" y="302"/>
                  </a:lnTo>
                  <a:lnTo>
                    <a:pt x="668" y="302"/>
                  </a:lnTo>
                  <a:lnTo>
                    <a:pt x="668" y="299"/>
                  </a:lnTo>
                  <a:lnTo>
                    <a:pt x="665" y="299"/>
                  </a:lnTo>
                  <a:lnTo>
                    <a:pt x="665" y="299"/>
                  </a:lnTo>
                  <a:lnTo>
                    <a:pt x="662" y="299"/>
                  </a:lnTo>
                  <a:lnTo>
                    <a:pt x="662" y="296"/>
                  </a:lnTo>
                  <a:lnTo>
                    <a:pt x="662" y="296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9" y="294"/>
                  </a:lnTo>
                  <a:lnTo>
                    <a:pt x="657" y="291"/>
                  </a:lnTo>
                  <a:lnTo>
                    <a:pt x="657" y="294"/>
                  </a:lnTo>
                  <a:lnTo>
                    <a:pt x="657" y="294"/>
                  </a:lnTo>
                  <a:lnTo>
                    <a:pt x="657" y="296"/>
                  </a:lnTo>
                  <a:lnTo>
                    <a:pt x="654" y="299"/>
                  </a:lnTo>
                  <a:lnTo>
                    <a:pt x="654" y="299"/>
                  </a:lnTo>
                  <a:lnTo>
                    <a:pt x="654" y="302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4"/>
                  </a:lnTo>
                  <a:lnTo>
                    <a:pt x="654" y="307"/>
                  </a:lnTo>
                  <a:lnTo>
                    <a:pt x="654" y="307"/>
                  </a:lnTo>
                  <a:lnTo>
                    <a:pt x="651" y="310"/>
                  </a:lnTo>
                  <a:lnTo>
                    <a:pt x="651" y="312"/>
                  </a:lnTo>
                  <a:lnTo>
                    <a:pt x="654" y="312"/>
                  </a:lnTo>
                  <a:lnTo>
                    <a:pt x="654" y="315"/>
                  </a:lnTo>
                  <a:lnTo>
                    <a:pt x="654" y="318"/>
                  </a:lnTo>
                  <a:lnTo>
                    <a:pt x="657" y="318"/>
                  </a:lnTo>
                  <a:lnTo>
                    <a:pt x="657" y="320"/>
                  </a:lnTo>
                  <a:lnTo>
                    <a:pt x="657" y="320"/>
                  </a:lnTo>
                  <a:lnTo>
                    <a:pt x="657" y="323"/>
                  </a:lnTo>
                  <a:lnTo>
                    <a:pt x="657" y="323"/>
                  </a:lnTo>
                  <a:lnTo>
                    <a:pt x="657" y="326"/>
                  </a:lnTo>
                  <a:lnTo>
                    <a:pt x="657" y="326"/>
                  </a:lnTo>
                  <a:lnTo>
                    <a:pt x="654" y="326"/>
                  </a:lnTo>
                  <a:lnTo>
                    <a:pt x="654" y="328"/>
                  </a:lnTo>
                  <a:lnTo>
                    <a:pt x="654" y="328"/>
                  </a:lnTo>
                  <a:lnTo>
                    <a:pt x="651" y="328"/>
                  </a:lnTo>
                  <a:lnTo>
                    <a:pt x="651" y="331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4"/>
                  </a:lnTo>
                  <a:lnTo>
                    <a:pt x="649" y="334"/>
                  </a:lnTo>
                  <a:lnTo>
                    <a:pt x="649" y="336"/>
                  </a:lnTo>
                  <a:lnTo>
                    <a:pt x="649" y="339"/>
                  </a:lnTo>
                  <a:lnTo>
                    <a:pt x="649" y="339"/>
                  </a:lnTo>
                  <a:lnTo>
                    <a:pt x="646" y="339"/>
                  </a:lnTo>
                  <a:lnTo>
                    <a:pt x="646" y="339"/>
                  </a:lnTo>
                  <a:lnTo>
                    <a:pt x="643" y="336"/>
                  </a:lnTo>
                  <a:lnTo>
                    <a:pt x="643" y="334"/>
                  </a:lnTo>
                  <a:lnTo>
                    <a:pt x="643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26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28"/>
                  </a:lnTo>
                  <a:lnTo>
                    <a:pt x="638" y="331"/>
                  </a:lnTo>
                  <a:lnTo>
                    <a:pt x="638" y="331"/>
                  </a:lnTo>
                  <a:lnTo>
                    <a:pt x="638" y="334"/>
                  </a:lnTo>
                  <a:lnTo>
                    <a:pt x="638" y="334"/>
                  </a:lnTo>
                  <a:lnTo>
                    <a:pt x="635" y="334"/>
                  </a:lnTo>
                  <a:lnTo>
                    <a:pt x="635" y="334"/>
                  </a:lnTo>
                  <a:lnTo>
                    <a:pt x="635" y="334"/>
                  </a:lnTo>
                  <a:lnTo>
                    <a:pt x="633" y="334"/>
                  </a:lnTo>
                  <a:lnTo>
                    <a:pt x="633" y="334"/>
                  </a:lnTo>
                  <a:lnTo>
                    <a:pt x="633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4"/>
                  </a:lnTo>
                  <a:lnTo>
                    <a:pt x="630" y="331"/>
                  </a:lnTo>
                  <a:lnTo>
                    <a:pt x="630" y="331"/>
                  </a:lnTo>
                  <a:lnTo>
                    <a:pt x="630" y="328"/>
                  </a:lnTo>
                  <a:lnTo>
                    <a:pt x="627" y="328"/>
                  </a:lnTo>
                  <a:lnTo>
                    <a:pt x="627" y="328"/>
                  </a:lnTo>
                  <a:lnTo>
                    <a:pt x="625" y="328"/>
                  </a:lnTo>
                  <a:lnTo>
                    <a:pt x="622" y="328"/>
                  </a:lnTo>
                  <a:lnTo>
                    <a:pt x="622" y="331"/>
                  </a:lnTo>
                  <a:lnTo>
                    <a:pt x="619" y="331"/>
                  </a:lnTo>
                  <a:lnTo>
                    <a:pt x="617" y="331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4"/>
                  </a:lnTo>
                  <a:lnTo>
                    <a:pt x="614" y="336"/>
                  </a:lnTo>
                  <a:lnTo>
                    <a:pt x="611" y="339"/>
                  </a:lnTo>
                  <a:lnTo>
                    <a:pt x="611" y="339"/>
                  </a:lnTo>
                  <a:lnTo>
                    <a:pt x="611" y="342"/>
                  </a:lnTo>
                  <a:lnTo>
                    <a:pt x="611" y="344"/>
                  </a:lnTo>
                  <a:lnTo>
                    <a:pt x="611" y="344"/>
                  </a:lnTo>
                  <a:lnTo>
                    <a:pt x="611" y="347"/>
                  </a:lnTo>
                  <a:lnTo>
                    <a:pt x="611" y="347"/>
                  </a:lnTo>
                  <a:lnTo>
                    <a:pt x="611" y="347"/>
                  </a:lnTo>
                  <a:lnTo>
                    <a:pt x="611" y="350"/>
                  </a:lnTo>
                  <a:lnTo>
                    <a:pt x="611" y="350"/>
                  </a:lnTo>
                  <a:lnTo>
                    <a:pt x="611" y="352"/>
                  </a:lnTo>
                  <a:lnTo>
                    <a:pt x="609" y="352"/>
                  </a:lnTo>
                  <a:lnTo>
                    <a:pt x="609" y="352"/>
                  </a:lnTo>
                  <a:lnTo>
                    <a:pt x="609" y="352"/>
                  </a:lnTo>
                  <a:lnTo>
                    <a:pt x="606" y="352"/>
                  </a:lnTo>
                  <a:lnTo>
                    <a:pt x="606" y="352"/>
                  </a:lnTo>
                  <a:lnTo>
                    <a:pt x="606" y="355"/>
                  </a:lnTo>
                  <a:lnTo>
                    <a:pt x="603" y="355"/>
                  </a:lnTo>
                  <a:lnTo>
                    <a:pt x="603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3" y="360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601" y="363"/>
                  </a:lnTo>
                  <a:lnTo>
                    <a:pt x="598" y="363"/>
                  </a:lnTo>
                  <a:lnTo>
                    <a:pt x="598" y="363"/>
                  </a:lnTo>
                  <a:lnTo>
                    <a:pt x="595" y="363"/>
                  </a:lnTo>
                  <a:lnTo>
                    <a:pt x="595" y="363"/>
                  </a:lnTo>
                  <a:lnTo>
                    <a:pt x="595" y="366"/>
                  </a:lnTo>
                  <a:lnTo>
                    <a:pt x="595" y="366"/>
                  </a:lnTo>
                  <a:lnTo>
                    <a:pt x="593" y="366"/>
                  </a:lnTo>
                  <a:lnTo>
                    <a:pt x="593" y="366"/>
                  </a:lnTo>
                  <a:lnTo>
                    <a:pt x="593" y="368"/>
                  </a:lnTo>
                  <a:lnTo>
                    <a:pt x="593" y="374"/>
                  </a:lnTo>
                  <a:lnTo>
                    <a:pt x="593" y="374"/>
                  </a:lnTo>
                  <a:lnTo>
                    <a:pt x="590" y="376"/>
                  </a:lnTo>
                  <a:lnTo>
                    <a:pt x="590" y="376"/>
                  </a:lnTo>
                  <a:lnTo>
                    <a:pt x="590" y="379"/>
                  </a:lnTo>
                  <a:lnTo>
                    <a:pt x="590" y="379"/>
                  </a:lnTo>
                  <a:lnTo>
                    <a:pt x="590" y="379"/>
                  </a:lnTo>
                  <a:lnTo>
                    <a:pt x="590" y="382"/>
                  </a:lnTo>
                  <a:lnTo>
                    <a:pt x="590" y="382"/>
                  </a:lnTo>
                  <a:lnTo>
                    <a:pt x="587" y="382"/>
                  </a:lnTo>
                  <a:lnTo>
                    <a:pt x="587" y="382"/>
                  </a:lnTo>
                  <a:lnTo>
                    <a:pt x="587" y="382"/>
                  </a:lnTo>
                  <a:lnTo>
                    <a:pt x="585" y="382"/>
                  </a:lnTo>
                  <a:lnTo>
                    <a:pt x="585" y="382"/>
                  </a:lnTo>
                  <a:lnTo>
                    <a:pt x="582" y="382"/>
                  </a:lnTo>
                  <a:lnTo>
                    <a:pt x="582" y="384"/>
                  </a:lnTo>
                  <a:lnTo>
                    <a:pt x="579" y="384"/>
                  </a:lnTo>
                  <a:lnTo>
                    <a:pt x="577" y="384"/>
                  </a:lnTo>
                  <a:lnTo>
                    <a:pt x="577" y="387"/>
                  </a:lnTo>
                  <a:lnTo>
                    <a:pt x="574" y="387"/>
                  </a:lnTo>
                  <a:lnTo>
                    <a:pt x="571" y="390"/>
                  </a:lnTo>
                  <a:lnTo>
                    <a:pt x="571" y="390"/>
                  </a:lnTo>
                  <a:lnTo>
                    <a:pt x="569" y="390"/>
                  </a:lnTo>
                  <a:lnTo>
                    <a:pt x="569" y="392"/>
                  </a:lnTo>
                  <a:lnTo>
                    <a:pt x="566" y="392"/>
                  </a:lnTo>
                  <a:lnTo>
                    <a:pt x="566" y="395"/>
                  </a:lnTo>
                  <a:lnTo>
                    <a:pt x="566" y="395"/>
                  </a:lnTo>
                  <a:lnTo>
                    <a:pt x="566" y="398"/>
                  </a:lnTo>
                  <a:lnTo>
                    <a:pt x="566" y="400"/>
                  </a:lnTo>
                  <a:lnTo>
                    <a:pt x="566" y="400"/>
                  </a:lnTo>
                  <a:lnTo>
                    <a:pt x="566" y="403"/>
                  </a:lnTo>
                  <a:lnTo>
                    <a:pt x="566" y="403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6" y="406"/>
                  </a:lnTo>
                  <a:lnTo>
                    <a:pt x="563" y="408"/>
                  </a:lnTo>
                  <a:lnTo>
                    <a:pt x="563" y="411"/>
                  </a:lnTo>
                  <a:lnTo>
                    <a:pt x="563" y="411"/>
                  </a:lnTo>
                  <a:lnTo>
                    <a:pt x="561" y="414"/>
                  </a:lnTo>
                  <a:lnTo>
                    <a:pt x="561" y="414"/>
                  </a:lnTo>
                  <a:lnTo>
                    <a:pt x="561" y="419"/>
                  </a:lnTo>
                  <a:lnTo>
                    <a:pt x="558" y="419"/>
                  </a:lnTo>
                  <a:lnTo>
                    <a:pt x="558" y="422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7"/>
                  </a:lnTo>
                  <a:lnTo>
                    <a:pt x="561" y="430"/>
                  </a:lnTo>
                  <a:lnTo>
                    <a:pt x="561" y="430"/>
                  </a:lnTo>
                  <a:lnTo>
                    <a:pt x="561" y="433"/>
                  </a:lnTo>
                  <a:lnTo>
                    <a:pt x="558" y="435"/>
                  </a:lnTo>
                  <a:lnTo>
                    <a:pt x="558" y="438"/>
                  </a:lnTo>
                  <a:lnTo>
                    <a:pt x="558" y="438"/>
                  </a:lnTo>
                  <a:lnTo>
                    <a:pt x="555" y="438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1"/>
                  </a:lnTo>
                  <a:lnTo>
                    <a:pt x="555" y="443"/>
                  </a:lnTo>
                  <a:lnTo>
                    <a:pt x="558" y="446"/>
                  </a:lnTo>
                  <a:lnTo>
                    <a:pt x="558" y="446"/>
                  </a:lnTo>
                  <a:lnTo>
                    <a:pt x="561" y="449"/>
                  </a:lnTo>
                  <a:lnTo>
                    <a:pt x="561" y="451"/>
                  </a:lnTo>
                  <a:lnTo>
                    <a:pt x="561" y="454"/>
                  </a:lnTo>
                  <a:lnTo>
                    <a:pt x="563" y="454"/>
                  </a:lnTo>
                  <a:lnTo>
                    <a:pt x="563" y="454"/>
                  </a:lnTo>
                  <a:lnTo>
                    <a:pt x="566" y="457"/>
                  </a:lnTo>
                  <a:lnTo>
                    <a:pt x="566" y="457"/>
                  </a:lnTo>
                  <a:lnTo>
                    <a:pt x="569" y="459"/>
                  </a:lnTo>
                  <a:lnTo>
                    <a:pt x="569" y="462"/>
                  </a:lnTo>
                  <a:lnTo>
                    <a:pt x="571" y="462"/>
                  </a:lnTo>
                  <a:lnTo>
                    <a:pt x="571" y="462"/>
                  </a:lnTo>
                  <a:lnTo>
                    <a:pt x="574" y="465"/>
                  </a:lnTo>
                  <a:lnTo>
                    <a:pt x="574" y="465"/>
                  </a:lnTo>
                  <a:lnTo>
                    <a:pt x="574" y="465"/>
                  </a:lnTo>
                  <a:lnTo>
                    <a:pt x="571" y="467"/>
                  </a:lnTo>
                  <a:lnTo>
                    <a:pt x="571" y="467"/>
                  </a:lnTo>
                  <a:lnTo>
                    <a:pt x="571" y="470"/>
                  </a:lnTo>
                  <a:lnTo>
                    <a:pt x="569" y="473"/>
                  </a:lnTo>
                  <a:lnTo>
                    <a:pt x="569" y="473"/>
                  </a:lnTo>
                  <a:lnTo>
                    <a:pt x="569" y="475"/>
                  </a:lnTo>
                  <a:lnTo>
                    <a:pt x="569" y="478"/>
                  </a:lnTo>
                  <a:lnTo>
                    <a:pt x="569" y="481"/>
                  </a:lnTo>
                  <a:lnTo>
                    <a:pt x="569" y="483"/>
                  </a:lnTo>
                  <a:lnTo>
                    <a:pt x="566" y="483"/>
                  </a:lnTo>
                  <a:lnTo>
                    <a:pt x="566" y="486"/>
                  </a:lnTo>
                  <a:lnTo>
                    <a:pt x="566" y="489"/>
                  </a:lnTo>
                  <a:lnTo>
                    <a:pt x="566" y="491"/>
                  </a:lnTo>
                  <a:lnTo>
                    <a:pt x="566" y="494"/>
                  </a:lnTo>
                  <a:lnTo>
                    <a:pt x="566" y="494"/>
                  </a:lnTo>
                  <a:lnTo>
                    <a:pt x="566" y="497"/>
                  </a:lnTo>
                  <a:lnTo>
                    <a:pt x="566" y="499"/>
                  </a:lnTo>
                  <a:lnTo>
                    <a:pt x="566" y="499"/>
                  </a:lnTo>
                  <a:lnTo>
                    <a:pt x="566" y="502"/>
                  </a:lnTo>
                  <a:lnTo>
                    <a:pt x="566" y="505"/>
                  </a:lnTo>
                  <a:lnTo>
                    <a:pt x="566" y="505"/>
                  </a:lnTo>
                  <a:lnTo>
                    <a:pt x="566" y="507"/>
                  </a:lnTo>
                  <a:lnTo>
                    <a:pt x="566" y="505"/>
                  </a:lnTo>
                  <a:lnTo>
                    <a:pt x="566" y="507"/>
                  </a:lnTo>
                  <a:lnTo>
                    <a:pt x="566" y="507"/>
                  </a:lnTo>
                  <a:lnTo>
                    <a:pt x="566" y="510"/>
                  </a:lnTo>
                  <a:lnTo>
                    <a:pt x="566" y="513"/>
                  </a:lnTo>
                  <a:lnTo>
                    <a:pt x="566" y="513"/>
                  </a:lnTo>
                  <a:lnTo>
                    <a:pt x="569" y="513"/>
                  </a:lnTo>
                  <a:lnTo>
                    <a:pt x="569" y="515"/>
                  </a:lnTo>
                  <a:lnTo>
                    <a:pt x="569" y="515"/>
                  </a:lnTo>
                  <a:lnTo>
                    <a:pt x="569" y="518"/>
                  </a:lnTo>
                  <a:lnTo>
                    <a:pt x="569" y="518"/>
                  </a:lnTo>
                  <a:lnTo>
                    <a:pt x="571" y="521"/>
                  </a:lnTo>
                  <a:lnTo>
                    <a:pt x="571" y="521"/>
                  </a:lnTo>
                  <a:lnTo>
                    <a:pt x="571" y="521"/>
                  </a:lnTo>
                  <a:lnTo>
                    <a:pt x="574" y="521"/>
                  </a:lnTo>
                  <a:lnTo>
                    <a:pt x="574" y="523"/>
                  </a:lnTo>
                  <a:lnTo>
                    <a:pt x="574" y="523"/>
                  </a:lnTo>
                  <a:lnTo>
                    <a:pt x="577" y="526"/>
                  </a:lnTo>
                  <a:lnTo>
                    <a:pt x="577" y="526"/>
                  </a:lnTo>
                  <a:lnTo>
                    <a:pt x="577" y="529"/>
                  </a:lnTo>
                  <a:lnTo>
                    <a:pt x="577" y="529"/>
                  </a:lnTo>
                  <a:lnTo>
                    <a:pt x="574" y="529"/>
                  </a:lnTo>
                  <a:lnTo>
                    <a:pt x="574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31"/>
                  </a:lnTo>
                  <a:lnTo>
                    <a:pt x="574" y="534"/>
                  </a:lnTo>
                  <a:lnTo>
                    <a:pt x="574" y="534"/>
                  </a:lnTo>
                  <a:lnTo>
                    <a:pt x="574" y="534"/>
                  </a:lnTo>
                  <a:lnTo>
                    <a:pt x="574" y="537"/>
                  </a:lnTo>
                  <a:lnTo>
                    <a:pt x="574" y="537"/>
                  </a:lnTo>
                  <a:lnTo>
                    <a:pt x="574" y="537"/>
                  </a:lnTo>
                  <a:lnTo>
                    <a:pt x="574" y="539"/>
                  </a:lnTo>
                  <a:lnTo>
                    <a:pt x="571" y="539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2"/>
                  </a:lnTo>
                  <a:lnTo>
                    <a:pt x="571" y="545"/>
                  </a:lnTo>
                  <a:lnTo>
                    <a:pt x="571" y="545"/>
                  </a:lnTo>
                  <a:lnTo>
                    <a:pt x="571" y="545"/>
                  </a:lnTo>
                  <a:lnTo>
                    <a:pt x="571" y="547"/>
                  </a:lnTo>
                  <a:lnTo>
                    <a:pt x="571" y="547"/>
                  </a:lnTo>
                  <a:lnTo>
                    <a:pt x="571" y="547"/>
                  </a:lnTo>
                  <a:lnTo>
                    <a:pt x="571" y="550"/>
                  </a:lnTo>
                  <a:lnTo>
                    <a:pt x="571" y="553"/>
                  </a:lnTo>
                  <a:lnTo>
                    <a:pt x="571" y="553"/>
                  </a:lnTo>
                  <a:lnTo>
                    <a:pt x="571" y="553"/>
                  </a:lnTo>
                  <a:lnTo>
                    <a:pt x="574" y="553"/>
                  </a:lnTo>
                  <a:lnTo>
                    <a:pt x="574" y="555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71" y="558"/>
                  </a:lnTo>
                  <a:lnTo>
                    <a:pt x="569" y="561"/>
                  </a:lnTo>
                  <a:lnTo>
                    <a:pt x="569" y="561"/>
                  </a:lnTo>
                  <a:lnTo>
                    <a:pt x="569" y="563"/>
                  </a:lnTo>
                  <a:lnTo>
                    <a:pt x="569" y="566"/>
                  </a:lnTo>
                  <a:lnTo>
                    <a:pt x="566" y="569"/>
                  </a:lnTo>
                  <a:lnTo>
                    <a:pt x="566" y="574"/>
                  </a:lnTo>
                  <a:lnTo>
                    <a:pt x="566" y="574"/>
                  </a:lnTo>
                  <a:lnTo>
                    <a:pt x="566" y="577"/>
                  </a:lnTo>
                  <a:lnTo>
                    <a:pt x="566" y="577"/>
                  </a:lnTo>
                  <a:lnTo>
                    <a:pt x="566" y="580"/>
                  </a:lnTo>
                  <a:lnTo>
                    <a:pt x="563" y="585"/>
                  </a:lnTo>
                  <a:lnTo>
                    <a:pt x="563" y="588"/>
                  </a:lnTo>
                  <a:lnTo>
                    <a:pt x="563" y="588"/>
                  </a:lnTo>
                  <a:lnTo>
                    <a:pt x="563" y="590"/>
                  </a:lnTo>
                  <a:lnTo>
                    <a:pt x="563" y="593"/>
                  </a:lnTo>
                  <a:lnTo>
                    <a:pt x="563" y="596"/>
                  </a:lnTo>
                  <a:lnTo>
                    <a:pt x="563" y="598"/>
                  </a:lnTo>
                  <a:lnTo>
                    <a:pt x="563" y="601"/>
                  </a:lnTo>
                  <a:lnTo>
                    <a:pt x="563" y="604"/>
                  </a:lnTo>
                  <a:lnTo>
                    <a:pt x="566" y="606"/>
                  </a:lnTo>
                  <a:lnTo>
                    <a:pt x="566" y="609"/>
                  </a:lnTo>
                  <a:lnTo>
                    <a:pt x="566" y="612"/>
                  </a:lnTo>
                  <a:lnTo>
                    <a:pt x="566" y="614"/>
                  </a:lnTo>
                  <a:lnTo>
                    <a:pt x="566" y="620"/>
                  </a:lnTo>
                  <a:lnTo>
                    <a:pt x="569" y="622"/>
                  </a:lnTo>
                  <a:lnTo>
                    <a:pt x="569" y="622"/>
                  </a:lnTo>
                  <a:lnTo>
                    <a:pt x="569" y="625"/>
                  </a:lnTo>
                  <a:lnTo>
                    <a:pt x="569" y="628"/>
                  </a:lnTo>
                  <a:lnTo>
                    <a:pt x="571" y="630"/>
                  </a:lnTo>
                  <a:lnTo>
                    <a:pt x="571" y="630"/>
                  </a:lnTo>
                  <a:lnTo>
                    <a:pt x="569" y="630"/>
                  </a:lnTo>
                  <a:lnTo>
                    <a:pt x="569" y="628"/>
                  </a:lnTo>
                  <a:lnTo>
                    <a:pt x="569" y="628"/>
                  </a:lnTo>
                  <a:lnTo>
                    <a:pt x="569" y="628"/>
                  </a:lnTo>
                  <a:lnTo>
                    <a:pt x="566" y="625"/>
                  </a:lnTo>
                  <a:lnTo>
                    <a:pt x="566" y="625"/>
                  </a:lnTo>
                  <a:lnTo>
                    <a:pt x="566" y="625"/>
                  </a:lnTo>
                  <a:lnTo>
                    <a:pt x="566" y="622"/>
                  </a:lnTo>
                  <a:lnTo>
                    <a:pt x="566" y="620"/>
                  </a:lnTo>
                  <a:lnTo>
                    <a:pt x="566" y="620"/>
                  </a:lnTo>
                  <a:lnTo>
                    <a:pt x="566" y="617"/>
                  </a:lnTo>
                  <a:lnTo>
                    <a:pt x="566" y="617"/>
                  </a:lnTo>
                  <a:lnTo>
                    <a:pt x="563" y="617"/>
                  </a:lnTo>
                  <a:lnTo>
                    <a:pt x="563" y="617"/>
                  </a:lnTo>
                  <a:lnTo>
                    <a:pt x="563" y="620"/>
                  </a:lnTo>
                  <a:lnTo>
                    <a:pt x="563" y="620"/>
                  </a:lnTo>
                  <a:lnTo>
                    <a:pt x="563" y="622"/>
                  </a:lnTo>
                  <a:lnTo>
                    <a:pt x="563" y="625"/>
                  </a:lnTo>
                  <a:lnTo>
                    <a:pt x="563" y="625"/>
                  </a:lnTo>
                  <a:lnTo>
                    <a:pt x="566" y="628"/>
                  </a:lnTo>
                  <a:lnTo>
                    <a:pt x="566" y="628"/>
                  </a:lnTo>
                  <a:lnTo>
                    <a:pt x="569" y="630"/>
                  </a:lnTo>
                  <a:lnTo>
                    <a:pt x="569" y="630"/>
                  </a:lnTo>
                  <a:lnTo>
                    <a:pt x="571" y="633"/>
                  </a:lnTo>
                  <a:lnTo>
                    <a:pt x="571" y="633"/>
                  </a:lnTo>
                  <a:lnTo>
                    <a:pt x="574" y="633"/>
                  </a:lnTo>
                  <a:lnTo>
                    <a:pt x="574" y="636"/>
                  </a:lnTo>
                  <a:lnTo>
                    <a:pt x="577" y="636"/>
                  </a:lnTo>
                  <a:lnTo>
                    <a:pt x="577" y="636"/>
                  </a:lnTo>
                  <a:lnTo>
                    <a:pt x="574" y="638"/>
                  </a:lnTo>
                  <a:lnTo>
                    <a:pt x="574" y="638"/>
                  </a:lnTo>
                  <a:lnTo>
                    <a:pt x="574" y="638"/>
                  </a:lnTo>
                  <a:lnTo>
                    <a:pt x="574" y="636"/>
                  </a:lnTo>
                  <a:lnTo>
                    <a:pt x="571" y="638"/>
                  </a:lnTo>
                  <a:lnTo>
                    <a:pt x="571" y="638"/>
                  </a:lnTo>
                  <a:lnTo>
                    <a:pt x="569" y="638"/>
                  </a:lnTo>
                  <a:lnTo>
                    <a:pt x="569" y="641"/>
                  </a:lnTo>
                  <a:lnTo>
                    <a:pt x="566" y="644"/>
                  </a:lnTo>
                  <a:lnTo>
                    <a:pt x="566" y="646"/>
                  </a:lnTo>
                  <a:lnTo>
                    <a:pt x="569" y="649"/>
                  </a:lnTo>
                  <a:lnTo>
                    <a:pt x="571" y="652"/>
                  </a:lnTo>
                  <a:lnTo>
                    <a:pt x="571" y="654"/>
                  </a:lnTo>
                  <a:lnTo>
                    <a:pt x="574" y="654"/>
                  </a:lnTo>
                  <a:lnTo>
                    <a:pt x="579" y="657"/>
                  </a:lnTo>
                  <a:lnTo>
                    <a:pt x="582" y="660"/>
                  </a:lnTo>
                  <a:lnTo>
                    <a:pt x="585" y="662"/>
                  </a:lnTo>
                  <a:lnTo>
                    <a:pt x="587" y="662"/>
                  </a:lnTo>
                  <a:lnTo>
                    <a:pt x="590" y="662"/>
                  </a:lnTo>
                  <a:lnTo>
                    <a:pt x="590" y="665"/>
                  </a:lnTo>
                  <a:lnTo>
                    <a:pt x="587" y="662"/>
                  </a:lnTo>
                  <a:lnTo>
                    <a:pt x="585" y="662"/>
                  </a:lnTo>
                  <a:lnTo>
                    <a:pt x="585" y="662"/>
                  </a:lnTo>
                  <a:lnTo>
                    <a:pt x="582" y="662"/>
                  </a:lnTo>
                  <a:lnTo>
                    <a:pt x="582" y="662"/>
                  </a:lnTo>
                  <a:lnTo>
                    <a:pt x="582" y="662"/>
                  </a:lnTo>
                  <a:lnTo>
                    <a:pt x="579" y="662"/>
                  </a:lnTo>
                  <a:lnTo>
                    <a:pt x="579" y="662"/>
                  </a:lnTo>
                  <a:lnTo>
                    <a:pt x="582" y="665"/>
                  </a:lnTo>
                  <a:lnTo>
                    <a:pt x="582" y="665"/>
                  </a:lnTo>
                  <a:lnTo>
                    <a:pt x="582" y="668"/>
                  </a:lnTo>
                  <a:lnTo>
                    <a:pt x="582" y="668"/>
                  </a:lnTo>
                  <a:lnTo>
                    <a:pt x="582" y="668"/>
                  </a:lnTo>
                  <a:lnTo>
                    <a:pt x="582" y="670"/>
                  </a:lnTo>
                  <a:lnTo>
                    <a:pt x="582" y="670"/>
                  </a:lnTo>
                  <a:lnTo>
                    <a:pt x="585" y="673"/>
                  </a:lnTo>
                  <a:lnTo>
                    <a:pt x="582" y="673"/>
                  </a:lnTo>
                  <a:lnTo>
                    <a:pt x="582" y="676"/>
                  </a:lnTo>
                  <a:lnTo>
                    <a:pt x="582" y="676"/>
                  </a:lnTo>
                  <a:lnTo>
                    <a:pt x="585" y="678"/>
                  </a:lnTo>
                  <a:lnTo>
                    <a:pt x="585" y="678"/>
                  </a:lnTo>
                  <a:lnTo>
                    <a:pt x="587" y="678"/>
                  </a:lnTo>
                  <a:lnTo>
                    <a:pt x="587" y="681"/>
                  </a:lnTo>
                  <a:lnTo>
                    <a:pt x="590" y="681"/>
                  </a:lnTo>
                  <a:lnTo>
                    <a:pt x="590" y="678"/>
                  </a:lnTo>
                  <a:lnTo>
                    <a:pt x="593" y="678"/>
                  </a:lnTo>
                  <a:lnTo>
                    <a:pt x="593" y="678"/>
                  </a:lnTo>
                  <a:lnTo>
                    <a:pt x="595" y="676"/>
                  </a:lnTo>
                  <a:lnTo>
                    <a:pt x="595" y="676"/>
                  </a:lnTo>
                  <a:lnTo>
                    <a:pt x="595" y="676"/>
                  </a:lnTo>
                  <a:lnTo>
                    <a:pt x="595" y="673"/>
                  </a:lnTo>
                  <a:lnTo>
                    <a:pt x="595" y="673"/>
                  </a:lnTo>
                  <a:lnTo>
                    <a:pt x="595" y="670"/>
                  </a:lnTo>
                  <a:lnTo>
                    <a:pt x="595" y="670"/>
                  </a:lnTo>
                  <a:lnTo>
                    <a:pt x="595" y="670"/>
                  </a:lnTo>
                  <a:lnTo>
                    <a:pt x="593" y="670"/>
                  </a:lnTo>
                  <a:lnTo>
                    <a:pt x="593" y="668"/>
                  </a:lnTo>
                  <a:lnTo>
                    <a:pt x="593" y="668"/>
                  </a:lnTo>
                  <a:lnTo>
                    <a:pt x="595" y="668"/>
                  </a:lnTo>
                  <a:lnTo>
                    <a:pt x="595" y="668"/>
                  </a:lnTo>
                  <a:lnTo>
                    <a:pt x="595" y="668"/>
                  </a:lnTo>
                  <a:lnTo>
                    <a:pt x="598" y="670"/>
                  </a:lnTo>
                  <a:lnTo>
                    <a:pt x="598" y="670"/>
                  </a:lnTo>
                  <a:lnTo>
                    <a:pt x="598" y="670"/>
                  </a:lnTo>
                  <a:lnTo>
                    <a:pt x="598" y="673"/>
                  </a:lnTo>
                  <a:lnTo>
                    <a:pt x="601" y="673"/>
                  </a:lnTo>
                  <a:lnTo>
                    <a:pt x="603" y="676"/>
                  </a:lnTo>
                  <a:lnTo>
                    <a:pt x="603" y="673"/>
                  </a:lnTo>
                  <a:lnTo>
                    <a:pt x="603" y="673"/>
                  </a:lnTo>
                  <a:lnTo>
                    <a:pt x="606" y="673"/>
                  </a:lnTo>
                  <a:lnTo>
                    <a:pt x="606" y="670"/>
                  </a:lnTo>
                  <a:lnTo>
                    <a:pt x="606" y="670"/>
                  </a:lnTo>
                  <a:lnTo>
                    <a:pt x="603" y="670"/>
                  </a:lnTo>
                  <a:lnTo>
                    <a:pt x="603" y="670"/>
                  </a:lnTo>
                  <a:lnTo>
                    <a:pt x="601" y="670"/>
                  </a:lnTo>
                  <a:lnTo>
                    <a:pt x="601" y="668"/>
                  </a:lnTo>
                  <a:lnTo>
                    <a:pt x="598" y="668"/>
                  </a:lnTo>
                  <a:lnTo>
                    <a:pt x="598" y="668"/>
                  </a:lnTo>
                  <a:lnTo>
                    <a:pt x="598" y="665"/>
                  </a:lnTo>
                  <a:lnTo>
                    <a:pt x="598" y="665"/>
                  </a:lnTo>
                  <a:lnTo>
                    <a:pt x="595" y="665"/>
                  </a:lnTo>
                  <a:lnTo>
                    <a:pt x="595" y="665"/>
                  </a:lnTo>
                  <a:lnTo>
                    <a:pt x="598" y="665"/>
                  </a:lnTo>
                  <a:lnTo>
                    <a:pt x="601" y="662"/>
                  </a:lnTo>
                  <a:lnTo>
                    <a:pt x="601" y="662"/>
                  </a:lnTo>
                  <a:lnTo>
                    <a:pt x="601" y="660"/>
                  </a:lnTo>
                  <a:lnTo>
                    <a:pt x="603" y="660"/>
                  </a:lnTo>
                  <a:lnTo>
                    <a:pt x="603" y="660"/>
                  </a:lnTo>
                  <a:lnTo>
                    <a:pt x="609" y="660"/>
                  </a:lnTo>
                  <a:lnTo>
                    <a:pt x="609" y="660"/>
                  </a:lnTo>
                  <a:lnTo>
                    <a:pt x="611" y="660"/>
                  </a:lnTo>
                  <a:lnTo>
                    <a:pt x="614" y="660"/>
                  </a:lnTo>
                  <a:lnTo>
                    <a:pt x="614" y="657"/>
                  </a:lnTo>
                  <a:lnTo>
                    <a:pt x="617" y="657"/>
                  </a:lnTo>
                  <a:lnTo>
                    <a:pt x="617" y="660"/>
                  </a:lnTo>
                  <a:lnTo>
                    <a:pt x="617" y="657"/>
                  </a:lnTo>
                  <a:lnTo>
                    <a:pt x="617" y="657"/>
                  </a:lnTo>
                  <a:lnTo>
                    <a:pt x="617" y="654"/>
                  </a:lnTo>
                  <a:lnTo>
                    <a:pt x="619" y="652"/>
                  </a:lnTo>
                  <a:lnTo>
                    <a:pt x="619" y="652"/>
                  </a:lnTo>
                  <a:lnTo>
                    <a:pt x="622" y="654"/>
                  </a:lnTo>
                  <a:lnTo>
                    <a:pt x="625" y="654"/>
                  </a:lnTo>
                  <a:lnTo>
                    <a:pt x="625" y="654"/>
                  </a:lnTo>
                  <a:lnTo>
                    <a:pt x="627" y="657"/>
                  </a:lnTo>
                  <a:lnTo>
                    <a:pt x="627" y="657"/>
                  </a:lnTo>
                  <a:lnTo>
                    <a:pt x="630" y="654"/>
                  </a:lnTo>
                  <a:lnTo>
                    <a:pt x="633" y="654"/>
                  </a:lnTo>
                  <a:lnTo>
                    <a:pt x="635" y="654"/>
                  </a:lnTo>
                  <a:lnTo>
                    <a:pt x="635" y="654"/>
                  </a:lnTo>
                  <a:lnTo>
                    <a:pt x="638" y="657"/>
                  </a:lnTo>
                  <a:lnTo>
                    <a:pt x="638" y="660"/>
                  </a:lnTo>
                  <a:lnTo>
                    <a:pt x="638" y="660"/>
                  </a:lnTo>
                  <a:lnTo>
                    <a:pt x="638" y="662"/>
                  </a:lnTo>
                  <a:lnTo>
                    <a:pt x="641" y="662"/>
                  </a:lnTo>
                  <a:lnTo>
                    <a:pt x="643" y="665"/>
                  </a:lnTo>
                  <a:lnTo>
                    <a:pt x="643" y="665"/>
                  </a:lnTo>
                  <a:lnTo>
                    <a:pt x="646" y="668"/>
                  </a:lnTo>
                  <a:lnTo>
                    <a:pt x="646" y="668"/>
                  </a:lnTo>
                  <a:lnTo>
                    <a:pt x="646" y="670"/>
                  </a:lnTo>
                  <a:lnTo>
                    <a:pt x="646" y="670"/>
                  </a:lnTo>
                  <a:lnTo>
                    <a:pt x="643" y="670"/>
                  </a:lnTo>
                  <a:lnTo>
                    <a:pt x="641" y="670"/>
                  </a:lnTo>
                  <a:lnTo>
                    <a:pt x="641" y="673"/>
                  </a:lnTo>
                  <a:lnTo>
                    <a:pt x="641" y="676"/>
                  </a:lnTo>
                  <a:lnTo>
                    <a:pt x="638" y="676"/>
                  </a:lnTo>
                  <a:lnTo>
                    <a:pt x="635" y="676"/>
                  </a:lnTo>
                  <a:lnTo>
                    <a:pt x="635" y="676"/>
                  </a:lnTo>
                  <a:lnTo>
                    <a:pt x="633" y="678"/>
                  </a:lnTo>
                  <a:lnTo>
                    <a:pt x="630" y="678"/>
                  </a:lnTo>
                  <a:lnTo>
                    <a:pt x="630" y="681"/>
                  </a:lnTo>
                  <a:lnTo>
                    <a:pt x="630" y="681"/>
                  </a:lnTo>
                  <a:lnTo>
                    <a:pt x="633" y="684"/>
                  </a:lnTo>
                  <a:lnTo>
                    <a:pt x="633" y="684"/>
                  </a:lnTo>
                  <a:lnTo>
                    <a:pt x="633" y="684"/>
                  </a:lnTo>
                  <a:lnTo>
                    <a:pt x="633" y="686"/>
                  </a:lnTo>
                  <a:lnTo>
                    <a:pt x="630" y="686"/>
                  </a:lnTo>
                  <a:lnTo>
                    <a:pt x="630" y="686"/>
                  </a:lnTo>
                  <a:lnTo>
                    <a:pt x="627" y="686"/>
                  </a:lnTo>
                  <a:lnTo>
                    <a:pt x="625" y="686"/>
                  </a:lnTo>
                  <a:lnTo>
                    <a:pt x="622" y="686"/>
                  </a:lnTo>
                  <a:lnTo>
                    <a:pt x="617" y="686"/>
                  </a:lnTo>
                  <a:lnTo>
                    <a:pt x="617" y="689"/>
                  </a:lnTo>
                  <a:lnTo>
                    <a:pt x="614" y="692"/>
                  </a:lnTo>
                  <a:lnTo>
                    <a:pt x="614" y="692"/>
                  </a:lnTo>
                  <a:lnTo>
                    <a:pt x="614" y="692"/>
                  </a:lnTo>
                  <a:lnTo>
                    <a:pt x="611" y="692"/>
                  </a:lnTo>
                  <a:lnTo>
                    <a:pt x="614" y="694"/>
                  </a:lnTo>
                  <a:lnTo>
                    <a:pt x="617" y="697"/>
                  </a:lnTo>
                  <a:lnTo>
                    <a:pt x="617" y="697"/>
                  </a:lnTo>
                  <a:lnTo>
                    <a:pt x="617" y="697"/>
                  </a:lnTo>
                  <a:lnTo>
                    <a:pt x="617" y="700"/>
                  </a:lnTo>
                  <a:lnTo>
                    <a:pt x="617" y="702"/>
                  </a:lnTo>
                  <a:lnTo>
                    <a:pt x="617" y="705"/>
                  </a:lnTo>
                  <a:lnTo>
                    <a:pt x="617" y="705"/>
                  </a:lnTo>
                  <a:lnTo>
                    <a:pt x="614" y="705"/>
                  </a:lnTo>
                  <a:lnTo>
                    <a:pt x="614" y="705"/>
                  </a:lnTo>
                  <a:lnTo>
                    <a:pt x="614" y="708"/>
                  </a:lnTo>
                  <a:lnTo>
                    <a:pt x="611" y="708"/>
                  </a:lnTo>
                  <a:lnTo>
                    <a:pt x="611" y="710"/>
                  </a:lnTo>
                  <a:lnTo>
                    <a:pt x="611" y="713"/>
                  </a:lnTo>
                  <a:lnTo>
                    <a:pt x="609" y="716"/>
                  </a:lnTo>
                  <a:lnTo>
                    <a:pt x="609" y="716"/>
                  </a:lnTo>
                  <a:lnTo>
                    <a:pt x="606" y="716"/>
                  </a:lnTo>
                  <a:lnTo>
                    <a:pt x="606" y="716"/>
                  </a:lnTo>
                  <a:lnTo>
                    <a:pt x="603" y="716"/>
                  </a:lnTo>
                  <a:lnTo>
                    <a:pt x="603" y="716"/>
                  </a:lnTo>
                  <a:lnTo>
                    <a:pt x="601" y="716"/>
                  </a:lnTo>
                  <a:lnTo>
                    <a:pt x="595" y="713"/>
                  </a:lnTo>
                  <a:lnTo>
                    <a:pt x="595" y="713"/>
                  </a:lnTo>
                  <a:lnTo>
                    <a:pt x="593" y="713"/>
                  </a:lnTo>
                  <a:lnTo>
                    <a:pt x="593" y="713"/>
                  </a:lnTo>
                  <a:lnTo>
                    <a:pt x="590" y="713"/>
                  </a:lnTo>
                  <a:lnTo>
                    <a:pt x="590" y="716"/>
                  </a:lnTo>
                  <a:lnTo>
                    <a:pt x="587" y="716"/>
                  </a:lnTo>
                  <a:lnTo>
                    <a:pt x="587" y="716"/>
                  </a:lnTo>
                  <a:lnTo>
                    <a:pt x="587" y="716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3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7" y="710"/>
                  </a:lnTo>
                  <a:lnTo>
                    <a:pt x="585" y="710"/>
                  </a:lnTo>
                  <a:lnTo>
                    <a:pt x="585" y="713"/>
                  </a:lnTo>
                  <a:lnTo>
                    <a:pt x="585" y="713"/>
                  </a:lnTo>
                  <a:lnTo>
                    <a:pt x="585" y="713"/>
                  </a:lnTo>
                  <a:lnTo>
                    <a:pt x="585" y="716"/>
                  </a:lnTo>
                  <a:lnTo>
                    <a:pt x="585" y="716"/>
                  </a:lnTo>
                  <a:lnTo>
                    <a:pt x="585" y="716"/>
                  </a:lnTo>
                  <a:lnTo>
                    <a:pt x="582" y="716"/>
                  </a:lnTo>
                  <a:lnTo>
                    <a:pt x="579" y="716"/>
                  </a:lnTo>
                  <a:lnTo>
                    <a:pt x="579" y="716"/>
                  </a:lnTo>
                  <a:lnTo>
                    <a:pt x="577" y="718"/>
                  </a:lnTo>
                  <a:lnTo>
                    <a:pt x="574" y="718"/>
                  </a:lnTo>
                  <a:lnTo>
                    <a:pt x="574" y="718"/>
                  </a:lnTo>
                  <a:lnTo>
                    <a:pt x="571" y="718"/>
                  </a:lnTo>
                  <a:lnTo>
                    <a:pt x="571" y="721"/>
                  </a:lnTo>
                  <a:lnTo>
                    <a:pt x="571" y="721"/>
                  </a:lnTo>
                  <a:lnTo>
                    <a:pt x="574" y="724"/>
                  </a:lnTo>
                  <a:lnTo>
                    <a:pt x="574" y="726"/>
                  </a:lnTo>
                  <a:lnTo>
                    <a:pt x="574" y="726"/>
                  </a:lnTo>
                  <a:lnTo>
                    <a:pt x="577" y="726"/>
                  </a:lnTo>
                  <a:lnTo>
                    <a:pt x="577" y="729"/>
                  </a:lnTo>
                  <a:lnTo>
                    <a:pt x="574" y="729"/>
                  </a:lnTo>
                  <a:lnTo>
                    <a:pt x="574" y="729"/>
                  </a:lnTo>
                  <a:lnTo>
                    <a:pt x="574" y="732"/>
                  </a:lnTo>
                  <a:lnTo>
                    <a:pt x="577" y="732"/>
                  </a:lnTo>
                  <a:lnTo>
                    <a:pt x="577" y="732"/>
                  </a:lnTo>
                  <a:lnTo>
                    <a:pt x="579" y="732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7" y="735"/>
                  </a:lnTo>
                  <a:lnTo>
                    <a:pt x="574" y="737"/>
                  </a:lnTo>
                  <a:lnTo>
                    <a:pt x="574" y="737"/>
                  </a:lnTo>
                  <a:lnTo>
                    <a:pt x="574" y="740"/>
                  </a:lnTo>
                  <a:lnTo>
                    <a:pt x="571" y="740"/>
                  </a:lnTo>
                  <a:lnTo>
                    <a:pt x="571" y="743"/>
                  </a:lnTo>
                  <a:lnTo>
                    <a:pt x="571" y="743"/>
                  </a:lnTo>
                  <a:lnTo>
                    <a:pt x="569" y="745"/>
                  </a:lnTo>
                  <a:lnTo>
                    <a:pt x="569" y="745"/>
                  </a:lnTo>
                  <a:lnTo>
                    <a:pt x="569" y="748"/>
                  </a:lnTo>
                  <a:lnTo>
                    <a:pt x="569" y="751"/>
                  </a:lnTo>
                  <a:lnTo>
                    <a:pt x="569" y="751"/>
                  </a:lnTo>
                  <a:lnTo>
                    <a:pt x="569" y="753"/>
                  </a:lnTo>
                  <a:lnTo>
                    <a:pt x="571" y="753"/>
                  </a:lnTo>
                  <a:lnTo>
                    <a:pt x="571" y="756"/>
                  </a:lnTo>
                  <a:lnTo>
                    <a:pt x="571" y="759"/>
                  </a:lnTo>
                  <a:lnTo>
                    <a:pt x="571" y="759"/>
                  </a:lnTo>
                  <a:lnTo>
                    <a:pt x="571" y="761"/>
                  </a:lnTo>
                  <a:lnTo>
                    <a:pt x="571" y="761"/>
                  </a:lnTo>
                  <a:lnTo>
                    <a:pt x="569" y="761"/>
                  </a:lnTo>
                  <a:lnTo>
                    <a:pt x="569" y="764"/>
                  </a:lnTo>
                  <a:lnTo>
                    <a:pt x="569" y="764"/>
                  </a:lnTo>
                  <a:lnTo>
                    <a:pt x="569" y="767"/>
                  </a:lnTo>
                  <a:lnTo>
                    <a:pt x="566" y="767"/>
                  </a:lnTo>
                  <a:lnTo>
                    <a:pt x="566" y="767"/>
                  </a:lnTo>
                  <a:lnTo>
                    <a:pt x="563" y="767"/>
                  </a:lnTo>
                  <a:lnTo>
                    <a:pt x="563" y="767"/>
                  </a:lnTo>
                  <a:lnTo>
                    <a:pt x="563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58" y="767"/>
                  </a:lnTo>
                  <a:lnTo>
                    <a:pt x="558" y="769"/>
                  </a:lnTo>
                  <a:lnTo>
                    <a:pt x="558" y="769"/>
                  </a:lnTo>
                  <a:lnTo>
                    <a:pt x="555" y="769"/>
                  </a:lnTo>
                  <a:lnTo>
                    <a:pt x="555" y="769"/>
                  </a:lnTo>
                  <a:lnTo>
                    <a:pt x="555" y="769"/>
                  </a:lnTo>
                  <a:lnTo>
                    <a:pt x="553" y="767"/>
                  </a:lnTo>
                  <a:lnTo>
                    <a:pt x="553" y="767"/>
                  </a:lnTo>
                  <a:lnTo>
                    <a:pt x="550" y="767"/>
                  </a:lnTo>
                  <a:lnTo>
                    <a:pt x="547" y="767"/>
                  </a:lnTo>
                  <a:lnTo>
                    <a:pt x="547" y="767"/>
                  </a:lnTo>
                  <a:lnTo>
                    <a:pt x="547" y="767"/>
                  </a:lnTo>
                  <a:lnTo>
                    <a:pt x="545" y="767"/>
                  </a:lnTo>
                  <a:lnTo>
                    <a:pt x="542" y="767"/>
                  </a:lnTo>
                  <a:lnTo>
                    <a:pt x="542" y="767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5" y="769"/>
                  </a:lnTo>
                  <a:lnTo>
                    <a:pt x="542" y="772"/>
                  </a:lnTo>
                  <a:lnTo>
                    <a:pt x="542" y="775"/>
                  </a:lnTo>
                  <a:lnTo>
                    <a:pt x="539" y="775"/>
                  </a:lnTo>
                  <a:lnTo>
                    <a:pt x="539" y="777"/>
                  </a:lnTo>
                  <a:lnTo>
                    <a:pt x="539" y="780"/>
                  </a:lnTo>
                  <a:lnTo>
                    <a:pt x="539" y="780"/>
                  </a:lnTo>
                  <a:lnTo>
                    <a:pt x="539" y="783"/>
                  </a:lnTo>
                  <a:lnTo>
                    <a:pt x="542" y="783"/>
                  </a:lnTo>
                  <a:lnTo>
                    <a:pt x="542" y="785"/>
                  </a:lnTo>
                  <a:lnTo>
                    <a:pt x="542" y="788"/>
                  </a:lnTo>
                  <a:lnTo>
                    <a:pt x="539" y="791"/>
                  </a:lnTo>
                  <a:lnTo>
                    <a:pt x="539" y="791"/>
                  </a:lnTo>
                  <a:lnTo>
                    <a:pt x="537" y="793"/>
                  </a:lnTo>
                  <a:lnTo>
                    <a:pt x="534" y="796"/>
                  </a:lnTo>
                  <a:lnTo>
                    <a:pt x="534" y="796"/>
                  </a:lnTo>
                  <a:lnTo>
                    <a:pt x="534" y="796"/>
                  </a:lnTo>
                  <a:lnTo>
                    <a:pt x="531" y="796"/>
                  </a:lnTo>
                  <a:lnTo>
                    <a:pt x="531" y="799"/>
                  </a:lnTo>
                  <a:lnTo>
                    <a:pt x="531" y="799"/>
                  </a:lnTo>
                  <a:lnTo>
                    <a:pt x="531" y="801"/>
                  </a:lnTo>
                  <a:lnTo>
                    <a:pt x="529" y="804"/>
                  </a:lnTo>
                  <a:lnTo>
                    <a:pt x="526" y="804"/>
                  </a:lnTo>
                  <a:lnTo>
                    <a:pt x="526" y="804"/>
                  </a:lnTo>
                  <a:lnTo>
                    <a:pt x="523" y="804"/>
                  </a:lnTo>
                  <a:lnTo>
                    <a:pt x="523" y="804"/>
                  </a:lnTo>
                  <a:lnTo>
                    <a:pt x="523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18" y="807"/>
                  </a:lnTo>
                  <a:lnTo>
                    <a:pt x="518" y="809"/>
                  </a:lnTo>
                  <a:lnTo>
                    <a:pt x="518" y="809"/>
                  </a:lnTo>
                  <a:lnTo>
                    <a:pt x="515" y="809"/>
                  </a:lnTo>
                  <a:lnTo>
                    <a:pt x="515" y="812"/>
                  </a:lnTo>
                  <a:lnTo>
                    <a:pt x="515" y="815"/>
                  </a:lnTo>
                  <a:lnTo>
                    <a:pt x="513" y="815"/>
                  </a:lnTo>
                  <a:lnTo>
                    <a:pt x="513" y="815"/>
                  </a:lnTo>
                  <a:lnTo>
                    <a:pt x="513" y="812"/>
                  </a:lnTo>
                  <a:lnTo>
                    <a:pt x="510" y="812"/>
                  </a:lnTo>
                  <a:lnTo>
                    <a:pt x="510" y="812"/>
                  </a:lnTo>
                  <a:lnTo>
                    <a:pt x="510" y="812"/>
                  </a:lnTo>
                  <a:lnTo>
                    <a:pt x="507" y="809"/>
                  </a:lnTo>
                  <a:lnTo>
                    <a:pt x="507" y="809"/>
                  </a:lnTo>
                  <a:lnTo>
                    <a:pt x="505" y="809"/>
                  </a:lnTo>
                  <a:lnTo>
                    <a:pt x="505" y="809"/>
                  </a:lnTo>
                  <a:lnTo>
                    <a:pt x="505" y="809"/>
                  </a:lnTo>
                  <a:lnTo>
                    <a:pt x="502" y="809"/>
                  </a:lnTo>
                  <a:lnTo>
                    <a:pt x="502" y="807"/>
                  </a:lnTo>
                  <a:lnTo>
                    <a:pt x="499" y="807"/>
                  </a:lnTo>
                  <a:lnTo>
                    <a:pt x="499" y="807"/>
                  </a:lnTo>
                  <a:lnTo>
                    <a:pt x="499" y="804"/>
                  </a:lnTo>
                  <a:lnTo>
                    <a:pt x="497" y="804"/>
                  </a:lnTo>
                  <a:lnTo>
                    <a:pt x="497" y="804"/>
                  </a:lnTo>
                  <a:lnTo>
                    <a:pt x="494" y="804"/>
                  </a:lnTo>
                  <a:lnTo>
                    <a:pt x="491" y="804"/>
                  </a:lnTo>
                  <a:lnTo>
                    <a:pt x="491" y="801"/>
                  </a:lnTo>
                  <a:lnTo>
                    <a:pt x="489" y="801"/>
                  </a:lnTo>
                  <a:lnTo>
                    <a:pt x="489" y="801"/>
                  </a:lnTo>
                  <a:lnTo>
                    <a:pt x="491" y="799"/>
                  </a:lnTo>
                  <a:lnTo>
                    <a:pt x="491" y="799"/>
                  </a:lnTo>
                  <a:lnTo>
                    <a:pt x="494" y="796"/>
                  </a:lnTo>
                  <a:lnTo>
                    <a:pt x="494" y="799"/>
                  </a:lnTo>
                  <a:lnTo>
                    <a:pt x="494" y="796"/>
                  </a:lnTo>
                  <a:lnTo>
                    <a:pt x="497" y="796"/>
                  </a:lnTo>
                  <a:lnTo>
                    <a:pt x="497" y="793"/>
                  </a:lnTo>
                  <a:lnTo>
                    <a:pt x="497" y="793"/>
                  </a:lnTo>
                  <a:lnTo>
                    <a:pt x="499" y="791"/>
                  </a:lnTo>
                  <a:lnTo>
                    <a:pt x="497" y="791"/>
                  </a:lnTo>
                  <a:lnTo>
                    <a:pt x="497" y="788"/>
                  </a:lnTo>
                  <a:lnTo>
                    <a:pt x="499" y="785"/>
                  </a:lnTo>
                  <a:lnTo>
                    <a:pt x="499" y="785"/>
                  </a:lnTo>
                  <a:lnTo>
                    <a:pt x="499" y="785"/>
                  </a:lnTo>
                  <a:lnTo>
                    <a:pt x="502" y="785"/>
                  </a:lnTo>
                  <a:lnTo>
                    <a:pt x="505" y="783"/>
                  </a:lnTo>
                  <a:lnTo>
                    <a:pt x="505" y="783"/>
                  </a:lnTo>
                  <a:lnTo>
                    <a:pt x="507" y="780"/>
                  </a:lnTo>
                  <a:lnTo>
                    <a:pt x="507" y="780"/>
                  </a:lnTo>
                  <a:lnTo>
                    <a:pt x="510" y="780"/>
                  </a:lnTo>
                  <a:lnTo>
                    <a:pt x="513" y="780"/>
                  </a:lnTo>
                  <a:lnTo>
                    <a:pt x="513" y="777"/>
                  </a:lnTo>
                  <a:lnTo>
                    <a:pt x="515" y="777"/>
                  </a:lnTo>
                  <a:lnTo>
                    <a:pt x="515" y="777"/>
                  </a:lnTo>
                  <a:lnTo>
                    <a:pt x="518" y="775"/>
                  </a:lnTo>
                  <a:lnTo>
                    <a:pt x="518" y="775"/>
                  </a:lnTo>
                  <a:lnTo>
                    <a:pt x="521" y="772"/>
                  </a:lnTo>
                  <a:lnTo>
                    <a:pt x="521" y="772"/>
                  </a:lnTo>
                  <a:lnTo>
                    <a:pt x="521" y="772"/>
                  </a:lnTo>
                  <a:lnTo>
                    <a:pt x="523" y="769"/>
                  </a:lnTo>
                  <a:lnTo>
                    <a:pt x="523" y="769"/>
                  </a:lnTo>
                  <a:lnTo>
                    <a:pt x="526" y="769"/>
                  </a:lnTo>
                  <a:lnTo>
                    <a:pt x="526" y="767"/>
                  </a:lnTo>
                  <a:lnTo>
                    <a:pt x="526" y="767"/>
                  </a:lnTo>
                  <a:lnTo>
                    <a:pt x="526" y="764"/>
                  </a:lnTo>
                  <a:lnTo>
                    <a:pt x="529" y="764"/>
                  </a:lnTo>
                  <a:lnTo>
                    <a:pt x="529" y="761"/>
                  </a:lnTo>
                  <a:lnTo>
                    <a:pt x="529" y="761"/>
                  </a:lnTo>
                  <a:lnTo>
                    <a:pt x="529" y="759"/>
                  </a:lnTo>
                  <a:lnTo>
                    <a:pt x="529" y="759"/>
                  </a:lnTo>
                  <a:lnTo>
                    <a:pt x="531" y="759"/>
                  </a:lnTo>
                  <a:lnTo>
                    <a:pt x="531" y="756"/>
                  </a:lnTo>
                  <a:lnTo>
                    <a:pt x="531" y="756"/>
                  </a:lnTo>
                  <a:lnTo>
                    <a:pt x="531" y="756"/>
                  </a:lnTo>
                  <a:lnTo>
                    <a:pt x="529" y="753"/>
                  </a:lnTo>
                  <a:lnTo>
                    <a:pt x="526" y="753"/>
                  </a:lnTo>
                  <a:lnTo>
                    <a:pt x="523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18" y="756"/>
                  </a:lnTo>
                  <a:lnTo>
                    <a:pt x="518" y="753"/>
                  </a:lnTo>
                  <a:lnTo>
                    <a:pt x="518" y="756"/>
                  </a:lnTo>
                  <a:lnTo>
                    <a:pt x="518" y="756"/>
                  </a:lnTo>
                  <a:lnTo>
                    <a:pt x="515" y="759"/>
                  </a:lnTo>
                  <a:lnTo>
                    <a:pt x="515" y="761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3" y="761"/>
                  </a:lnTo>
                  <a:lnTo>
                    <a:pt x="510" y="761"/>
                  </a:lnTo>
                  <a:lnTo>
                    <a:pt x="507" y="761"/>
                  </a:lnTo>
                  <a:lnTo>
                    <a:pt x="507" y="764"/>
                  </a:lnTo>
                  <a:lnTo>
                    <a:pt x="507" y="764"/>
                  </a:lnTo>
                  <a:lnTo>
                    <a:pt x="505" y="764"/>
                  </a:lnTo>
                  <a:lnTo>
                    <a:pt x="502" y="767"/>
                  </a:lnTo>
                  <a:lnTo>
                    <a:pt x="502" y="767"/>
                  </a:lnTo>
                  <a:lnTo>
                    <a:pt x="502" y="764"/>
                  </a:lnTo>
                  <a:lnTo>
                    <a:pt x="499" y="764"/>
                  </a:lnTo>
                  <a:lnTo>
                    <a:pt x="502" y="764"/>
                  </a:lnTo>
                  <a:lnTo>
                    <a:pt x="499" y="761"/>
                  </a:lnTo>
                  <a:lnTo>
                    <a:pt x="499" y="761"/>
                  </a:lnTo>
                  <a:lnTo>
                    <a:pt x="499" y="761"/>
                  </a:lnTo>
                  <a:lnTo>
                    <a:pt x="497" y="761"/>
                  </a:lnTo>
                  <a:lnTo>
                    <a:pt x="497" y="761"/>
                  </a:lnTo>
                  <a:lnTo>
                    <a:pt x="494" y="759"/>
                  </a:lnTo>
                  <a:lnTo>
                    <a:pt x="494" y="759"/>
                  </a:lnTo>
                  <a:lnTo>
                    <a:pt x="491" y="759"/>
                  </a:lnTo>
                  <a:lnTo>
                    <a:pt x="491" y="756"/>
                  </a:lnTo>
                  <a:lnTo>
                    <a:pt x="489" y="756"/>
                  </a:lnTo>
                  <a:lnTo>
                    <a:pt x="486" y="756"/>
                  </a:lnTo>
                  <a:lnTo>
                    <a:pt x="483" y="756"/>
                  </a:lnTo>
                  <a:lnTo>
                    <a:pt x="483" y="756"/>
                  </a:lnTo>
                  <a:lnTo>
                    <a:pt x="481" y="756"/>
                  </a:lnTo>
                  <a:lnTo>
                    <a:pt x="481" y="756"/>
                  </a:lnTo>
                  <a:lnTo>
                    <a:pt x="478" y="756"/>
                  </a:lnTo>
                  <a:lnTo>
                    <a:pt x="478" y="756"/>
                  </a:lnTo>
                  <a:lnTo>
                    <a:pt x="475" y="756"/>
                  </a:lnTo>
                  <a:lnTo>
                    <a:pt x="475" y="756"/>
                  </a:lnTo>
                  <a:lnTo>
                    <a:pt x="475" y="753"/>
                  </a:lnTo>
                  <a:lnTo>
                    <a:pt x="475" y="753"/>
                  </a:lnTo>
                  <a:lnTo>
                    <a:pt x="473" y="753"/>
                  </a:lnTo>
                  <a:lnTo>
                    <a:pt x="470" y="753"/>
                  </a:lnTo>
                  <a:lnTo>
                    <a:pt x="470" y="753"/>
                  </a:lnTo>
                  <a:lnTo>
                    <a:pt x="467" y="753"/>
                  </a:lnTo>
                  <a:lnTo>
                    <a:pt x="470" y="756"/>
                  </a:lnTo>
                  <a:lnTo>
                    <a:pt x="470" y="756"/>
                  </a:lnTo>
                  <a:lnTo>
                    <a:pt x="467" y="756"/>
                  </a:lnTo>
                  <a:lnTo>
                    <a:pt x="467" y="759"/>
                  </a:lnTo>
                  <a:lnTo>
                    <a:pt x="467" y="759"/>
                  </a:lnTo>
                  <a:lnTo>
                    <a:pt x="467" y="759"/>
                  </a:lnTo>
                  <a:lnTo>
                    <a:pt x="465" y="759"/>
                  </a:lnTo>
                  <a:lnTo>
                    <a:pt x="465" y="759"/>
                  </a:lnTo>
                  <a:lnTo>
                    <a:pt x="465" y="761"/>
                  </a:lnTo>
                  <a:lnTo>
                    <a:pt x="462" y="761"/>
                  </a:lnTo>
                  <a:lnTo>
                    <a:pt x="459" y="761"/>
                  </a:lnTo>
                  <a:lnTo>
                    <a:pt x="459" y="764"/>
                  </a:lnTo>
                  <a:lnTo>
                    <a:pt x="457" y="764"/>
                  </a:lnTo>
                  <a:lnTo>
                    <a:pt x="457" y="767"/>
                  </a:lnTo>
                  <a:lnTo>
                    <a:pt x="454" y="767"/>
                  </a:lnTo>
                  <a:lnTo>
                    <a:pt x="454" y="769"/>
                  </a:lnTo>
                  <a:lnTo>
                    <a:pt x="454" y="769"/>
                  </a:lnTo>
                  <a:lnTo>
                    <a:pt x="454" y="772"/>
                  </a:lnTo>
                  <a:lnTo>
                    <a:pt x="454" y="772"/>
                  </a:lnTo>
                  <a:lnTo>
                    <a:pt x="454" y="772"/>
                  </a:lnTo>
                  <a:lnTo>
                    <a:pt x="457" y="772"/>
                  </a:lnTo>
                  <a:lnTo>
                    <a:pt x="457" y="772"/>
                  </a:lnTo>
                  <a:lnTo>
                    <a:pt x="457" y="775"/>
                  </a:lnTo>
                  <a:lnTo>
                    <a:pt x="457" y="775"/>
                  </a:lnTo>
                  <a:lnTo>
                    <a:pt x="459" y="775"/>
                  </a:lnTo>
                  <a:lnTo>
                    <a:pt x="459" y="777"/>
                  </a:lnTo>
                  <a:lnTo>
                    <a:pt x="459" y="777"/>
                  </a:lnTo>
                  <a:lnTo>
                    <a:pt x="459" y="780"/>
                  </a:lnTo>
                  <a:lnTo>
                    <a:pt x="457" y="780"/>
                  </a:lnTo>
                  <a:lnTo>
                    <a:pt x="457" y="780"/>
                  </a:lnTo>
                  <a:lnTo>
                    <a:pt x="457" y="783"/>
                  </a:lnTo>
                  <a:lnTo>
                    <a:pt x="457" y="783"/>
                  </a:lnTo>
                  <a:lnTo>
                    <a:pt x="454" y="783"/>
                  </a:lnTo>
                  <a:lnTo>
                    <a:pt x="454" y="785"/>
                  </a:lnTo>
                  <a:lnTo>
                    <a:pt x="454" y="785"/>
                  </a:lnTo>
                  <a:lnTo>
                    <a:pt x="451" y="785"/>
                  </a:lnTo>
                  <a:lnTo>
                    <a:pt x="451" y="783"/>
                  </a:lnTo>
                  <a:lnTo>
                    <a:pt x="451" y="783"/>
                  </a:lnTo>
                  <a:lnTo>
                    <a:pt x="451" y="780"/>
                  </a:lnTo>
                  <a:lnTo>
                    <a:pt x="451" y="780"/>
                  </a:lnTo>
                  <a:lnTo>
                    <a:pt x="449" y="783"/>
                  </a:lnTo>
                  <a:lnTo>
                    <a:pt x="449" y="783"/>
                  </a:lnTo>
                  <a:lnTo>
                    <a:pt x="446" y="783"/>
                  </a:lnTo>
                  <a:lnTo>
                    <a:pt x="446" y="785"/>
                  </a:lnTo>
                  <a:lnTo>
                    <a:pt x="443" y="785"/>
                  </a:lnTo>
                  <a:lnTo>
                    <a:pt x="441" y="788"/>
                  </a:lnTo>
                  <a:lnTo>
                    <a:pt x="441" y="785"/>
                  </a:lnTo>
                  <a:lnTo>
                    <a:pt x="443" y="785"/>
                  </a:lnTo>
                  <a:lnTo>
                    <a:pt x="443" y="783"/>
                  </a:lnTo>
                  <a:lnTo>
                    <a:pt x="443" y="783"/>
                  </a:lnTo>
                  <a:lnTo>
                    <a:pt x="446" y="780"/>
                  </a:lnTo>
                  <a:lnTo>
                    <a:pt x="446" y="780"/>
                  </a:lnTo>
                  <a:lnTo>
                    <a:pt x="449" y="777"/>
                  </a:lnTo>
                  <a:lnTo>
                    <a:pt x="449" y="777"/>
                  </a:lnTo>
                  <a:lnTo>
                    <a:pt x="449" y="775"/>
                  </a:lnTo>
                  <a:lnTo>
                    <a:pt x="449" y="775"/>
                  </a:lnTo>
                  <a:lnTo>
                    <a:pt x="446" y="775"/>
                  </a:lnTo>
                  <a:lnTo>
                    <a:pt x="446" y="775"/>
                  </a:lnTo>
                  <a:lnTo>
                    <a:pt x="443" y="777"/>
                  </a:lnTo>
                  <a:lnTo>
                    <a:pt x="443" y="777"/>
                  </a:lnTo>
                  <a:lnTo>
                    <a:pt x="443" y="780"/>
                  </a:lnTo>
                  <a:lnTo>
                    <a:pt x="441" y="780"/>
                  </a:lnTo>
                  <a:lnTo>
                    <a:pt x="441" y="783"/>
                  </a:lnTo>
                  <a:lnTo>
                    <a:pt x="441" y="783"/>
                  </a:lnTo>
                  <a:lnTo>
                    <a:pt x="438" y="783"/>
                  </a:lnTo>
                  <a:lnTo>
                    <a:pt x="438" y="783"/>
                  </a:lnTo>
                  <a:lnTo>
                    <a:pt x="438" y="783"/>
                  </a:lnTo>
                  <a:lnTo>
                    <a:pt x="435" y="780"/>
                  </a:lnTo>
                  <a:lnTo>
                    <a:pt x="435" y="783"/>
                  </a:lnTo>
                  <a:lnTo>
                    <a:pt x="435" y="783"/>
                  </a:lnTo>
                  <a:lnTo>
                    <a:pt x="435" y="780"/>
                  </a:lnTo>
                  <a:lnTo>
                    <a:pt x="433" y="780"/>
                  </a:lnTo>
                  <a:lnTo>
                    <a:pt x="433" y="780"/>
                  </a:lnTo>
                  <a:lnTo>
                    <a:pt x="433" y="780"/>
                  </a:lnTo>
                  <a:lnTo>
                    <a:pt x="430" y="780"/>
                  </a:lnTo>
                  <a:lnTo>
                    <a:pt x="430" y="780"/>
                  </a:lnTo>
                  <a:lnTo>
                    <a:pt x="430" y="780"/>
                  </a:lnTo>
                  <a:lnTo>
                    <a:pt x="427" y="780"/>
                  </a:lnTo>
                  <a:lnTo>
                    <a:pt x="427" y="780"/>
                  </a:lnTo>
                  <a:lnTo>
                    <a:pt x="425" y="780"/>
                  </a:lnTo>
                  <a:lnTo>
                    <a:pt x="425" y="780"/>
                  </a:lnTo>
                  <a:lnTo>
                    <a:pt x="422" y="783"/>
                  </a:lnTo>
                  <a:lnTo>
                    <a:pt x="422" y="783"/>
                  </a:lnTo>
                  <a:lnTo>
                    <a:pt x="419" y="783"/>
                  </a:lnTo>
                  <a:lnTo>
                    <a:pt x="419" y="783"/>
                  </a:lnTo>
                  <a:lnTo>
                    <a:pt x="416" y="785"/>
                  </a:lnTo>
                  <a:lnTo>
                    <a:pt x="416" y="785"/>
                  </a:lnTo>
                  <a:lnTo>
                    <a:pt x="414" y="785"/>
                  </a:lnTo>
                  <a:lnTo>
                    <a:pt x="411" y="785"/>
                  </a:lnTo>
                  <a:lnTo>
                    <a:pt x="411" y="785"/>
                  </a:lnTo>
                  <a:lnTo>
                    <a:pt x="408" y="785"/>
                  </a:lnTo>
                  <a:lnTo>
                    <a:pt x="406" y="785"/>
                  </a:lnTo>
                  <a:lnTo>
                    <a:pt x="406" y="785"/>
                  </a:lnTo>
                  <a:lnTo>
                    <a:pt x="403" y="788"/>
                  </a:lnTo>
                  <a:lnTo>
                    <a:pt x="400" y="788"/>
                  </a:lnTo>
                  <a:lnTo>
                    <a:pt x="398" y="788"/>
                  </a:lnTo>
                  <a:lnTo>
                    <a:pt x="395" y="788"/>
                  </a:lnTo>
                  <a:lnTo>
                    <a:pt x="392" y="791"/>
                  </a:lnTo>
                  <a:lnTo>
                    <a:pt x="390" y="791"/>
                  </a:lnTo>
                  <a:lnTo>
                    <a:pt x="387" y="793"/>
                  </a:lnTo>
                  <a:lnTo>
                    <a:pt x="384" y="796"/>
                  </a:lnTo>
                  <a:lnTo>
                    <a:pt x="384" y="796"/>
                  </a:lnTo>
                  <a:lnTo>
                    <a:pt x="382" y="799"/>
                  </a:lnTo>
                  <a:lnTo>
                    <a:pt x="382" y="799"/>
                  </a:lnTo>
                  <a:lnTo>
                    <a:pt x="382" y="799"/>
                  </a:lnTo>
                  <a:lnTo>
                    <a:pt x="379" y="801"/>
                  </a:lnTo>
                  <a:lnTo>
                    <a:pt x="382" y="801"/>
                  </a:lnTo>
                  <a:lnTo>
                    <a:pt x="382" y="804"/>
                  </a:lnTo>
                  <a:lnTo>
                    <a:pt x="379" y="804"/>
                  </a:lnTo>
                  <a:lnTo>
                    <a:pt x="379" y="807"/>
                  </a:lnTo>
                  <a:lnTo>
                    <a:pt x="379" y="809"/>
                  </a:lnTo>
                  <a:lnTo>
                    <a:pt x="379" y="809"/>
                  </a:lnTo>
                  <a:lnTo>
                    <a:pt x="376" y="812"/>
                  </a:lnTo>
                  <a:lnTo>
                    <a:pt x="376" y="815"/>
                  </a:lnTo>
                  <a:lnTo>
                    <a:pt x="376" y="815"/>
                  </a:lnTo>
                  <a:lnTo>
                    <a:pt x="376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4" y="817"/>
                  </a:lnTo>
                  <a:lnTo>
                    <a:pt x="374" y="820"/>
                  </a:lnTo>
                  <a:lnTo>
                    <a:pt x="376" y="820"/>
                  </a:lnTo>
                  <a:lnTo>
                    <a:pt x="376" y="820"/>
                  </a:lnTo>
                  <a:lnTo>
                    <a:pt x="379" y="820"/>
                  </a:lnTo>
                  <a:lnTo>
                    <a:pt x="379" y="823"/>
                  </a:lnTo>
                  <a:lnTo>
                    <a:pt x="382" y="823"/>
                  </a:lnTo>
                  <a:lnTo>
                    <a:pt x="384" y="825"/>
                  </a:lnTo>
                  <a:lnTo>
                    <a:pt x="384" y="823"/>
                  </a:lnTo>
                  <a:lnTo>
                    <a:pt x="387" y="823"/>
                  </a:lnTo>
                  <a:lnTo>
                    <a:pt x="390" y="825"/>
                  </a:lnTo>
                  <a:lnTo>
                    <a:pt x="390" y="825"/>
                  </a:lnTo>
                  <a:lnTo>
                    <a:pt x="390" y="828"/>
                  </a:lnTo>
                  <a:lnTo>
                    <a:pt x="390" y="828"/>
                  </a:lnTo>
                  <a:lnTo>
                    <a:pt x="390" y="828"/>
                  </a:lnTo>
                  <a:lnTo>
                    <a:pt x="387" y="828"/>
                  </a:lnTo>
                  <a:lnTo>
                    <a:pt x="387" y="828"/>
                  </a:lnTo>
                  <a:lnTo>
                    <a:pt x="384" y="831"/>
                  </a:lnTo>
                  <a:lnTo>
                    <a:pt x="384" y="831"/>
                  </a:lnTo>
                  <a:lnTo>
                    <a:pt x="382" y="831"/>
                  </a:lnTo>
                  <a:lnTo>
                    <a:pt x="382" y="833"/>
                  </a:lnTo>
                  <a:lnTo>
                    <a:pt x="382" y="833"/>
                  </a:lnTo>
                  <a:lnTo>
                    <a:pt x="379" y="836"/>
                  </a:lnTo>
                  <a:lnTo>
                    <a:pt x="379" y="836"/>
                  </a:lnTo>
                  <a:lnTo>
                    <a:pt x="379" y="836"/>
                  </a:lnTo>
                  <a:lnTo>
                    <a:pt x="376" y="836"/>
                  </a:lnTo>
                  <a:lnTo>
                    <a:pt x="376" y="836"/>
                  </a:lnTo>
                  <a:lnTo>
                    <a:pt x="374" y="836"/>
                  </a:lnTo>
                  <a:lnTo>
                    <a:pt x="374" y="833"/>
                  </a:lnTo>
                  <a:lnTo>
                    <a:pt x="374" y="833"/>
                  </a:lnTo>
                  <a:lnTo>
                    <a:pt x="374" y="831"/>
                  </a:lnTo>
                  <a:lnTo>
                    <a:pt x="374" y="831"/>
                  </a:lnTo>
                  <a:lnTo>
                    <a:pt x="371" y="831"/>
                  </a:lnTo>
                  <a:lnTo>
                    <a:pt x="371" y="831"/>
                  </a:lnTo>
                  <a:lnTo>
                    <a:pt x="371" y="831"/>
                  </a:lnTo>
                  <a:lnTo>
                    <a:pt x="371" y="833"/>
                  </a:lnTo>
                  <a:lnTo>
                    <a:pt x="371" y="833"/>
                  </a:lnTo>
                  <a:lnTo>
                    <a:pt x="371" y="836"/>
                  </a:lnTo>
                  <a:lnTo>
                    <a:pt x="371" y="836"/>
                  </a:lnTo>
                  <a:lnTo>
                    <a:pt x="371" y="839"/>
                  </a:lnTo>
                  <a:lnTo>
                    <a:pt x="371" y="841"/>
                  </a:lnTo>
                  <a:lnTo>
                    <a:pt x="371" y="841"/>
                  </a:lnTo>
                  <a:lnTo>
                    <a:pt x="371" y="841"/>
                  </a:lnTo>
                  <a:lnTo>
                    <a:pt x="371" y="844"/>
                  </a:lnTo>
                  <a:lnTo>
                    <a:pt x="374" y="847"/>
                  </a:lnTo>
                  <a:lnTo>
                    <a:pt x="374" y="847"/>
                  </a:lnTo>
                  <a:lnTo>
                    <a:pt x="374" y="849"/>
                  </a:lnTo>
                  <a:lnTo>
                    <a:pt x="376" y="849"/>
                  </a:lnTo>
                  <a:lnTo>
                    <a:pt x="376" y="849"/>
                  </a:lnTo>
                  <a:lnTo>
                    <a:pt x="379" y="849"/>
                  </a:lnTo>
                  <a:lnTo>
                    <a:pt x="379" y="849"/>
                  </a:lnTo>
                  <a:lnTo>
                    <a:pt x="379" y="847"/>
                  </a:lnTo>
                  <a:lnTo>
                    <a:pt x="379" y="847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2" y="844"/>
                  </a:lnTo>
                  <a:lnTo>
                    <a:pt x="384" y="844"/>
                  </a:lnTo>
                  <a:lnTo>
                    <a:pt x="384" y="847"/>
                  </a:lnTo>
                  <a:lnTo>
                    <a:pt x="384" y="844"/>
                  </a:lnTo>
                  <a:lnTo>
                    <a:pt x="384" y="844"/>
                  </a:lnTo>
                  <a:lnTo>
                    <a:pt x="387" y="841"/>
                  </a:lnTo>
                  <a:lnTo>
                    <a:pt x="387" y="841"/>
                  </a:lnTo>
                  <a:lnTo>
                    <a:pt x="387" y="844"/>
                  </a:lnTo>
                  <a:lnTo>
                    <a:pt x="387" y="847"/>
                  </a:lnTo>
                  <a:lnTo>
                    <a:pt x="387" y="847"/>
                  </a:lnTo>
                  <a:lnTo>
                    <a:pt x="387" y="849"/>
                  </a:lnTo>
                  <a:lnTo>
                    <a:pt x="390" y="849"/>
                  </a:lnTo>
                  <a:lnTo>
                    <a:pt x="390" y="852"/>
                  </a:lnTo>
                  <a:lnTo>
                    <a:pt x="390" y="855"/>
                  </a:lnTo>
                  <a:lnTo>
                    <a:pt x="387" y="855"/>
                  </a:lnTo>
                  <a:lnTo>
                    <a:pt x="387" y="855"/>
                  </a:lnTo>
                  <a:lnTo>
                    <a:pt x="384" y="855"/>
                  </a:lnTo>
                  <a:lnTo>
                    <a:pt x="384" y="855"/>
                  </a:lnTo>
                  <a:lnTo>
                    <a:pt x="384" y="857"/>
                  </a:lnTo>
                  <a:lnTo>
                    <a:pt x="384" y="860"/>
                  </a:lnTo>
                  <a:lnTo>
                    <a:pt x="382" y="860"/>
                  </a:lnTo>
                  <a:lnTo>
                    <a:pt x="382" y="860"/>
                  </a:lnTo>
                  <a:lnTo>
                    <a:pt x="382" y="857"/>
                  </a:lnTo>
                  <a:lnTo>
                    <a:pt x="379" y="860"/>
                  </a:lnTo>
                  <a:lnTo>
                    <a:pt x="379" y="860"/>
                  </a:lnTo>
                  <a:lnTo>
                    <a:pt x="376" y="863"/>
                  </a:lnTo>
                  <a:lnTo>
                    <a:pt x="376" y="863"/>
                  </a:lnTo>
                  <a:lnTo>
                    <a:pt x="376" y="865"/>
                  </a:lnTo>
                  <a:lnTo>
                    <a:pt x="374" y="865"/>
                  </a:lnTo>
                  <a:lnTo>
                    <a:pt x="371" y="868"/>
                  </a:lnTo>
                  <a:lnTo>
                    <a:pt x="368" y="868"/>
                  </a:lnTo>
                  <a:lnTo>
                    <a:pt x="368" y="868"/>
                  </a:lnTo>
                  <a:lnTo>
                    <a:pt x="368" y="865"/>
                  </a:lnTo>
                  <a:lnTo>
                    <a:pt x="368" y="865"/>
                  </a:lnTo>
                  <a:lnTo>
                    <a:pt x="368" y="865"/>
                  </a:lnTo>
                  <a:lnTo>
                    <a:pt x="366" y="863"/>
                  </a:lnTo>
                  <a:lnTo>
                    <a:pt x="366" y="860"/>
                  </a:lnTo>
                  <a:lnTo>
                    <a:pt x="363" y="860"/>
                  </a:lnTo>
                  <a:lnTo>
                    <a:pt x="363" y="857"/>
                  </a:lnTo>
                  <a:lnTo>
                    <a:pt x="360" y="857"/>
                  </a:lnTo>
                  <a:lnTo>
                    <a:pt x="360" y="857"/>
                  </a:lnTo>
                  <a:lnTo>
                    <a:pt x="358" y="857"/>
                  </a:lnTo>
                  <a:lnTo>
                    <a:pt x="355" y="857"/>
                  </a:lnTo>
                  <a:lnTo>
                    <a:pt x="355" y="860"/>
                  </a:lnTo>
                  <a:lnTo>
                    <a:pt x="352" y="863"/>
                  </a:lnTo>
                  <a:lnTo>
                    <a:pt x="350" y="863"/>
                  </a:lnTo>
                  <a:lnTo>
                    <a:pt x="350" y="865"/>
                  </a:lnTo>
                  <a:lnTo>
                    <a:pt x="347" y="865"/>
                  </a:lnTo>
                  <a:lnTo>
                    <a:pt x="347" y="868"/>
                  </a:lnTo>
                  <a:lnTo>
                    <a:pt x="344" y="868"/>
                  </a:lnTo>
                  <a:lnTo>
                    <a:pt x="344" y="871"/>
                  </a:lnTo>
                  <a:lnTo>
                    <a:pt x="342" y="871"/>
                  </a:lnTo>
                  <a:lnTo>
                    <a:pt x="342" y="873"/>
                  </a:lnTo>
                  <a:lnTo>
                    <a:pt x="339" y="873"/>
                  </a:lnTo>
                  <a:lnTo>
                    <a:pt x="339" y="876"/>
                  </a:lnTo>
                  <a:lnTo>
                    <a:pt x="339" y="876"/>
                  </a:lnTo>
                  <a:lnTo>
                    <a:pt x="339" y="876"/>
                  </a:lnTo>
                  <a:lnTo>
                    <a:pt x="342" y="879"/>
                  </a:lnTo>
                  <a:lnTo>
                    <a:pt x="344" y="879"/>
                  </a:lnTo>
                  <a:lnTo>
                    <a:pt x="344" y="881"/>
                  </a:lnTo>
                  <a:lnTo>
                    <a:pt x="344" y="881"/>
                  </a:lnTo>
                  <a:lnTo>
                    <a:pt x="344" y="884"/>
                  </a:lnTo>
                  <a:lnTo>
                    <a:pt x="344" y="884"/>
                  </a:lnTo>
                  <a:lnTo>
                    <a:pt x="342" y="887"/>
                  </a:lnTo>
                  <a:lnTo>
                    <a:pt x="342" y="887"/>
                  </a:lnTo>
                  <a:lnTo>
                    <a:pt x="342" y="887"/>
                  </a:lnTo>
                  <a:lnTo>
                    <a:pt x="339" y="887"/>
                  </a:lnTo>
                  <a:lnTo>
                    <a:pt x="339" y="884"/>
                  </a:lnTo>
                  <a:lnTo>
                    <a:pt x="339" y="884"/>
                  </a:lnTo>
                  <a:lnTo>
                    <a:pt x="336" y="884"/>
                  </a:lnTo>
                  <a:lnTo>
                    <a:pt x="336" y="884"/>
                  </a:lnTo>
                  <a:lnTo>
                    <a:pt x="334" y="887"/>
                  </a:lnTo>
                  <a:lnTo>
                    <a:pt x="334" y="887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89"/>
                  </a:lnTo>
                  <a:lnTo>
                    <a:pt x="334" y="892"/>
                  </a:lnTo>
                  <a:lnTo>
                    <a:pt x="334" y="892"/>
                  </a:lnTo>
                  <a:lnTo>
                    <a:pt x="334" y="895"/>
                  </a:lnTo>
                  <a:lnTo>
                    <a:pt x="331" y="895"/>
                  </a:lnTo>
                  <a:lnTo>
                    <a:pt x="328" y="895"/>
                  </a:lnTo>
                  <a:lnTo>
                    <a:pt x="328" y="895"/>
                  </a:lnTo>
                  <a:lnTo>
                    <a:pt x="326" y="895"/>
                  </a:lnTo>
                  <a:lnTo>
                    <a:pt x="326" y="895"/>
                  </a:lnTo>
                  <a:lnTo>
                    <a:pt x="323" y="895"/>
                  </a:lnTo>
                  <a:lnTo>
                    <a:pt x="323" y="895"/>
                  </a:lnTo>
                  <a:lnTo>
                    <a:pt x="320" y="895"/>
                  </a:lnTo>
                  <a:lnTo>
                    <a:pt x="320" y="895"/>
                  </a:lnTo>
                  <a:lnTo>
                    <a:pt x="318" y="895"/>
                  </a:lnTo>
                  <a:lnTo>
                    <a:pt x="318" y="895"/>
                  </a:lnTo>
                  <a:lnTo>
                    <a:pt x="318" y="895"/>
                  </a:lnTo>
                  <a:lnTo>
                    <a:pt x="315" y="898"/>
                  </a:lnTo>
                  <a:lnTo>
                    <a:pt x="315" y="898"/>
                  </a:lnTo>
                  <a:lnTo>
                    <a:pt x="312" y="898"/>
                  </a:lnTo>
                  <a:lnTo>
                    <a:pt x="312" y="898"/>
                  </a:lnTo>
                  <a:lnTo>
                    <a:pt x="310" y="898"/>
                  </a:lnTo>
                  <a:lnTo>
                    <a:pt x="310" y="898"/>
                  </a:lnTo>
                  <a:lnTo>
                    <a:pt x="307" y="898"/>
                  </a:lnTo>
                  <a:lnTo>
                    <a:pt x="307" y="898"/>
                  </a:lnTo>
                  <a:lnTo>
                    <a:pt x="304" y="898"/>
                  </a:lnTo>
                  <a:lnTo>
                    <a:pt x="302" y="900"/>
                  </a:lnTo>
                  <a:lnTo>
                    <a:pt x="302" y="900"/>
                  </a:lnTo>
                  <a:lnTo>
                    <a:pt x="302" y="900"/>
                  </a:lnTo>
                  <a:lnTo>
                    <a:pt x="299" y="900"/>
                  </a:lnTo>
                  <a:lnTo>
                    <a:pt x="299" y="898"/>
                  </a:lnTo>
                  <a:lnTo>
                    <a:pt x="302" y="898"/>
                  </a:lnTo>
                  <a:lnTo>
                    <a:pt x="302" y="895"/>
                  </a:lnTo>
                  <a:lnTo>
                    <a:pt x="304" y="895"/>
                  </a:lnTo>
                  <a:lnTo>
                    <a:pt x="304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5"/>
                  </a:lnTo>
                  <a:lnTo>
                    <a:pt x="307" y="892"/>
                  </a:lnTo>
                  <a:lnTo>
                    <a:pt x="307" y="892"/>
                  </a:lnTo>
                  <a:lnTo>
                    <a:pt x="307" y="889"/>
                  </a:lnTo>
                  <a:lnTo>
                    <a:pt x="304" y="889"/>
                  </a:lnTo>
                  <a:lnTo>
                    <a:pt x="304" y="887"/>
                  </a:lnTo>
                  <a:lnTo>
                    <a:pt x="302" y="884"/>
                  </a:lnTo>
                  <a:lnTo>
                    <a:pt x="302" y="884"/>
                  </a:lnTo>
                  <a:lnTo>
                    <a:pt x="302" y="881"/>
                  </a:lnTo>
                  <a:lnTo>
                    <a:pt x="302" y="881"/>
                  </a:lnTo>
                  <a:lnTo>
                    <a:pt x="299" y="879"/>
                  </a:lnTo>
                  <a:lnTo>
                    <a:pt x="299" y="876"/>
                  </a:lnTo>
                  <a:lnTo>
                    <a:pt x="296" y="873"/>
                  </a:lnTo>
                  <a:lnTo>
                    <a:pt x="296" y="873"/>
                  </a:lnTo>
                  <a:lnTo>
                    <a:pt x="296" y="871"/>
                  </a:lnTo>
                  <a:lnTo>
                    <a:pt x="294" y="871"/>
                  </a:lnTo>
                  <a:lnTo>
                    <a:pt x="294" y="868"/>
                  </a:lnTo>
                  <a:lnTo>
                    <a:pt x="291" y="868"/>
                  </a:lnTo>
                  <a:lnTo>
                    <a:pt x="291" y="865"/>
                  </a:lnTo>
                  <a:lnTo>
                    <a:pt x="291" y="863"/>
                  </a:lnTo>
                  <a:lnTo>
                    <a:pt x="291" y="863"/>
                  </a:lnTo>
                  <a:lnTo>
                    <a:pt x="291" y="860"/>
                  </a:lnTo>
                  <a:lnTo>
                    <a:pt x="288" y="860"/>
                  </a:lnTo>
                  <a:lnTo>
                    <a:pt x="288" y="860"/>
                  </a:lnTo>
                  <a:lnTo>
                    <a:pt x="286" y="860"/>
                  </a:lnTo>
                  <a:lnTo>
                    <a:pt x="283" y="857"/>
                  </a:lnTo>
                  <a:lnTo>
                    <a:pt x="286" y="855"/>
                  </a:lnTo>
                  <a:lnTo>
                    <a:pt x="283" y="852"/>
                  </a:lnTo>
                  <a:lnTo>
                    <a:pt x="280" y="852"/>
                  </a:lnTo>
                  <a:lnTo>
                    <a:pt x="278" y="852"/>
                  </a:lnTo>
                  <a:lnTo>
                    <a:pt x="275" y="852"/>
                  </a:lnTo>
                  <a:lnTo>
                    <a:pt x="275" y="849"/>
                  </a:lnTo>
                  <a:lnTo>
                    <a:pt x="275" y="849"/>
                  </a:lnTo>
                  <a:lnTo>
                    <a:pt x="272" y="852"/>
                  </a:lnTo>
                  <a:lnTo>
                    <a:pt x="270" y="855"/>
                  </a:lnTo>
                  <a:lnTo>
                    <a:pt x="267" y="857"/>
                  </a:lnTo>
                  <a:lnTo>
                    <a:pt x="267" y="860"/>
                  </a:lnTo>
                  <a:lnTo>
                    <a:pt x="264" y="857"/>
                  </a:lnTo>
                  <a:lnTo>
                    <a:pt x="262" y="857"/>
                  </a:lnTo>
                  <a:lnTo>
                    <a:pt x="259" y="857"/>
                  </a:lnTo>
                  <a:lnTo>
                    <a:pt x="259" y="857"/>
                  </a:lnTo>
                  <a:lnTo>
                    <a:pt x="256" y="855"/>
                  </a:lnTo>
                  <a:lnTo>
                    <a:pt x="256" y="855"/>
                  </a:lnTo>
                  <a:lnTo>
                    <a:pt x="256" y="852"/>
                  </a:lnTo>
                  <a:lnTo>
                    <a:pt x="254" y="849"/>
                  </a:lnTo>
                  <a:lnTo>
                    <a:pt x="254" y="847"/>
                  </a:lnTo>
                  <a:lnTo>
                    <a:pt x="251" y="847"/>
                  </a:lnTo>
                  <a:lnTo>
                    <a:pt x="248" y="847"/>
                  </a:lnTo>
                  <a:lnTo>
                    <a:pt x="248" y="847"/>
                  </a:lnTo>
                  <a:lnTo>
                    <a:pt x="246" y="849"/>
                  </a:lnTo>
                  <a:lnTo>
                    <a:pt x="246" y="849"/>
                  </a:lnTo>
                  <a:lnTo>
                    <a:pt x="243" y="849"/>
                  </a:lnTo>
                  <a:lnTo>
                    <a:pt x="240" y="849"/>
                  </a:lnTo>
                  <a:lnTo>
                    <a:pt x="240" y="847"/>
                  </a:lnTo>
                  <a:lnTo>
                    <a:pt x="238" y="847"/>
                  </a:lnTo>
                  <a:lnTo>
                    <a:pt x="238" y="844"/>
                  </a:lnTo>
                  <a:lnTo>
                    <a:pt x="235" y="844"/>
                  </a:lnTo>
                  <a:lnTo>
                    <a:pt x="232" y="844"/>
                  </a:lnTo>
                  <a:lnTo>
                    <a:pt x="232" y="841"/>
                  </a:lnTo>
                  <a:lnTo>
                    <a:pt x="230" y="841"/>
                  </a:lnTo>
                  <a:lnTo>
                    <a:pt x="227" y="844"/>
                  </a:lnTo>
                  <a:lnTo>
                    <a:pt x="224" y="847"/>
                  </a:lnTo>
                  <a:lnTo>
                    <a:pt x="224" y="849"/>
                  </a:lnTo>
                  <a:lnTo>
                    <a:pt x="222" y="852"/>
                  </a:lnTo>
                  <a:lnTo>
                    <a:pt x="222" y="852"/>
                  </a:lnTo>
                  <a:lnTo>
                    <a:pt x="219" y="852"/>
                  </a:lnTo>
                  <a:lnTo>
                    <a:pt x="216" y="855"/>
                  </a:lnTo>
                  <a:lnTo>
                    <a:pt x="214" y="857"/>
                  </a:lnTo>
                  <a:lnTo>
                    <a:pt x="214" y="860"/>
                  </a:lnTo>
                  <a:lnTo>
                    <a:pt x="214" y="860"/>
                  </a:lnTo>
                  <a:lnTo>
                    <a:pt x="211" y="863"/>
                  </a:lnTo>
                  <a:lnTo>
                    <a:pt x="208" y="863"/>
                  </a:lnTo>
                  <a:lnTo>
                    <a:pt x="206" y="860"/>
                  </a:lnTo>
                  <a:lnTo>
                    <a:pt x="206" y="863"/>
                  </a:lnTo>
                  <a:lnTo>
                    <a:pt x="203" y="860"/>
                  </a:lnTo>
                  <a:lnTo>
                    <a:pt x="200" y="860"/>
                  </a:lnTo>
                  <a:lnTo>
                    <a:pt x="198" y="860"/>
                  </a:lnTo>
                  <a:lnTo>
                    <a:pt x="195" y="857"/>
                  </a:lnTo>
                  <a:lnTo>
                    <a:pt x="192" y="857"/>
                  </a:lnTo>
                  <a:lnTo>
                    <a:pt x="190" y="857"/>
                  </a:lnTo>
                  <a:lnTo>
                    <a:pt x="190" y="855"/>
                  </a:lnTo>
                  <a:lnTo>
                    <a:pt x="192" y="852"/>
                  </a:lnTo>
                  <a:lnTo>
                    <a:pt x="192" y="852"/>
                  </a:lnTo>
                  <a:lnTo>
                    <a:pt x="192" y="849"/>
                  </a:lnTo>
                  <a:lnTo>
                    <a:pt x="190" y="849"/>
                  </a:lnTo>
                  <a:lnTo>
                    <a:pt x="187" y="849"/>
                  </a:lnTo>
                  <a:lnTo>
                    <a:pt x="184" y="849"/>
                  </a:lnTo>
                  <a:lnTo>
                    <a:pt x="181" y="847"/>
                  </a:lnTo>
                  <a:lnTo>
                    <a:pt x="181" y="844"/>
                  </a:lnTo>
                  <a:lnTo>
                    <a:pt x="181" y="844"/>
                  </a:lnTo>
                  <a:lnTo>
                    <a:pt x="181" y="841"/>
                  </a:lnTo>
                  <a:lnTo>
                    <a:pt x="184" y="839"/>
                  </a:lnTo>
                  <a:lnTo>
                    <a:pt x="184" y="839"/>
                  </a:lnTo>
                  <a:lnTo>
                    <a:pt x="181" y="836"/>
                  </a:lnTo>
                  <a:lnTo>
                    <a:pt x="181" y="836"/>
                  </a:lnTo>
                  <a:lnTo>
                    <a:pt x="181" y="833"/>
                  </a:lnTo>
                  <a:lnTo>
                    <a:pt x="184" y="831"/>
                  </a:lnTo>
                  <a:lnTo>
                    <a:pt x="184" y="831"/>
                  </a:lnTo>
                  <a:lnTo>
                    <a:pt x="184" y="828"/>
                  </a:lnTo>
                  <a:lnTo>
                    <a:pt x="184" y="828"/>
                  </a:lnTo>
                  <a:lnTo>
                    <a:pt x="187" y="828"/>
                  </a:lnTo>
                  <a:lnTo>
                    <a:pt x="187" y="825"/>
                  </a:lnTo>
                  <a:lnTo>
                    <a:pt x="190" y="823"/>
                  </a:lnTo>
                  <a:lnTo>
                    <a:pt x="190" y="823"/>
                  </a:lnTo>
                  <a:lnTo>
                    <a:pt x="190" y="820"/>
                  </a:lnTo>
                  <a:lnTo>
                    <a:pt x="190" y="817"/>
                  </a:lnTo>
                  <a:lnTo>
                    <a:pt x="190" y="817"/>
                  </a:lnTo>
                  <a:lnTo>
                    <a:pt x="190" y="815"/>
                  </a:lnTo>
                  <a:lnTo>
                    <a:pt x="192" y="812"/>
                  </a:lnTo>
                  <a:lnTo>
                    <a:pt x="190" y="809"/>
                  </a:lnTo>
                  <a:lnTo>
                    <a:pt x="192" y="809"/>
                  </a:lnTo>
                  <a:lnTo>
                    <a:pt x="192" y="807"/>
                  </a:lnTo>
                  <a:lnTo>
                    <a:pt x="195" y="807"/>
                  </a:lnTo>
                  <a:lnTo>
                    <a:pt x="195" y="809"/>
                  </a:lnTo>
                  <a:lnTo>
                    <a:pt x="198" y="809"/>
                  </a:lnTo>
                  <a:lnTo>
                    <a:pt x="200" y="809"/>
                  </a:lnTo>
                  <a:lnTo>
                    <a:pt x="200" y="809"/>
                  </a:lnTo>
                  <a:lnTo>
                    <a:pt x="203" y="809"/>
                  </a:lnTo>
                  <a:lnTo>
                    <a:pt x="206" y="809"/>
                  </a:lnTo>
                  <a:lnTo>
                    <a:pt x="206" y="809"/>
                  </a:lnTo>
                  <a:lnTo>
                    <a:pt x="208" y="807"/>
                  </a:lnTo>
                  <a:lnTo>
                    <a:pt x="208" y="804"/>
                  </a:lnTo>
                  <a:lnTo>
                    <a:pt x="208" y="804"/>
                  </a:lnTo>
                  <a:lnTo>
                    <a:pt x="208" y="801"/>
                  </a:lnTo>
                  <a:lnTo>
                    <a:pt x="208" y="799"/>
                  </a:lnTo>
                  <a:lnTo>
                    <a:pt x="206" y="799"/>
                  </a:lnTo>
                  <a:lnTo>
                    <a:pt x="206" y="796"/>
                  </a:lnTo>
                  <a:lnTo>
                    <a:pt x="203" y="793"/>
                  </a:lnTo>
                  <a:lnTo>
                    <a:pt x="203" y="793"/>
                  </a:lnTo>
                  <a:lnTo>
                    <a:pt x="203" y="791"/>
                  </a:lnTo>
                  <a:lnTo>
                    <a:pt x="200" y="788"/>
                  </a:lnTo>
                  <a:lnTo>
                    <a:pt x="200" y="788"/>
                  </a:lnTo>
                  <a:lnTo>
                    <a:pt x="198" y="785"/>
                  </a:lnTo>
                  <a:lnTo>
                    <a:pt x="198" y="785"/>
                  </a:lnTo>
                  <a:lnTo>
                    <a:pt x="198" y="783"/>
                  </a:lnTo>
                  <a:lnTo>
                    <a:pt x="198" y="780"/>
                  </a:lnTo>
                  <a:lnTo>
                    <a:pt x="198" y="780"/>
                  </a:lnTo>
                  <a:lnTo>
                    <a:pt x="200" y="777"/>
                  </a:lnTo>
                  <a:lnTo>
                    <a:pt x="203" y="777"/>
                  </a:lnTo>
                  <a:lnTo>
                    <a:pt x="203" y="777"/>
                  </a:lnTo>
                  <a:lnTo>
                    <a:pt x="203" y="775"/>
                  </a:lnTo>
                  <a:lnTo>
                    <a:pt x="203" y="772"/>
                  </a:lnTo>
                  <a:lnTo>
                    <a:pt x="203" y="772"/>
                  </a:lnTo>
                  <a:lnTo>
                    <a:pt x="203" y="769"/>
                  </a:lnTo>
                  <a:lnTo>
                    <a:pt x="203" y="769"/>
                  </a:lnTo>
                  <a:lnTo>
                    <a:pt x="203" y="769"/>
                  </a:lnTo>
                  <a:lnTo>
                    <a:pt x="200" y="767"/>
                  </a:lnTo>
                  <a:lnTo>
                    <a:pt x="198" y="767"/>
                  </a:lnTo>
                  <a:lnTo>
                    <a:pt x="195" y="767"/>
                  </a:lnTo>
                  <a:lnTo>
                    <a:pt x="195" y="764"/>
                  </a:lnTo>
                  <a:lnTo>
                    <a:pt x="198" y="761"/>
                  </a:lnTo>
                  <a:lnTo>
                    <a:pt x="198" y="761"/>
                  </a:lnTo>
                  <a:lnTo>
                    <a:pt x="198" y="759"/>
                  </a:lnTo>
                  <a:lnTo>
                    <a:pt x="195" y="759"/>
                  </a:lnTo>
                  <a:lnTo>
                    <a:pt x="192" y="756"/>
                  </a:lnTo>
                  <a:lnTo>
                    <a:pt x="192" y="753"/>
                  </a:lnTo>
                  <a:lnTo>
                    <a:pt x="190" y="751"/>
                  </a:lnTo>
                  <a:lnTo>
                    <a:pt x="187" y="751"/>
                  </a:lnTo>
                  <a:lnTo>
                    <a:pt x="184" y="748"/>
                  </a:lnTo>
                  <a:lnTo>
                    <a:pt x="184" y="745"/>
                  </a:lnTo>
                  <a:lnTo>
                    <a:pt x="181" y="745"/>
                  </a:lnTo>
                  <a:lnTo>
                    <a:pt x="181" y="743"/>
                  </a:lnTo>
                  <a:lnTo>
                    <a:pt x="181" y="740"/>
                  </a:lnTo>
                  <a:lnTo>
                    <a:pt x="181" y="737"/>
                  </a:lnTo>
                  <a:lnTo>
                    <a:pt x="179" y="735"/>
                  </a:lnTo>
                  <a:lnTo>
                    <a:pt x="179" y="735"/>
                  </a:lnTo>
                  <a:lnTo>
                    <a:pt x="176" y="732"/>
                  </a:lnTo>
                  <a:lnTo>
                    <a:pt x="173" y="732"/>
                  </a:lnTo>
                  <a:lnTo>
                    <a:pt x="171" y="732"/>
                  </a:lnTo>
                  <a:lnTo>
                    <a:pt x="171" y="729"/>
                  </a:lnTo>
                  <a:lnTo>
                    <a:pt x="168" y="729"/>
                  </a:lnTo>
                  <a:lnTo>
                    <a:pt x="165" y="726"/>
                  </a:lnTo>
                  <a:lnTo>
                    <a:pt x="165" y="724"/>
                  </a:lnTo>
                  <a:lnTo>
                    <a:pt x="160" y="718"/>
                  </a:lnTo>
                  <a:lnTo>
                    <a:pt x="157" y="721"/>
                  </a:lnTo>
                  <a:lnTo>
                    <a:pt x="157" y="721"/>
                  </a:lnTo>
                  <a:lnTo>
                    <a:pt x="155" y="718"/>
                  </a:lnTo>
                  <a:lnTo>
                    <a:pt x="152" y="718"/>
                  </a:lnTo>
                  <a:lnTo>
                    <a:pt x="152" y="716"/>
                  </a:lnTo>
                  <a:lnTo>
                    <a:pt x="149" y="716"/>
                  </a:lnTo>
                  <a:lnTo>
                    <a:pt x="147" y="713"/>
                  </a:lnTo>
                  <a:lnTo>
                    <a:pt x="144" y="710"/>
                  </a:lnTo>
                  <a:lnTo>
                    <a:pt x="141" y="710"/>
                  </a:lnTo>
                  <a:lnTo>
                    <a:pt x="139" y="708"/>
                  </a:lnTo>
                  <a:lnTo>
                    <a:pt x="133" y="708"/>
                  </a:lnTo>
                  <a:lnTo>
                    <a:pt x="131" y="708"/>
                  </a:lnTo>
                  <a:lnTo>
                    <a:pt x="131" y="708"/>
                  </a:lnTo>
                  <a:lnTo>
                    <a:pt x="128" y="708"/>
                  </a:lnTo>
                  <a:lnTo>
                    <a:pt x="128" y="708"/>
                  </a:lnTo>
                  <a:lnTo>
                    <a:pt x="125" y="708"/>
                  </a:lnTo>
                  <a:lnTo>
                    <a:pt x="123" y="708"/>
                  </a:lnTo>
                  <a:lnTo>
                    <a:pt x="123" y="708"/>
                  </a:lnTo>
                  <a:lnTo>
                    <a:pt x="120" y="708"/>
                  </a:lnTo>
                  <a:lnTo>
                    <a:pt x="120" y="708"/>
                  </a:lnTo>
                  <a:lnTo>
                    <a:pt x="117" y="705"/>
                  </a:lnTo>
                  <a:lnTo>
                    <a:pt x="115" y="705"/>
                  </a:lnTo>
                  <a:lnTo>
                    <a:pt x="112" y="708"/>
                  </a:lnTo>
                  <a:lnTo>
                    <a:pt x="109" y="708"/>
                  </a:lnTo>
                  <a:lnTo>
                    <a:pt x="109" y="708"/>
                  </a:lnTo>
                  <a:lnTo>
                    <a:pt x="107" y="708"/>
                  </a:lnTo>
                  <a:lnTo>
                    <a:pt x="104" y="708"/>
                  </a:lnTo>
                  <a:lnTo>
                    <a:pt x="101" y="705"/>
                  </a:lnTo>
                  <a:lnTo>
                    <a:pt x="101" y="705"/>
                  </a:lnTo>
                  <a:lnTo>
                    <a:pt x="101" y="708"/>
                  </a:lnTo>
                  <a:lnTo>
                    <a:pt x="101" y="710"/>
                  </a:lnTo>
                  <a:lnTo>
                    <a:pt x="104" y="710"/>
                  </a:lnTo>
                  <a:lnTo>
                    <a:pt x="104" y="710"/>
                  </a:lnTo>
                  <a:lnTo>
                    <a:pt x="104" y="710"/>
                  </a:lnTo>
                  <a:lnTo>
                    <a:pt x="104" y="713"/>
                  </a:lnTo>
                  <a:lnTo>
                    <a:pt x="104" y="716"/>
                  </a:lnTo>
                  <a:lnTo>
                    <a:pt x="104" y="718"/>
                  </a:lnTo>
                  <a:lnTo>
                    <a:pt x="101" y="718"/>
                  </a:lnTo>
                  <a:lnTo>
                    <a:pt x="101" y="718"/>
                  </a:lnTo>
                  <a:lnTo>
                    <a:pt x="101" y="721"/>
                  </a:lnTo>
                  <a:lnTo>
                    <a:pt x="101" y="721"/>
                  </a:lnTo>
                  <a:lnTo>
                    <a:pt x="99" y="724"/>
                  </a:lnTo>
                  <a:lnTo>
                    <a:pt x="99" y="721"/>
                  </a:lnTo>
                  <a:lnTo>
                    <a:pt x="99" y="721"/>
                  </a:lnTo>
                  <a:lnTo>
                    <a:pt x="96" y="721"/>
                  </a:lnTo>
                  <a:lnTo>
                    <a:pt x="96" y="721"/>
                  </a:lnTo>
                  <a:lnTo>
                    <a:pt x="93" y="724"/>
                  </a:lnTo>
                  <a:lnTo>
                    <a:pt x="91" y="724"/>
                  </a:lnTo>
                  <a:lnTo>
                    <a:pt x="91" y="724"/>
                  </a:lnTo>
                  <a:lnTo>
                    <a:pt x="88" y="724"/>
                  </a:lnTo>
                  <a:lnTo>
                    <a:pt x="88" y="729"/>
                  </a:lnTo>
                  <a:lnTo>
                    <a:pt x="85" y="729"/>
                  </a:lnTo>
                  <a:lnTo>
                    <a:pt x="83" y="729"/>
                  </a:lnTo>
                  <a:lnTo>
                    <a:pt x="80" y="729"/>
                  </a:lnTo>
                  <a:lnTo>
                    <a:pt x="80" y="729"/>
                  </a:lnTo>
                  <a:lnTo>
                    <a:pt x="77" y="726"/>
                  </a:lnTo>
                  <a:lnTo>
                    <a:pt x="75" y="726"/>
                  </a:lnTo>
                  <a:lnTo>
                    <a:pt x="72" y="726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7" y="732"/>
                  </a:lnTo>
                  <a:lnTo>
                    <a:pt x="67" y="732"/>
                  </a:lnTo>
                  <a:lnTo>
                    <a:pt x="64" y="735"/>
                  </a:lnTo>
                  <a:lnTo>
                    <a:pt x="64" y="735"/>
                  </a:lnTo>
                  <a:lnTo>
                    <a:pt x="64" y="732"/>
                  </a:lnTo>
                  <a:lnTo>
                    <a:pt x="61" y="729"/>
                  </a:lnTo>
                  <a:lnTo>
                    <a:pt x="61" y="729"/>
                  </a:lnTo>
                  <a:lnTo>
                    <a:pt x="61" y="726"/>
                  </a:lnTo>
                  <a:lnTo>
                    <a:pt x="64" y="724"/>
                  </a:lnTo>
                  <a:lnTo>
                    <a:pt x="64" y="721"/>
                  </a:lnTo>
                  <a:lnTo>
                    <a:pt x="67" y="721"/>
                  </a:lnTo>
                  <a:lnTo>
                    <a:pt x="67" y="718"/>
                  </a:lnTo>
                  <a:lnTo>
                    <a:pt x="69" y="718"/>
                  </a:lnTo>
                  <a:lnTo>
                    <a:pt x="67" y="716"/>
                  </a:lnTo>
                  <a:lnTo>
                    <a:pt x="67" y="713"/>
                  </a:lnTo>
                  <a:lnTo>
                    <a:pt x="64" y="710"/>
                  </a:lnTo>
                  <a:lnTo>
                    <a:pt x="64" y="710"/>
                  </a:lnTo>
                  <a:lnTo>
                    <a:pt x="67" y="710"/>
                  </a:lnTo>
                  <a:lnTo>
                    <a:pt x="67" y="708"/>
                  </a:lnTo>
                  <a:lnTo>
                    <a:pt x="69" y="708"/>
                  </a:lnTo>
                  <a:lnTo>
                    <a:pt x="69" y="708"/>
                  </a:lnTo>
                  <a:lnTo>
                    <a:pt x="69" y="705"/>
                  </a:lnTo>
                  <a:lnTo>
                    <a:pt x="69" y="702"/>
                  </a:lnTo>
                  <a:lnTo>
                    <a:pt x="69" y="702"/>
                  </a:lnTo>
                  <a:lnTo>
                    <a:pt x="69" y="702"/>
                  </a:lnTo>
                  <a:lnTo>
                    <a:pt x="69" y="700"/>
                  </a:lnTo>
                  <a:lnTo>
                    <a:pt x="67" y="700"/>
                  </a:lnTo>
                  <a:lnTo>
                    <a:pt x="67" y="697"/>
                  </a:lnTo>
                  <a:lnTo>
                    <a:pt x="67" y="697"/>
                  </a:lnTo>
                  <a:lnTo>
                    <a:pt x="64" y="694"/>
                  </a:lnTo>
                  <a:lnTo>
                    <a:pt x="64" y="694"/>
                  </a:lnTo>
                  <a:lnTo>
                    <a:pt x="61" y="692"/>
                  </a:lnTo>
                  <a:lnTo>
                    <a:pt x="64" y="689"/>
                  </a:lnTo>
                  <a:lnTo>
                    <a:pt x="61" y="686"/>
                  </a:lnTo>
                  <a:lnTo>
                    <a:pt x="59" y="686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61" y="684"/>
                  </a:lnTo>
                  <a:lnTo>
                    <a:pt x="61" y="684"/>
                  </a:lnTo>
                  <a:lnTo>
                    <a:pt x="61" y="684"/>
                  </a:lnTo>
                  <a:lnTo>
                    <a:pt x="61" y="681"/>
                  </a:lnTo>
                  <a:lnTo>
                    <a:pt x="61" y="681"/>
                  </a:lnTo>
                  <a:lnTo>
                    <a:pt x="61" y="678"/>
                  </a:lnTo>
                  <a:lnTo>
                    <a:pt x="64" y="678"/>
                  </a:lnTo>
                  <a:lnTo>
                    <a:pt x="64" y="678"/>
                  </a:lnTo>
                  <a:lnTo>
                    <a:pt x="67" y="676"/>
                  </a:lnTo>
                  <a:lnTo>
                    <a:pt x="67" y="676"/>
                  </a:lnTo>
                  <a:lnTo>
                    <a:pt x="67" y="670"/>
                  </a:lnTo>
                  <a:lnTo>
                    <a:pt x="67" y="670"/>
                  </a:lnTo>
                  <a:lnTo>
                    <a:pt x="64" y="670"/>
                  </a:lnTo>
                  <a:lnTo>
                    <a:pt x="61" y="670"/>
                  </a:lnTo>
                  <a:lnTo>
                    <a:pt x="61" y="668"/>
                  </a:lnTo>
                  <a:lnTo>
                    <a:pt x="59" y="668"/>
                  </a:lnTo>
                  <a:lnTo>
                    <a:pt x="59" y="665"/>
                  </a:lnTo>
                  <a:lnTo>
                    <a:pt x="59" y="665"/>
                  </a:lnTo>
                  <a:lnTo>
                    <a:pt x="59" y="665"/>
                  </a:lnTo>
                  <a:lnTo>
                    <a:pt x="56" y="665"/>
                  </a:lnTo>
                  <a:lnTo>
                    <a:pt x="56" y="662"/>
                  </a:lnTo>
                  <a:lnTo>
                    <a:pt x="56" y="660"/>
                  </a:lnTo>
                  <a:lnTo>
                    <a:pt x="53" y="657"/>
                  </a:lnTo>
                  <a:lnTo>
                    <a:pt x="51" y="657"/>
                  </a:lnTo>
                  <a:lnTo>
                    <a:pt x="48" y="660"/>
                  </a:lnTo>
                  <a:lnTo>
                    <a:pt x="48" y="657"/>
                  </a:lnTo>
                  <a:lnTo>
                    <a:pt x="48" y="657"/>
                  </a:lnTo>
                  <a:lnTo>
                    <a:pt x="48" y="654"/>
                  </a:lnTo>
                  <a:lnTo>
                    <a:pt x="48" y="652"/>
                  </a:lnTo>
                  <a:lnTo>
                    <a:pt x="48" y="649"/>
                  </a:lnTo>
                  <a:lnTo>
                    <a:pt x="45" y="646"/>
                  </a:lnTo>
                  <a:lnTo>
                    <a:pt x="43" y="644"/>
                  </a:lnTo>
                  <a:lnTo>
                    <a:pt x="40" y="644"/>
                  </a:lnTo>
                  <a:lnTo>
                    <a:pt x="40" y="641"/>
                  </a:lnTo>
                  <a:lnTo>
                    <a:pt x="37" y="638"/>
                  </a:lnTo>
                  <a:lnTo>
                    <a:pt x="35" y="636"/>
                  </a:lnTo>
                  <a:lnTo>
                    <a:pt x="35" y="636"/>
                  </a:lnTo>
                  <a:lnTo>
                    <a:pt x="32" y="636"/>
                  </a:lnTo>
                  <a:lnTo>
                    <a:pt x="32" y="633"/>
                  </a:lnTo>
                  <a:lnTo>
                    <a:pt x="32" y="633"/>
                  </a:lnTo>
                  <a:lnTo>
                    <a:pt x="32" y="633"/>
                  </a:lnTo>
                  <a:lnTo>
                    <a:pt x="32" y="630"/>
                  </a:lnTo>
                  <a:lnTo>
                    <a:pt x="32" y="630"/>
                  </a:lnTo>
                  <a:lnTo>
                    <a:pt x="29" y="63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0" name="Freeform 8886">
              <a:extLst>
                <a:ext uri="{FF2B5EF4-FFF2-40B4-BE49-F238E27FC236}">
                  <a16:creationId xmlns:a16="http://schemas.microsoft.com/office/drawing/2014/main" id="{F84C0708-EED4-4945-AEFB-F9F849FA800F}"/>
                </a:ext>
              </a:extLst>
            </p:cNvPr>
            <p:cNvSpPr/>
            <p:nvPr/>
          </p:nvSpPr>
          <p:spPr bwMode="auto">
            <a:xfrm>
              <a:off x="9284489" y="3162301"/>
              <a:ext cx="1365250" cy="2570162"/>
            </a:xfrm>
            <a:custGeom>
              <a:avLst/>
              <a:gdLst>
                <a:gd name="T0" fmla="*/ 203 w 860"/>
                <a:gd name="T1" fmla="*/ 297 h 1619"/>
                <a:gd name="T2" fmla="*/ 205 w 860"/>
                <a:gd name="T3" fmla="*/ 211 h 1619"/>
                <a:gd name="T4" fmla="*/ 208 w 860"/>
                <a:gd name="T5" fmla="*/ 120 h 1619"/>
                <a:gd name="T6" fmla="*/ 267 w 860"/>
                <a:gd name="T7" fmla="*/ 96 h 1619"/>
                <a:gd name="T8" fmla="*/ 331 w 860"/>
                <a:gd name="T9" fmla="*/ 78 h 1619"/>
                <a:gd name="T10" fmla="*/ 395 w 860"/>
                <a:gd name="T11" fmla="*/ 59 h 1619"/>
                <a:gd name="T12" fmla="*/ 454 w 860"/>
                <a:gd name="T13" fmla="*/ 3 h 1619"/>
                <a:gd name="T14" fmla="*/ 537 w 860"/>
                <a:gd name="T15" fmla="*/ 104 h 1619"/>
                <a:gd name="T16" fmla="*/ 582 w 860"/>
                <a:gd name="T17" fmla="*/ 142 h 1619"/>
                <a:gd name="T18" fmla="*/ 611 w 860"/>
                <a:gd name="T19" fmla="*/ 201 h 1619"/>
                <a:gd name="T20" fmla="*/ 574 w 860"/>
                <a:gd name="T21" fmla="*/ 230 h 1619"/>
                <a:gd name="T22" fmla="*/ 459 w 860"/>
                <a:gd name="T23" fmla="*/ 321 h 1619"/>
                <a:gd name="T24" fmla="*/ 424 w 860"/>
                <a:gd name="T25" fmla="*/ 460 h 1619"/>
                <a:gd name="T26" fmla="*/ 411 w 860"/>
                <a:gd name="T27" fmla="*/ 556 h 1619"/>
                <a:gd name="T28" fmla="*/ 387 w 860"/>
                <a:gd name="T29" fmla="*/ 639 h 1619"/>
                <a:gd name="T30" fmla="*/ 384 w 860"/>
                <a:gd name="T31" fmla="*/ 711 h 1619"/>
                <a:gd name="T32" fmla="*/ 360 w 860"/>
                <a:gd name="T33" fmla="*/ 778 h 1619"/>
                <a:gd name="T34" fmla="*/ 334 w 860"/>
                <a:gd name="T35" fmla="*/ 847 h 1619"/>
                <a:gd name="T36" fmla="*/ 382 w 860"/>
                <a:gd name="T37" fmla="*/ 885 h 1619"/>
                <a:gd name="T38" fmla="*/ 424 w 860"/>
                <a:gd name="T39" fmla="*/ 903 h 1619"/>
                <a:gd name="T40" fmla="*/ 459 w 860"/>
                <a:gd name="T41" fmla="*/ 922 h 1619"/>
                <a:gd name="T42" fmla="*/ 464 w 860"/>
                <a:gd name="T43" fmla="*/ 874 h 1619"/>
                <a:gd name="T44" fmla="*/ 488 w 860"/>
                <a:gd name="T45" fmla="*/ 898 h 1619"/>
                <a:gd name="T46" fmla="*/ 496 w 860"/>
                <a:gd name="T47" fmla="*/ 941 h 1619"/>
                <a:gd name="T48" fmla="*/ 526 w 860"/>
                <a:gd name="T49" fmla="*/ 911 h 1619"/>
                <a:gd name="T50" fmla="*/ 521 w 860"/>
                <a:gd name="T51" fmla="*/ 850 h 1619"/>
                <a:gd name="T52" fmla="*/ 611 w 860"/>
                <a:gd name="T53" fmla="*/ 831 h 1619"/>
                <a:gd name="T54" fmla="*/ 694 w 860"/>
                <a:gd name="T55" fmla="*/ 855 h 1619"/>
                <a:gd name="T56" fmla="*/ 675 w 860"/>
                <a:gd name="T57" fmla="*/ 890 h 1619"/>
                <a:gd name="T58" fmla="*/ 737 w 860"/>
                <a:gd name="T59" fmla="*/ 941 h 1619"/>
                <a:gd name="T60" fmla="*/ 756 w 860"/>
                <a:gd name="T61" fmla="*/ 992 h 1619"/>
                <a:gd name="T62" fmla="*/ 753 w 860"/>
                <a:gd name="T63" fmla="*/ 1040 h 1619"/>
                <a:gd name="T64" fmla="*/ 772 w 860"/>
                <a:gd name="T65" fmla="*/ 1101 h 1619"/>
                <a:gd name="T66" fmla="*/ 806 w 860"/>
                <a:gd name="T67" fmla="*/ 1160 h 1619"/>
                <a:gd name="T68" fmla="*/ 833 w 860"/>
                <a:gd name="T69" fmla="*/ 1227 h 1619"/>
                <a:gd name="T70" fmla="*/ 846 w 860"/>
                <a:gd name="T71" fmla="*/ 1269 h 1619"/>
                <a:gd name="T72" fmla="*/ 844 w 860"/>
                <a:gd name="T73" fmla="*/ 1350 h 1619"/>
                <a:gd name="T74" fmla="*/ 804 w 860"/>
                <a:gd name="T75" fmla="*/ 1403 h 1619"/>
                <a:gd name="T76" fmla="*/ 745 w 860"/>
                <a:gd name="T77" fmla="*/ 1376 h 1619"/>
                <a:gd name="T78" fmla="*/ 780 w 860"/>
                <a:gd name="T79" fmla="*/ 1440 h 1619"/>
                <a:gd name="T80" fmla="*/ 723 w 860"/>
                <a:gd name="T81" fmla="*/ 1534 h 1619"/>
                <a:gd name="T82" fmla="*/ 627 w 860"/>
                <a:gd name="T83" fmla="*/ 1545 h 1619"/>
                <a:gd name="T84" fmla="*/ 582 w 860"/>
                <a:gd name="T85" fmla="*/ 1590 h 1619"/>
                <a:gd name="T86" fmla="*/ 579 w 860"/>
                <a:gd name="T87" fmla="*/ 1499 h 1619"/>
                <a:gd name="T88" fmla="*/ 569 w 860"/>
                <a:gd name="T89" fmla="*/ 1435 h 1619"/>
                <a:gd name="T90" fmla="*/ 475 w 860"/>
                <a:gd name="T91" fmla="*/ 1454 h 1619"/>
                <a:gd name="T92" fmla="*/ 347 w 860"/>
                <a:gd name="T93" fmla="*/ 1464 h 1619"/>
                <a:gd name="T94" fmla="*/ 269 w 860"/>
                <a:gd name="T95" fmla="*/ 1363 h 1619"/>
                <a:gd name="T96" fmla="*/ 256 w 860"/>
                <a:gd name="T97" fmla="*/ 1253 h 1619"/>
                <a:gd name="T98" fmla="*/ 326 w 860"/>
                <a:gd name="T99" fmla="*/ 1168 h 1619"/>
                <a:gd name="T100" fmla="*/ 384 w 860"/>
                <a:gd name="T101" fmla="*/ 1085 h 1619"/>
                <a:gd name="T102" fmla="*/ 315 w 860"/>
                <a:gd name="T103" fmla="*/ 1040 h 1619"/>
                <a:gd name="T104" fmla="*/ 208 w 860"/>
                <a:gd name="T105" fmla="*/ 1109 h 1619"/>
                <a:gd name="T106" fmla="*/ 128 w 860"/>
                <a:gd name="T107" fmla="*/ 1034 h 1619"/>
                <a:gd name="T108" fmla="*/ 173 w 860"/>
                <a:gd name="T109" fmla="*/ 906 h 1619"/>
                <a:gd name="T110" fmla="*/ 83 w 860"/>
                <a:gd name="T111" fmla="*/ 911 h 1619"/>
                <a:gd name="T112" fmla="*/ 64 w 860"/>
                <a:gd name="T113" fmla="*/ 828 h 1619"/>
                <a:gd name="T114" fmla="*/ 67 w 860"/>
                <a:gd name="T115" fmla="*/ 791 h 1619"/>
                <a:gd name="T116" fmla="*/ 26 w 860"/>
                <a:gd name="T117" fmla="*/ 756 h 1619"/>
                <a:gd name="T118" fmla="*/ 21 w 860"/>
                <a:gd name="T119" fmla="*/ 671 h 1619"/>
                <a:gd name="T120" fmla="*/ 34 w 860"/>
                <a:gd name="T121" fmla="*/ 548 h 1619"/>
                <a:gd name="T122" fmla="*/ 131 w 860"/>
                <a:gd name="T123" fmla="*/ 492 h 1619"/>
                <a:gd name="T124" fmla="*/ 211 w 860"/>
                <a:gd name="T125" fmla="*/ 433 h 1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0" h="1619" extrusionOk="0">
                  <a:moveTo>
                    <a:pt x="227" y="388"/>
                  </a:moveTo>
                  <a:lnTo>
                    <a:pt x="229" y="388"/>
                  </a:lnTo>
                  <a:lnTo>
                    <a:pt x="229" y="388"/>
                  </a:lnTo>
                  <a:lnTo>
                    <a:pt x="229" y="390"/>
                  </a:lnTo>
                  <a:lnTo>
                    <a:pt x="229" y="390"/>
                  </a:lnTo>
                  <a:lnTo>
                    <a:pt x="232" y="390"/>
                  </a:lnTo>
                  <a:lnTo>
                    <a:pt x="232" y="393"/>
                  </a:lnTo>
                  <a:lnTo>
                    <a:pt x="235" y="393"/>
                  </a:lnTo>
                  <a:lnTo>
                    <a:pt x="235" y="393"/>
                  </a:lnTo>
                  <a:lnTo>
                    <a:pt x="235" y="396"/>
                  </a:lnTo>
                  <a:lnTo>
                    <a:pt x="235" y="398"/>
                  </a:lnTo>
                  <a:lnTo>
                    <a:pt x="235" y="398"/>
                  </a:lnTo>
                  <a:lnTo>
                    <a:pt x="237" y="398"/>
                  </a:lnTo>
                  <a:lnTo>
                    <a:pt x="240" y="398"/>
                  </a:lnTo>
                  <a:lnTo>
                    <a:pt x="240" y="396"/>
                  </a:lnTo>
                  <a:lnTo>
                    <a:pt x="243" y="396"/>
                  </a:lnTo>
                  <a:lnTo>
                    <a:pt x="243" y="396"/>
                  </a:lnTo>
                  <a:lnTo>
                    <a:pt x="243" y="393"/>
                  </a:lnTo>
                  <a:lnTo>
                    <a:pt x="243" y="390"/>
                  </a:lnTo>
                  <a:lnTo>
                    <a:pt x="240" y="390"/>
                  </a:lnTo>
                  <a:lnTo>
                    <a:pt x="240" y="388"/>
                  </a:lnTo>
                  <a:lnTo>
                    <a:pt x="240" y="388"/>
                  </a:lnTo>
                  <a:lnTo>
                    <a:pt x="237" y="385"/>
                  </a:lnTo>
                  <a:lnTo>
                    <a:pt x="237" y="385"/>
                  </a:lnTo>
                  <a:lnTo>
                    <a:pt x="235" y="382"/>
                  </a:lnTo>
                  <a:lnTo>
                    <a:pt x="235" y="382"/>
                  </a:lnTo>
                  <a:lnTo>
                    <a:pt x="232" y="380"/>
                  </a:lnTo>
                  <a:lnTo>
                    <a:pt x="232" y="377"/>
                  </a:lnTo>
                  <a:lnTo>
                    <a:pt x="232" y="377"/>
                  </a:lnTo>
                  <a:lnTo>
                    <a:pt x="232" y="374"/>
                  </a:lnTo>
                  <a:lnTo>
                    <a:pt x="232" y="369"/>
                  </a:lnTo>
                  <a:lnTo>
                    <a:pt x="232" y="369"/>
                  </a:lnTo>
                  <a:lnTo>
                    <a:pt x="229" y="369"/>
                  </a:lnTo>
                  <a:lnTo>
                    <a:pt x="229" y="366"/>
                  </a:lnTo>
                  <a:lnTo>
                    <a:pt x="227" y="366"/>
                  </a:lnTo>
                  <a:lnTo>
                    <a:pt x="227" y="364"/>
                  </a:lnTo>
                  <a:lnTo>
                    <a:pt x="224" y="361"/>
                  </a:lnTo>
                  <a:lnTo>
                    <a:pt x="224" y="358"/>
                  </a:lnTo>
                  <a:lnTo>
                    <a:pt x="224" y="358"/>
                  </a:lnTo>
                  <a:lnTo>
                    <a:pt x="221" y="356"/>
                  </a:lnTo>
                  <a:lnTo>
                    <a:pt x="221" y="356"/>
                  </a:lnTo>
                  <a:lnTo>
                    <a:pt x="221" y="353"/>
                  </a:lnTo>
                  <a:lnTo>
                    <a:pt x="219" y="353"/>
                  </a:lnTo>
                  <a:lnTo>
                    <a:pt x="219" y="350"/>
                  </a:lnTo>
                  <a:lnTo>
                    <a:pt x="219" y="347"/>
                  </a:lnTo>
                  <a:lnTo>
                    <a:pt x="216" y="347"/>
                  </a:lnTo>
                  <a:lnTo>
                    <a:pt x="216" y="347"/>
                  </a:lnTo>
                  <a:lnTo>
                    <a:pt x="216" y="345"/>
                  </a:lnTo>
                  <a:lnTo>
                    <a:pt x="216" y="342"/>
                  </a:lnTo>
                  <a:lnTo>
                    <a:pt x="216" y="339"/>
                  </a:lnTo>
                  <a:lnTo>
                    <a:pt x="216" y="334"/>
                  </a:lnTo>
                  <a:lnTo>
                    <a:pt x="216" y="334"/>
                  </a:lnTo>
                  <a:lnTo>
                    <a:pt x="216" y="331"/>
                  </a:lnTo>
                  <a:lnTo>
                    <a:pt x="213" y="329"/>
                  </a:lnTo>
                  <a:lnTo>
                    <a:pt x="211" y="326"/>
                  </a:lnTo>
                  <a:lnTo>
                    <a:pt x="211" y="323"/>
                  </a:lnTo>
                  <a:lnTo>
                    <a:pt x="208" y="323"/>
                  </a:lnTo>
                  <a:lnTo>
                    <a:pt x="208" y="321"/>
                  </a:lnTo>
                  <a:lnTo>
                    <a:pt x="208" y="318"/>
                  </a:lnTo>
                  <a:lnTo>
                    <a:pt x="208" y="318"/>
                  </a:lnTo>
                  <a:lnTo>
                    <a:pt x="208" y="315"/>
                  </a:lnTo>
                  <a:lnTo>
                    <a:pt x="208" y="313"/>
                  </a:lnTo>
                  <a:lnTo>
                    <a:pt x="205" y="313"/>
                  </a:lnTo>
                  <a:lnTo>
                    <a:pt x="205" y="310"/>
                  </a:lnTo>
                  <a:lnTo>
                    <a:pt x="205" y="310"/>
                  </a:lnTo>
                  <a:lnTo>
                    <a:pt x="208" y="307"/>
                  </a:lnTo>
                  <a:lnTo>
                    <a:pt x="208" y="307"/>
                  </a:lnTo>
                  <a:lnTo>
                    <a:pt x="205" y="305"/>
                  </a:lnTo>
                  <a:lnTo>
                    <a:pt x="205" y="302"/>
                  </a:lnTo>
                  <a:lnTo>
                    <a:pt x="205" y="299"/>
                  </a:lnTo>
                  <a:lnTo>
                    <a:pt x="203" y="297"/>
                  </a:lnTo>
                  <a:lnTo>
                    <a:pt x="203" y="297"/>
                  </a:lnTo>
                  <a:lnTo>
                    <a:pt x="200" y="297"/>
                  </a:lnTo>
                  <a:lnTo>
                    <a:pt x="197" y="297"/>
                  </a:lnTo>
                  <a:lnTo>
                    <a:pt x="195" y="297"/>
                  </a:lnTo>
                  <a:lnTo>
                    <a:pt x="195" y="294"/>
                  </a:lnTo>
                  <a:lnTo>
                    <a:pt x="192" y="294"/>
                  </a:lnTo>
                  <a:lnTo>
                    <a:pt x="189" y="294"/>
                  </a:lnTo>
                  <a:lnTo>
                    <a:pt x="189" y="291"/>
                  </a:lnTo>
                  <a:lnTo>
                    <a:pt x="187" y="291"/>
                  </a:lnTo>
                  <a:lnTo>
                    <a:pt x="187" y="291"/>
                  </a:lnTo>
                  <a:lnTo>
                    <a:pt x="184" y="289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3"/>
                  </a:lnTo>
                  <a:lnTo>
                    <a:pt x="184" y="281"/>
                  </a:lnTo>
                  <a:lnTo>
                    <a:pt x="184" y="278"/>
                  </a:lnTo>
                  <a:lnTo>
                    <a:pt x="187" y="278"/>
                  </a:lnTo>
                  <a:lnTo>
                    <a:pt x="187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79" y="267"/>
                  </a:lnTo>
                  <a:lnTo>
                    <a:pt x="179" y="267"/>
                  </a:lnTo>
                  <a:lnTo>
                    <a:pt x="181" y="265"/>
                  </a:lnTo>
                  <a:lnTo>
                    <a:pt x="181" y="265"/>
                  </a:lnTo>
                  <a:lnTo>
                    <a:pt x="181" y="265"/>
                  </a:lnTo>
                  <a:lnTo>
                    <a:pt x="184" y="265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7" y="259"/>
                  </a:lnTo>
                  <a:lnTo>
                    <a:pt x="187" y="257"/>
                  </a:lnTo>
                  <a:lnTo>
                    <a:pt x="189" y="254"/>
                  </a:lnTo>
                  <a:lnTo>
                    <a:pt x="189" y="254"/>
                  </a:lnTo>
                  <a:lnTo>
                    <a:pt x="189" y="251"/>
                  </a:lnTo>
                  <a:lnTo>
                    <a:pt x="189" y="251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6"/>
                  </a:lnTo>
                  <a:lnTo>
                    <a:pt x="189" y="246"/>
                  </a:lnTo>
                  <a:lnTo>
                    <a:pt x="187" y="243"/>
                  </a:lnTo>
                  <a:lnTo>
                    <a:pt x="184" y="243"/>
                  </a:lnTo>
                  <a:lnTo>
                    <a:pt x="184" y="241"/>
                  </a:lnTo>
                  <a:lnTo>
                    <a:pt x="184" y="235"/>
                  </a:lnTo>
                  <a:lnTo>
                    <a:pt x="187" y="235"/>
                  </a:lnTo>
                  <a:lnTo>
                    <a:pt x="189" y="238"/>
                  </a:lnTo>
                  <a:lnTo>
                    <a:pt x="189" y="235"/>
                  </a:lnTo>
                  <a:lnTo>
                    <a:pt x="189" y="235"/>
                  </a:lnTo>
                  <a:lnTo>
                    <a:pt x="192" y="233"/>
                  </a:lnTo>
                  <a:lnTo>
                    <a:pt x="195" y="233"/>
                  </a:lnTo>
                  <a:lnTo>
                    <a:pt x="195" y="233"/>
                  </a:lnTo>
                  <a:lnTo>
                    <a:pt x="195" y="233"/>
                  </a:lnTo>
                  <a:lnTo>
                    <a:pt x="197" y="230"/>
                  </a:lnTo>
                  <a:lnTo>
                    <a:pt x="197" y="230"/>
                  </a:lnTo>
                  <a:lnTo>
                    <a:pt x="197" y="227"/>
                  </a:lnTo>
                  <a:lnTo>
                    <a:pt x="197" y="227"/>
                  </a:lnTo>
                  <a:lnTo>
                    <a:pt x="197" y="225"/>
                  </a:lnTo>
                  <a:lnTo>
                    <a:pt x="197" y="222"/>
                  </a:lnTo>
                  <a:lnTo>
                    <a:pt x="195" y="222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7"/>
                  </a:lnTo>
                  <a:lnTo>
                    <a:pt x="197" y="217"/>
                  </a:lnTo>
                  <a:lnTo>
                    <a:pt x="197" y="217"/>
                  </a:lnTo>
                  <a:lnTo>
                    <a:pt x="200" y="217"/>
                  </a:lnTo>
                  <a:lnTo>
                    <a:pt x="203" y="217"/>
                  </a:lnTo>
                  <a:lnTo>
                    <a:pt x="203" y="214"/>
                  </a:lnTo>
                  <a:lnTo>
                    <a:pt x="205" y="211"/>
                  </a:lnTo>
                  <a:lnTo>
                    <a:pt x="205" y="211"/>
                  </a:lnTo>
                  <a:lnTo>
                    <a:pt x="205" y="211"/>
                  </a:lnTo>
                  <a:lnTo>
                    <a:pt x="208" y="211"/>
                  </a:lnTo>
                  <a:lnTo>
                    <a:pt x="208" y="209"/>
                  </a:lnTo>
                  <a:lnTo>
                    <a:pt x="208" y="206"/>
                  </a:lnTo>
                  <a:lnTo>
                    <a:pt x="208" y="206"/>
                  </a:lnTo>
                  <a:lnTo>
                    <a:pt x="208" y="206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1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1"/>
                  </a:lnTo>
                  <a:lnTo>
                    <a:pt x="213" y="198"/>
                  </a:lnTo>
                  <a:lnTo>
                    <a:pt x="213" y="195"/>
                  </a:lnTo>
                  <a:lnTo>
                    <a:pt x="213" y="195"/>
                  </a:lnTo>
                  <a:lnTo>
                    <a:pt x="213" y="193"/>
                  </a:lnTo>
                  <a:lnTo>
                    <a:pt x="213" y="190"/>
                  </a:lnTo>
                  <a:lnTo>
                    <a:pt x="213" y="190"/>
                  </a:lnTo>
                  <a:lnTo>
                    <a:pt x="213" y="187"/>
                  </a:lnTo>
                  <a:lnTo>
                    <a:pt x="211" y="184"/>
                  </a:lnTo>
                  <a:lnTo>
                    <a:pt x="213" y="184"/>
                  </a:lnTo>
                  <a:lnTo>
                    <a:pt x="213" y="187"/>
                  </a:lnTo>
                  <a:lnTo>
                    <a:pt x="213" y="187"/>
                  </a:lnTo>
                  <a:lnTo>
                    <a:pt x="216" y="184"/>
                  </a:lnTo>
                  <a:lnTo>
                    <a:pt x="213" y="184"/>
                  </a:lnTo>
                  <a:lnTo>
                    <a:pt x="213" y="182"/>
                  </a:lnTo>
                  <a:lnTo>
                    <a:pt x="213" y="182"/>
                  </a:lnTo>
                  <a:lnTo>
                    <a:pt x="213" y="179"/>
                  </a:lnTo>
                  <a:lnTo>
                    <a:pt x="213" y="176"/>
                  </a:lnTo>
                  <a:lnTo>
                    <a:pt x="213" y="176"/>
                  </a:lnTo>
                  <a:lnTo>
                    <a:pt x="213" y="174"/>
                  </a:lnTo>
                  <a:lnTo>
                    <a:pt x="213" y="174"/>
                  </a:lnTo>
                  <a:lnTo>
                    <a:pt x="213" y="174"/>
                  </a:lnTo>
                  <a:lnTo>
                    <a:pt x="213" y="171"/>
                  </a:lnTo>
                  <a:lnTo>
                    <a:pt x="213" y="171"/>
                  </a:lnTo>
                  <a:lnTo>
                    <a:pt x="213" y="168"/>
                  </a:lnTo>
                  <a:lnTo>
                    <a:pt x="213" y="168"/>
                  </a:lnTo>
                  <a:lnTo>
                    <a:pt x="213" y="166"/>
                  </a:lnTo>
                  <a:lnTo>
                    <a:pt x="213" y="163"/>
                  </a:lnTo>
                  <a:lnTo>
                    <a:pt x="213" y="163"/>
                  </a:lnTo>
                  <a:lnTo>
                    <a:pt x="211" y="163"/>
                  </a:lnTo>
                  <a:lnTo>
                    <a:pt x="211" y="160"/>
                  </a:lnTo>
                  <a:lnTo>
                    <a:pt x="211" y="158"/>
                  </a:lnTo>
                  <a:lnTo>
                    <a:pt x="208" y="158"/>
                  </a:lnTo>
                  <a:lnTo>
                    <a:pt x="208" y="155"/>
                  </a:lnTo>
                  <a:lnTo>
                    <a:pt x="208" y="152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8" y="147"/>
                  </a:lnTo>
                  <a:lnTo>
                    <a:pt x="208" y="147"/>
                  </a:lnTo>
                  <a:lnTo>
                    <a:pt x="208" y="147"/>
                  </a:lnTo>
                  <a:lnTo>
                    <a:pt x="211" y="147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39"/>
                  </a:lnTo>
                  <a:lnTo>
                    <a:pt x="216" y="139"/>
                  </a:lnTo>
                  <a:lnTo>
                    <a:pt x="216" y="136"/>
                  </a:lnTo>
                  <a:lnTo>
                    <a:pt x="213" y="134"/>
                  </a:lnTo>
                  <a:lnTo>
                    <a:pt x="213" y="134"/>
                  </a:lnTo>
                  <a:lnTo>
                    <a:pt x="213" y="134"/>
                  </a:lnTo>
                  <a:lnTo>
                    <a:pt x="213" y="131"/>
                  </a:lnTo>
                  <a:lnTo>
                    <a:pt x="213" y="128"/>
                  </a:lnTo>
                  <a:lnTo>
                    <a:pt x="211" y="126"/>
                  </a:lnTo>
                  <a:lnTo>
                    <a:pt x="211" y="123"/>
                  </a:lnTo>
                  <a:lnTo>
                    <a:pt x="208" y="120"/>
                  </a:lnTo>
                  <a:lnTo>
                    <a:pt x="208" y="120"/>
                  </a:lnTo>
                  <a:lnTo>
                    <a:pt x="205" y="118"/>
                  </a:lnTo>
                  <a:lnTo>
                    <a:pt x="205" y="118"/>
                  </a:lnTo>
                  <a:lnTo>
                    <a:pt x="205" y="115"/>
                  </a:lnTo>
                  <a:lnTo>
                    <a:pt x="203" y="112"/>
                  </a:lnTo>
                  <a:lnTo>
                    <a:pt x="203" y="112"/>
                  </a:lnTo>
                  <a:lnTo>
                    <a:pt x="203" y="110"/>
                  </a:lnTo>
                  <a:lnTo>
                    <a:pt x="203" y="107"/>
                  </a:lnTo>
                  <a:lnTo>
                    <a:pt x="203" y="102"/>
                  </a:lnTo>
                  <a:lnTo>
                    <a:pt x="203" y="102"/>
                  </a:lnTo>
                  <a:lnTo>
                    <a:pt x="205" y="99"/>
                  </a:lnTo>
                  <a:lnTo>
                    <a:pt x="205" y="99"/>
                  </a:lnTo>
                  <a:lnTo>
                    <a:pt x="208" y="99"/>
                  </a:lnTo>
                  <a:lnTo>
                    <a:pt x="208" y="99"/>
                  </a:lnTo>
                  <a:lnTo>
                    <a:pt x="211" y="99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1"/>
                  </a:lnTo>
                  <a:lnTo>
                    <a:pt x="211" y="91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86"/>
                  </a:lnTo>
                  <a:lnTo>
                    <a:pt x="211" y="86"/>
                  </a:lnTo>
                  <a:lnTo>
                    <a:pt x="211" y="83"/>
                  </a:lnTo>
                  <a:lnTo>
                    <a:pt x="213" y="80"/>
                  </a:lnTo>
                  <a:lnTo>
                    <a:pt x="213" y="80"/>
                  </a:lnTo>
                  <a:lnTo>
                    <a:pt x="216" y="83"/>
                  </a:lnTo>
                  <a:lnTo>
                    <a:pt x="216" y="86"/>
                  </a:lnTo>
                  <a:lnTo>
                    <a:pt x="219" y="86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24" y="83"/>
                  </a:lnTo>
                  <a:lnTo>
                    <a:pt x="224" y="83"/>
                  </a:lnTo>
                  <a:lnTo>
                    <a:pt x="224" y="80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9" y="86"/>
                  </a:lnTo>
                  <a:lnTo>
                    <a:pt x="229" y="86"/>
                  </a:lnTo>
                  <a:lnTo>
                    <a:pt x="232" y="86"/>
                  </a:lnTo>
                  <a:lnTo>
                    <a:pt x="232" y="88"/>
                  </a:lnTo>
                  <a:lnTo>
                    <a:pt x="232" y="86"/>
                  </a:lnTo>
                  <a:lnTo>
                    <a:pt x="235" y="86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7" y="80"/>
                  </a:lnTo>
                  <a:lnTo>
                    <a:pt x="237" y="80"/>
                  </a:lnTo>
                  <a:lnTo>
                    <a:pt x="237" y="80"/>
                  </a:lnTo>
                  <a:lnTo>
                    <a:pt x="240" y="83"/>
                  </a:lnTo>
                  <a:lnTo>
                    <a:pt x="243" y="83"/>
                  </a:lnTo>
                  <a:lnTo>
                    <a:pt x="243" y="86"/>
                  </a:lnTo>
                  <a:lnTo>
                    <a:pt x="245" y="86"/>
                  </a:lnTo>
                  <a:lnTo>
                    <a:pt x="245" y="86"/>
                  </a:lnTo>
                  <a:lnTo>
                    <a:pt x="248" y="88"/>
                  </a:lnTo>
                  <a:lnTo>
                    <a:pt x="248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3" y="88"/>
                  </a:lnTo>
                  <a:lnTo>
                    <a:pt x="256" y="91"/>
                  </a:lnTo>
                  <a:lnTo>
                    <a:pt x="256" y="91"/>
                  </a:lnTo>
                  <a:lnTo>
                    <a:pt x="256" y="91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61" y="96"/>
                  </a:lnTo>
                  <a:lnTo>
                    <a:pt x="264" y="96"/>
                  </a:lnTo>
                  <a:lnTo>
                    <a:pt x="264" y="96"/>
                  </a:lnTo>
                  <a:lnTo>
                    <a:pt x="267" y="96"/>
                  </a:lnTo>
                  <a:lnTo>
                    <a:pt x="267" y="96"/>
                  </a:lnTo>
                  <a:lnTo>
                    <a:pt x="269" y="99"/>
                  </a:lnTo>
                  <a:lnTo>
                    <a:pt x="269" y="99"/>
                  </a:lnTo>
                  <a:lnTo>
                    <a:pt x="269" y="99"/>
                  </a:lnTo>
                  <a:lnTo>
                    <a:pt x="272" y="99"/>
                  </a:lnTo>
                  <a:lnTo>
                    <a:pt x="272" y="99"/>
                  </a:lnTo>
                  <a:lnTo>
                    <a:pt x="272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8" y="99"/>
                  </a:lnTo>
                  <a:lnTo>
                    <a:pt x="278" y="99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9"/>
                  </a:lnTo>
                  <a:lnTo>
                    <a:pt x="280" y="99"/>
                  </a:lnTo>
                  <a:lnTo>
                    <a:pt x="280" y="99"/>
                  </a:lnTo>
                  <a:lnTo>
                    <a:pt x="280" y="102"/>
                  </a:lnTo>
                  <a:lnTo>
                    <a:pt x="280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6" y="102"/>
                  </a:lnTo>
                  <a:lnTo>
                    <a:pt x="286" y="99"/>
                  </a:lnTo>
                  <a:lnTo>
                    <a:pt x="286" y="99"/>
                  </a:lnTo>
                  <a:lnTo>
                    <a:pt x="286" y="99"/>
                  </a:lnTo>
                  <a:lnTo>
                    <a:pt x="288" y="96"/>
                  </a:lnTo>
                  <a:lnTo>
                    <a:pt x="288" y="96"/>
                  </a:lnTo>
                  <a:lnTo>
                    <a:pt x="288" y="94"/>
                  </a:lnTo>
                  <a:lnTo>
                    <a:pt x="288" y="94"/>
                  </a:lnTo>
                  <a:lnTo>
                    <a:pt x="288" y="91"/>
                  </a:lnTo>
                  <a:lnTo>
                    <a:pt x="288" y="91"/>
                  </a:lnTo>
                  <a:lnTo>
                    <a:pt x="291" y="91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1" y="88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9" y="94"/>
                  </a:lnTo>
                  <a:lnTo>
                    <a:pt x="299" y="96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4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9"/>
                  </a:lnTo>
                  <a:lnTo>
                    <a:pt x="307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2" y="102"/>
                  </a:lnTo>
                  <a:lnTo>
                    <a:pt x="312" y="102"/>
                  </a:lnTo>
                  <a:lnTo>
                    <a:pt x="312" y="99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8" y="88"/>
                  </a:lnTo>
                  <a:lnTo>
                    <a:pt x="318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6" y="86"/>
                  </a:lnTo>
                  <a:lnTo>
                    <a:pt x="328" y="86"/>
                  </a:lnTo>
                  <a:lnTo>
                    <a:pt x="331" y="86"/>
                  </a:lnTo>
                  <a:lnTo>
                    <a:pt x="334" y="86"/>
                  </a:lnTo>
                  <a:lnTo>
                    <a:pt x="334" y="83"/>
                  </a:lnTo>
                  <a:lnTo>
                    <a:pt x="331" y="80"/>
                  </a:lnTo>
                  <a:lnTo>
                    <a:pt x="331" y="78"/>
                  </a:lnTo>
                  <a:lnTo>
                    <a:pt x="331" y="75"/>
                  </a:lnTo>
                  <a:lnTo>
                    <a:pt x="331" y="72"/>
                  </a:lnTo>
                  <a:lnTo>
                    <a:pt x="331" y="70"/>
                  </a:lnTo>
                  <a:lnTo>
                    <a:pt x="331" y="67"/>
                  </a:lnTo>
                  <a:lnTo>
                    <a:pt x="331" y="67"/>
                  </a:lnTo>
                  <a:lnTo>
                    <a:pt x="328" y="64"/>
                  </a:lnTo>
                  <a:lnTo>
                    <a:pt x="331" y="62"/>
                  </a:lnTo>
                  <a:lnTo>
                    <a:pt x="334" y="62"/>
                  </a:lnTo>
                  <a:lnTo>
                    <a:pt x="334" y="62"/>
                  </a:lnTo>
                  <a:lnTo>
                    <a:pt x="334" y="62"/>
                  </a:lnTo>
                  <a:lnTo>
                    <a:pt x="336" y="64"/>
                  </a:lnTo>
                  <a:lnTo>
                    <a:pt x="339" y="64"/>
                  </a:lnTo>
                  <a:lnTo>
                    <a:pt x="342" y="64"/>
                  </a:lnTo>
                  <a:lnTo>
                    <a:pt x="342" y="64"/>
                  </a:lnTo>
                  <a:lnTo>
                    <a:pt x="344" y="64"/>
                  </a:lnTo>
                  <a:lnTo>
                    <a:pt x="344" y="62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47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2" y="59"/>
                  </a:lnTo>
                  <a:lnTo>
                    <a:pt x="352" y="59"/>
                  </a:lnTo>
                  <a:lnTo>
                    <a:pt x="355" y="62"/>
                  </a:lnTo>
                  <a:lnTo>
                    <a:pt x="355" y="64"/>
                  </a:lnTo>
                  <a:lnTo>
                    <a:pt x="355" y="67"/>
                  </a:lnTo>
                  <a:lnTo>
                    <a:pt x="358" y="67"/>
                  </a:lnTo>
                  <a:lnTo>
                    <a:pt x="358" y="67"/>
                  </a:lnTo>
                  <a:lnTo>
                    <a:pt x="360" y="70"/>
                  </a:lnTo>
                  <a:lnTo>
                    <a:pt x="360" y="70"/>
                  </a:lnTo>
                  <a:lnTo>
                    <a:pt x="363" y="72"/>
                  </a:lnTo>
                  <a:lnTo>
                    <a:pt x="363" y="70"/>
                  </a:lnTo>
                  <a:lnTo>
                    <a:pt x="363" y="67"/>
                  </a:lnTo>
                  <a:lnTo>
                    <a:pt x="363" y="64"/>
                  </a:lnTo>
                  <a:lnTo>
                    <a:pt x="366" y="64"/>
                  </a:lnTo>
                  <a:lnTo>
                    <a:pt x="363" y="62"/>
                  </a:lnTo>
                  <a:lnTo>
                    <a:pt x="363" y="62"/>
                  </a:lnTo>
                  <a:lnTo>
                    <a:pt x="363" y="59"/>
                  </a:lnTo>
                  <a:lnTo>
                    <a:pt x="363" y="59"/>
                  </a:lnTo>
                  <a:lnTo>
                    <a:pt x="366" y="56"/>
                  </a:lnTo>
                  <a:lnTo>
                    <a:pt x="366" y="54"/>
                  </a:lnTo>
                  <a:lnTo>
                    <a:pt x="368" y="54"/>
                  </a:lnTo>
                  <a:lnTo>
                    <a:pt x="368" y="54"/>
                  </a:lnTo>
                  <a:lnTo>
                    <a:pt x="371" y="56"/>
                  </a:lnTo>
                  <a:lnTo>
                    <a:pt x="371" y="59"/>
                  </a:lnTo>
                  <a:lnTo>
                    <a:pt x="371" y="59"/>
                  </a:lnTo>
                  <a:lnTo>
                    <a:pt x="374" y="62"/>
                  </a:lnTo>
                  <a:lnTo>
                    <a:pt x="374" y="62"/>
                  </a:lnTo>
                  <a:lnTo>
                    <a:pt x="374" y="64"/>
                  </a:lnTo>
                  <a:lnTo>
                    <a:pt x="374" y="64"/>
                  </a:lnTo>
                  <a:lnTo>
                    <a:pt x="374" y="67"/>
                  </a:lnTo>
                  <a:lnTo>
                    <a:pt x="376" y="67"/>
                  </a:lnTo>
                  <a:lnTo>
                    <a:pt x="376" y="70"/>
                  </a:lnTo>
                  <a:lnTo>
                    <a:pt x="376" y="70"/>
                  </a:lnTo>
                  <a:lnTo>
                    <a:pt x="376" y="72"/>
                  </a:lnTo>
                  <a:lnTo>
                    <a:pt x="379" y="72"/>
                  </a:lnTo>
                  <a:lnTo>
                    <a:pt x="379" y="72"/>
                  </a:lnTo>
                  <a:lnTo>
                    <a:pt x="382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7" y="70"/>
                  </a:lnTo>
                  <a:lnTo>
                    <a:pt x="387" y="70"/>
                  </a:lnTo>
                  <a:lnTo>
                    <a:pt x="390" y="70"/>
                  </a:lnTo>
                  <a:lnTo>
                    <a:pt x="390" y="67"/>
                  </a:lnTo>
                  <a:lnTo>
                    <a:pt x="392" y="67"/>
                  </a:lnTo>
                  <a:lnTo>
                    <a:pt x="392" y="67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2" y="62"/>
                  </a:lnTo>
                  <a:lnTo>
                    <a:pt x="392" y="62"/>
                  </a:lnTo>
                  <a:lnTo>
                    <a:pt x="395" y="59"/>
                  </a:lnTo>
                  <a:lnTo>
                    <a:pt x="395" y="59"/>
                  </a:lnTo>
                  <a:lnTo>
                    <a:pt x="395" y="56"/>
                  </a:lnTo>
                  <a:lnTo>
                    <a:pt x="395" y="56"/>
                  </a:lnTo>
                  <a:lnTo>
                    <a:pt x="395" y="56"/>
                  </a:lnTo>
                  <a:lnTo>
                    <a:pt x="395" y="54"/>
                  </a:lnTo>
                  <a:lnTo>
                    <a:pt x="395" y="54"/>
                  </a:lnTo>
                  <a:lnTo>
                    <a:pt x="398" y="54"/>
                  </a:lnTo>
                  <a:lnTo>
                    <a:pt x="398" y="54"/>
                  </a:lnTo>
                  <a:lnTo>
                    <a:pt x="398" y="51"/>
                  </a:lnTo>
                  <a:lnTo>
                    <a:pt x="398" y="51"/>
                  </a:lnTo>
                  <a:lnTo>
                    <a:pt x="398" y="48"/>
                  </a:lnTo>
                  <a:lnTo>
                    <a:pt x="398" y="46"/>
                  </a:lnTo>
                  <a:lnTo>
                    <a:pt x="398" y="46"/>
                  </a:lnTo>
                  <a:lnTo>
                    <a:pt x="395" y="43"/>
                  </a:lnTo>
                  <a:lnTo>
                    <a:pt x="395" y="43"/>
                  </a:lnTo>
                  <a:lnTo>
                    <a:pt x="395" y="40"/>
                  </a:lnTo>
                  <a:lnTo>
                    <a:pt x="395" y="40"/>
                  </a:lnTo>
                  <a:lnTo>
                    <a:pt x="395" y="38"/>
                  </a:lnTo>
                  <a:lnTo>
                    <a:pt x="395" y="35"/>
                  </a:lnTo>
                  <a:lnTo>
                    <a:pt x="395" y="32"/>
                  </a:lnTo>
                  <a:lnTo>
                    <a:pt x="395" y="32"/>
                  </a:lnTo>
                  <a:lnTo>
                    <a:pt x="395" y="32"/>
                  </a:lnTo>
                  <a:lnTo>
                    <a:pt x="395" y="30"/>
                  </a:lnTo>
                  <a:lnTo>
                    <a:pt x="395" y="30"/>
                  </a:lnTo>
                  <a:lnTo>
                    <a:pt x="395" y="30"/>
                  </a:lnTo>
                  <a:lnTo>
                    <a:pt x="398" y="27"/>
                  </a:lnTo>
                  <a:lnTo>
                    <a:pt x="398" y="27"/>
                  </a:lnTo>
                  <a:lnTo>
                    <a:pt x="400" y="24"/>
                  </a:lnTo>
                  <a:lnTo>
                    <a:pt x="400" y="24"/>
                  </a:lnTo>
                  <a:lnTo>
                    <a:pt x="400" y="24"/>
                  </a:lnTo>
                  <a:lnTo>
                    <a:pt x="403" y="21"/>
                  </a:lnTo>
                  <a:lnTo>
                    <a:pt x="406" y="21"/>
                  </a:lnTo>
                  <a:lnTo>
                    <a:pt x="408" y="21"/>
                  </a:lnTo>
                  <a:lnTo>
                    <a:pt x="411" y="24"/>
                  </a:lnTo>
                  <a:lnTo>
                    <a:pt x="411" y="24"/>
                  </a:lnTo>
                  <a:lnTo>
                    <a:pt x="414" y="24"/>
                  </a:lnTo>
                  <a:lnTo>
                    <a:pt x="416" y="24"/>
                  </a:lnTo>
                  <a:lnTo>
                    <a:pt x="419" y="24"/>
                  </a:lnTo>
                  <a:lnTo>
                    <a:pt x="419" y="19"/>
                  </a:lnTo>
                  <a:lnTo>
                    <a:pt x="422" y="19"/>
                  </a:lnTo>
                  <a:lnTo>
                    <a:pt x="422" y="19"/>
                  </a:lnTo>
                  <a:lnTo>
                    <a:pt x="424" y="19"/>
                  </a:lnTo>
                  <a:lnTo>
                    <a:pt x="427" y="16"/>
                  </a:lnTo>
                  <a:lnTo>
                    <a:pt x="427" y="16"/>
                  </a:lnTo>
                  <a:lnTo>
                    <a:pt x="430" y="16"/>
                  </a:lnTo>
                  <a:lnTo>
                    <a:pt x="430" y="16"/>
                  </a:lnTo>
                  <a:lnTo>
                    <a:pt x="430" y="19"/>
                  </a:lnTo>
                  <a:lnTo>
                    <a:pt x="432" y="16"/>
                  </a:lnTo>
                  <a:lnTo>
                    <a:pt x="432" y="16"/>
                  </a:lnTo>
                  <a:lnTo>
                    <a:pt x="432" y="13"/>
                  </a:lnTo>
                  <a:lnTo>
                    <a:pt x="432" y="13"/>
                  </a:lnTo>
                  <a:lnTo>
                    <a:pt x="435" y="13"/>
                  </a:lnTo>
                  <a:lnTo>
                    <a:pt x="435" y="11"/>
                  </a:lnTo>
                  <a:lnTo>
                    <a:pt x="435" y="8"/>
                  </a:lnTo>
                  <a:lnTo>
                    <a:pt x="435" y="5"/>
                  </a:lnTo>
                  <a:lnTo>
                    <a:pt x="435" y="5"/>
                  </a:lnTo>
                  <a:lnTo>
                    <a:pt x="435" y="5"/>
                  </a:lnTo>
                  <a:lnTo>
                    <a:pt x="432" y="5"/>
                  </a:lnTo>
                  <a:lnTo>
                    <a:pt x="432" y="3"/>
                  </a:lnTo>
                  <a:lnTo>
                    <a:pt x="432" y="0"/>
                  </a:lnTo>
                  <a:lnTo>
                    <a:pt x="432" y="0"/>
                  </a:lnTo>
                  <a:lnTo>
                    <a:pt x="435" y="3"/>
                  </a:lnTo>
                  <a:lnTo>
                    <a:pt x="438" y="3"/>
                  </a:lnTo>
                  <a:lnTo>
                    <a:pt x="440" y="3"/>
                  </a:lnTo>
                  <a:lnTo>
                    <a:pt x="440" y="3"/>
                  </a:lnTo>
                  <a:lnTo>
                    <a:pt x="443" y="3"/>
                  </a:lnTo>
                  <a:lnTo>
                    <a:pt x="446" y="0"/>
                  </a:lnTo>
                  <a:lnTo>
                    <a:pt x="448" y="0"/>
                  </a:lnTo>
                  <a:lnTo>
                    <a:pt x="451" y="3"/>
                  </a:lnTo>
                  <a:lnTo>
                    <a:pt x="451" y="3"/>
                  </a:lnTo>
                  <a:lnTo>
                    <a:pt x="454" y="3"/>
                  </a:lnTo>
                  <a:lnTo>
                    <a:pt x="454" y="3"/>
                  </a:lnTo>
                  <a:lnTo>
                    <a:pt x="456" y="3"/>
                  </a:lnTo>
                  <a:lnTo>
                    <a:pt x="459" y="3"/>
                  </a:lnTo>
                  <a:lnTo>
                    <a:pt x="459" y="3"/>
                  </a:lnTo>
                  <a:lnTo>
                    <a:pt x="462" y="3"/>
                  </a:lnTo>
                  <a:lnTo>
                    <a:pt x="462" y="3"/>
                  </a:lnTo>
                  <a:lnTo>
                    <a:pt x="464" y="3"/>
                  </a:lnTo>
                  <a:lnTo>
                    <a:pt x="470" y="3"/>
                  </a:lnTo>
                  <a:lnTo>
                    <a:pt x="472" y="5"/>
                  </a:lnTo>
                  <a:lnTo>
                    <a:pt x="475" y="5"/>
                  </a:lnTo>
                  <a:lnTo>
                    <a:pt x="478" y="8"/>
                  </a:lnTo>
                  <a:lnTo>
                    <a:pt x="480" y="11"/>
                  </a:lnTo>
                  <a:lnTo>
                    <a:pt x="483" y="11"/>
                  </a:lnTo>
                  <a:lnTo>
                    <a:pt x="483" y="13"/>
                  </a:lnTo>
                  <a:lnTo>
                    <a:pt x="486" y="13"/>
                  </a:lnTo>
                  <a:lnTo>
                    <a:pt x="488" y="16"/>
                  </a:lnTo>
                  <a:lnTo>
                    <a:pt x="488" y="16"/>
                  </a:lnTo>
                  <a:lnTo>
                    <a:pt x="491" y="13"/>
                  </a:lnTo>
                  <a:lnTo>
                    <a:pt x="496" y="19"/>
                  </a:lnTo>
                  <a:lnTo>
                    <a:pt x="496" y="21"/>
                  </a:lnTo>
                  <a:lnTo>
                    <a:pt x="499" y="24"/>
                  </a:lnTo>
                  <a:lnTo>
                    <a:pt x="502" y="24"/>
                  </a:lnTo>
                  <a:lnTo>
                    <a:pt x="502" y="27"/>
                  </a:lnTo>
                  <a:lnTo>
                    <a:pt x="504" y="27"/>
                  </a:lnTo>
                  <a:lnTo>
                    <a:pt x="507" y="27"/>
                  </a:lnTo>
                  <a:lnTo>
                    <a:pt x="510" y="30"/>
                  </a:lnTo>
                  <a:lnTo>
                    <a:pt x="510" y="30"/>
                  </a:lnTo>
                  <a:lnTo>
                    <a:pt x="512" y="32"/>
                  </a:lnTo>
                  <a:lnTo>
                    <a:pt x="512" y="35"/>
                  </a:lnTo>
                  <a:lnTo>
                    <a:pt x="512" y="38"/>
                  </a:lnTo>
                  <a:lnTo>
                    <a:pt x="512" y="40"/>
                  </a:lnTo>
                  <a:lnTo>
                    <a:pt x="515" y="40"/>
                  </a:lnTo>
                  <a:lnTo>
                    <a:pt x="515" y="43"/>
                  </a:lnTo>
                  <a:lnTo>
                    <a:pt x="518" y="46"/>
                  </a:lnTo>
                  <a:lnTo>
                    <a:pt x="521" y="46"/>
                  </a:lnTo>
                  <a:lnTo>
                    <a:pt x="523" y="48"/>
                  </a:lnTo>
                  <a:lnTo>
                    <a:pt x="523" y="51"/>
                  </a:lnTo>
                  <a:lnTo>
                    <a:pt x="526" y="54"/>
                  </a:lnTo>
                  <a:lnTo>
                    <a:pt x="529" y="54"/>
                  </a:lnTo>
                  <a:lnTo>
                    <a:pt x="529" y="56"/>
                  </a:lnTo>
                  <a:lnTo>
                    <a:pt x="529" y="56"/>
                  </a:lnTo>
                  <a:lnTo>
                    <a:pt x="526" y="59"/>
                  </a:lnTo>
                  <a:lnTo>
                    <a:pt x="526" y="62"/>
                  </a:lnTo>
                  <a:lnTo>
                    <a:pt x="529" y="62"/>
                  </a:lnTo>
                  <a:lnTo>
                    <a:pt x="531" y="62"/>
                  </a:lnTo>
                  <a:lnTo>
                    <a:pt x="534" y="64"/>
                  </a:lnTo>
                  <a:lnTo>
                    <a:pt x="534" y="64"/>
                  </a:lnTo>
                  <a:lnTo>
                    <a:pt x="534" y="64"/>
                  </a:lnTo>
                  <a:lnTo>
                    <a:pt x="534" y="67"/>
                  </a:lnTo>
                  <a:lnTo>
                    <a:pt x="534" y="67"/>
                  </a:lnTo>
                  <a:lnTo>
                    <a:pt x="534" y="70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1" y="72"/>
                  </a:lnTo>
                  <a:lnTo>
                    <a:pt x="529" y="75"/>
                  </a:lnTo>
                  <a:lnTo>
                    <a:pt x="529" y="75"/>
                  </a:lnTo>
                  <a:lnTo>
                    <a:pt x="529" y="78"/>
                  </a:lnTo>
                  <a:lnTo>
                    <a:pt x="529" y="80"/>
                  </a:lnTo>
                  <a:lnTo>
                    <a:pt x="529" y="80"/>
                  </a:lnTo>
                  <a:lnTo>
                    <a:pt x="531" y="83"/>
                  </a:lnTo>
                  <a:lnTo>
                    <a:pt x="531" y="83"/>
                  </a:lnTo>
                  <a:lnTo>
                    <a:pt x="534" y="86"/>
                  </a:lnTo>
                  <a:lnTo>
                    <a:pt x="534" y="88"/>
                  </a:lnTo>
                  <a:lnTo>
                    <a:pt x="534" y="88"/>
                  </a:lnTo>
                  <a:lnTo>
                    <a:pt x="537" y="91"/>
                  </a:lnTo>
                  <a:lnTo>
                    <a:pt x="537" y="94"/>
                  </a:lnTo>
                  <a:lnTo>
                    <a:pt x="539" y="94"/>
                  </a:lnTo>
                  <a:lnTo>
                    <a:pt x="539" y="96"/>
                  </a:lnTo>
                  <a:lnTo>
                    <a:pt x="539" y="99"/>
                  </a:lnTo>
                  <a:lnTo>
                    <a:pt x="539" y="99"/>
                  </a:lnTo>
                  <a:lnTo>
                    <a:pt x="539" y="102"/>
                  </a:lnTo>
                  <a:lnTo>
                    <a:pt x="537" y="104"/>
                  </a:lnTo>
                  <a:lnTo>
                    <a:pt x="537" y="104"/>
                  </a:lnTo>
                  <a:lnTo>
                    <a:pt x="534" y="104"/>
                  </a:lnTo>
                  <a:lnTo>
                    <a:pt x="531" y="104"/>
                  </a:lnTo>
                  <a:lnTo>
                    <a:pt x="531" y="104"/>
                  </a:lnTo>
                  <a:lnTo>
                    <a:pt x="529" y="104"/>
                  </a:lnTo>
                  <a:lnTo>
                    <a:pt x="526" y="104"/>
                  </a:lnTo>
                  <a:lnTo>
                    <a:pt x="526" y="102"/>
                  </a:lnTo>
                  <a:lnTo>
                    <a:pt x="523" y="102"/>
                  </a:lnTo>
                  <a:lnTo>
                    <a:pt x="523" y="104"/>
                  </a:lnTo>
                  <a:lnTo>
                    <a:pt x="521" y="104"/>
                  </a:lnTo>
                  <a:lnTo>
                    <a:pt x="523" y="107"/>
                  </a:lnTo>
                  <a:lnTo>
                    <a:pt x="521" y="110"/>
                  </a:lnTo>
                  <a:lnTo>
                    <a:pt x="521" y="112"/>
                  </a:lnTo>
                  <a:lnTo>
                    <a:pt x="521" y="112"/>
                  </a:lnTo>
                  <a:lnTo>
                    <a:pt x="521" y="115"/>
                  </a:lnTo>
                  <a:lnTo>
                    <a:pt x="521" y="118"/>
                  </a:lnTo>
                  <a:lnTo>
                    <a:pt x="521" y="118"/>
                  </a:lnTo>
                  <a:lnTo>
                    <a:pt x="518" y="120"/>
                  </a:lnTo>
                  <a:lnTo>
                    <a:pt x="518" y="123"/>
                  </a:lnTo>
                  <a:lnTo>
                    <a:pt x="515" y="123"/>
                  </a:lnTo>
                  <a:lnTo>
                    <a:pt x="515" y="123"/>
                  </a:lnTo>
                  <a:lnTo>
                    <a:pt x="515" y="126"/>
                  </a:lnTo>
                  <a:lnTo>
                    <a:pt x="515" y="126"/>
                  </a:lnTo>
                  <a:lnTo>
                    <a:pt x="512" y="128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5" y="134"/>
                  </a:lnTo>
                  <a:lnTo>
                    <a:pt x="515" y="134"/>
                  </a:lnTo>
                  <a:lnTo>
                    <a:pt x="512" y="136"/>
                  </a:lnTo>
                  <a:lnTo>
                    <a:pt x="512" y="139"/>
                  </a:lnTo>
                  <a:lnTo>
                    <a:pt x="512" y="139"/>
                  </a:lnTo>
                  <a:lnTo>
                    <a:pt x="512" y="142"/>
                  </a:lnTo>
                  <a:lnTo>
                    <a:pt x="515" y="144"/>
                  </a:lnTo>
                  <a:lnTo>
                    <a:pt x="518" y="144"/>
                  </a:lnTo>
                  <a:lnTo>
                    <a:pt x="521" y="144"/>
                  </a:lnTo>
                  <a:lnTo>
                    <a:pt x="523" y="144"/>
                  </a:lnTo>
                  <a:lnTo>
                    <a:pt x="523" y="147"/>
                  </a:lnTo>
                  <a:lnTo>
                    <a:pt x="523" y="147"/>
                  </a:lnTo>
                  <a:lnTo>
                    <a:pt x="521" y="150"/>
                  </a:lnTo>
                  <a:lnTo>
                    <a:pt x="521" y="152"/>
                  </a:lnTo>
                  <a:lnTo>
                    <a:pt x="523" y="152"/>
                  </a:lnTo>
                  <a:lnTo>
                    <a:pt x="526" y="152"/>
                  </a:lnTo>
                  <a:lnTo>
                    <a:pt x="529" y="155"/>
                  </a:lnTo>
                  <a:lnTo>
                    <a:pt x="531" y="155"/>
                  </a:lnTo>
                  <a:lnTo>
                    <a:pt x="534" y="155"/>
                  </a:lnTo>
                  <a:lnTo>
                    <a:pt x="537" y="158"/>
                  </a:lnTo>
                  <a:lnTo>
                    <a:pt x="537" y="155"/>
                  </a:lnTo>
                  <a:lnTo>
                    <a:pt x="539" y="158"/>
                  </a:lnTo>
                  <a:lnTo>
                    <a:pt x="542" y="158"/>
                  </a:lnTo>
                  <a:lnTo>
                    <a:pt x="545" y="155"/>
                  </a:lnTo>
                  <a:lnTo>
                    <a:pt x="545" y="155"/>
                  </a:lnTo>
                  <a:lnTo>
                    <a:pt x="545" y="152"/>
                  </a:lnTo>
                  <a:lnTo>
                    <a:pt x="547" y="150"/>
                  </a:lnTo>
                  <a:lnTo>
                    <a:pt x="550" y="147"/>
                  </a:lnTo>
                  <a:lnTo>
                    <a:pt x="553" y="147"/>
                  </a:lnTo>
                  <a:lnTo>
                    <a:pt x="553" y="147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8" y="139"/>
                  </a:lnTo>
                  <a:lnTo>
                    <a:pt x="561" y="136"/>
                  </a:lnTo>
                  <a:lnTo>
                    <a:pt x="563" y="136"/>
                  </a:lnTo>
                  <a:lnTo>
                    <a:pt x="563" y="139"/>
                  </a:lnTo>
                  <a:lnTo>
                    <a:pt x="566" y="139"/>
                  </a:lnTo>
                  <a:lnTo>
                    <a:pt x="569" y="139"/>
                  </a:lnTo>
                  <a:lnTo>
                    <a:pt x="569" y="142"/>
                  </a:lnTo>
                  <a:lnTo>
                    <a:pt x="571" y="142"/>
                  </a:lnTo>
                  <a:lnTo>
                    <a:pt x="571" y="144"/>
                  </a:lnTo>
                  <a:lnTo>
                    <a:pt x="574" y="144"/>
                  </a:lnTo>
                  <a:lnTo>
                    <a:pt x="577" y="144"/>
                  </a:lnTo>
                  <a:lnTo>
                    <a:pt x="577" y="144"/>
                  </a:lnTo>
                  <a:lnTo>
                    <a:pt x="579" y="142"/>
                  </a:lnTo>
                  <a:lnTo>
                    <a:pt x="579" y="142"/>
                  </a:lnTo>
                  <a:lnTo>
                    <a:pt x="582" y="142"/>
                  </a:lnTo>
                  <a:lnTo>
                    <a:pt x="585" y="142"/>
                  </a:lnTo>
                  <a:lnTo>
                    <a:pt x="585" y="144"/>
                  </a:lnTo>
                  <a:lnTo>
                    <a:pt x="587" y="147"/>
                  </a:lnTo>
                  <a:lnTo>
                    <a:pt x="587" y="150"/>
                  </a:lnTo>
                  <a:lnTo>
                    <a:pt x="587" y="150"/>
                  </a:lnTo>
                  <a:lnTo>
                    <a:pt x="590" y="152"/>
                  </a:lnTo>
                  <a:lnTo>
                    <a:pt x="590" y="152"/>
                  </a:lnTo>
                  <a:lnTo>
                    <a:pt x="593" y="152"/>
                  </a:lnTo>
                  <a:lnTo>
                    <a:pt x="595" y="152"/>
                  </a:lnTo>
                  <a:lnTo>
                    <a:pt x="598" y="155"/>
                  </a:lnTo>
                  <a:lnTo>
                    <a:pt x="598" y="152"/>
                  </a:lnTo>
                  <a:lnTo>
                    <a:pt x="601" y="150"/>
                  </a:lnTo>
                  <a:lnTo>
                    <a:pt x="603" y="147"/>
                  </a:lnTo>
                  <a:lnTo>
                    <a:pt x="606" y="144"/>
                  </a:lnTo>
                  <a:lnTo>
                    <a:pt x="606" y="144"/>
                  </a:lnTo>
                  <a:lnTo>
                    <a:pt x="606" y="147"/>
                  </a:lnTo>
                  <a:lnTo>
                    <a:pt x="609" y="147"/>
                  </a:lnTo>
                  <a:lnTo>
                    <a:pt x="611" y="147"/>
                  </a:lnTo>
                  <a:lnTo>
                    <a:pt x="614" y="147"/>
                  </a:lnTo>
                  <a:lnTo>
                    <a:pt x="617" y="150"/>
                  </a:lnTo>
                  <a:lnTo>
                    <a:pt x="614" y="152"/>
                  </a:lnTo>
                  <a:lnTo>
                    <a:pt x="617" y="155"/>
                  </a:lnTo>
                  <a:lnTo>
                    <a:pt x="619" y="155"/>
                  </a:lnTo>
                  <a:lnTo>
                    <a:pt x="619" y="155"/>
                  </a:lnTo>
                  <a:lnTo>
                    <a:pt x="622" y="155"/>
                  </a:lnTo>
                  <a:lnTo>
                    <a:pt x="622" y="158"/>
                  </a:lnTo>
                  <a:lnTo>
                    <a:pt x="622" y="158"/>
                  </a:lnTo>
                  <a:lnTo>
                    <a:pt x="622" y="160"/>
                  </a:lnTo>
                  <a:lnTo>
                    <a:pt x="622" y="163"/>
                  </a:lnTo>
                  <a:lnTo>
                    <a:pt x="625" y="163"/>
                  </a:lnTo>
                  <a:lnTo>
                    <a:pt x="625" y="166"/>
                  </a:lnTo>
                  <a:lnTo>
                    <a:pt x="627" y="166"/>
                  </a:lnTo>
                  <a:lnTo>
                    <a:pt x="627" y="168"/>
                  </a:lnTo>
                  <a:lnTo>
                    <a:pt x="627" y="168"/>
                  </a:lnTo>
                  <a:lnTo>
                    <a:pt x="630" y="171"/>
                  </a:lnTo>
                  <a:lnTo>
                    <a:pt x="630" y="174"/>
                  </a:lnTo>
                  <a:lnTo>
                    <a:pt x="633" y="176"/>
                  </a:lnTo>
                  <a:lnTo>
                    <a:pt x="633" y="176"/>
                  </a:lnTo>
                  <a:lnTo>
                    <a:pt x="633" y="179"/>
                  </a:lnTo>
                  <a:lnTo>
                    <a:pt x="633" y="179"/>
                  </a:lnTo>
                  <a:lnTo>
                    <a:pt x="635" y="182"/>
                  </a:lnTo>
                  <a:lnTo>
                    <a:pt x="635" y="184"/>
                  </a:lnTo>
                  <a:lnTo>
                    <a:pt x="638" y="184"/>
                  </a:lnTo>
                  <a:lnTo>
                    <a:pt x="638" y="187"/>
                  </a:lnTo>
                  <a:lnTo>
                    <a:pt x="638" y="187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8" y="190"/>
                  </a:lnTo>
                  <a:lnTo>
                    <a:pt x="635" y="190"/>
                  </a:lnTo>
                  <a:lnTo>
                    <a:pt x="635" y="190"/>
                  </a:lnTo>
                  <a:lnTo>
                    <a:pt x="633" y="190"/>
                  </a:lnTo>
                  <a:lnTo>
                    <a:pt x="633" y="193"/>
                  </a:lnTo>
                  <a:lnTo>
                    <a:pt x="630" y="193"/>
                  </a:lnTo>
                  <a:lnTo>
                    <a:pt x="630" y="195"/>
                  </a:lnTo>
                  <a:lnTo>
                    <a:pt x="633" y="195"/>
                  </a:lnTo>
                  <a:lnTo>
                    <a:pt x="630" y="195"/>
                  </a:lnTo>
                  <a:lnTo>
                    <a:pt x="630" y="198"/>
                  </a:lnTo>
                  <a:lnTo>
                    <a:pt x="630" y="198"/>
                  </a:lnTo>
                  <a:lnTo>
                    <a:pt x="627" y="198"/>
                  </a:lnTo>
                  <a:lnTo>
                    <a:pt x="627" y="201"/>
                  </a:lnTo>
                  <a:lnTo>
                    <a:pt x="625" y="201"/>
                  </a:lnTo>
                  <a:lnTo>
                    <a:pt x="625" y="201"/>
                  </a:lnTo>
                  <a:lnTo>
                    <a:pt x="625" y="201"/>
                  </a:lnTo>
                  <a:lnTo>
                    <a:pt x="622" y="201"/>
                  </a:lnTo>
                  <a:lnTo>
                    <a:pt x="622" y="201"/>
                  </a:lnTo>
                  <a:lnTo>
                    <a:pt x="619" y="198"/>
                  </a:lnTo>
                  <a:lnTo>
                    <a:pt x="619" y="198"/>
                  </a:lnTo>
                  <a:lnTo>
                    <a:pt x="617" y="198"/>
                  </a:lnTo>
                  <a:lnTo>
                    <a:pt x="614" y="198"/>
                  </a:lnTo>
                  <a:lnTo>
                    <a:pt x="611" y="198"/>
                  </a:lnTo>
                  <a:lnTo>
                    <a:pt x="611" y="201"/>
                  </a:lnTo>
                  <a:lnTo>
                    <a:pt x="609" y="201"/>
                  </a:lnTo>
                  <a:lnTo>
                    <a:pt x="609" y="201"/>
                  </a:lnTo>
                  <a:lnTo>
                    <a:pt x="606" y="203"/>
                  </a:lnTo>
                  <a:lnTo>
                    <a:pt x="606" y="206"/>
                  </a:lnTo>
                  <a:lnTo>
                    <a:pt x="606" y="209"/>
                  </a:lnTo>
                  <a:lnTo>
                    <a:pt x="606" y="209"/>
                  </a:lnTo>
                  <a:lnTo>
                    <a:pt x="606" y="214"/>
                  </a:lnTo>
                  <a:lnTo>
                    <a:pt x="609" y="214"/>
                  </a:lnTo>
                  <a:lnTo>
                    <a:pt x="609" y="217"/>
                  </a:lnTo>
                  <a:lnTo>
                    <a:pt x="609" y="217"/>
                  </a:lnTo>
                  <a:lnTo>
                    <a:pt x="611" y="219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4" y="222"/>
                  </a:lnTo>
                  <a:lnTo>
                    <a:pt x="617" y="225"/>
                  </a:lnTo>
                  <a:lnTo>
                    <a:pt x="617" y="225"/>
                  </a:lnTo>
                  <a:lnTo>
                    <a:pt x="617" y="225"/>
                  </a:lnTo>
                  <a:lnTo>
                    <a:pt x="617" y="227"/>
                  </a:lnTo>
                  <a:lnTo>
                    <a:pt x="617" y="227"/>
                  </a:lnTo>
                  <a:lnTo>
                    <a:pt x="614" y="227"/>
                  </a:lnTo>
                  <a:lnTo>
                    <a:pt x="614" y="230"/>
                  </a:lnTo>
                  <a:lnTo>
                    <a:pt x="611" y="230"/>
                  </a:lnTo>
                  <a:lnTo>
                    <a:pt x="611" y="230"/>
                  </a:lnTo>
                  <a:lnTo>
                    <a:pt x="611" y="233"/>
                  </a:lnTo>
                  <a:lnTo>
                    <a:pt x="611" y="233"/>
                  </a:lnTo>
                  <a:lnTo>
                    <a:pt x="609" y="235"/>
                  </a:lnTo>
                  <a:lnTo>
                    <a:pt x="609" y="235"/>
                  </a:lnTo>
                  <a:lnTo>
                    <a:pt x="609" y="238"/>
                  </a:lnTo>
                  <a:lnTo>
                    <a:pt x="609" y="238"/>
                  </a:lnTo>
                  <a:lnTo>
                    <a:pt x="606" y="241"/>
                  </a:lnTo>
                  <a:lnTo>
                    <a:pt x="603" y="241"/>
                  </a:lnTo>
                  <a:lnTo>
                    <a:pt x="603" y="238"/>
                  </a:lnTo>
                  <a:lnTo>
                    <a:pt x="603" y="238"/>
                  </a:lnTo>
                  <a:lnTo>
                    <a:pt x="601" y="238"/>
                  </a:lnTo>
                  <a:lnTo>
                    <a:pt x="598" y="238"/>
                  </a:lnTo>
                  <a:lnTo>
                    <a:pt x="598" y="238"/>
                  </a:lnTo>
                  <a:lnTo>
                    <a:pt x="595" y="238"/>
                  </a:lnTo>
                  <a:lnTo>
                    <a:pt x="595" y="238"/>
                  </a:lnTo>
                  <a:lnTo>
                    <a:pt x="595" y="235"/>
                  </a:lnTo>
                  <a:lnTo>
                    <a:pt x="593" y="235"/>
                  </a:lnTo>
                  <a:lnTo>
                    <a:pt x="593" y="235"/>
                  </a:lnTo>
                  <a:lnTo>
                    <a:pt x="593" y="233"/>
                  </a:lnTo>
                  <a:lnTo>
                    <a:pt x="593" y="233"/>
                  </a:lnTo>
                  <a:lnTo>
                    <a:pt x="590" y="233"/>
                  </a:lnTo>
                  <a:lnTo>
                    <a:pt x="590" y="230"/>
                  </a:lnTo>
                  <a:lnTo>
                    <a:pt x="590" y="230"/>
                  </a:lnTo>
                  <a:lnTo>
                    <a:pt x="590" y="227"/>
                  </a:lnTo>
                  <a:lnTo>
                    <a:pt x="590" y="227"/>
                  </a:lnTo>
                  <a:lnTo>
                    <a:pt x="590" y="227"/>
                  </a:lnTo>
                  <a:lnTo>
                    <a:pt x="593" y="225"/>
                  </a:lnTo>
                  <a:lnTo>
                    <a:pt x="593" y="225"/>
                  </a:lnTo>
                  <a:lnTo>
                    <a:pt x="593" y="222"/>
                  </a:lnTo>
                  <a:lnTo>
                    <a:pt x="593" y="222"/>
                  </a:lnTo>
                  <a:lnTo>
                    <a:pt x="590" y="222"/>
                  </a:lnTo>
                  <a:lnTo>
                    <a:pt x="590" y="219"/>
                  </a:lnTo>
                  <a:lnTo>
                    <a:pt x="587" y="219"/>
                  </a:lnTo>
                  <a:lnTo>
                    <a:pt x="587" y="219"/>
                  </a:lnTo>
                  <a:lnTo>
                    <a:pt x="587" y="222"/>
                  </a:lnTo>
                  <a:lnTo>
                    <a:pt x="585" y="222"/>
                  </a:lnTo>
                  <a:lnTo>
                    <a:pt x="585" y="225"/>
                  </a:lnTo>
                  <a:lnTo>
                    <a:pt x="585" y="225"/>
                  </a:lnTo>
                  <a:lnTo>
                    <a:pt x="585" y="227"/>
                  </a:lnTo>
                  <a:lnTo>
                    <a:pt x="585" y="227"/>
                  </a:lnTo>
                  <a:lnTo>
                    <a:pt x="582" y="227"/>
                  </a:lnTo>
                  <a:lnTo>
                    <a:pt x="579" y="227"/>
                  </a:lnTo>
                  <a:lnTo>
                    <a:pt x="579" y="227"/>
                  </a:lnTo>
                  <a:lnTo>
                    <a:pt x="579" y="225"/>
                  </a:lnTo>
                  <a:lnTo>
                    <a:pt x="577" y="225"/>
                  </a:lnTo>
                  <a:lnTo>
                    <a:pt x="577" y="227"/>
                  </a:lnTo>
                  <a:lnTo>
                    <a:pt x="577" y="227"/>
                  </a:lnTo>
                  <a:lnTo>
                    <a:pt x="574" y="227"/>
                  </a:lnTo>
                  <a:lnTo>
                    <a:pt x="574" y="230"/>
                  </a:lnTo>
                  <a:lnTo>
                    <a:pt x="571" y="230"/>
                  </a:lnTo>
                  <a:lnTo>
                    <a:pt x="569" y="233"/>
                  </a:lnTo>
                  <a:lnTo>
                    <a:pt x="569" y="235"/>
                  </a:lnTo>
                  <a:lnTo>
                    <a:pt x="566" y="235"/>
                  </a:lnTo>
                  <a:lnTo>
                    <a:pt x="566" y="238"/>
                  </a:lnTo>
                  <a:lnTo>
                    <a:pt x="563" y="238"/>
                  </a:lnTo>
                  <a:lnTo>
                    <a:pt x="563" y="238"/>
                  </a:lnTo>
                  <a:lnTo>
                    <a:pt x="558" y="238"/>
                  </a:lnTo>
                  <a:lnTo>
                    <a:pt x="558" y="238"/>
                  </a:lnTo>
                  <a:lnTo>
                    <a:pt x="555" y="243"/>
                  </a:lnTo>
                  <a:lnTo>
                    <a:pt x="555" y="246"/>
                  </a:lnTo>
                  <a:lnTo>
                    <a:pt x="553" y="249"/>
                  </a:lnTo>
                  <a:lnTo>
                    <a:pt x="550" y="249"/>
                  </a:lnTo>
                  <a:lnTo>
                    <a:pt x="547" y="251"/>
                  </a:lnTo>
                  <a:lnTo>
                    <a:pt x="547" y="251"/>
                  </a:lnTo>
                  <a:lnTo>
                    <a:pt x="545" y="254"/>
                  </a:lnTo>
                  <a:lnTo>
                    <a:pt x="542" y="254"/>
                  </a:lnTo>
                  <a:lnTo>
                    <a:pt x="542" y="254"/>
                  </a:lnTo>
                  <a:lnTo>
                    <a:pt x="539" y="257"/>
                  </a:lnTo>
                  <a:lnTo>
                    <a:pt x="537" y="257"/>
                  </a:lnTo>
                  <a:lnTo>
                    <a:pt x="537" y="259"/>
                  </a:lnTo>
                  <a:lnTo>
                    <a:pt x="534" y="259"/>
                  </a:lnTo>
                  <a:lnTo>
                    <a:pt x="531" y="262"/>
                  </a:lnTo>
                  <a:lnTo>
                    <a:pt x="531" y="262"/>
                  </a:lnTo>
                  <a:lnTo>
                    <a:pt x="529" y="265"/>
                  </a:lnTo>
                  <a:lnTo>
                    <a:pt x="526" y="265"/>
                  </a:lnTo>
                  <a:lnTo>
                    <a:pt x="523" y="267"/>
                  </a:lnTo>
                  <a:lnTo>
                    <a:pt x="521" y="267"/>
                  </a:lnTo>
                  <a:lnTo>
                    <a:pt x="518" y="267"/>
                  </a:lnTo>
                  <a:lnTo>
                    <a:pt x="515" y="270"/>
                  </a:lnTo>
                  <a:lnTo>
                    <a:pt x="515" y="270"/>
                  </a:lnTo>
                  <a:lnTo>
                    <a:pt x="512" y="270"/>
                  </a:lnTo>
                  <a:lnTo>
                    <a:pt x="510" y="270"/>
                  </a:lnTo>
                  <a:lnTo>
                    <a:pt x="507" y="273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499" y="278"/>
                  </a:lnTo>
                  <a:lnTo>
                    <a:pt x="499" y="281"/>
                  </a:lnTo>
                  <a:lnTo>
                    <a:pt x="496" y="283"/>
                  </a:lnTo>
                  <a:lnTo>
                    <a:pt x="496" y="286"/>
                  </a:lnTo>
                  <a:lnTo>
                    <a:pt x="494" y="289"/>
                  </a:lnTo>
                  <a:lnTo>
                    <a:pt x="494" y="289"/>
                  </a:lnTo>
                  <a:lnTo>
                    <a:pt x="491" y="289"/>
                  </a:lnTo>
                  <a:lnTo>
                    <a:pt x="491" y="291"/>
                  </a:lnTo>
                  <a:lnTo>
                    <a:pt x="491" y="291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3" y="294"/>
                  </a:lnTo>
                  <a:lnTo>
                    <a:pt x="483" y="294"/>
                  </a:lnTo>
                  <a:lnTo>
                    <a:pt x="480" y="297"/>
                  </a:lnTo>
                  <a:lnTo>
                    <a:pt x="478" y="297"/>
                  </a:lnTo>
                  <a:lnTo>
                    <a:pt x="478" y="299"/>
                  </a:lnTo>
                  <a:lnTo>
                    <a:pt x="475" y="299"/>
                  </a:lnTo>
                  <a:lnTo>
                    <a:pt x="475" y="299"/>
                  </a:lnTo>
                  <a:lnTo>
                    <a:pt x="475" y="302"/>
                  </a:lnTo>
                  <a:lnTo>
                    <a:pt x="472" y="302"/>
                  </a:lnTo>
                  <a:lnTo>
                    <a:pt x="472" y="302"/>
                  </a:lnTo>
                  <a:lnTo>
                    <a:pt x="472" y="305"/>
                  </a:lnTo>
                  <a:lnTo>
                    <a:pt x="470" y="305"/>
                  </a:lnTo>
                  <a:lnTo>
                    <a:pt x="470" y="307"/>
                  </a:lnTo>
                  <a:lnTo>
                    <a:pt x="467" y="310"/>
                  </a:lnTo>
                  <a:lnTo>
                    <a:pt x="467" y="310"/>
                  </a:lnTo>
                  <a:lnTo>
                    <a:pt x="467" y="313"/>
                  </a:lnTo>
                  <a:lnTo>
                    <a:pt x="464" y="315"/>
                  </a:lnTo>
                  <a:lnTo>
                    <a:pt x="464" y="315"/>
                  </a:lnTo>
                  <a:lnTo>
                    <a:pt x="462" y="318"/>
                  </a:lnTo>
                  <a:lnTo>
                    <a:pt x="462" y="321"/>
                  </a:lnTo>
                  <a:lnTo>
                    <a:pt x="459" y="321"/>
                  </a:lnTo>
                  <a:lnTo>
                    <a:pt x="459" y="321"/>
                  </a:lnTo>
                  <a:lnTo>
                    <a:pt x="459" y="323"/>
                  </a:lnTo>
                  <a:lnTo>
                    <a:pt x="456" y="323"/>
                  </a:lnTo>
                  <a:lnTo>
                    <a:pt x="456" y="326"/>
                  </a:lnTo>
                  <a:lnTo>
                    <a:pt x="454" y="329"/>
                  </a:lnTo>
                  <a:lnTo>
                    <a:pt x="454" y="329"/>
                  </a:lnTo>
                  <a:lnTo>
                    <a:pt x="454" y="331"/>
                  </a:lnTo>
                  <a:lnTo>
                    <a:pt x="454" y="331"/>
                  </a:lnTo>
                  <a:lnTo>
                    <a:pt x="451" y="334"/>
                  </a:lnTo>
                  <a:lnTo>
                    <a:pt x="451" y="334"/>
                  </a:lnTo>
                  <a:lnTo>
                    <a:pt x="451" y="337"/>
                  </a:lnTo>
                  <a:lnTo>
                    <a:pt x="448" y="339"/>
                  </a:lnTo>
                  <a:lnTo>
                    <a:pt x="448" y="339"/>
                  </a:lnTo>
                  <a:lnTo>
                    <a:pt x="448" y="339"/>
                  </a:lnTo>
                  <a:lnTo>
                    <a:pt x="448" y="342"/>
                  </a:lnTo>
                  <a:lnTo>
                    <a:pt x="448" y="345"/>
                  </a:lnTo>
                  <a:lnTo>
                    <a:pt x="446" y="347"/>
                  </a:lnTo>
                  <a:lnTo>
                    <a:pt x="446" y="347"/>
                  </a:lnTo>
                  <a:lnTo>
                    <a:pt x="446" y="350"/>
                  </a:lnTo>
                  <a:lnTo>
                    <a:pt x="446" y="353"/>
                  </a:lnTo>
                  <a:lnTo>
                    <a:pt x="446" y="356"/>
                  </a:lnTo>
                  <a:lnTo>
                    <a:pt x="443" y="358"/>
                  </a:lnTo>
                  <a:lnTo>
                    <a:pt x="443" y="361"/>
                  </a:lnTo>
                  <a:lnTo>
                    <a:pt x="443" y="361"/>
                  </a:lnTo>
                  <a:lnTo>
                    <a:pt x="443" y="364"/>
                  </a:lnTo>
                  <a:lnTo>
                    <a:pt x="443" y="364"/>
                  </a:lnTo>
                  <a:lnTo>
                    <a:pt x="443" y="366"/>
                  </a:lnTo>
                  <a:lnTo>
                    <a:pt x="443" y="369"/>
                  </a:lnTo>
                  <a:lnTo>
                    <a:pt x="443" y="372"/>
                  </a:lnTo>
                  <a:lnTo>
                    <a:pt x="443" y="374"/>
                  </a:lnTo>
                  <a:lnTo>
                    <a:pt x="446" y="374"/>
                  </a:lnTo>
                  <a:lnTo>
                    <a:pt x="446" y="377"/>
                  </a:lnTo>
                  <a:lnTo>
                    <a:pt x="446" y="380"/>
                  </a:lnTo>
                  <a:lnTo>
                    <a:pt x="446" y="382"/>
                  </a:lnTo>
                  <a:lnTo>
                    <a:pt x="446" y="385"/>
                  </a:lnTo>
                  <a:lnTo>
                    <a:pt x="446" y="388"/>
                  </a:lnTo>
                  <a:lnTo>
                    <a:pt x="446" y="390"/>
                  </a:lnTo>
                  <a:lnTo>
                    <a:pt x="446" y="393"/>
                  </a:lnTo>
                  <a:lnTo>
                    <a:pt x="446" y="396"/>
                  </a:lnTo>
                  <a:lnTo>
                    <a:pt x="446" y="398"/>
                  </a:lnTo>
                  <a:lnTo>
                    <a:pt x="443" y="401"/>
                  </a:lnTo>
                  <a:lnTo>
                    <a:pt x="443" y="404"/>
                  </a:lnTo>
                  <a:lnTo>
                    <a:pt x="443" y="406"/>
                  </a:lnTo>
                  <a:lnTo>
                    <a:pt x="440" y="409"/>
                  </a:lnTo>
                  <a:lnTo>
                    <a:pt x="440" y="412"/>
                  </a:lnTo>
                  <a:lnTo>
                    <a:pt x="440" y="414"/>
                  </a:lnTo>
                  <a:lnTo>
                    <a:pt x="440" y="417"/>
                  </a:lnTo>
                  <a:lnTo>
                    <a:pt x="438" y="417"/>
                  </a:lnTo>
                  <a:lnTo>
                    <a:pt x="438" y="420"/>
                  </a:lnTo>
                  <a:lnTo>
                    <a:pt x="435" y="420"/>
                  </a:lnTo>
                  <a:lnTo>
                    <a:pt x="435" y="422"/>
                  </a:lnTo>
                  <a:lnTo>
                    <a:pt x="435" y="425"/>
                  </a:lnTo>
                  <a:lnTo>
                    <a:pt x="435" y="425"/>
                  </a:lnTo>
                  <a:lnTo>
                    <a:pt x="432" y="425"/>
                  </a:lnTo>
                  <a:lnTo>
                    <a:pt x="432" y="425"/>
                  </a:lnTo>
                  <a:lnTo>
                    <a:pt x="432" y="428"/>
                  </a:lnTo>
                  <a:lnTo>
                    <a:pt x="430" y="430"/>
                  </a:lnTo>
                  <a:lnTo>
                    <a:pt x="430" y="430"/>
                  </a:lnTo>
                  <a:lnTo>
                    <a:pt x="427" y="433"/>
                  </a:lnTo>
                  <a:lnTo>
                    <a:pt x="427" y="436"/>
                  </a:lnTo>
                  <a:lnTo>
                    <a:pt x="427" y="438"/>
                  </a:lnTo>
                  <a:lnTo>
                    <a:pt x="427" y="438"/>
                  </a:lnTo>
                  <a:lnTo>
                    <a:pt x="427" y="441"/>
                  </a:lnTo>
                  <a:lnTo>
                    <a:pt x="424" y="444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4" y="449"/>
                  </a:lnTo>
                  <a:lnTo>
                    <a:pt x="424" y="452"/>
                  </a:lnTo>
                  <a:lnTo>
                    <a:pt x="424" y="452"/>
                  </a:lnTo>
                  <a:lnTo>
                    <a:pt x="424" y="454"/>
                  </a:lnTo>
                  <a:lnTo>
                    <a:pt x="424" y="457"/>
                  </a:lnTo>
                  <a:lnTo>
                    <a:pt x="424" y="460"/>
                  </a:lnTo>
                  <a:lnTo>
                    <a:pt x="424" y="460"/>
                  </a:lnTo>
                  <a:lnTo>
                    <a:pt x="424" y="462"/>
                  </a:lnTo>
                  <a:lnTo>
                    <a:pt x="424" y="465"/>
                  </a:lnTo>
                  <a:lnTo>
                    <a:pt x="424" y="465"/>
                  </a:lnTo>
                  <a:lnTo>
                    <a:pt x="424" y="468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0"/>
                  </a:lnTo>
                  <a:lnTo>
                    <a:pt x="427" y="473"/>
                  </a:lnTo>
                  <a:lnTo>
                    <a:pt x="427" y="476"/>
                  </a:lnTo>
                  <a:lnTo>
                    <a:pt x="427" y="476"/>
                  </a:lnTo>
                  <a:lnTo>
                    <a:pt x="427" y="478"/>
                  </a:lnTo>
                  <a:lnTo>
                    <a:pt x="427" y="478"/>
                  </a:lnTo>
                  <a:lnTo>
                    <a:pt x="427" y="478"/>
                  </a:lnTo>
                  <a:lnTo>
                    <a:pt x="427" y="481"/>
                  </a:lnTo>
                  <a:lnTo>
                    <a:pt x="427" y="481"/>
                  </a:lnTo>
                  <a:lnTo>
                    <a:pt x="427" y="484"/>
                  </a:lnTo>
                  <a:lnTo>
                    <a:pt x="430" y="484"/>
                  </a:lnTo>
                  <a:lnTo>
                    <a:pt x="430" y="486"/>
                  </a:lnTo>
                  <a:lnTo>
                    <a:pt x="430" y="486"/>
                  </a:lnTo>
                  <a:lnTo>
                    <a:pt x="430" y="489"/>
                  </a:lnTo>
                  <a:lnTo>
                    <a:pt x="430" y="489"/>
                  </a:lnTo>
                  <a:lnTo>
                    <a:pt x="430" y="492"/>
                  </a:lnTo>
                  <a:lnTo>
                    <a:pt x="430" y="492"/>
                  </a:lnTo>
                  <a:lnTo>
                    <a:pt x="430" y="494"/>
                  </a:lnTo>
                  <a:lnTo>
                    <a:pt x="432" y="494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497"/>
                  </a:lnTo>
                  <a:lnTo>
                    <a:pt x="432" y="500"/>
                  </a:lnTo>
                  <a:lnTo>
                    <a:pt x="432" y="500"/>
                  </a:lnTo>
                  <a:lnTo>
                    <a:pt x="430" y="502"/>
                  </a:lnTo>
                  <a:lnTo>
                    <a:pt x="430" y="502"/>
                  </a:lnTo>
                  <a:lnTo>
                    <a:pt x="430" y="505"/>
                  </a:lnTo>
                  <a:lnTo>
                    <a:pt x="430" y="505"/>
                  </a:lnTo>
                  <a:lnTo>
                    <a:pt x="430" y="505"/>
                  </a:lnTo>
                  <a:lnTo>
                    <a:pt x="430" y="508"/>
                  </a:lnTo>
                  <a:lnTo>
                    <a:pt x="430" y="508"/>
                  </a:lnTo>
                  <a:lnTo>
                    <a:pt x="430" y="508"/>
                  </a:lnTo>
                  <a:lnTo>
                    <a:pt x="430" y="511"/>
                  </a:lnTo>
                  <a:lnTo>
                    <a:pt x="430" y="511"/>
                  </a:lnTo>
                  <a:lnTo>
                    <a:pt x="430" y="511"/>
                  </a:lnTo>
                  <a:lnTo>
                    <a:pt x="427" y="508"/>
                  </a:lnTo>
                  <a:lnTo>
                    <a:pt x="427" y="511"/>
                  </a:lnTo>
                  <a:lnTo>
                    <a:pt x="424" y="511"/>
                  </a:lnTo>
                  <a:lnTo>
                    <a:pt x="424" y="513"/>
                  </a:lnTo>
                  <a:lnTo>
                    <a:pt x="424" y="513"/>
                  </a:lnTo>
                  <a:lnTo>
                    <a:pt x="422" y="516"/>
                  </a:lnTo>
                  <a:lnTo>
                    <a:pt x="422" y="516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1"/>
                  </a:lnTo>
                  <a:lnTo>
                    <a:pt x="416" y="527"/>
                  </a:lnTo>
                  <a:lnTo>
                    <a:pt x="416" y="529"/>
                  </a:lnTo>
                  <a:lnTo>
                    <a:pt x="416" y="535"/>
                  </a:lnTo>
                  <a:lnTo>
                    <a:pt x="416" y="540"/>
                  </a:lnTo>
                  <a:lnTo>
                    <a:pt x="419" y="543"/>
                  </a:lnTo>
                  <a:lnTo>
                    <a:pt x="419" y="545"/>
                  </a:lnTo>
                  <a:lnTo>
                    <a:pt x="419" y="545"/>
                  </a:lnTo>
                  <a:lnTo>
                    <a:pt x="419" y="545"/>
                  </a:lnTo>
                  <a:lnTo>
                    <a:pt x="416" y="545"/>
                  </a:lnTo>
                  <a:lnTo>
                    <a:pt x="416" y="545"/>
                  </a:lnTo>
                  <a:lnTo>
                    <a:pt x="416" y="545"/>
                  </a:lnTo>
                  <a:lnTo>
                    <a:pt x="414" y="548"/>
                  </a:lnTo>
                  <a:lnTo>
                    <a:pt x="414" y="548"/>
                  </a:lnTo>
                  <a:lnTo>
                    <a:pt x="414" y="551"/>
                  </a:lnTo>
                  <a:lnTo>
                    <a:pt x="411" y="551"/>
                  </a:lnTo>
                  <a:lnTo>
                    <a:pt x="411" y="551"/>
                  </a:lnTo>
                  <a:lnTo>
                    <a:pt x="411" y="553"/>
                  </a:lnTo>
                  <a:lnTo>
                    <a:pt x="411" y="556"/>
                  </a:lnTo>
                  <a:lnTo>
                    <a:pt x="411" y="556"/>
                  </a:lnTo>
                  <a:lnTo>
                    <a:pt x="411" y="559"/>
                  </a:lnTo>
                  <a:lnTo>
                    <a:pt x="411" y="561"/>
                  </a:lnTo>
                  <a:lnTo>
                    <a:pt x="411" y="561"/>
                  </a:lnTo>
                  <a:lnTo>
                    <a:pt x="411" y="564"/>
                  </a:lnTo>
                  <a:lnTo>
                    <a:pt x="411" y="567"/>
                  </a:lnTo>
                  <a:lnTo>
                    <a:pt x="411" y="567"/>
                  </a:lnTo>
                  <a:lnTo>
                    <a:pt x="411" y="569"/>
                  </a:lnTo>
                  <a:lnTo>
                    <a:pt x="411" y="569"/>
                  </a:lnTo>
                  <a:lnTo>
                    <a:pt x="411" y="569"/>
                  </a:lnTo>
                  <a:lnTo>
                    <a:pt x="408" y="569"/>
                  </a:lnTo>
                  <a:lnTo>
                    <a:pt x="408" y="572"/>
                  </a:lnTo>
                  <a:lnTo>
                    <a:pt x="408" y="572"/>
                  </a:lnTo>
                  <a:lnTo>
                    <a:pt x="408" y="575"/>
                  </a:lnTo>
                  <a:lnTo>
                    <a:pt x="406" y="575"/>
                  </a:lnTo>
                  <a:lnTo>
                    <a:pt x="406" y="577"/>
                  </a:lnTo>
                  <a:lnTo>
                    <a:pt x="403" y="577"/>
                  </a:lnTo>
                  <a:lnTo>
                    <a:pt x="403" y="580"/>
                  </a:lnTo>
                  <a:lnTo>
                    <a:pt x="400" y="583"/>
                  </a:lnTo>
                  <a:lnTo>
                    <a:pt x="398" y="585"/>
                  </a:lnTo>
                  <a:lnTo>
                    <a:pt x="400" y="588"/>
                  </a:lnTo>
                  <a:lnTo>
                    <a:pt x="400" y="591"/>
                  </a:lnTo>
                  <a:lnTo>
                    <a:pt x="400" y="591"/>
                  </a:lnTo>
                  <a:lnTo>
                    <a:pt x="400" y="593"/>
                  </a:lnTo>
                  <a:lnTo>
                    <a:pt x="400" y="593"/>
                  </a:lnTo>
                  <a:lnTo>
                    <a:pt x="400" y="593"/>
                  </a:lnTo>
                  <a:lnTo>
                    <a:pt x="398" y="593"/>
                  </a:lnTo>
                  <a:lnTo>
                    <a:pt x="398" y="593"/>
                  </a:lnTo>
                  <a:lnTo>
                    <a:pt x="398" y="596"/>
                  </a:lnTo>
                  <a:lnTo>
                    <a:pt x="395" y="596"/>
                  </a:lnTo>
                  <a:lnTo>
                    <a:pt x="395" y="599"/>
                  </a:lnTo>
                  <a:lnTo>
                    <a:pt x="395" y="599"/>
                  </a:lnTo>
                  <a:lnTo>
                    <a:pt x="398" y="601"/>
                  </a:lnTo>
                  <a:lnTo>
                    <a:pt x="398" y="601"/>
                  </a:lnTo>
                  <a:lnTo>
                    <a:pt x="398" y="604"/>
                  </a:lnTo>
                  <a:lnTo>
                    <a:pt x="400" y="604"/>
                  </a:lnTo>
                  <a:lnTo>
                    <a:pt x="400" y="607"/>
                  </a:lnTo>
                  <a:lnTo>
                    <a:pt x="398" y="609"/>
                  </a:lnTo>
                  <a:lnTo>
                    <a:pt x="398" y="609"/>
                  </a:lnTo>
                  <a:lnTo>
                    <a:pt x="398" y="609"/>
                  </a:lnTo>
                  <a:lnTo>
                    <a:pt x="395" y="609"/>
                  </a:lnTo>
                  <a:lnTo>
                    <a:pt x="395" y="609"/>
                  </a:lnTo>
                  <a:lnTo>
                    <a:pt x="395" y="609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5" y="612"/>
                  </a:lnTo>
                  <a:lnTo>
                    <a:pt x="392" y="612"/>
                  </a:lnTo>
                  <a:lnTo>
                    <a:pt x="392" y="615"/>
                  </a:lnTo>
                  <a:lnTo>
                    <a:pt x="392" y="615"/>
                  </a:lnTo>
                  <a:lnTo>
                    <a:pt x="392" y="615"/>
                  </a:lnTo>
                  <a:lnTo>
                    <a:pt x="392" y="617"/>
                  </a:lnTo>
                  <a:lnTo>
                    <a:pt x="390" y="617"/>
                  </a:lnTo>
                  <a:lnTo>
                    <a:pt x="390" y="617"/>
                  </a:lnTo>
                  <a:lnTo>
                    <a:pt x="390" y="620"/>
                  </a:lnTo>
                  <a:lnTo>
                    <a:pt x="390" y="620"/>
                  </a:lnTo>
                  <a:lnTo>
                    <a:pt x="390" y="623"/>
                  </a:lnTo>
                  <a:lnTo>
                    <a:pt x="390" y="623"/>
                  </a:lnTo>
                  <a:lnTo>
                    <a:pt x="390" y="625"/>
                  </a:lnTo>
                  <a:lnTo>
                    <a:pt x="390" y="625"/>
                  </a:lnTo>
                  <a:lnTo>
                    <a:pt x="392" y="628"/>
                  </a:lnTo>
                  <a:lnTo>
                    <a:pt x="392" y="628"/>
                  </a:lnTo>
                  <a:lnTo>
                    <a:pt x="392" y="631"/>
                  </a:lnTo>
                  <a:lnTo>
                    <a:pt x="392" y="631"/>
                  </a:lnTo>
                  <a:lnTo>
                    <a:pt x="390" y="631"/>
                  </a:lnTo>
                  <a:lnTo>
                    <a:pt x="390" y="631"/>
                  </a:lnTo>
                  <a:lnTo>
                    <a:pt x="390" y="633"/>
                  </a:lnTo>
                  <a:lnTo>
                    <a:pt x="387" y="633"/>
                  </a:lnTo>
                  <a:lnTo>
                    <a:pt x="387" y="636"/>
                  </a:lnTo>
                  <a:lnTo>
                    <a:pt x="390" y="636"/>
                  </a:lnTo>
                  <a:lnTo>
                    <a:pt x="390" y="636"/>
                  </a:lnTo>
                  <a:lnTo>
                    <a:pt x="387" y="639"/>
                  </a:lnTo>
                  <a:lnTo>
                    <a:pt x="387" y="639"/>
                  </a:lnTo>
                  <a:lnTo>
                    <a:pt x="390" y="641"/>
                  </a:lnTo>
                  <a:lnTo>
                    <a:pt x="390" y="641"/>
                  </a:lnTo>
                  <a:lnTo>
                    <a:pt x="390" y="641"/>
                  </a:lnTo>
                  <a:lnTo>
                    <a:pt x="390" y="644"/>
                  </a:lnTo>
                  <a:lnTo>
                    <a:pt x="390" y="647"/>
                  </a:lnTo>
                  <a:lnTo>
                    <a:pt x="390" y="647"/>
                  </a:lnTo>
                  <a:lnTo>
                    <a:pt x="387" y="647"/>
                  </a:lnTo>
                  <a:lnTo>
                    <a:pt x="387" y="649"/>
                  </a:lnTo>
                  <a:lnTo>
                    <a:pt x="387" y="652"/>
                  </a:lnTo>
                  <a:lnTo>
                    <a:pt x="387" y="652"/>
                  </a:lnTo>
                  <a:lnTo>
                    <a:pt x="387" y="655"/>
                  </a:lnTo>
                  <a:lnTo>
                    <a:pt x="387" y="655"/>
                  </a:lnTo>
                  <a:lnTo>
                    <a:pt x="387" y="655"/>
                  </a:lnTo>
                  <a:lnTo>
                    <a:pt x="387" y="657"/>
                  </a:lnTo>
                  <a:lnTo>
                    <a:pt x="387" y="657"/>
                  </a:lnTo>
                  <a:lnTo>
                    <a:pt x="387" y="660"/>
                  </a:lnTo>
                  <a:lnTo>
                    <a:pt x="387" y="660"/>
                  </a:lnTo>
                  <a:lnTo>
                    <a:pt x="387" y="660"/>
                  </a:lnTo>
                  <a:lnTo>
                    <a:pt x="384" y="663"/>
                  </a:lnTo>
                  <a:lnTo>
                    <a:pt x="384" y="663"/>
                  </a:lnTo>
                  <a:lnTo>
                    <a:pt x="384" y="665"/>
                  </a:lnTo>
                  <a:lnTo>
                    <a:pt x="384" y="665"/>
                  </a:lnTo>
                  <a:lnTo>
                    <a:pt x="384" y="668"/>
                  </a:lnTo>
                  <a:lnTo>
                    <a:pt x="387" y="671"/>
                  </a:lnTo>
                  <a:lnTo>
                    <a:pt x="387" y="671"/>
                  </a:lnTo>
                  <a:lnTo>
                    <a:pt x="390" y="674"/>
                  </a:lnTo>
                  <a:lnTo>
                    <a:pt x="390" y="674"/>
                  </a:lnTo>
                  <a:lnTo>
                    <a:pt x="392" y="674"/>
                  </a:lnTo>
                  <a:lnTo>
                    <a:pt x="392" y="674"/>
                  </a:lnTo>
                  <a:lnTo>
                    <a:pt x="392" y="674"/>
                  </a:lnTo>
                  <a:lnTo>
                    <a:pt x="392" y="671"/>
                  </a:lnTo>
                  <a:lnTo>
                    <a:pt x="395" y="671"/>
                  </a:lnTo>
                  <a:lnTo>
                    <a:pt x="395" y="674"/>
                  </a:lnTo>
                  <a:lnTo>
                    <a:pt x="395" y="674"/>
                  </a:lnTo>
                  <a:lnTo>
                    <a:pt x="395" y="676"/>
                  </a:lnTo>
                  <a:lnTo>
                    <a:pt x="395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2" y="676"/>
                  </a:lnTo>
                  <a:lnTo>
                    <a:pt x="390" y="676"/>
                  </a:lnTo>
                  <a:lnTo>
                    <a:pt x="390" y="676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82"/>
                  </a:lnTo>
                  <a:lnTo>
                    <a:pt x="390" y="682"/>
                  </a:lnTo>
                  <a:lnTo>
                    <a:pt x="390" y="682"/>
                  </a:lnTo>
                  <a:lnTo>
                    <a:pt x="390" y="684"/>
                  </a:lnTo>
                  <a:lnTo>
                    <a:pt x="387" y="684"/>
                  </a:lnTo>
                  <a:lnTo>
                    <a:pt x="387" y="684"/>
                  </a:lnTo>
                  <a:lnTo>
                    <a:pt x="387" y="687"/>
                  </a:lnTo>
                  <a:lnTo>
                    <a:pt x="387" y="687"/>
                  </a:lnTo>
                  <a:lnTo>
                    <a:pt x="384" y="687"/>
                  </a:lnTo>
                  <a:lnTo>
                    <a:pt x="384" y="690"/>
                  </a:lnTo>
                  <a:lnTo>
                    <a:pt x="384" y="690"/>
                  </a:lnTo>
                  <a:lnTo>
                    <a:pt x="384" y="692"/>
                  </a:lnTo>
                  <a:lnTo>
                    <a:pt x="384" y="692"/>
                  </a:lnTo>
                  <a:lnTo>
                    <a:pt x="384" y="695"/>
                  </a:lnTo>
                  <a:lnTo>
                    <a:pt x="384" y="698"/>
                  </a:lnTo>
                  <a:lnTo>
                    <a:pt x="384" y="700"/>
                  </a:lnTo>
                  <a:lnTo>
                    <a:pt x="384" y="700"/>
                  </a:lnTo>
                  <a:lnTo>
                    <a:pt x="384" y="700"/>
                  </a:lnTo>
                  <a:lnTo>
                    <a:pt x="387" y="703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8"/>
                  </a:lnTo>
                  <a:lnTo>
                    <a:pt x="384" y="708"/>
                  </a:lnTo>
                  <a:lnTo>
                    <a:pt x="384" y="711"/>
                  </a:lnTo>
                  <a:lnTo>
                    <a:pt x="384" y="711"/>
                  </a:lnTo>
                  <a:lnTo>
                    <a:pt x="384" y="714"/>
                  </a:lnTo>
                  <a:lnTo>
                    <a:pt x="384" y="714"/>
                  </a:lnTo>
                  <a:lnTo>
                    <a:pt x="384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6"/>
                  </a:lnTo>
                  <a:lnTo>
                    <a:pt x="382" y="719"/>
                  </a:lnTo>
                  <a:lnTo>
                    <a:pt x="379" y="719"/>
                  </a:lnTo>
                  <a:lnTo>
                    <a:pt x="379" y="719"/>
                  </a:lnTo>
                  <a:lnTo>
                    <a:pt x="379" y="722"/>
                  </a:lnTo>
                  <a:lnTo>
                    <a:pt x="379" y="722"/>
                  </a:lnTo>
                  <a:lnTo>
                    <a:pt x="376" y="722"/>
                  </a:lnTo>
                  <a:lnTo>
                    <a:pt x="376" y="724"/>
                  </a:lnTo>
                  <a:lnTo>
                    <a:pt x="376" y="724"/>
                  </a:lnTo>
                  <a:lnTo>
                    <a:pt x="376" y="724"/>
                  </a:lnTo>
                  <a:lnTo>
                    <a:pt x="376" y="727"/>
                  </a:lnTo>
                  <a:lnTo>
                    <a:pt x="376" y="727"/>
                  </a:lnTo>
                  <a:lnTo>
                    <a:pt x="374" y="730"/>
                  </a:lnTo>
                  <a:lnTo>
                    <a:pt x="374" y="730"/>
                  </a:lnTo>
                  <a:lnTo>
                    <a:pt x="376" y="732"/>
                  </a:lnTo>
                  <a:lnTo>
                    <a:pt x="376" y="732"/>
                  </a:lnTo>
                  <a:lnTo>
                    <a:pt x="376" y="732"/>
                  </a:lnTo>
                  <a:lnTo>
                    <a:pt x="376" y="735"/>
                  </a:lnTo>
                  <a:lnTo>
                    <a:pt x="376" y="738"/>
                  </a:lnTo>
                  <a:lnTo>
                    <a:pt x="376" y="738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6" y="740"/>
                  </a:lnTo>
                  <a:lnTo>
                    <a:pt x="374" y="740"/>
                  </a:lnTo>
                  <a:lnTo>
                    <a:pt x="374" y="740"/>
                  </a:lnTo>
                  <a:lnTo>
                    <a:pt x="374" y="738"/>
                  </a:lnTo>
                  <a:lnTo>
                    <a:pt x="374" y="738"/>
                  </a:lnTo>
                  <a:lnTo>
                    <a:pt x="374" y="740"/>
                  </a:lnTo>
                  <a:lnTo>
                    <a:pt x="371" y="740"/>
                  </a:lnTo>
                  <a:lnTo>
                    <a:pt x="371" y="740"/>
                  </a:lnTo>
                  <a:lnTo>
                    <a:pt x="371" y="743"/>
                  </a:lnTo>
                  <a:lnTo>
                    <a:pt x="371" y="743"/>
                  </a:lnTo>
                  <a:lnTo>
                    <a:pt x="371" y="743"/>
                  </a:lnTo>
                  <a:lnTo>
                    <a:pt x="371" y="746"/>
                  </a:lnTo>
                  <a:lnTo>
                    <a:pt x="371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68" y="748"/>
                  </a:lnTo>
                  <a:lnTo>
                    <a:pt x="368" y="748"/>
                  </a:lnTo>
                  <a:lnTo>
                    <a:pt x="368" y="751"/>
                  </a:lnTo>
                  <a:lnTo>
                    <a:pt x="368" y="751"/>
                  </a:lnTo>
                  <a:lnTo>
                    <a:pt x="368" y="754"/>
                  </a:lnTo>
                  <a:lnTo>
                    <a:pt x="366" y="754"/>
                  </a:lnTo>
                  <a:lnTo>
                    <a:pt x="366" y="754"/>
                  </a:lnTo>
                  <a:lnTo>
                    <a:pt x="366" y="756"/>
                  </a:lnTo>
                  <a:lnTo>
                    <a:pt x="366" y="756"/>
                  </a:lnTo>
                  <a:lnTo>
                    <a:pt x="366" y="762"/>
                  </a:lnTo>
                  <a:lnTo>
                    <a:pt x="366" y="762"/>
                  </a:lnTo>
                  <a:lnTo>
                    <a:pt x="366" y="762"/>
                  </a:lnTo>
                  <a:lnTo>
                    <a:pt x="363" y="762"/>
                  </a:lnTo>
                  <a:lnTo>
                    <a:pt x="363" y="764"/>
                  </a:lnTo>
                  <a:lnTo>
                    <a:pt x="363" y="764"/>
                  </a:lnTo>
                  <a:lnTo>
                    <a:pt x="363" y="764"/>
                  </a:lnTo>
                  <a:lnTo>
                    <a:pt x="360" y="767"/>
                  </a:lnTo>
                  <a:lnTo>
                    <a:pt x="360" y="767"/>
                  </a:lnTo>
                  <a:lnTo>
                    <a:pt x="360" y="767"/>
                  </a:lnTo>
                  <a:lnTo>
                    <a:pt x="360" y="770"/>
                  </a:lnTo>
                  <a:lnTo>
                    <a:pt x="360" y="772"/>
                  </a:lnTo>
                  <a:lnTo>
                    <a:pt x="360" y="772"/>
                  </a:lnTo>
                  <a:lnTo>
                    <a:pt x="360" y="772"/>
                  </a:lnTo>
                  <a:lnTo>
                    <a:pt x="360" y="775"/>
                  </a:lnTo>
                  <a:lnTo>
                    <a:pt x="360" y="775"/>
                  </a:lnTo>
                  <a:lnTo>
                    <a:pt x="360" y="778"/>
                  </a:lnTo>
                  <a:lnTo>
                    <a:pt x="360" y="778"/>
                  </a:lnTo>
                  <a:lnTo>
                    <a:pt x="360" y="778"/>
                  </a:lnTo>
                  <a:lnTo>
                    <a:pt x="360" y="780"/>
                  </a:lnTo>
                  <a:lnTo>
                    <a:pt x="360" y="780"/>
                  </a:lnTo>
                  <a:lnTo>
                    <a:pt x="360" y="780"/>
                  </a:lnTo>
                  <a:lnTo>
                    <a:pt x="358" y="780"/>
                  </a:lnTo>
                  <a:lnTo>
                    <a:pt x="358" y="780"/>
                  </a:lnTo>
                  <a:lnTo>
                    <a:pt x="355" y="783"/>
                  </a:lnTo>
                  <a:lnTo>
                    <a:pt x="355" y="783"/>
                  </a:lnTo>
                  <a:lnTo>
                    <a:pt x="355" y="783"/>
                  </a:lnTo>
                  <a:lnTo>
                    <a:pt x="355" y="786"/>
                  </a:lnTo>
                  <a:lnTo>
                    <a:pt x="355" y="786"/>
                  </a:lnTo>
                  <a:lnTo>
                    <a:pt x="355" y="786"/>
                  </a:lnTo>
                  <a:lnTo>
                    <a:pt x="352" y="786"/>
                  </a:lnTo>
                  <a:lnTo>
                    <a:pt x="352" y="788"/>
                  </a:lnTo>
                  <a:lnTo>
                    <a:pt x="352" y="788"/>
                  </a:lnTo>
                  <a:lnTo>
                    <a:pt x="352" y="788"/>
                  </a:lnTo>
                  <a:lnTo>
                    <a:pt x="352" y="791"/>
                  </a:lnTo>
                  <a:lnTo>
                    <a:pt x="350" y="791"/>
                  </a:lnTo>
                  <a:lnTo>
                    <a:pt x="352" y="794"/>
                  </a:lnTo>
                  <a:lnTo>
                    <a:pt x="352" y="794"/>
                  </a:lnTo>
                  <a:lnTo>
                    <a:pt x="352" y="794"/>
                  </a:lnTo>
                  <a:lnTo>
                    <a:pt x="350" y="794"/>
                  </a:lnTo>
                  <a:lnTo>
                    <a:pt x="350" y="794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6"/>
                  </a:lnTo>
                  <a:lnTo>
                    <a:pt x="347" y="799"/>
                  </a:lnTo>
                  <a:lnTo>
                    <a:pt x="347" y="799"/>
                  </a:lnTo>
                  <a:lnTo>
                    <a:pt x="344" y="799"/>
                  </a:lnTo>
                  <a:lnTo>
                    <a:pt x="344" y="802"/>
                  </a:lnTo>
                  <a:lnTo>
                    <a:pt x="344" y="804"/>
                  </a:lnTo>
                  <a:lnTo>
                    <a:pt x="344" y="804"/>
                  </a:lnTo>
                  <a:lnTo>
                    <a:pt x="344" y="807"/>
                  </a:lnTo>
                  <a:lnTo>
                    <a:pt x="344" y="807"/>
                  </a:lnTo>
                  <a:lnTo>
                    <a:pt x="344" y="810"/>
                  </a:lnTo>
                  <a:lnTo>
                    <a:pt x="347" y="810"/>
                  </a:lnTo>
                  <a:lnTo>
                    <a:pt x="347" y="812"/>
                  </a:lnTo>
                  <a:lnTo>
                    <a:pt x="347" y="812"/>
                  </a:lnTo>
                  <a:lnTo>
                    <a:pt x="347" y="815"/>
                  </a:lnTo>
                  <a:lnTo>
                    <a:pt x="347" y="815"/>
                  </a:lnTo>
                  <a:lnTo>
                    <a:pt x="347" y="818"/>
                  </a:lnTo>
                  <a:lnTo>
                    <a:pt x="347" y="818"/>
                  </a:lnTo>
                  <a:lnTo>
                    <a:pt x="347" y="820"/>
                  </a:lnTo>
                  <a:lnTo>
                    <a:pt x="347" y="820"/>
                  </a:lnTo>
                  <a:lnTo>
                    <a:pt x="344" y="820"/>
                  </a:lnTo>
                  <a:lnTo>
                    <a:pt x="344" y="823"/>
                  </a:lnTo>
                  <a:lnTo>
                    <a:pt x="344" y="823"/>
                  </a:lnTo>
                  <a:lnTo>
                    <a:pt x="344" y="826"/>
                  </a:lnTo>
                  <a:lnTo>
                    <a:pt x="344" y="826"/>
                  </a:lnTo>
                  <a:lnTo>
                    <a:pt x="344" y="828"/>
                  </a:lnTo>
                  <a:lnTo>
                    <a:pt x="344" y="828"/>
                  </a:lnTo>
                  <a:lnTo>
                    <a:pt x="342" y="828"/>
                  </a:lnTo>
                  <a:lnTo>
                    <a:pt x="342" y="831"/>
                  </a:lnTo>
                  <a:lnTo>
                    <a:pt x="342" y="831"/>
                  </a:lnTo>
                  <a:lnTo>
                    <a:pt x="342" y="834"/>
                  </a:lnTo>
                  <a:lnTo>
                    <a:pt x="342" y="834"/>
                  </a:lnTo>
                  <a:lnTo>
                    <a:pt x="339" y="834"/>
                  </a:lnTo>
                  <a:lnTo>
                    <a:pt x="339" y="837"/>
                  </a:lnTo>
                  <a:lnTo>
                    <a:pt x="339" y="837"/>
                  </a:lnTo>
                  <a:lnTo>
                    <a:pt x="339" y="837"/>
                  </a:lnTo>
                  <a:lnTo>
                    <a:pt x="339" y="839"/>
                  </a:lnTo>
                  <a:lnTo>
                    <a:pt x="339" y="839"/>
                  </a:lnTo>
                  <a:lnTo>
                    <a:pt x="339" y="84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36" y="845"/>
                  </a:lnTo>
                  <a:lnTo>
                    <a:pt x="336" y="845"/>
                  </a:lnTo>
                  <a:lnTo>
                    <a:pt x="334" y="845"/>
                  </a:lnTo>
                  <a:lnTo>
                    <a:pt x="334" y="845"/>
                  </a:lnTo>
                  <a:lnTo>
                    <a:pt x="334" y="847"/>
                  </a:lnTo>
                  <a:lnTo>
                    <a:pt x="334" y="847"/>
                  </a:lnTo>
                  <a:lnTo>
                    <a:pt x="334" y="847"/>
                  </a:lnTo>
                  <a:lnTo>
                    <a:pt x="334" y="850"/>
                  </a:lnTo>
                  <a:lnTo>
                    <a:pt x="331" y="850"/>
                  </a:lnTo>
                  <a:lnTo>
                    <a:pt x="331" y="853"/>
                  </a:lnTo>
                  <a:lnTo>
                    <a:pt x="331" y="853"/>
                  </a:lnTo>
                  <a:lnTo>
                    <a:pt x="328" y="853"/>
                  </a:lnTo>
                  <a:lnTo>
                    <a:pt x="328" y="855"/>
                  </a:lnTo>
                  <a:lnTo>
                    <a:pt x="326" y="855"/>
                  </a:lnTo>
                  <a:lnTo>
                    <a:pt x="326" y="858"/>
                  </a:lnTo>
                  <a:lnTo>
                    <a:pt x="323" y="861"/>
                  </a:lnTo>
                  <a:lnTo>
                    <a:pt x="323" y="861"/>
                  </a:lnTo>
                  <a:lnTo>
                    <a:pt x="323" y="861"/>
                  </a:lnTo>
                  <a:lnTo>
                    <a:pt x="323" y="863"/>
                  </a:lnTo>
                  <a:lnTo>
                    <a:pt x="323" y="866"/>
                  </a:lnTo>
                  <a:lnTo>
                    <a:pt x="323" y="866"/>
                  </a:lnTo>
                  <a:lnTo>
                    <a:pt x="323" y="869"/>
                  </a:lnTo>
                  <a:lnTo>
                    <a:pt x="320" y="869"/>
                  </a:lnTo>
                  <a:lnTo>
                    <a:pt x="320" y="871"/>
                  </a:lnTo>
                  <a:lnTo>
                    <a:pt x="320" y="871"/>
                  </a:lnTo>
                  <a:lnTo>
                    <a:pt x="320" y="874"/>
                  </a:lnTo>
                  <a:lnTo>
                    <a:pt x="320" y="874"/>
                  </a:lnTo>
                  <a:lnTo>
                    <a:pt x="318" y="879"/>
                  </a:lnTo>
                  <a:lnTo>
                    <a:pt x="318" y="879"/>
                  </a:lnTo>
                  <a:lnTo>
                    <a:pt x="318" y="879"/>
                  </a:lnTo>
                  <a:lnTo>
                    <a:pt x="318" y="882"/>
                  </a:lnTo>
                  <a:lnTo>
                    <a:pt x="318" y="882"/>
                  </a:lnTo>
                  <a:lnTo>
                    <a:pt x="318" y="882"/>
                  </a:lnTo>
                  <a:lnTo>
                    <a:pt x="318" y="885"/>
                  </a:lnTo>
                  <a:lnTo>
                    <a:pt x="315" y="887"/>
                  </a:lnTo>
                  <a:lnTo>
                    <a:pt x="315" y="887"/>
                  </a:lnTo>
                  <a:lnTo>
                    <a:pt x="315" y="890"/>
                  </a:lnTo>
                  <a:lnTo>
                    <a:pt x="318" y="893"/>
                  </a:lnTo>
                  <a:lnTo>
                    <a:pt x="318" y="893"/>
                  </a:lnTo>
                  <a:lnTo>
                    <a:pt x="320" y="893"/>
                  </a:lnTo>
                  <a:lnTo>
                    <a:pt x="320" y="895"/>
                  </a:lnTo>
                  <a:lnTo>
                    <a:pt x="323" y="895"/>
                  </a:lnTo>
                  <a:lnTo>
                    <a:pt x="323" y="895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6" y="898"/>
                  </a:lnTo>
                  <a:lnTo>
                    <a:pt x="328" y="901"/>
                  </a:lnTo>
                  <a:lnTo>
                    <a:pt x="328" y="898"/>
                  </a:lnTo>
                  <a:lnTo>
                    <a:pt x="328" y="898"/>
                  </a:lnTo>
                  <a:lnTo>
                    <a:pt x="331" y="898"/>
                  </a:lnTo>
                  <a:lnTo>
                    <a:pt x="334" y="898"/>
                  </a:lnTo>
                  <a:lnTo>
                    <a:pt x="336" y="895"/>
                  </a:lnTo>
                  <a:lnTo>
                    <a:pt x="339" y="895"/>
                  </a:lnTo>
                  <a:lnTo>
                    <a:pt x="342" y="895"/>
                  </a:lnTo>
                  <a:lnTo>
                    <a:pt x="342" y="895"/>
                  </a:lnTo>
                  <a:lnTo>
                    <a:pt x="344" y="895"/>
                  </a:lnTo>
                  <a:lnTo>
                    <a:pt x="344" y="895"/>
                  </a:lnTo>
                  <a:lnTo>
                    <a:pt x="347" y="895"/>
                  </a:lnTo>
                  <a:lnTo>
                    <a:pt x="350" y="893"/>
                  </a:lnTo>
                  <a:lnTo>
                    <a:pt x="352" y="895"/>
                  </a:lnTo>
                  <a:lnTo>
                    <a:pt x="352" y="898"/>
                  </a:lnTo>
                  <a:lnTo>
                    <a:pt x="355" y="898"/>
                  </a:lnTo>
                  <a:lnTo>
                    <a:pt x="355" y="901"/>
                  </a:lnTo>
                  <a:lnTo>
                    <a:pt x="360" y="898"/>
                  </a:lnTo>
                  <a:lnTo>
                    <a:pt x="363" y="895"/>
                  </a:lnTo>
                  <a:lnTo>
                    <a:pt x="366" y="895"/>
                  </a:lnTo>
                  <a:lnTo>
                    <a:pt x="368" y="895"/>
                  </a:lnTo>
                  <a:lnTo>
                    <a:pt x="368" y="893"/>
                  </a:lnTo>
                  <a:lnTo>
                    <a:pt x="371" y="893"/>
                  </a:lnTo>
                  <a:lnTo>
                    <a:pt x="374" y="890"/>
                  </a:lnTo>
                  <a:lnTo>
                    <a:pt x="374" y="887"/>
                  </a:lnTo>
                  <a:lnTo>
                    <a:pt x="376" y="887"/>
                  </a:lnTo>
                  <a:lnTo>
                    <a:pt x="376" y="885"/>
                  </a:lnTo>
                  <a:lnTo>
                    <a:pt x="379" y="885"/>
                  </a:lnTo>
                  <a:lnTo>
                    <a:pt x="379" y="885"/>
                  </a:lnTo>
                  <a:lnTo>
                    <a:pt x="382" y="885"/>
                  </a:lnTo>
                  <a:lnTo>
                    <a:pt x="382" y="885"/>
                  </a:lnTo>
                  <a:lnTo>
                    <a:pt x="384" y="885"/>
                  </a:lnTo>
                  <a:lnTo>
                    <a:pt x="384" y="882"/>
                  </a:lnTo>
                  <a:lnTo>
                    <a:pt x="387" y="882"/>
                  </a:lnTo>
                  <a:lnTo>
                    <a:pt x="387" y="882"/>
                  </a:lnTo>
                  <a:lnTo>
                    <a:pt x="390" y="879"/>
                  </a:lnTo>
                  <a:lnTo>
                    <a:pt x="395" y="879"/>
                  </a:lnTo>
                  <a:lnTo>
                    <a:pt x="395" y="877"/>
                  </a:lnTo>
                  <a:lnTo>
                    <a:pt x="398" y="877"/>
                  </a:lnTo>
                  <a:lnTo>
                    <a:pt x="398" y="877"/>
                  </a:lnTo>
                  <a:lnTo>
                    <a:pt x="398" y="874"/>
                  </a:lnTo>
                  <a:lnTo>
                    <a:pt x="398" y="871"/>
                  </a:lnTo>
                  <a:lnTo>
                    <a:pt x="398" y="869"/>
                  </a:lnTo>
                  <a:lnTo>
                    <a:pt x="398" y="869"/>
                  </a:lnTo>
                  <a:lnTo>
                    <a:pt x="400" y="869"/>
                  </a:lnTo>
                  <a:lnTo>
                    <a:pt x="400" y="871"/>
                  </a:lnTo>
                  <a:lnTo>
                    <a:pt x="400" y="871"/>
                  </a:lnTo>
                  <a:lnTo>
                    <a:pt x="400" y="874"/>
                  </a:lnTo>
                  <a:lnTo>
                    <a:pt x="400" y="874"/>
                  </a:lnTo>
                  <a:lnTo>
                    <a:pt x="403" y="871"/>
                  </a:lnTo>
                  <a:lnTo>
                    <a:pt x="403" y="871"/>
                  </a:lnTo>
                  <a:lnTo>
                    <a:pt x="406" y="869"/>
                  </a:lnTo>
                  <a:lnTo>
                    <a:pt x="406" y="869"/>
                  </a:lnTo>
                  <a:lnTo>
                    <a:pt x="406" y="869"/>
                  </a:lnTo>
                  <a:lnTo>
                    <a:pt x="406" y="866"/>
                  </a:lnTo>
                  <a:lnTo>
                    <a:pt x="408" y="866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69"/>
                  </a:lnTo>
                  <a:lnTo>
                    <a:pt x="408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1"/>
                  </a:lnTo>
                  <a:lnTo>
                    <a:pt x="411" y="874"/>
                  </a:lnTo>
                  <a:lnTo>
                    <a:pt x="411" y="874"/>
                  </a:lnTo>
                  <a:lnTo>
                    <a:pt x="411" y="874"/>
                  </a:lnTo>
                  <a:lnTo>
                    <a:pt x="411" y="877"/>
                  </a:lnTo>
                  <a:lnTo>
                    <a:pt x="411" y="877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4" y="879"/>
                  </a:lnTo>
                  <a:lnTo>
                    <a:pt x="416" y="879"/>
                  </a:lnTo>
                  <a:lnTo>
                    <a:pt x="414" y="882"/>
                  </a:lnTo>
                  <a:lnTo>
                    <a:pt x="414" y="882"/>
                  </a:lnTo>
                  <a:lnTo>
                    <a:pt x="416" y="882"/>
                  </a:lnTo>
                  <a:lnTo>
                    <a:pt x="416" y="885"/>
                  </a:lnTo>
                  <a:lnTo>
                    <a:pt x="416" y="885"/>
                  </a:lnTo>
                  <a:lnTo>
                    <a:pt x="416" y="887"/>
                  </a:lnTo>
                  <a:lnTo>
                    <a:pt x="416" y="885"/>
                  </a:lnTo>
                  <a:lnTo>
                    <a:pt x="414" y="885"/>
                  </a:lnTo>
                  <a:lnTo>
                    <a:pt x="414" y="887"/>
                  </a:lnTo>
                  <a:lnTo>
                    <a:pt x="414" y="887"/>
                  </a:lnTo>
                  <a:lnTo>
                    <a:pt x="414" y="890"/>
                  </a:lnTo>
                  <a:lnTo>
                    <a:pt x="416" y="890"/>
                  </a:lnTo>
                  <a:lnTo>
                    <a:pt x="416" y="893"/>
                  </a:lnTo>
                  <a:lnTo>
                    <a:pt x="416" y="893"/>
                  </a:lnTo>
                  <a:lnTo>
                    <a:pt x="419" y="893"/>
                  </a:lnTo>
                  <a:lnTo>
                    <a:pt x="419" y="893"/>
                  </a:lnTo>
                  <a:lnTo>
                    <a:pt x="422" y="895"/>
                  </a:lnTo>
                  <a:lnTo>
                    <a:pt x="422" y="895"/>
                  </a:lnTo>
                  <a:lnTo>
                    <a:pt x="419" y="898"/>
                  </a:lnTo>
                  <a:lnTo>
                    <a:pt x="419" y="898"/>
                  </a:lnTo>
                  <a:lnTo>
                    <a:pt x="419" y="901"/>
                  </a:lnTo>
                  <a:lnTo>
                    <a:pt x="422" y="901"/>
                  </a:lnTo>
                  <a:lnTo>
                    <a:pt x="422" y="901"/>
                  </a:lnTo>
                  <a:lnTo>
                    <a:pt x="422" y="901"/>
                  </a:lnTo>
                  <a:lnTo>
                    <a:pt x="424" y="901"/>
                  </a:lnTo>
                  <a:lnTo>
                    <a:pt x="424" y="901"/>
                  </a:lnTo>
                  <a:lnTo>
                    <a:pt x="424" y="903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6"/>
                  </a:lnTo>
                  <a:lnTo>
                    <a:pt x="424" y="906"/>
                  </a:lnTo>
                  <a:lnTo>
                    <a:pt x="424" y="906"/>
                  </a:lnTo>
                  <a:lnTo>
                    <a:pt x="424" y="906"/>
                  </a:lnTo>
                  <a:lnTo>
                    <a:pt x="427" y="909"/>
                  </a:lnTo>
                  <a:lnTo>
                    <a:pt x="427" y="911"/>
                  </a:lnTo>
                  <a:lnTo>
                    <a:pt x="427" y="911"/>
                  </a:lnTo>
                  <a:lnTo>
                    <a:pt x="427" y="911"/>
                  </a:lnTo>
                  <a:lnTo>
                    <a:pt x="427" y="914"/>
                  </a:lnTo>
                  <a:lnTo>
                    <a:pt x="430" y="914"/>
                  </a:lnTo>
                  <a:lnTo>
                    <a:pt x="430" y="914"/>
                  </a:lnTo>
                  <a:lnTo>
                    <a:pt x="430" y="917"/>
                  </a:lnTo>
                  <a:lnTo>
                    <a:pt x="430" y="917"/>
                  </a:lnTo>
                  <a:lnTo>
                    <a:pt x="430" y="919"/>
                  </a:lnTo>
                  <a:lnTo>
                    <a:pt x="430" y="919"/>
                  </a:lnTo>
                  <a:lnTo>
                    <a:pt x="430" y="922"/>
                  </a:lnTo>
                  <a:lnTo>
                    <a:pt x="430" y="922"/>
                  </a:lnTo>
                  <a:lnTo>
                    <a:pt x="427" y="925"/>
                  </a:lnTo>
                  <a:lnTo>
                    <a:pt x="430" y="925"/>
                  </a:lnTo>
                  <a:lnTo>
                    <a:pt x="430" y="927"/>
                  </a:lnTo>
                  <a:lnTo>
                    <a:pt x="430" y="930"/>
                  </a:lnTo>
                  <a:lnTo>
                    <a:pt x="430" y="930"/>
                  </a:lnTo>
                  <a:lnTo>
                    <a:pt x="430" y="930"/>
                  </a:lnTo>
                  <a:lnTo>
                    <a:pt x="432" y="933"/>
                  </a:lnTo>
                  <a:lnTo>
                    <a:pt x="432" y="933"/>
                  </a:lnTo>
                  <a:lnTo>
                    <a:pt x="432" y="933"/>
                  </a:lnTo>
                  <a:lnTo>
                    <a:pt x="435" y="935"/>
                  </a:lnTo>
                  <a:lnTo>
                    <a:pt x="435" y="935"/>
                  </a:lnTo>
                  <a:lnTo>
                    <a:pt x="435" y="938"/>
                  </a:lnTo>
                  <a:lnTo>
                    <a:pt x="438" y="941"/>
                  </a:lnTo>
                  <a:lnTo>
                    <a:pt x="438" y="941"/>
                  </a:lnTo>
                  <a:lnTo>
                    <a:pt x="438" y="941"/>
                  </a:lnTo>
                  <a:lnTo>
                    <a:pt x="438" y="943"/>
                  </a:lnTo>
                  <a:lnTo>
                    <a:pt x="440" y="943"/>
                  </a:lnTo>
                  <a:lnTo>
                    <a:pt x="440" y="941"/>
                  </a:lnTo>
                  <a:lnTo>
                    <a:pt x="440" y="941"/>
                  </a:lnTo>
                  <a:lnTo>
                    <a:pt x="443" y="943"/>
                  </a:lnTo>
                  <a:lnTo>
                    <a:pt x="443" y="943"/>
                  </a:lnTo>
                  <a:lnTo>
                    <a:pt x="443" y="943"/>
                  </a:lnTo>
                  <a:lnTo>
                    <a:pt x="446" y="941"/>
                  </a:lnTo>
                  <a:lnTo>
                    <a:pt x="446" y="941"/>
                  </a:lnTo>
                  <a:lnTo>
                    <a:pt x="446" y="938"/>
                  </a:lnTo>
                  <a:lnTo>
                    <a:pt x="446" y="938"/>
                  </a:lnTo>
                  <a:lnTo>
                    <a:pt x="446" y="938"/>
                  </a:lnTo>
                  <a:lnTo>
                    <a:pt x="446" y="935"/>
                  </a:lnTo>
                  <a:lnTo>
                    <a:pt x="446" y="935"/>
                  </a:lnTo>
                  <a:lnTo>
                    <a:pt x="446" y="935"/>
                  </a:lnTo>
                  <a:lnTo>
                    <a:pt x="446" y="933"/>
                  </a:lnTo>
                  <a:lnTo>
                    <a:pt x="446" y="933"/>
                  </a:lnTo>
                  <a:lnTo>
                    <a:pt x="448" y="933"/>
                  </a:lnTo>
                  <a:lnTo>
                    <a:pt x="448" y="933"/>
                  </a:lnTo>
                  <a:lnTo>
                    <a:pt x="448" y="930"/>
                  </a:lnTo>
                  <a:lnTo>
                    <a:pt x="448" y="930"/>
                  </a:lnTo>
                  <a:lnTo>
                    <a:pt x="448" y="930"/>
                  </a:lnTo>
                  <a:lnTo>
                    <a:pt x="451" y="930"/>
                  </a:lnTo>
                  <a:lnTo>
                    <a:pt x="451" y="930"/>
                  </a:lnTo>
                  <a:lnTo>
                    <a:pt x="454" y="930"/>
                  </a:lnTo>
                  <a:lnTo>
                    <a:pt x="454" y="930"/>
                  </a:lnTo>
                  <a:lnTo>
                    <a:pt x="454" y="927"/>
                  </a:lnTo>
                  <a:lnTo>
                    <a:pt x="454" y="927"/>
                  </a:lnTo>
                  <a:lnTo>
                    <a:pt x="456" y="930"/>
                  </a:lnTo>
                  <a:lnTo>
                    <a:pt x="456" y="930"/>
                  </a:lnTo>
                  <a:lnTo>
                    <a:pt x="456" y="930"/>
                  </a:lnTo>
                  <a:lnTo>
                    <a:pt x="459" y="930"/>
                  </a:lnTo>
                  <a:lnTo>
                    <a:pt x="459" y="927"/>
                  </a:lnTo>
                  <a:lnTo>
                    <a:pt x="459" y="927"/>
                  </a:lnTo>
                  <a:lnTo>
                    <a:pt x="462" y="925"/>
                  </a:lnTo>
                  <a:lnTo>
                    <a:pt x="462" y="925"/>
                  </a:lnTo>
                  <a:lnTo>
                    <a:pt x="459" y="922"/>
                  </a:lnTo>
                  <a:lnTo>
                    <a:pt x="459" y="922"/>
                  </a:lnTo>
                  <a:lnTo>
                    <a:pt x="459" y="922"/>
                  </a:lnTo>
                  <a:lnTo>
                    <a:pt x="459" y="919"/>
                  </a:lnTo>
                  <a:lnTo>
                    <a:pt x="459" y="917"/>
                  </a:lnTo>
                  <a:lnTo>
                    <a:pt x="459" y="914"/>
                  </a:lnTo>
                  <a:lnTo>
                    <a:pt x="459" y="911"/>
                  </a:lnTo>
                  <a:lnTo>
                    <a:pt x="456" y="911"/>
                  </a:lnTo>
                  <a:lnTo>
                    <a:pt x="456" y="909"/>
                  </a:lnTo>
                  <a:lnTo>
                    <a:pt x="456" y="909"/>
                  </a:lnTo>
                  <a:lnTo>
                    <a:pt x="456" y="909"/>
                  </a:lnTo>
                  <a:lnTo>
                    <a:pt x="456" y="906"/>
                  </a:lnTo>
                  <a:lnTo>
                    <a:pt x="459" y="906"/>
                  </a:lnTo>
                  <a:lnTo>
                    <a:pt x="459" y="906"/>
                  </a:lnTo>
                  <a:lnTo>
                    <a:pt x="456" y="906"/>
                  </a:lnTo>
                  <a:lnTo>
                    <a:pt x="456" y="906"/>
                  </a:lnTo>
                  <a:lnTo>
                    <a:pt x="454" y="906"/>
                  </a:lnTo>
                  <a:lnTo>
                    <a:pt x="454" y="906"/>
                  </a:lnTo>
                  <a:lnTo>
                    <a:pt x="454" y="909"/>
                  </a:lnTo>
                  <a:lnTo>
                    <a:pt x="451" y="909"/>
                  </a:lnTo>
                  <a:lnTo>
                    <a:pt x="451" y="909"/>
                  </a:lnTo>
                  <a:lnTo>
                    <a:pt x="451" y="909"/>
                  </a:lnTo>
                  <a:lnTo>
                    <a:pt x="448" y="909"/>
                  </a:lnTo>
                  <a:lnTo>
                    <a:pt x="448" y="909"/>
                  </a:lnTo>
                  <a:lnTo>
                    <a:pt x="448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6" y="906"/>
                  </a:lnTo>
                  <a:lnTo>
                    <a:pt x="443" y="906"/>
                  </a:lnTo>
                  <a:lnTo>
                    <a:pt x="440" y="903"/>
                  </a:lnTo>
                  <a:lnTo>
                    <a:pt x="443" y="903"/>
                  </a:lnTo>
                  <a:lnTo>
                    <a:pt x="443" y="901"/>
                  </a:lnTo>
                  <a:lnTo>
                    <a:pt x="443" y="901"/>
                  </a:lnTo>
                  <a:lnTo>
                    <a:pt x="443" y="898"/>
                  </a:lnTo>
                  <a:lnTo>
                    <a:pt x="446" y="898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6" y="895"/>
                  </a:lnTo>
                  <a:lnTo>
                    <a:pt x="443" y="893"/>
                  </a:lnTo>
                  <a:lnTo>
                    <a:pt x="446" y="893"/>
                  </a:lnTo>
                  <a:lnTo>
                    <a:pt x="446" y="893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90"/>
                  </a:lnTo>
                  <a:lnTo>
                    <a:pt x="448" y="887"/>
                  </a:lnTo>
                  <a:lnTo>
                    <a:pt x="448" y="887"/>
                  </a:lnTo>
                  <a:lnTo>
                    <a:pt x="448" y="887"/>
                  </a:lnTo>
                  <a:lnTo>
                    <a:pt x="448" y="885"/>
                  </a:lnTo>
                  <a:lnTo>
                    <a:pt x="451" y="885"/>
                  </a:lnTo>
                  <a:lnTo>
                    <a:pt x="451" y="882"/>
                  </a:lnTo>
                  <a:lnTo>
                    <a:pt x="451" y="882"/>
                  </a:lnTo>
                  <a:lnTo>
                    <a:pt x="451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4" y="879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9"/>
                  </a:lnTo>
                  <a:lnTo>
                    <a:pt x="459" y="879"/>
                  </a:lnTo>
                  <a:lnTo>
                    <a:pt x="459" y="877"/>
                  </a:lnTo>
                  <a:lnTo>
                    <a:pt x="459" y="877"/>
                  </a:lnTo>
                  <a:lnTo>
                    <a:pt x="459" y="877"/>
                  </a:lnTo>
                  <a:lnTo>
                    <a:pt x="462" y="874"/>
                  </a:lnTo>
                  <a:lnTo>
                    <a:pt x="462" y="874"/>
                  </a:lnTo>
                  <a:lnTo>
                    <a:pt x="462" y="877"/>
                  </a:lnTo>
                  <a:lnTo>
                    <a:pt x="464" y="874"/>
                  </a:lnTo>
                  <a:lnTo>
                    <a:pt x="464" y="874"/>
                  </a:lnTo>
                  <a:lnTo>
                    <a:pt x="464" y="874"/>
                  </a:lnTo>
                  <a:lnTo>
                    <a:pt x="464" y="871"/>
                  </a:lnTo>
                  <a:lnTo>
                    <a:pt x="464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1"/>
                  </a:lnTo>
                  <a:lnTo>
                    <a:pt x="467" y="874"/>
                  </a:lnTo>
                  <a:lnTo>
                    <a:pt x="467" y="874"/>
                  </a:lnTo>
                  <a:lnTo>
                    <a:pt x="467" y="874"/>
                  </a:lnTo>
                  <a:lnTo>
                    <a:pt x="467" y="877"/>
                  </a:lnTo>
                  <a:lnTo>
                    <a:pt x="467" y="879"/>
                  </a:lnTo>
                  <a:lnTo>
                    <a:pt x="464" y="879"/>
                  </a:lnTo>
                  <a:lnTo>
                    <a:pt x="464" y="879"/>
                  </a:lnTo>
                  <a:lnTo>
                    <a:pt x="464" y="879"/>
                  </a:lnTo>
                  <a:lnTo>
                    <a:pt x="464" y="882"/>
                  </a:lnTo>
                  <a:lnTo>
                    <a:pt x="464" y="882"/>
                  </a:lnTo>
                  <a:lnTo>
                    <a:pt x="464" y="885"/>
                  </a:lnTo>
                  <a:lnTo>
                    <a:pt x="464" y="885"/>
                  </a:lnTo>
                  <a:lnTo>
                    <a:pt x="464" y="885"/>
                  </a:lnTo>
                  <a:lnTo>
                    <a:pt x="464" y="887"/>
                  </a:lnTo>
                  <a:lnTo>
                    <a:pt x="464" y="887"/>
                  </a:lnTo>
                  <a:lnTo>
                    <a:pt x="464" y="890"/>
                  </a:lnTo>
                  <a:lnTo>
                    <a:pt x="464" y="890"/>
                  </a:lnTo>
                  <a:lnTo>
                    <a:pt x="464" y="893"/>
                  </a:lnTo>
                  <a:lnTo>
                    <a:pt x="464" y="893"/>
                  </a:lnTo>
                  <a:lnTo>
                    <a:pt x="464" y="893"/>
                  </a:lnTo>
                  <a:lnTo>
                    <a:pt x="464" y="895"/>
                  </a:lnTo>
                  <a:lnTo>
                    <a:pt x="464" y="895"/>
                  </a:lnTo>
                  <a:lnTo>
                    <a:pt x="464" y="895"/>
                  </a:lnTo>
                  <a:lnTo>
                    <a:pt x="464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8"/>
                  </a:lnTo>
                  <a:lnTo>
                    <a:pt x="462" y="895"/>
                  </a:lnTo>
                  <a:lnTo>
                    <a:pt x="462" y="895"/>
                  </a:lnTo>
                  <a:lnTo>
                    <a:pt x="462" y="895"/>
                  </a:lnTo>
                  <a:lnTo>
                    <a:pt x="462" y="893"/>
                  </a:lnTo>
                  <a:lnTo>
                    <a:pt x="459" y="893"/>
                  </a:lnTo>
                  <a:lnTo>
                    <a:pt x="459" y="893"/>
                  </a:lnTo>
                  <a:lnTo>
                    <a:pt x="459" y="895"/>
                  </a:lnTo>
                  <a:lnTo>
                    <a:pt x="456" y="895"/>
                  </a:lnTo>
                  <a:lnTo>
                    <a:pt x="456" y="895"/>
                  </a:lnTo>
                  <a:lnTo>
                    <a:pt x="456" y="895"/>
                  </a:lnTo>
                  <a:lnTo>
                    <a:pt x="456" y="898"/>
                  </a:lnTo>
                  <a:lnTo>
                    <a:pt x="454" y="898"/>
                  </a:lnTo>
                  <a:lnTo>
                    <a:pt x="454" y="898"/>
                  </a:lnTo>
                  <a:lnTo>
                    <a:pt x="454" y="901"/>
                  </a:lnTo>
                  <a:lnTo>
                    <a:pt x="456" y="903"/>
                  </a:lnTo>
                  <a:lnTo>
                    <a:pt x="456" y="903"/>
                  </a:lnTo>
                  <a:lnTo>
                    <a:pt x="459" y="906"/>
                  </a:lnTo>
                  <a:lnTo>
                    <a:pt x="459" y="906"/>
                  </a:lnTo>
                  <a:lnTo>
                    <a:pt x="462" y="903"/>
                  </a:lnTo>
                  <a:lnTo>
                    <a:pt x="462" y="903"/>
                  </a:lnTo>
                  <a:lnTo>
                    <a:pt x="464" y="903"/>
                  </a:lnTo>
                  <a:lnTo>
                    <a:pt x="464" y="903"/>
                  </a:lnTo>
                  <a:lnTo>
                    <a:pt x="467" y="903"/>
                  </a:lnTo>
                  <a:lnTo>
                    <a:pt x="467" y="903"/>
                  </a:lnTo>
                  <a:lnTo>
                    <a:pt x="470" y="903"/>
                  </a:lnTo>
                  <a:lnTo>
                    <a:pt x="472" y="903"/>
                  </a:lnTo>
                  <a:lnTo>
                    <a:pt x="472" y="903"/>
                  </a:lnTo>
                  <a:lnTo>
                    <a:pt x="475" y="903"/>
                  </a:lnTo>
                  <a:lnTo>
                    <a:pt x="475" y="903"/>
                  </a:lnTo>
                  <a:lnTo>
                    <a:pt x="478" y="903"/>
                  </a:lnTo>
                  <a:lnTo>
                    <a:pt x="480" y="901"/>
                  </a:lnTo>
                  <a:lnTo>
                    <a:pt x="480" y="901"/>
                  </a:lnTo>
                  <a:lnTo>
                    <a:pt x="483" y="901"/>
                  </a:lnTo>
                  <a:lnTo>
                    <a:pt x="483" y="901"/>
                  </a:lnTo>
                  <a:lnTo>
                    <a:pt x="486" y="901"/>
                  </a:lnTo>
                  <a:lnTo>
                    <a:pt x="486" y="898"/>
                  </a:lnTo>
                  <a:lnTo>
                    <a:pt x="486" y="898"/>
                  </a:lnTo>
                  <a:lnTo>
                    <a:pt x="488" y="898"/>
                  </a:lnTo>
                  <a:lnTo>
                    <a:pt x="488" y="895"/>
                  </a:lnTo>
                  <a:lnTo>
                    <a:pt x="488" y="895"/>
                  </a:lnTo>
                  <a:lnTo>
                    <a:pt x="491" y="895"/>
                  </a:lnTo>
                  <a:lnTo>
                    <a:pt x="488" y="895"/>
                  </a:lnTo>
                  <a:lnTo>
                    <a:pt x="488" y="898"/>
                  </a:lnTo>
                  <a:lnTo>
                    <a:pt x="488" y="898"/>
                  </a:lnTo>
                  <a:lnTo>
                    <a:pt x="488" y="898"/>
                  </a:lnTo>
                  <a:lnTo>
                    <a:pt x="488" y="901"/>
                  </a:lnTo>
                  <a:lnTo>
                    <a:pt x="488" y="901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8" y="903"/>
                  </a:lnTo>
                  <a:lnTo>
                    <a:pt x="486" y="906"/>
                  </a:lnTo>
                  <a:lnTo>
                    <a:pt x="486" y="906"/>
                  </a:lnTo>
                  <a:lnTo>
                    <a:pt x="486" y="909"/>
                  </a:lnTo>
                  <a:lnTo>
                    <a:pt x="486" y="909"/>
                  </a:lnTo>
                  <a:lnTo>
                    <a:pt x="486" y="909"/>
                  </a:lnTo>
                  <a:lnTo>
                    <a:pt x="483" y="909"/>
                  </a:lnTo>
                  <a:lnTo>
                    <a:pt x="483" y="909"/>
                  </a:lnTo>
                  <a:lnTo>
                    <a:pt x="483" y="911"/>
                  </a:lnTo>
                  <a:lnTo>
                    <a:pt x="483" y="914"/>
                  </a:lnTo>
                  <a:lnTo>
                    <a:pt x="483" y="914"/>
                  </a:lnTo>
                  <a:lnTo>
                    <a:pt x="483" y="917"/>
                  </a:lnTo>
                  <a:lnTo>
                    <a:pt x="483" y="917"/>
                  </a:lnTo>
                  <a:lnTo>
                    <a:pt x="483" y="917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19"/>
                  </a:lnTo>
                  <a:lnTo>
                    <a:pt x="483" y="922"/>
                  </a:lnTo>
                  <a:lnTo>
                    <a:pt x="486" y="925"/>
                  </a:lnTo>
                  <a:lnTo>
                    <a:pt x="486" y="927"/>
                  </a:lnTo>
                  <a:lnTo>
                    <a:pt x="483" y="927"/>
                  </a:lnTo>
                  <a:lnTo>
                    <a:pt x="483" y="927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0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3" y="933"/>
                  </a:lnTo>
                  <a:lnTo>
                    <a:pt x="480" y="933"/>
                  </a:lnTo>
                  <a:lnTo>
                    <a:pt x="480" y="933"/>
                  </a:lnTo>
                  <a:lnTo>
                    <a:pt x="478" y="935"/>
                  </a:lnTo>
                  <a:lnTo>
                    <a:pt x="478" y="935"/>
                  </a:lnTo>
                  <a:lnTo>
                    <a:pt x="478" y="935"/>
                  </a:lnTo>
                  <a:lnTo>
                    <a:pt x="475" y="938"/>
                  </a:lnTo>
                  <a:lnTo>
                    <a:pt x="475" y="938"/>
                  </a:lnTo>
                  <a:lnTo>
                    <a:pt x="475" y="941"/>
                  </a:lnTo>
                  <a:lnTo>
                    <a:pt x="475" y="941"/>
                  </a:lnTo>
                  <a:lnTo>
                    <a:pt x="475" y="941"/>
                  </a:lnTo>
                  <a:lnTo>
                    <a:pt x="475" y="943"/>
                  </a:lnTo>
                  <a:lnTo>
                    <a:pt x="472" y="943"/>
                  </a:lnTo>
                  <a:lnTo>
                    <a:pt x="472" y="946"/>
                  </a:lnTo>
                  <a:lnTo>
                    <a:pt x="472" y="946"/>
                  </a:lnTo>
                  <a:lnTo>
                    <a:pt x="475" y="946"/>
                  </a:lnTo>
                  <a:lnTo>
                    <a:pt x="475" y="949"/>
                  </a:lnTo>
                  <a:lnTo>
                    <a:pt x="478" y="949"/>
                  </a:lnTo>
                  <a:lnTo>
                    <a:pt x="483" y="949"/>
                  </a:lnTo>
                  <a:lnTo>
                    <a:pt x="483" y="949"/>
                  </a:lnTo>
                  <a:lnTo>
                    <a:pt x="483" y="946"/>
                  </a:lnTo>
                  <a:lnTo>
                    <a:pt x="486" y="946"/>
                  </a:lnTo>
                  <a:lnTo>
                    <a:pt x="486" y="943"/>
                  </a:lnTo>
                  <a:lnTo>
                    <a:pt x="488" y="943"/>
                  </a:lnTo>
                  <a:lnTo>
                    <a:pt x="488" y="941"/>
                  </a:lnTo>
                  <a:lnTo>
                    <a:pt x="491" y="941"/>
                  </a:lnTo>
                  <a:lnTo>
                    <a:pt x="494" y="941"/>
                  </a:lnTo>
                  <a:lnTo>
                    <a:pt x="496" y="941"/>
                  </a:lnTo>
                  <a:lnTo>
                    <a:pt x="496" y="938"/>
                  </a:lnTo>
                  <a:lnTo>
                    <a:pt x="499" y="938"/>
                  </a:lnTo>
                  <a:lnTo>
                    <a:pt x="499" y="935"/>
                  </a:lnTo>
                  <a:lnTo>
                    <a:pt x="502" y="935"/>
                  </a:lnTo>
                  <a:lnTo>
                    <a:pt x="502" y="933"/>
                  </a:lnTo>
                  <a:lnTo>
                    <a:pt x="504" y="933"/>
                  </a:lnTo>
                  <a:lnTo>
                    <a:pt x="507" y="930"/>
                  </a:lnTo>
                  <a:lnTo>
                    <a:pt x="507" y="930"/>
                  </a:lnTo>
                  <a:lnTo>
                    <a:pt x="510" y="930"/>
                  </a:lnTo>
                  <a:lnTo>
                    <a:pt x="510" y="927"/>
                  </a:lnTo>
                  <a:lnTo>
                    <a:pt x="510" y="925"/>
                  </a:lnTo>
                  <a:lnTo>
                    <a:pt x="512" y="925"/>
                  </a:lnTo>
                  <a:lnTo>
                    <a:pt x="512" y="922"/>
                  </a:lnTo>
                  <a:lnTo>
                    <a:pt x="515" y="917"/>
                  </a:lnTo>
                  <a:lnTo>
                    <a:pt x="515" y="917"/>
                  </a:lnTo>
                  <a:lnTo>
                    <a:pt x="515" y="917"/>
                  </a:lnTo>
                  <a:lnTo>
                    <a:pt x="518" y="914"/>
                  </a:lnTo>
                  <a:lnTo>
                    <a:pt x="518" y="914"/>
                  </a:lnTo>
                  <a:lnTo>
                    <a:pt x="518" y="911"/>
                  </a:lnTo>
                  <a:lnTo>
                    <a:pt x="518" y="909"/>
                  </a:lnTo>
                  <a:lnTo>
                    <a:pt x="518" y="909"/>
                  </a:lnTo>
                  <a:lnTo>
                    <a:pt x="521" y="906"/>
                  </a:lnTo>
                  <a:lnTo>
                    <a:pt x="521" y="906"/>
                  </a:lnTo>
                  <a:lnTo>
                    <a:pt x="521" y="903"/>
                  </a:lnTo>
                  <a:lnTo>
                    <a:pt x="521" y="903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1" y="898"/>
                  </a:lnTo>
                  <a:lnTo>
                    <a:pt x="518" y="895"/>
                  </a:lnTo>
                  <a:lnTo>
                    <a:pt x="518" y="895"/>
                  </a:lnTo>
                  <a:lnTo>
                    <a:pt x="518" y="893"/>
                  </a:lnTo>
                  <a:lnTo>
                    <a:pt x="518" y="893"/>
                  </a:lnTo>
                  <a:lnTo>
                    <a:pt x="518" y="890"/>
                  </a:lnTo>
                  <a:lnTo>
                    <a:pt x="515" y="887"/>
                  </a:lnTo>
                  <a:lnTo>
                    <a:pt x="518" y="887"/>
                  </a:lnTo>
                  <a:lnTo>
                    <a:pt x="518" y="885"/>
                  </a:lnTo>
                  <a:lnTo>
                    <a:pt x="518" y="885"/>
                  </a:lnTo>
                  <a:lnTo>
                    <a:pt x="518" y="882"/>
                  </a:lnTo>
                  <a:lnTo>
                    <a:pt x="521" y="882"/>
                  </a:lnTo>
                  <a:lnTo>
                    <a:pt x="521" y="879"/>
                  </a:lnTo>
                  <a:lnTo>
                    <a:pt x="521" y="879"/>
                  </a:lnTo>
                  <a:lnTo>
                    <a:pt x="521" y="877"/>
                  </a:lnTo>
                  <a:lnTo>
                    <a:pt x="521" y="877"/>
                  </a:lnTo>
                  <a:lnTo>
                    <a:pt x="523" y="877"/>
                  </a:lnTo>
                  <a:lnTo>
                    <a:pt x="523" y="877"/>
                  </a:lnTo>
                  <a:lnTo>
                    <a:pt x="526" y="877"/>
                  </a:lnTo>
                  <a:lnTo>
                    <a:pt x="526" y="879"/>
                  </a:lnTo>
                  <a:lnTo>
                    <a:pt x="526" y="879"/>
                  </a:lnTo>
                  <a:lnTo>
                    <a:pt x="526" y="882"/>
                  </a:lnTo>
                  <a:lnTo>
                    <a:pt x="526" y="882"/>
                  </a:lnTo>
                  <a:lnTo>
                    <a:pt x="526" y="885"/>
                  </a:lnTo>
                  <a:lnTo>
                    <a:pt x="529" y="885"/>
                  </a:lnTo>
                  <a:lnTo>
                    <a:pt x="529" y="885"/>
                  </a:lnTo>
                  <a:lnTo>
                    <a:pt x="531" y="887"/>
                  </a:lnTo>
                  <a:lnTo>
                    <a:pt x="531" y="890"/>
                  </a:lnTo>
                  <a:lnTo>
                    <a:pt x="531" y="890"/>
                  </a:lnTo>
                  <a:lnTo>
                    <a:pt x="531" y="890"/>
                  </a:lnTo>
                  <a:lnTo>
                    <a:pt x="531" y="893"/>
                  </a:lnTo>
                  <a:lnTo>
                    <a:pt x="531" y="893"/>
                  </a:lnTo>
                  <a:lnTo>
                    <a:pt x="531" y="895"/>
                  </a:lnTo>
                  <a:lnTo>
                    <a:pt x="531" y="895"/>
                  </a:lnTo>
                  <a:lnTo>
                    <a:pt x="531" y="898"/>
                  </a:lnTo>
                  <a:lnTo>
                    <a:pt x="529" y="898"/>
                  </a:lnTo>
                  <a:lnTo>
                    <a:pt x="529" y="898"/>
                  </a:lnTo>
                  <a:lnTo>
                    <a:pt x="529" y="901"/>
                  </a:lnTo>
                  <a:lnTo>
                    <a:pt x="529" y="903"/>
                  </a:lnTo>
                  <a:lnTo>
                    <a:pt x="529" y="903"/>
                  </a:lnTo>
                  <a:lnTo>
                    <a:pt x="529" y="906"/>
                  </a:lnTo>
                  <a:lnTo>
                    <a:pt x="529" y="909"/>
                  </a:lnTo>
                  <a:lnTo>
                    <a:pt x="529" y="909"/>
                  </a:lnTo>
                  <a:lnTo>
                    <a:pt x="529" y="911"/>
                  </a:lnTo>
                  <a:lnTo>
                    <a:pt x="526" y="911"/>
                  </a:lnTo>
                  <a:lnTo>
                    <a:pt x="529" y="914"/>
                  </a:lnTo>
                  <a:lnTo>
                    <a:pt x="529" y="914"/>
                  </a:lnTo>
                  <a:lnTo>
                    <a:pt x="529" y="914"/>
                  </a:lnTo>
                  <a:lnTo>
                    <a:pt x="529" y="917"/>
                  </a:lnTo>
                  <a:lnTo>
                    <a:pt x="529" y="917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9" y="919"/>
                  </a:lnTo>
                  <a:lnTo>
                    <a:pt x="526" y="922"/>
                  </a:lnTo>
                  <a:lnTo>
                    <a:pt x="526" y="922"/>
                  </a:lnTo>
                  <a:lnTo>
                    <a:pt x="529" y="922"/>
                  </a:lnTo>
                  <a:lnTo>
                    <a:pt x="529" y="925"/>
                  </a:lnTo>
                  <a:lnTo>
                    <a:pt x="529" y="925"/>
                  </a:lnTo>
                  <a:lnTo>
                    <a:pt x="529" y="927"/>
                  </a:lnTo>
                  <a:lnTo>
                    <a:pt x="529" y="927"/>
                  </a:lnTo>
                  <a:lnTo>
                    <a:pt x="529" y="927"/>
                  </a:lnTo>
                  <a:lnTo>
                    <a:pt x="529" y="925"/>
                  </a:lnTo>
                  <a:lnTo>
                    <a:pt x="529" y="925"/>
                  </a:lnTo>
                  <a:lnTo>
                    <a:pt x="531" y="925"/>
                  </a:lnTo>
                  <a:lnTo>
                    <a:pt x="531" y="922"/>
                  </a:lnTo>
                  <a:lnTo>
                    <a:pt x="534" y="922"/>
                  </a:lnTo>
                  <a:lnTo>
                    <a:pt x="537" y="919"/>
                  </a:lnTo>
                  <a:lnTo>
                    <a:pt x="537" y="919"/>
                  </a:lnTo>
                  <a:lnTo>
                    <a:pt x="537" y="919"/>
                  </a:lnTo>
                  <a:lnTo>
                    <a:pt x="539" y="917"/>
                  </a:lnTo>
                  <a:lnTo>
                    <a:pt x="539" y="914"/>
                  </a:lnTo>
                  <a:lnTo>
                    <a:pt x="539" y="911"/>
                  </a:lnTo>
                  <a:lnTo>
                    <a:pt x="539" y="911"/>
                  </a:lnTo>
                  <a:lnTo>
                    <a:pt x="539" y="909"/>
                  </a:lnTo>
                  <a:lnTo>
                    <a:pt x="539" y="906"/>
                  </a:lnTo>
                  <a:lnTo>
                    <a:pt x="539" y="906"/>
                  </a:lnTo>
                  <a:lnTo>
                    <a:pt x="539" y="903"/>
                  </a:lnTo>
                  <a:lnTo>
                    <a:pt x="539" y="901"/>
                  </a:lnTo>
                  <a:lnTo>
                    <a:pt x="539" y="898"/>
                  </a:lnTo>
                  <a:lnTo>
                    <a:pt x="539" y="895"/>
                  </a:lnTo>
                  <a:lnTo>
                    <a:pt x="539" y="893"/>
                  </a:lnTo>
                  <a:lnTo>
                    <a:pt x="537" y="893"/>
                  </a:lnTo>
                  <a:lnTo>
                    <a:pt x="537" y="890"/>
                  </a:lnTo>
                  <a:lnTo>
                    <a:pt x="537" y="887"/>
                  </a:lnTo>
                  <a:lnTo>
                    <a:pt x="537" y="885"/>
                  </a:lnTo>
                  <a:lnTo>
                    <a:pt x="537" y="885"/>
                  </a:lnTo>
                  <a:lnTo>
                    <a:pt x="534" y="882"/>
                  </a:lnTo>
                  <a:lnTo>
                    <a:pt x="534" y="882"/>
                  </a:lnTo>
                  <a:lnTo>
                    <a:pt x="534" y="879"/>
                  </a:lnTo>
                  <a:lnTo>
                    <a:pt x="531" y="879"/>
                  </a:lnTo>
                  <a:lnTo>
                    <a:pt x="534" y="877"/>
                  </a:lnTo>
                  <a:lnTo>
                    <a:pt x="534" y="874"/>
                  </a:lnTo>
                  <a:lnTo>
                    <a:pt x="531" y="871"/>
                  </a:lnTo>
                  <a:lnTo>
                    <a:pt x="531" y="869"/>
                  </a:lnTo>
                  <a:lnTo>
                    <a:pt x="529" y="866"/>
                  </a:lnTo>
                  <a:lnTo>
                    <a:pt x="529" y="863"/>
                  </a:lnTo>
                  <a:lnTo>
                    <a:pt x="529" y="861"/>
                  </a:lnTo>
                  <a:lnTo>
                    <a:pt x="529" y="863"/>
                  </a:lnTo>
                  <a:lnTo>
                    <a:pt x="526" y="863"/>
                  </a:lnTo>
                  <a:lnTo>
                    <a:pt x="526" y="863"/>
                  </a:lnTo>
                  <a:lnTo>
                    <a:pt x="526" y="866"/>
                  </a:lnTo>
                  <a:lnTo>
                    <a:pt x="526" y="866"/>
                  </a:lnTo>
                  <a:lnTo>
                    <a:pt x="526" y="866"/>
                  </a:lnTo>
                  <a:lnTo>
                    <a:pt x="526" y="869"/>
                  </a:lnTo>
                  <a:lnTo>
                    <a:pt x="523" y="866"/>
                  </a:lnTo>
                  <a:lnTo>
                    <a:pt x="523" y="866"/>
                  </a:lnTo>
                  <a:lnTo>
                    <a:pt x="523" y="863"/>
                  </a:lnTo>
                  <a:lnTo>
                    <a:pt x="523" y="863"/>
                  </a:lnTo>
                  <a:lnTo>
                    <a:pt x="523" y="861"/>
                  </a:lnTo>
                  <a:lnTo>
                    <a:pt x="523" y="861"/>
                  </a:lnTo>
                  <a:lnTo>
                    <a:pt x="523" y="858"/>
                  </a:lnTo>
                  <a:lnTo>
                    <a:pt x="523" y="858"/>
                  </a:lnTo>
                  <a:lnTo>
                    <a:pt x="521" y="855"/>
                  </a:lnTo>
                  <a:lnTo>
                    <a:pt x="521" y="855"/>
                  </a:lnTo>
                  <a:lnTo>
                    <a:pt x="521" y="853"/>
                  </a:lnTo>
                  <a:lnTo>
                    <a:pt x="521" y="850"/>
                  </a:lnTo>
                  <a:lnTo>
                    <a:pt x="518" y="850"/>
                  </a:lnTo>
                  <a:lnTo>
                    <a:pt x="518" y="847"/>
                  </a:lnTo>
                  <a:lnTo>
                    <a:pt x="518" y="847"/>
                  </a:lnTo>
                  <a:lnTo>
                    <a:pt x="515" y="847"/>
                  </a:lnTo>
                  <a:lnTo>
                    <a:pt x="512" y="847"/>
                  </a:lnTo>
                  <a:lnTo>
                    <a:pt x="515" y="847"/>
                  </a:lnTo>
                  <a:lnTo>
                    <a:pt x="515" y="847"/>
                  </a:lnTo>
                  <a:lnTo>
                    <a:pt x="515" y="845"/>
                  </a:lnTo>
                  <a:lnTo>
                    <a:pt x="518" y="845"/>
                  </a:lnTo>
                  <a:lnTo>
                    <a:pt x="518" y="845"/>
                  </a:lnTo>
                  <a:lnTo>
                    <a:pt x="521" y="845"/>
                  </a:lnTo>
                  <a:lnTo>
                    <a:pt x="521" y="845"/>
                  </a:lnTo>
                  <a:lnTo>
                    <a:pt x="523" y="845"/>
                  </a:lnTo>
                  <a:lnTo>
                    <a:pt x="526" y="845"/>
                  </a:lnTo>
                  <a:lnTo>
                    <a:pt x="526" y="845"/>
                  </a:lnTo>
                  <a:lnTo>
                    <a:pt x="529" y="845"/>
                  </a:lnTo>
                  <a:lnTo>
                    <a:pt x="531" y="845"/>
                  </a:lnTo>
                  <a:lnTo>
                    <a:pt x="534" y="845"/>
                  </a:lnTo>
                  <a:lnTo>
                    <a:pt x="534" y="845"/>
                  </a:lnTo>
                  <a:lnTo>
                    <a:pt x="537" y="845"/>
                  </a:lnTo>
                  <a:lnTo>
                    <a:pt x="539" y="845"/>
                  </a:lnTo>
                  <a:lnTo>
                    <a:pt x="539" y="845"/>
                  </a:lnTo>
                  <a:lnTo>
                    <a:pt x="542" y="842"/>
                  </a:lnTo>
                  <a:lnTo>
                    <a:pt x="545" y="842"/>
                  </a:lnTo>
                  <a:lnTo>
                    <a:pt x="547" y="842"/>
                  </a:lnTo>
                  <a:lnTo>
                    <a:pt x="547" y="842"/>
                  </a:lnTo>
                  <a:lnTo>
                    <a:pt x="550" y="839"/>
                  </a:lnTo>
                  <a:lnTo>
                    <a:pt x="553" y="839"/>
                  </a:lnTo>
                  <a:lnTo>
                    <a:pt x="553" y="837"/>
                  </a:lnTo>
                  <a:lnTo>
                    <a:pt x="555" y="837"/>
                  </a:lnTo>
                  <a:lnTo>
                    <a:pt x="558" y="831"/>
                  </a:lnTo>
                  <a:lnTo>
                    <a:pt x="558" y="831"/>
                  </a:lnTo>
                  <a:lnTo>
                    <a:pt x="558" y="828"/>
                  </a:lnTo>
                  <a:lnTo>
                    <a:pt x="561" y="828"/>
                  </a:lnTo>
                  <a:lnTo>
                    <a:pt x="561" y="826"/>
                  </a:lnTo>
                  <a:lnTo>
                    <a:pt x="563" y="826"/>
                  </a:lnTo>
                  <a:lnTo>
                    <a:pt x="563" y="823"/>
                  </a:lnTo>
                  <a:lnTo>
                    <a:pt x="563" y="820"/>
                  </a:lnTo>
                  <a:lnTo>
                    <a:pt x="563" y="818"/>
                  </a:lnTo>
                  <a:lnTo>
                    <a:pt x="566" y="818"/>
                  </a:lnTo>
                  <a:lnTo>
                    <a:pt x="566" y="818"/>
                  </a:lnTo>
                  <a:lnTo>
                    <a:pt x="566" y="818"/>
                  </a:lnTo>
                  <a:lnTo>
                    <a:pt x="569" y="818"/>
                  </a:lnTo>
                  <a:lnTo>
                    <a:pt x="569" y="820"/>
                  </a:lnTo>
                  <a:lnTo>
                    <a:pt x="571" y="820"/>
                  </a:lnTo>
                  <a:lnTo>
                    <a:pt x="571" y="823"/>
                  </a:lnTo>
                  <a:lnTo>
                    <a:pt x="571" y="823"/>
                  </a:lnTo>
                  <a:lnTo>
                    <a:pt x="571" y="823"/>
                  </a:lnTo>
                  <a:lnTo>
                    <a:pt x="574" y="823"/>
                  </a:lnTo>
                  <a:lnTo>
                    <a:pt x="574" y="823"/>
                  </a:lnTo>
                  <a:lnTo>
                    <a:pt x="577" y="823"/>
                  </a:lnTo>
                  <a:lnTo>
                    <a:pt x="577" y="823"/>
                  </a:lnTo>
                  <a:lnTo>
                    <a:pt x="577" y="823"/>
                  </a:lnTo>
                  <a:lnTo>
                    <a:pt x="579" y="823"/>
                  </a:lnTo>
                  <a:lnTo>
                    <a:pt x="579" y="823"/>
                  </a:lnTo>
                  <a:lnTo>
                    <a:pt x="579" y="826"/>
                  </a:lnTo>
                  <a:lnTo>
                    <a:pt x="582" y="826"/>
                  </a:lnTo>
                  <a:lnTo>
                    <a:pt x="585" y="826"/>
                  </a:lnTo>
                  <a:lnTo>
                    <a:pt x="587" y="826"/>
                  </a:lnTo>
                  <a:lnTo>
                    <a:pt x="587" y="826"/>
                  </a:lnTo>
                  <a:lnTo>
                    <a:pt x="590" y="826"/>
                  </a:lnTo>
                  <a:lnTo>
                    <a:pt x="593" y="826"/>
                  </a:lnTo>
                  <a:lnTo>
                    <a:pt x="595" y="826"/>
                  </a:lnTo>
                  <a:lnTo>
                    <a:pt x="598" y="826"/>
                  </a:lnTo>
                  <a:lnTo>
                    <a:pt x="601" y="826"/>
                  </a:lnTo>
                  <a:lnTo>
                    <a:pt x="603" y="828"/>
                  </a:lnTo>
                  <a:lnTo>
                    <a:pt x="603" y="828"/>
                  </a:lnTo>
                  <a:lnTo>
                    <a:pt x="603" y="828"/>
                  </a:lnTo>
                  <a:lnTo>
                    <a:pt x="603" y="831"/>
                  </a:lnTo>
                  <a:lnTo>
                    <a:pt x="606" y="831"/>
                  </a:lnTo>
                  <a:lnTo>
                    <a:pt x="609" y="831"/>
                  </a:lnTo>
                  <a:lnTo>
                    <a:pt x="611" y="831"/>
                  </a:lnTo>
                  <a:lnTo>
                    <a:pt x="611" y="831"/>
                  </a:lnTo>
                  <a:lnTo>
                    <a:pt x="611" y="834"/>
                  </a:lnTo>
                  <a:lnTo>
                    <a:pt x="611" y="837"/>
                  </a:lnTo>
                  <a:lnTo>
                    <a:pt x="611" y="837"/>
                  </a:lnTo>
                  <a:lnTo>
                    <a:pt x="611" y="837"/>
                  </a:lnTo>
                  <a:lnTo>
                    <a:pt x="611" y="842"/>
                  </a:lnTo>
                  <a:lnTo>
                    <a:pt x="611" y="842"/>
                  </a:lnTo>
                  <a:lnTo>
                    <a:pt x="614" y="842"/>
                  </a:lnTo>
                  <a:lnTo>
                    <a:pt x="617" y="845"/>
                  </a:lnTo>
                  <a:lnTo>
                    <a:pt x="617" y="845"/>
                  </a:lnTo>
                  <a:lnTo>
                    <a:pt x="619" y="845"/>
                  </a:lnTo>
                  <a:lnTo>
                    <a:pt x="622" y="845"/>
                  </a:lnTo>
                  <a:lnTo>
                    <a:pt x="625" y="845"/>
                  </a:lnTo>
                  <a:lnTo>
                    <a:pt x="625" y="845"/>
                  </a:lnTo>
                  <a:lnTo>
                    <a:pt x="627" y="845"/>
                  </a:lnTo>
                  <a:lnTo>
                    <a:pt x="627" y="845"/>
                  </a:lnTo>
                  <a:lnTo>
                    <a:pt x="630" y="845"/>
                  </a:lnTo>
                  <a:lnTo>
                    <a:pt x="630" y="847"/>
                  </a:lnTo>
                  <a:lnTo>
                    <a:pt x="630" y="847"/>
                  </a:lnTo>
                  <a:lnTo>
                    <a:pt x="633" y="847"/>
                  </a:lnTo>
                  <a:lnTo>
                    <a:pt x="633" y="847"/>
                  </a:lnTo>
                  <a:lnTo>
                    <a:pt x="635" y="850"/>
                  </a:lnTo>
                  <a:lnTo>
                    <a:pt x="638" y="850"/>
                  </a:lnTo>
                  <a:lnTo>
                    <a:pt x="641" y="850"/>
                  </a:lnTo>
                  <a:lnTo>
                    <a:pt x="643" y="850"/>
                  </a:lnTo>
                  <a:lnTo>
                    <a:pt x="646" y="850"/>
                  </a:lnTo>
                  <a:lnTo>
                    <a:pt x="646" y="850"/>
                  </a:lnTo>
                  <a:lnTo>
                    <a:pt x="649" y="850"/>
                  </a:lnTo>
                  <a:lnTo>
                    <a:pt x="651" y="853"/>
                  </a:lnTo>
                  <a:lnTo>
                    <a:pt x="654" y="853"/>
                  </a:lnTo>
                  <a:lnTo>
                    <a:pt x="654" y="853"/>
                  </a:lnTo>
                  <a:lnTo>
                    <a:pt x="657" y="850"/>
                  </a:lnTo>
                  <a:lnTo>
                    <a:pt x="659" y="850"/>
                  </a:lnTo>
                  <a:lnTo>
                    <a:pt x="662" y="850"/>
                  </a:lnTo>
                  <a:lnTo>
                    <a:pt x="662" y="853"/>
                  </a:lnTo>
                  <a:lnTo>
                    <a:pt x="662" y="853"/>
                  </a:lnTo>
                  <a:lnTo>
                    <a:pt x="662" y="853"/>
                  </a:lnTo>
                  <a:lnTo>
                    <a:pt x="662" y="855"/>
                  </a:lnTo>
                  <a:lnTo>
                    <a:pt x="662" y="855"/>
                  </a:lnTo>
                  <a:lnTo>
                    <a:pt x="662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5" y="858"/>
                  </a:lnTo>
                  <a:lnTo>
                    <a:pt x="667" y="855"/>
                  </a:lnTo>
                  <a:lnTo>
                    <a:pt x="667" y="855"/>
                  </a:lnTo>
                  <a:lnTo>
                    <a:pt x="667" y="855"/>
                  </a:lnTo>
                  <a:lnTo>
                    <a:pt x="670" y="858"/>
                  </a:lnTo>
                  <a:lnTo>
                    <a:pt x="670" y="858"/>
                  </a:lnTo>
                  <a:lnTo>
                    <a:pt x="673" y="855"/>
                  </a:lnTo>
                  <a:lnTo>
                    <a:pt x="673" y="855"/>
                  </a:lnTo>
                  <a:lnTo>
                    <a:pt x="673" y="855"/>
                  </a:lnTo>
                  <a:lnTo>
                    <a:pt x="675" y="855"/>
                  </a:lnTo>
                  <a:lnTo>
                    <a:pt x="675" y="858"/>
                  </a:lnTo>
                  <a:lnTo>
                    <a:pt x="675" y="858"/>
                  </a:lnTo>
                  <a:lnTo>
                    <a:pt x="678" y="858"/>
                  </a:lnTo>
                  <a:lnTo>
                    <a:pt x="678" y="858"/>
                  </a:lnTo>
                  <a:lnTo>
                    <a:pt x="678" y="858"/>
                  </a:lnTo>
                  <a:lnTo>
                    <a:pt x="683" y="858"/>
                  </a:lnTo>
                  <a:lnTo>
                    <a:pt x="683" y="861"/>
                  </a:lnTo>
                  <a:lnTo>
                    <a:pt x="683" y="861"/>
                  </a:lnTo>
                  <a:lnTo>
                    <a:pt x="686" y="861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6" y="858"/>
                  </a:lnTo>
                  <a:lnTo>
                    <a:pt x="689" y="858"/>
                  </a:lnTo>
                  <a:lnTo>
                    <a:pt x="689" y="858"/>
                  </a:lnTo>
                  <a:lnTo>
                    <a:pt x="691" y="858"/>
                  </a:lnTo>
                  <a:lnTo>
                    <a:pt x="691" y="855"/>
                  </a:lnTo>
                  <a:lnTo>
                    <a:pt x="694" y="855"/>
                  </a:lnTo>
                  <a:lnTo>
                    <a:pt x="694" y="855"/>
                  </a:lnTo>
                  <a:lnTo>
                    <a:pt x="694" y="855"/>
                  </a:lnTo>
                  <a:lnTo>
                    <a:pt x="697" y="858"/>
                  </a:lnTo>
                  <a:lnTo>
                    <a:pt x="697" y="858"/>
                  </a:lnTo>
                  <a:lnTo>
                    <a:pt x="697" y="861"/>
                  </a:lnTo>
                  <a:lnTo>
                    <a:pt x="694" y="861"/>
                  </a:lnTo>
                  <a:lnTo>
                    <a:pt x="694" y="861"/>
                  </a:lnTo>
                  <a:lnTo>
                    <a:pt x="694" y="863"/>
                  </a:lnTo>
                  <a:lnTo>
                    <a:pt x="697" y="863"/>
                  </a:lnTo>
                  <a:lnTo>
                    <a:pt x="697" y="863"/>
                  </a:lnTo>
                  <a:lnTo>
                    <a:pt x="697" y="861"/>
                  </a:lnTo>
                  <a:lnTo>
                    <a:pt x="699" y="861"/>
                  </a:lnTo>
                  <a:lnTo>
                    <a:pt x="699" y="861"/>
                  </a:lnTo>
                  <a:lnTo>
                    <a:pt x="699" y="863"/>
                  </a:lnTo>
                  <a:lnTo>
                    <a:pt x="699" y="863"/>
                  </a:lnTo>
                  <a:lnTo>
                    <a:pt x="699" y="863"/>
                  </a:lnTo>
                  <a:lnTo>
                    <a:pt x="702" y="866"/>
                  </a:lnTo>
                  <a:lnTo>
                    <a:pt x="702" y="866"/>
                  </a:lnTo>
                  <a:lnTo>
                    <a:pt x="702" y="869"/>
                  </a:lnTo>
                  <a:lnTo>
                    <a:pt x="702" y="869"/>
                  </a:lnTo>
                  <a:lnTo>
                    <a:pt x="699" y="869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1"/>
                  </a:lnTo>
                  <a:lnTo>
                    <a:pt x="702" y="874"/>
                  </a:lnTo>
                  <a:lnTo>
                    <a:pt x="702" y="874"/>
                  </a:lnTo>
                  <a:lnTo>
                    <a:pt x="699" y="874"/>
                  </a:lnTo>
                  <a:lnTo>
                    <a:pt x="699" y="874"/>
                  </a:lnTo>
                  <a:lnTo>
                    <a:pt x="699" y="877"/>
                  </a:lnTo>
                  <a:lnTo>
                    <a:pt x="699" y="877"/>
                  </a:lnTo>
                  <a:lnTo>
                    <a:pt x="697" y="877"/>
                  </a:lnTo>
                  <a:lnTo>
                    <a:pt x="697" y="877"/>
                  </a:lnTo>
                  <a:lnTo>
                    <a:pt x="697" y="879"/>
                  </a:lnTo>
                  <a:lnTo>
                    <a:pt x="697" y="879"/>
                  </a:lnTo>
                  <a:lnTo>
                    <a:pt x="699" y="879"/>
                  </a:lnTo>
                  <a:lnTo>
                    <a:pt x="699" y="882"/>
                  </a:lnTo>
                  <a:lnTo>
                    <a:pt x="699" y="882"/>
                  </a:lnTo>
                  <a:lnTo>
                    <a:pt x="697" y="885"/>
                  </a:lnTo>
                  <a:lnTo>
                    <a:pt x="699" y="885"/>
                  </a:lnTo>
                  <a:lnTo>
                    <a:pt x="697" y="887"/>
                  </a:lnTo>
                  <a:lnTo>
                    <a:pt x="694" y="887"/>
                  </a:lnTo>
                  <a:lnTo>
                    <a:pt x="694" y="887"/>
                  </a:lnTo>
                  <a:lnTo>
                    <a:pt x="694" y="887"/>
                  </a:lnTo>
                  <a:lnTo>
                    <a:pt x="691" y="887"/>
                  </a:lnTo>
                  <a:lnTo>
                    <a:pt x="689" y="887"/>
                  </a:lnTo>
                  <a:lnTo>
                    <a:pt x="689" y="887"/>
                  </a:lnTo>
                  <a:lnTo>
                    <a:pt x="686" y="887"/>
                  </a:lnTo>
                  <a:lnTo>
                    <a:pt x="686" y="887"/>
                  </a:lnTo>
                  <a:lnTo>
                    <a:pt x="683" y="887"/>
                  </a:lnTo>
                  <a:lnTo>
                    <a:pt x="683" y="887"/>
                  </a:lnTo>
                  <a:lnTo>
                    <a:pt x="681" y="887"/>
                  </a:lnTo>
                  <a:lnTo>
                    <a:pt x="681" y="887"/>
                  </a:lnTo>
                  <a:lnTo>
                    <a:pt x="681" y="887"/>
                  </a:lnTo>
                  <a:lnTo>
                    <a:pt x="678" y="887"/>
                  </a:lnTo>
                  <a:lnTo>
                    <a:pt x="678" y="887"/>
                  </a:lnTo>
                  <a:lnTo>
                    <a:pt x="675" y="887"/>
                  </a:lnTo>
                  <a:lnTo>
                    <a:pt x="675" y="885"/>
                  </a:lnTo>
                  <a:lnTo>
                    <a:pt x="673" y="885"/>
                  </a:lnTo>
                  <a:lnTo>
                    <a:pt x="670" y="885"/>
                  </a:lnTo>
                  <a:lnTo>
                    <a:pt x="670" y="885"/>
                  </a:lnTo>
                  <a:lnTo>
                    <a:pt x="670" y="887"/>
                  </a:lnTo>
                  <a:lnTo>
                    <a:pt x="670" y="887"/>
                  </a:lnTo>
                  <a:lnTo>
                    <a:pt x="667" y="887"/>
                  </a:lnTo>
                  <a:lnTo>
                    <a:pt x="665" y="890"/>
                  </a:lnTo>
                  <a:lnTo>
                    <a:pt x="665" y="890"/>
                  </a:lnTo>
                  <a:lnTo>
                    <a:pt x="667" y="890"/>
                  </a:lnTo>
                  <a:lnTo>
                    <a:pt x="667" y="890"/>
                  </a:lnTo>
                  <a:lnTo>
                    <a:pt x="670" y="890"/>
                  </a:lnTo>
                  <a:lnTo>
                    <a:pt x="670" y="890"/>
                  </a:lnTo>
                  <a:lnTo>
                    <a:pt x="673" y="890"/>
                  </a:lnTo>
                  <a:lnTo>
                    <a:pt x="673" y="890"/>
                  </a:lnTo>
                  <a:lnTo>
                    <a:pt x="675" y="890"/>
                  </a:lnTo>
                  <a:lnTo>
                    <a:pt x="675" y="890"/>
                  </a:lnTo>
                  <a:lnTo>
                    <a:pt x="678" y="890"/>
                  </a:lnTo>
                  <a:lnTo>
                    <a:pt x="678" y="893"/>
                  </a:lnTo>
                  <a:lnTo>
                    <a:pt x="681" y="893"/>
                  </a:lnTo>
                  <a:lnTo>
                    <a:pt x="681" y="893"/>
                  </a:lnTo>
                  <a:lnTo>
                    <a:pt x="683" y="893"/>
                  </a:lnTo>
                  <a:lnTo>
                    <a:pt x="683" y="890"/>
                  </a:lnTo>
                  <a:lnTo>
                    <a:pt x="686" y="890"/>
                  </a:lnTo>
                  <a:lnTo>
                    <a:pt x="686" y="893"/>
                  </a:lnTo>
                  <a:lnTo>
                    <a:pt x="686" y="893"/>
                  </a:lnTo>
                  <a:lnTo>
                    <a:pt x="689" y="893"/>
                  </a:lnTo>
                  <a:lnTo>
                    <a:pt x="689" y="895"/>
                  </a:lnTo>
                  <a:lnTo>
                    <a:pt x="689" y="895"/>
                  </a:lnTo>
                  <a:lnTo>
                    <a:pt x="691" y="895"/>
                  </a:lnTo>
                  <a:lnTo>
                    <a:pt x="691" y="898"/>
                  </a:lnTo>
                  <a:lnTo>
                    <a:pt x="691" y="898"/>
                  </a:lnTo>
                  <a:lnTo>
                    <a:pt x="694" y="895"/>
                  </a:lnTo>
                  <a:lnTo>
                    <a:pt x="694" y="895"/>
                  </a:lnTo>
                  <a:lnTo>
                    <a:pt x="697" y="895"/>
                  </a:lnTo>
                  <a:lnTo>
                    <a:pt x="697" y="898"/>
                  </a:lnTo>
                  <a:lnTo>
                    <a:pt x="699" y="898"/>
                  </a:lnTo>
                  <a:lnTo>
                    <a:pt x="699" y="898"/>
                  </a:lnTo>
                  <a:lnTo>
                    <a:pt x="702" y="898"/>
                  </a:lnTo>
                  <a:lnTo>
                    <a:pt x="705" y="898"/>
                  </a:lnTo>
                  <a:lnTo>
                    <a:pt x="705" y="898"/>
                  </a:lnTo>
                  <a:lnTo>
                    <a:pt x="705" y="898"/>
                  </a:lnTo>
                  <a:lnTo>
                    <a:pt x="707" y="895"/>
                  </a:lnTo>
                  <a:lnTo>
                    <a:pt x="707" y="895"/>
                  </a:lnTo>
                  <a:lnTo>
                    <a:pt x="707" y="895"/>
                  </a:lnTo>
                  <a:lnTo>
                    <a:pt x="707" y="898"/>
                  </a:lnTo>
                  <a:lnTo>
                    <a:pt x="707" y="898"/>
                  </a:lnTo>
                  <a:lnTo>
                    <a:pt x="707" y="898"/>
                  </a:lnTo>
                  <a:lnTo>
                    <a:pt x="707" y="901"/>
                  </a:lnTo>
                  <a:lnTo>
                    <a:pt x="707" y="901"/>
                  </a:lnTo>
                  <a:lnTo>
                    <a:pt x="707" y="903"/>
                  </a:lnTo>
                  <a:lnTo>
                    <a:pt x="707" y="903"/>
                  </a:lnTo>
                  <a:lnTo>
                    <a:pt x="710" y="903"/>
                  </a:lnTo>
                  <a:lnTo>
                    <a:pt x="710" y="903"/>
                  </a:lnTo>
                  <a:lnTo>
                    <a:pt x="713" y="903"/>
                  </a:lnTo>
                  <a:lnTo>
                    <a:pt x="713" y="906"/>
                  </a:lnTo>
                  <a:lnTo>
                    <a:pt x="715" y="906"/>
                  </a:lnTo>
                  <a:lnTo>
                    <a:pt x="715" y="906"/>
                  </a:lnTo>
                  <a:lnTo>
                    <a:pt x="715" y="909"/>
                  </a:lnTo>
                  <a:lnTo>
                    <a:pt x="715" y="909"/>
                  </a:lnTo>
                  <a:lnTo>
                    <a:pt x="718" y="911"/>
                  </a:lnTo>
                  <a:lnTo>
                    <a:pt x="718" y="911"/>
                  </a:lnTo>
                  <a:lnTo>
                    <a:pt x="718" y="914"/>
                  </a:lnTo>
                  <a:lnTo>
                    <a:pt x="721" y="914"/>
                  </a:lnTo>
                  <a:lnTo>
                    <a:pt x="721" y="917"/>
                  </a:lnTo>
                  <a:lnTo>
                    <a:pt x="721" y="917"/>
                  </a:lnTo>
                  <a:lnTo>
                    <a:pt x="723" y="919"/>
                  </a:lnTo>
                  <a:lnTo>
                    <a:pt x="723" y="919"/>
                  </a:lnTo>
                  <a:lnTo>
                    <a:pt x="723" y="922"/>
                  </a:lnTo>
                  <a:lnTo>
                    <a:pt x="723" y="925"/>
                  </a:lnTo>
                  <a:lnTo>
                    <a:pt x="723" y="925"/>
                  </a:lnTo>
                  <a:lnTo>
                    <a:pt x="721" y="925"/>
                  </a:lnTo>
                  <a:lnTo>
                    <a:pt x="721" y="927"/>
                  </a:lnTo>
                  <a:lnTo>
                    <a:pt x="721" y="927"/>
                  </a:lnTo>
                  <a:lnTo>
                    <a:pt x="721" y="930"/>
                  </a:lnTo>
                  <a:lnTo>
                    <a:pt x="721" y="930"/>
                  </a:lnTo>
                  <a:lnTo>
                    <a:pt x="721" y="930"/>
                  </a:lnTo>
                  <a:lnTo>
                    <a:pt x="721" y="933"/>
                  </a:lnTo>
                  <a:lnTo>
                    <a:pt x="721" y="933"/>
                  </a:lnTo>
                  <a:lnTo>
                    <a:pt x="721" y="933"/>
                  </a:lnTo>
                  <a:lnTo>
                    <a:pt x="723" y="935"/>
                  </a:lnTo>
                  <a:lnTo>
                    <a:pt x="726" y="935"/>
                  </a:lnTo>
                  <a:lnTo>
                    <a:pt x="726" y="935"/>
                  </a:lnTo>
                  <a:lnTo>
                    <a:pt x="729" y="938"/>
                  </a:lnTo>
                  <a:lnTo>
                    <a:pt x="731" y="938"/>
                  </a:lnTo>
                  <a:lnTo>
                    <a:pt x="734" y="941"/>
                  </a:lnTo>
                  <a:lnTo>
                    <a:pt x="734" y="941"/>
                  </a:lnTo>
                  <a:lnTo>
                    <a:pt x="734" y="941"/>
                  </a:lnTo>
                  <a:lnTo>
                    <a:pt x="737" y="941"/>
                  </a:lnTo>
                  <a:lnTo>
                    <a:pt x="737" y="941"/>
                  </a:lnTo>
                  <a:lnTo>
                    <a:pt x="739" y="941"/>
                  </a:lnTo>
                  <a:lnTo>
                    <a:pt x="739" y="941"/>
                  </a:lnTo>
                  <a:lnTo>
                    <a:pt x="739" y="941"/>
                  </a:lnTo>
                  <a:lnTo>
                    <a:pt x="742" y="943"/>
                  </a:lnTo>
                  <a:lnTo>
                    <a:pt x="745" y="943"/>
                  </a:lnTo>
                  <a:lnTo>
                    <a:pt x="745" y="943"/>
                  </a:lnTo>
                  <a:lnTo>
                    <a:pt x="747" y="943"/>
                  </a:lnTo>
                  <a:lnTo>
                    <a:pt x="747" y="943"/>
                  </a:lnTo>
                  <a:lnTo>
                    <a:pt x="747" y="943"/>
                  </a:lnTo>
                  <a:lnTo>
                    <a:pt x="750" y="943"/>
                  </a:lnTo>
                  <a:lnTo>
                    <a:pt x="750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3" y="941"/>
                  </a:lnTo>
                  <a:lnTo>
                    <a:pt x="756" y="943"/>
                  </a:lnTo>
                  <a:lnTo>
                    <a:pt x="756" y="943"/>
                  </a:lnTo>
                  <a:lnTo>
                    <a:pt x="756" y="946"/>
                  </a:lnTo>
                  <a:lnTo>
                    <a:pt x="756" y="946"/>
                  </a:lnTo>
                  <a:lnTo>
                    <a:pt x="753" y="946"/>
                  </a:lnTo>
                  <a:lnTo>
                    <a:pt x="753" y="946"/>
                  </a:lnTo>
                  <a:lnTo>
                    <a:pt x="750" y="951"/>
                  </a:lnTo>
                  <a:lnTo>
                    <a:pt x="750" y="951"/>
                  </a:lnTo>
                  <a:lnTo>
                    <a:pt x="750" y="954"/>
                  </a:lnTo>
                  <a:lnTo>
                    <a:pt x="750" y="957"/>
                  </a:lnTo>
                  <a:lnTo>
                    <a:pt x="750" y="959"/>
                  </a:lnTo>
                  <a:lnTo>
                    <a:pt x="750" y="959"/>
                  </a:lnTo>
                  <a:lnTo>
                    <a:pt x="753" y="962"/>
                  </a:lnTo>
                  <a:lnTo>
                    <a:pt x="753" y="962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6" y="965"/>
                  </a:lnTo>
                  <a:lnTo>
                    <a:pt x="758" y="965"/>
                  </a:lnTo>
                  <a:lnTo>
                    <a:pt x="758" y="965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7"/>
                  </a:lnTo>
                  <a:lnTo>
                    <a:pt x="761" y="967"/>
                  </a:lnTo>
                  <a:lnTo>
                    <a:pt x="761" y="967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61" y="970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3"/>
                  </a:lnTo>
                  <a:lnTo>
                    <a:pt x="758" y="975"/>
                  </a:lnTo>
                  <a:lnTo>
                    <a:pt x="758" y="975"/>
                  </a:lnTo>
                  <a:lnTo>
                    <a:pt x="756" y="975"/>
                  </a:lnTo>
                  <a:lnTo>
                    <a:pt x="756" y="975"/>
                  </a:lnTo>
                  <a:lnTo>
                    <a:pt x="756" y="978"/>
                  </a:lnTo>
                  <a:lnTo>
                    <a:pt x="756" y="978"/>
                  </a:lnTo>
                  <a:lnTo>
                    <a:pt x="756" y="978"/>
                  </a:lnTo>
                  <a:lnTo>
                    <a:pt x="756" y="981"/>
                  </a:lnTo>
                  <a:lnTo>
                    <a:pt x="756" y="981"/>
                  </a:lnTo>
                  <a:lnTo>
                    <a:pt x="756" y="981"/>
                  </a:lnTo>
                  <a:lnTo>
                    <a:pt x="753" y="983"/>
                  </a:lnTo>
                  <a:lnTo>
                    <a:pt x="753" y="983"/>
                  </a:lnTo>
                  <a:lnTo>
                    <a:pt x="753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6"/>
                  </a:lnTo>
                  <a:lnTo>
                    <a:pt x="756" y="989"/>
                  </a:lnTo>
                  <a:lnTo>
                    <a:pt x="756" y="989"/>
                  </a:lnTo>
                  <a:lnTo>
                    <a:pt x="756" y="992"/>
                  </a:lnTo>
                  <a:lnTo>
                    <a:pt x="756" y="992"/>
                  </a:lnTo>
                  <a:lnTo>
                    <a:pt x="756" y="994"/>
                  </a:lnTo>
                  <a:lnTo>
                    <a:pt x="756" y="997"/>
                  </a:lnTo>
                  <a:lnTo>
                    <a:pt x="758" y="994"/>
                  </a:lnTo>
                  <a:lnTo>
                    <a:pt x="758" y="997"/>
                  </a:lnTo>
                  <a:lnTo>
                    <a:pt x="758" y="997"/>
                  </a:lnTo>
                  <a:lnTo>
                    <a:pt x="758" y="1000"/>
                  </a:lnTo>
                  <a:lnTo>
                    <a:pt x="756" y="1000"/>
                  </a:lnTo>
                  <a:lnTo>
                    <a:pt x="756" y="1000"/>
                  </a:lnTo>
                  <a:lnTo>
                    <a:pt x="756" y="1000"/>
                  </a:lnTo>
                  <a:lnTo>
                    <a:pt x="753" y="1000"/>
                  </a:lnTo>
                  <a:lnTo>
                    <a:pt x="753" y="1002"/>
                  </a:lnTo>
                  <a:lnTo>
                    <a:pt x="750" y="1002"/>
                  </a:lnTo>
                  <a:lnTo>
                    <a:pt x="750" y="1002"/>
                  </a:lnTo>
                  <a:lnTo>
                    <a:pt x="750" y="1008"/>
                  </a:lnTo>
                  <a:lnTo>
                    <a:pt x="750" y="1008"/>
                  </a:lnTo>
                  <a:lnTo>
                    <a:pt x="750" y="1008"/>
                  </a:lnTo>
                  <a:lnTo>
                    <a:pt x="747" y="1010"/>
                  </a:lnTo>
                  <a:lnTo>
                    <a:pt x="747" y="1010"/>
                  </a:lnTo>
                  <a:lnTo>
                    <a:pt x="750" y="1010"/>
                  </a:lnTo>
                  <a:lnTo>
                    <a:pt x="750" y="1010"/>
                  </a:lnTo>
                  <a:lnTo>
                    <a:pt x="750" y="1013"/>
                  </a:lnTo>
                  <a:lnTo>
                    <a:pt x="750" y="1013"/>
                  </a:lnTo>
                  <a:lnTo>
                    <a:pt x="753" y="1016"/>
                  </a:lnTo>
                  <a:lnTo>
                    <a:pt x="753" y="1016"/>
                  </a:lnTo>
                  <a:lnTo>
                    <a:pt x="753" y="1016"/>
                  </a:lnTo>
                  <a:lnTo>
                    <a:pt x="753" y="1018"/>
                  </a:lnTo>
                  <a:lnTo>
                    <a:pt x="756" y="1018"/>
                  </a:lnTo>
                  <a:lnTo>
                    <a:pt x="756" y="1021"/>
                  </a:lnTo>
                  <a:lnTo>
                    <a:pt x="756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1"/>
                  </a:lnTo>
                  <a:lnTo>
                    <a:pt x="753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4"/>
                  </a:lnTo>
                  <a:lnTo>
                    <a:pt x="750" y="1026"/>
                  </a:lnTo>
                  <a:lnTo>
                    <a:pt x="747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0" y="1026"/>
                  </a:lnTo>
                  <a:lnTo>
                    <a:pt x="753" y="1026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3" y="1029"/>
                  </a:lnTo>
                  <a:lnTo>
                    <a:pt x="756" y="1029"/>
                  </a:lnTo>
                  <a:lnTo>
                    <a:pt x="756" y="1029"/>
                  </a:lnTo>
                  <a:lnTo>
                    <a:pt x="756" y="1026"/>
                  </a:lnTo>
                  <a:lnTo>
                    <a:pt x="756" y="1026"/>
                  </a:lnTo>
                  <a:lnTo>
                    <a:pt x="756" y="1026"/>
                  </a:lnTo>
                  <a:lnTo>
                    <a:pt x="758" y="1026"/>
                  </a:lnTo>
                  <a:lnTo>
                    <a:pt x="758" y="1026"/>
                  </a:lnTo>
                  <a:lnTo>
                    <a:pt x="758" y="1026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29"/>
                  </a:lnTo>
                  <a:lnTo>
                    <a:pt x="758" y="1032"/>
                  </a:lnTo>
                  <a:lnTo>
                    <a:pt x="758" y="1032"/>
                  </a:lnTo>
                  <a:lnTo>
                    <a:pt x="758" y="1034"/>
                  </a:lnTo>
                  <a:lnTo>
                    <a:pt x="758" y="1034"/>
                  </a:lnTo>
                  <a:lnTo>
                    <a:pt x="758" y="1034"/>
                  </a:lnTo>
                  <a:lnTo>
                    <a:pt x="756" y="1037"/>
                  </a:lnTo>
                  <a:lnTo>
                    <a:pt x="756" y="1037"/>
                  </a:lnTo>
                  <a:lnTo>
                    <a:pt x="753" y="1037"/>
                  </a:lnTo>
                  <a:lnTo>
                    <a:pt x="753" y="1040"/>
                  </a:lnTo>
                  <a:lnTo>
                    <a:pt x="753" y="1040"/>
                  </a:lnTo>
                  <a:lnTo>
                    <a:pt x="753" y="1042"/>
                  </a:lnTo>
                  <a:lnTo>
                    <a:pt x="753" y="1042"/>
                  </a:lnTo>
                  <a:lnTo>
                    <a:pt x="756" y="1042"/>
                  </a:lnTo>
                  <a:lnTo>
                    <a:pt x="756" y="1042"/>
                  </a:lnTo>
                  <a:lnTo>
                    <a:pt x="756" y="1042"/>
                  </a:lnTo>
                  <a:lnTo>
                    <a:pt x="756" y="1045"/>
                  </a:lnTo>
                  <a:lnTo>
                    <a:pt x="756" y="1045"/>
                  </a:lnTo>
                  <a:lnTo>
                    <a:pt x="756" y="1048"/>
                  </a:lnTo>
                  <a:lnTo>
                    <a:pt x="756" y="1048"/>
                  </a:lnTo>
                  <a:lnTo>
                    <a:pt x="756" y="1048"/>
                  </a:lnTo>
                  <a:lnTo>
                    <a:pt x="753" y="1048"/>
                  </a:lnTo>
                  <a:lnTo>
                    <a:pt x="753" y="1050"/>
                  </a:lnTo>
                  <a:lnTo>
                    <a:pt x="756" y="1050"/>
                  </a:lnTo>
                  <a:lnTo>
                    <a:pt x="756" y="1050"/>
                  </a:lnTo>
                  <a:lnTo>
                    <a:pt x="756" y="1050"/>
                  </a:lnTo>
                  <a:lnTo>
                    <a:pt x="758" y="1050"/>
                  </a:lnTo>
                  <a:lnTo>
                    <a:pt x="758" y="1053"/>
                  </a:lnTo>
                  <a:lnTo>
                    <a:pt x="758" y="1053"/>
                  </a:lnTo>
                  <a:lnTo>
                    <a:pt x="758" y="1053"/>
                  </a:lnTo>
                  <a:lnTo>
                    <a:pt x="761" y="1056"/>
                  </a:lnTo>
                  <a:lnTo>
                    <a:pt x="761" y="1056"/>
                  </a:lnTo>
                  <a:lnTo>
                    <a:pt x="761" y="1058"/>
                  </a:lnTo>
                  <a:lnTo>
                    <a:pt x="761" y="1058"/>
                  </a:lnTo>
                  <a:lnTo>
                    <a:pt x="761" y="1058"/>
                  </a:lnTo>
                  <a:lnTo>
                    <a:pt x="764" y="1058"/>
                  </a:lnTo>
                  <a:lnTo>
                    <a:pt x="764" y="1058"/>
                  </a:lnTo>
                  <a:lnTo>
                    <a:pt x="764" y="1061"/>
                  </a:lnTo>
                  <a:lnTo>
                    <a:pt x="764" y="1061"/>
                  </a:lnTo>
                  <a:lnTo>
                    <a:pt x="766" y="1061"/>
                  </a:lnTo>
                  <a:lnTo>
                    <a:pt x="766" y="1064"/>
                  </a:lnTo>
                  <a:lnTo>
                    <a:pt x="766" y="1064"/>
                  </a:lnTo>
                  <a:lnTo>
                    <a:pt x="766" y="1064"/>
                  </a:lnTo>
                  <a:lnTo>
                    <a:pt x="766" y="1066"/>
                  </a:lnTo>
                  <a:lnTo>
                    <a:pt x="766" y="1066"/>
                  </a:lnTo>
                  <a:lnTo>
                    <a:pt x="766" y="1069"/>
                  </a:lnTo>
                  <a:lnTo>
                    <a:pt x="769" y="1069"/>
                  </a:lnTo>
                  <a:lnTo>
                    <a:pt x="769" y="1072"/>
                  </a:lnTo>
                  <a:lnTo>
                    <a:pt x="769" y="1072"/>
                  </a:lnTo>
                  <a:lnTo>
                    <a:pt x="769" y="1072"/>
                  </a:lnTo>
                  <a:lnTo>
                    <a:pt x="766" y="1074"/>
                  </a:lnTo>
                  <a:lnTo>
                    <a:pt x="766" y="1074"/>
                  </a:lnTo>
                  <a:lnTo>
                    <a:pt x="766" y="1077"/>
                  </a:lnTo>
                  <a:lnTo>
                    <a:pt x="766" y="1077"/>
                  </a:lnTo>
                  <a:lnTo>
                    <a:pt x="766" y="1077"/>
                  </a:lnTo>
                  <a:lnTo>
                    <a:pt x="766" y="1080"/>
                  </a:lnTo>
                  <a:lnTo>
                    <a:pt x="766" y="1080"/>
                  </a:lnTo>
                  <a:lnTo>
                    <a:pt x="766" y="1080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2"/>
                  </a:lnTo>
                  <a:lnTo>
                    <a:pt x="766" y="1085"/>
                  </a:lnTo>
                  <a:lnTo>
                    <a:pt x="769" y="1085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88"/>
                  </a:lnTo>
                  <a:lnTo>
                    <a:pt x="769" y="1090"/>
                  </a:lnTo>
                  <a:lnTo>
                    <a:pt x="769" y="1090"/>
                  </a:lnTo>
                  <a:lnTo>
                    <a:pt x="769" y="1090"/>
                  </a:lnTo>
                  <a:lnTo>
                    <a:pt x="769" y="1093"/>
                  </a:lnTo>
                  <a:lnTo>
                    <a:pt x="769" y="1093"/>
                  </a:lnTo>
                  <a:lnTo>
                    <a:pt x="766" y="1093"/>
                  </a:lnTo>
                  <a:lnTo>
                    <a:pt x="769" y="1093"/>
                  </a:lnTo>
                  <a:lnTo>
                    <a:pt x="769" y="1096"/>
                  </a:lnTo>
                  <a:lnTo>
                    <a:pt x="769" y="1096"/>
                  </a:lnTo>
                  <a:lnTo>
                    <a:pt x="769" y="1098"/>
                  </a:lnTo>
                  <a:lnTo>
                    <a:pt x="769" y="1098"/>
                  </a:lnTo>
                  <a:lnTo>
                    <a:pt x="769" y="1098"/>
                  </a:lnTo>
                  <a:lnTo>
                    <a:pt x="772" y="1098"/>
                  </a:lnTo>
                  <a:lnTo>
                    <a:pt x="772" y="1101"/>
                  </a:lnTo>
                  <a:lnTo>
                    <a:pt x="772" y="1101"/>
                  </a:lnTo>
                  <a:lnTo>
                    <a:pt x="772" y="1101"/>
                  </a:lnTo>
                  <a:lnTo>
                    <a:pt x="774" y="1101"/>
                  </a:lnTo>
                  <a:lnTo>
                    <a:pt x="774" y="1101"/>
                  </a:lnTo>
                  <a:lnTo>
                    <a:pt x="774" y="1101"/>
                  </a:lnTo>
                  <a:lnTo>
                    <a:pt x="774" y="1104"/>
                  </a:lnTo>
                  <a:lnTo>
                    <a:pt x="774" y="1104"/>
                  </a:lnTo>
                  <a:lnTo>
                    <a:pt x="774" y="1106"/>
                  </a:lnTo>
                  <a:lnTo>
                    <a:pt x="777" y="1109"/>
                  </a:lnTo>
                  <a:lnTo>
                    <a:pt x="777" y="1109"/>
                  </a:lnTo>
                  <a:lnTo>
                    <a:pt x="777" y="1112"/>
                  </a:lnTo>
                  <a:lnTo>
                    <a:pt x="777" y="1112"/>
                  </a:lnTo>
                  <a:lnTo>
                    <a:pt x="777" y="1114"/>
                  </a:lnTo>
                  <a:lnTo>
                    <a:pt x="780" y="1114"/>
                  </a:lnTo>
                  <a:lnTo>
                    <a:pt x="782" y="1114"/>
                  </a:lnTo>
                  <a:lnTo>
                    <a:pt x="782" y="1117"/>
                  </a:lnTo>
                  <a:lnTo>
                    <a:pt x="785" y="1120"/>
                  </a:lnTo>
                  <a:lnTo>
                    <a:pt x="785" y="1120"/>
                  </a:lnTo>
                  <a:lnTo>
                    <a:pt x="785" y="1120"/>
                  </a:lnTo>
                  <a:lnTo>
                    <a:pt x="788" y="1122"/>
                  </a:lnTo>
                  <a:lnTo>
                    <a:pt x="788" y="1122"/>
                  </a:lnTo>
                  <a:lnTo>
                    <a:pt x="790" y="1125"/>
                  </a:lnTo>
                  <a:lnTo>
                    <a:pt x="790" y="1125"/>
                  </a:lnTo>
                  <a:lnTo>
                    <a:pt x="790" y="1125"/>
                  </a:lnTo>
                  <a:lnTo>
                    <a:pt x="790" y="1128"/>
                  </a:lnTo>
                  <a:lnTo>
                    <a:pt x="793" y="1128"/>
                  </a:lnTo>
                  <a:lnTo>
                    <a:pt x="793" y="1130"/>
                  </a:lnTo>
                  <a:lnTo>
                    <a:pt x="793" y="1130"/>
                  </a:lnTo>
                  <a:lnTo>
                    <a:pt x="793" y="1133"/>
                  </a:lnTo>
                  <a:lnTo>
                    <a:pt x="793" y="1133"/>
                  </a:lnTo>
                  <a:lnTo>
                    <a:pt x="793" y="1133"/>
                  </a:lnTo>
                  <a:lnTo>
                    <a:pt x="796" y="1136"/>
                  </a:lnTo>
                  <a:lnTo>
                    <a:pt x="796" y="1136"/>
                  </a:lnTo>
                  <a:lnTo>
                    <a:pt x="796" y="1136"/>
                  </a:lnTo>
                  <a:lnTo>
                    <a:pt x="796" y="1138"/>
                  </a:lnTo>
                  <a:lnTo>
                    <a:pt x="798" y="1138"/>
                  </a:lnTo>
                  <a:lnTo>
                    <a:pt x="798" y="1141"/>
                  </a:lnTo>
                  <a:lnTo>
                    <a:pt x="801" y="1141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4" y="1144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6"/>
                  </a:lnTo>
                  <a:lnTo>
                    <a:pt x="806" y="1144"/>
                  </a:lnTo>
                  <a:lnTo>
                    <a:pt x="806" y="1144"/>
                  </a:lnTo>
                  <a:lnTo>
                    <a:pt x="809" y="1144"/>
                  </a:lnTo>
                  <a:lnTo>
                    <a:pt x="809" y="1144"/>
                  </a:lnTo>
                  <a:lnTo>
                    <a:pt x="809" y="1141"/>
                  </a:lnTo>
                  <a:lnTo>
                    <a:pt x="809" y="1141"/>
                  </a:lnTo>
                  <a:lnTo>
                    <a:pt x="812" y="1141"/>
                  </a:lnTo>
                  <a:lnTo>
                    <a:pt x="812" y="1141"/>
                  </a:lnTo>
                  <a:lnTo>
                    <a:pt x="812" y="1144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12" y="1146"/>
                  </a:lnTo>
                  <a:lnTo>
                    <a:pt x="809" y="1149"/>
                  </a:lnTo>
                  <a:lnTo>
                    <a:pt x="809" y="1149"/>
                  </a:lnTo>
                  <a:lnTo>
                    <a:pt x="809" y="1149"/>
                  </a:lnTo>
                  <a:lnTo>
                    <a:pt x="806" y="1149"/>
                  </a:lnTo>
                  <a:lnTo>
                    <a:pt x="806" y="1152"/>
                  </a:lnTo>
                  <a:lnTo>
                    <a:pt x="806" y="1152"/>
                  </a:lnTo>
                  <a:lnTo>
                    <a:pt x="806" y="1152"/>
                  </a:lnTo>
                  <a:lnTo>
                    <a:pt x="804" y="1155"/>
                  </a:lnTo>
                  <a:lnTo>
                    <a:pt x="804" y="1155"/>
                  </a:lnTo>
                  <a:lnTo>
                    <a:pt x="804" y="1157"/>
                  </a:lnTo>
                  <a:lnTo>
                    <a:pt x="806" y="1157"/>
                  </a:lnTo>
                  <a:lnTo>
                    <a:pt x="806" y="1160"/>
                  </a:lnTo>
                  <a:lnTo>
                    <a:pt x="806" y="1160"/>
                  </a:lnTo>
                  <a:lnTo>
                    <a:pt x="806" y="1160"/>
                  </a:lnTo>
                  <a:lnTo>
                    <a:pt x="804" y="1163"/>
                  </a:lnTo>
                  <a:lnTo>
                    <a:pt x="806" y="1163"/>
                  </a:lnTo>
                  <a:lnTo>
                    <a:pt x="806" y="1165"/>
                  </a:lnTo>
                  <a:lnTo>
                    <a:pt x="806" y="1165"/>
                  </a:lnTo>
                  <a:lnTo>
                    <a:pt x="806" y="1168"/>
                  </a:lnTo>
                  <a:lnTo>
                    <a:pt x="806" y="1168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09" y="1171"/>
                  </a:lnTo>
                  <a:lnTo>
                    <a:pt x="814" y="1173"/>
                  </a:lnTo>
                  <a:lnTo>
                    <a:pt x="814" y="1173"/>
                  </a:lnTo>
                  <a:lnTo>
                    <a:pt x="814" y="1171"/>
                  </a:lnTo>
                  <a:lnTo>
                    <a:pt x="817" y="1171"/>
                  </a:lnTo>
                  <a:lnTo>
                    <a:pt x="817" y="1173"/>
                  </a:lnTo>
                  <a:lnTo>
                    <a:pt x="817" y="1173"/>
                  </a:lnTo>
                  <a:lnTo>
                    <a:pt x="817" y="1176"/>
                  </a:lnTo>
                  <a:lnTo>
                    <a:pt x="817" y="1176"/>
                  </a:lnTo>
                  <a:lnTo>
                    <a:pt x="817" y="1179"/>
                  </a:lnTo>
                  <a:lnTo>
                    <a:pt x="820" y="1181"/>
                  </a:lnTo>
                  <a:lnTo>
                    <a:pt x="822" y="1181"/>
                  </a:lnTo>
                  <a:lnTo>
                    <a:pt x="822" y="1184"/>
                  </a:lnTo>
                  <a:lnTo>
                    <a:pt x="822" y="1184"/>
                  </a:lnTo>
                  <a:lnTo>
                    <a:pt x="825" y="1184"/>
                  </a:lnTo>
                  <a:lnTo>
                    <a:pt x="828" y="1187"/>
                  </a:lnTo>
                  <a:lnTo>
                    <a:pt x="828" y="1187"/>
                  </a:lnTo>
                  <a:lnTo>
                    <a:pt x="828" y="1189"/>
                  </a:lnTo>
                  <a:lnTo>
                    <a:pt x="828" y="1192"/>
                  </a:lnTo>
                  <a:lnTo>
                    <a:pt x="828" y="1192"/>
                  </a:lnTo>
                  <a:lnTo>
                    <a:pt x="828" y="1192"/>
                  </a:lnTo>
                  <a:lnTo>
                    <a:pt x="828" y="1195"/>
                  </a:lnTo>
                  <a:lnTo>
                    <a:pt x="828" y="1195"/>
                  </a:lnTo>
                  <a:lnTo>
                    <a:pt x="828" y="1197"/>
                  </a:lnTo>
                  <a:lnTo>
                    <a:pt x="828" y="1197"/>
                  </a:lnTo>
                  <a:lnTo>
                    <a:pt x="828" y="1197"/>
                  </a:lnTo>
                  <a:lnTo>
                    <a:pt x="828" y="1200"/>
                  </a:lnTo>
                  <a:lnTo>
                    <a:pt x="828" y="1200"/>
                  </a:lnTo>
                  <a:lnTo>
                    <a:pt x="828" y="1203"/>
                  </a:lnTo>
                  <a:lnTo>
                    <a:pt x="828" y="1203"/>
                  </a:lnTo>
                  <a:lnTo>
                    <a:pt x="828" y="1205"/>
                  </a:lnTo>
                  <a:lnTo>
                    <a:pt x="830" y="1205"/>
                  </a:lnTo>
                  <a:lnTo>
                    <a:pt x="830" y="1205"/>
                  </a:lnTo>
                  <a:lnTo>
                    <a:pt x="830" y="1208"/>
                  </a:lnTo>
                  <a:lnTo>
                    <a:pt x="830" y="1208"/>
                  </a:lnTo>
                  <a:lnTo>
                    <a:pt x="830" y="1211"/>
                  </a:lnTo>
                  <a:lnTo>
                    <a:pt x="830" y="1213"/>
                  </a:lnTo>
                  <a:lnTo>
                    <a:pt x="833" y="1213"/>
                  </a:lnTo>
                  <a:lnTo>
                    <a:pt x="833" y="1213"/>
                  </a:lnTo>
                  <a:lnTo>
                    <a:pt x="833" y="1213"/>
                  </a:lnTo>
                  <a:lnTo>
                    <a:pt x="833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28" y="1219"/>
                  </a:lnTo>
                  <a:lnTo>
                    <a:pt x="828" y="1219"/>
                  </a:lnTo>
                  <a:lnTo>
                    <a:pt x="830" y="1219"/>
                  </a:lnTo>
                  <a:lnTo>
                    <a:pt x="830" y="1219"/>
                  </a:lnTo>
                  <a:lnTo>
                    <a:pt x="830" y="1219"/>
                  </a:lnTo>
                  <a:lnTo>
                    <a:pt x="830" y="1216"/>
                  </a:lnTo>
                  <a:lnTo>
                    <a:pt x="830" y="1216"/>
                  </a:lnTo>
                  <a:lnTo>
                    <a:pt x="833" y="1219"/>
                  </a:lnTo>
                  <a:lnTo>
                    <a:pt x="833" y="1219"/>
                  </a:lnTo>
                  <a:lnTo>
                    <a:pt x="830" y="1219"/>
                  </a:lnTo>
                  <a:lnTo>
                    <a:pt x="830" y="1221"/>
                  </a:lnTo>
                  <a:lnTo>
                    <a:pt x="830" y="1221"/>
                  </a:lnTo>
                  <a:lnTo>
                    <a:pt x="833" y="1221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4"/>
                  </a:lnTo>
                  <a:lnTo>
                    <a:pt x="833" y="1227"/>
                  </a:lnTo>
                  <a:lnTo>
                    <a:pt x="836" y="1227"/>
                  </a:lnTo>
                  <a:lnTo>
                    <a:pt x="836" y="1229"/>
                  </a:lnTo>
                  <a:lnTo>
                    <a:pt x="836" y="1229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8" y="1232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5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6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37"/>
                  </a:lnTo>
                  <a:lnTo>
                    <a:pt x="838" y="1240"/>
                  </a:lnTo>
                  <a:lnTo>
                    <a:pt x="838" y="1240"/>
                  </a:lnTo>
                  <a:lnTo>
                    <a:pt x="838" y="1240"/>
                  </a:lnTo>
                  <a:lnTo>
                    <a:pt x="836" y="1240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6" y="1243"/>
                  </a:lnTo>
                  <a:lnTo>
                    <a:pt x="838" y="1240"/>
                  </a:lnTo>
                  <a:lnTo>
                    <a:pt x="838" y="1243"/>
                  </a:lnTo>
                  <a:lnTo>
                    <a:pt x="838" y="1243"/>
                  </a:lnTo>
                  <a:lnTo>
                    <a:pt x="838" y="1243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38" y="1245"/>
                  </a:lnTo>
                  <a:lnTo>
                    <a:pt x="841" y="1248"/>
                  </a:lnTo>
                  <a:lnTo>
                    <a:pt x="841" y="1245"/>
                  </a:lnTo>
                  <a:lnTo>
                    <a:pt x="841" y="1245"/>
                  </a:lnTo>
                  <a:lnTo>
                    <a:pt x="841" y="1243"/>
                  </a:lnTo>
                  <a:lnTo>
                    <a:pt x="841" y="1243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1" y="1240"/>
                  </a:lnTo>
                  <a:lnTo>
                    <a:pt x="844" y="1240"/>
                  </a:lnTo>
                  <a:lnTo>
                    <a:pt x="844" y="1240"/>
                  </a:lnTo>
                  <a:lnTo>
                    <a:pt x="844" y="1240"/>
                  </a:lnTo>
                  <a:lnTo>
                    <a:pt x="846" y="1240"/>
                  </a:lnTo>
                  <a:lnTo>
                    <a:pt x="846" y="1243"/>
                  </a:lnTo>
                  <a:lnTo>
                    <a:pt x="846" y="1243"/>
                  </a:lnTo>
                  <a:lnTo>
                    <a:pt x="846" y="1245"/>
                  </a:lnTo>
                  <a:lnTo>
                    <a:pt x="846" y="1245"/>
                  </a:lnTo>
                  <a:lnTo>
                    <a:pt x="846" y="1248"/>
                  </a:lnTo>
                  <a:lnTo>
                    <a:pt x="846" y="1248"/>
                  </a:lnTo>
                  <a:lnTo>
                    <a:pt x="846" y="1251"/>
                  </a:lnTo>
                  <a:lnTo>
                    <a:pt x="846" y="1251"/>
                  </a:lnTo>
                  <a:lnTo>
                    <a:pt x="846" y="1253"/>
                  </a:lnTo>
                  <a:lnTo>
                    <a:pt x="846" y="1256"/>
                  </a:lnTo>
                  <a:lnTo>
                    <a:pt x="844" y="1256"/>
                  </a:lnTo>
                  <a:lnTo>
                    <a:pt x="844" y="1256"/>
                  </a:lnTo>
                  <a:lnTo>
                    <a:pt x="844" y="1256"/>
                  </a:lnTo>
                  <a:lnTo>
                    <a:pt x="844" y="1259"/>
                  </a:lnTo>
                  <a:lnTo>
                    <a:pt x="846" y="1259"/>
                  </a:lnTo>
                  <a:lnTo>
                    <a:pt x="846" y="1261"/>
                  </a:lnTo>
                  <a:lnTo>
                    <a:pt x="846" y="1264"/>
                  </a:lnTo>
                  <a:lnTo>
                    <a:pt x="846" y="1264"/>
                  </a:lnTo>
                  <a:lnTo>
                    <a:pt x="846" y="1264"/>
                  </a:lnTo>
                  <a:lnTo>
                    <a:pt x="846" y="1267"/>
                  </a:lnTo>
                  <a:lnTo>
                    <a:pt x="846" y="1269"/>
                  </a:lnTo>
                  <a:lnTo>
                    <a:pt x="846" y="1269"/>
                  </a:lnTo>
                  <a:lnTo>
                    <a:pt x="849" y="1272"/>
                  </a:lnTo>
                  <a:lnTo>
                    <a:pt x="849" y="1272"/>
                  </a:lnTo>
                  <a:lnTo>
                    <a:pt x="849" y="1275"/>
                  </a:lnTo>
                  <a:lnTo>
                    <a:pt x="849" y="1275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2" y="1277"/>
                  </a:lnTo>
                  <a:lnTo>
                    <a:pt x="854" y="1280"/>
                  </a:lnTo>
                  <a:lnTo>
                    <a:pt x="852" y="1280"/>
                  </a:lnTo>
                  <a:lnTo>
                    <a:pt x="852" y="1283"/>
                  </a:lnTo>
                  <a:lnTo>
                    <a:pt x="854" y="1283"/>
                  </a:lnTo>
                  <a:lnTo>
                    <a:pt x="854" y="1285"/>
                  </a:lnTo>
                  <a:lnTo>
                    <a:pt x="854" y="1285"/>
                  </a:lnTo>
                  <a:lnTo>
                    <a:pt x="857" y="1288"/>
                  </a:lnTo>
                  <a:lnTo>
                    <a:pt x="857" y="1288"/>
                  </a:lnTo>
                  <a:lnTo>
                    <a:pt x="857" y="1291"/>
                  </a:lnTo>
                  <a:lnTo>
                    <a:pt x="860" y="1291"/>
                  </a:lnTo>
                  <a:lnTo>
                    <a:pt x="857" y="1293"/>
                  </a:lnTo>
                  <a:lnTo>
                    <a:pt x="857" y="1293"/>
                  </a:lnTo>
                  <a:lnTo>
                    <a:pt x="857" y="1293"/>
                  </a:lnTo>
                  <a:lnTo>
                    <a:pt x="857" y="1296"/>
                  </a:lnTo>
                  <a:lnTo>
                    <a:pt x="857" y="1296"/>
                  </a:lnTo>
                  <a:lnTo>
                    <a:pt x="854" y="1299"/>
                  </a:lnTo>
                  <a:lnTo>
                    <a:pt x="854" y="1299"/>
                  </a:lnTo>
                  <a:lnTo>
                    <a:pt x="854" y="1301"/>
                  </a:lnTo>
                  <a:lnTo>
                    <a:pt x="854" y="1304"/>
                  </a:lnTo>
                  <a:lnTo>
                    <a:pt x="854" y="1304"/>
                  </a:lnTo>
                  <a:lnTo>
                    <a:pt x="854" y="1307"/>
                  </a:lnTo>
                  <a:lnTo>
                    <a:pt x="854" y="1307"/>
                  </a:lnTo>
                  <a:lnTo>
                    <a:pt x="854" y="1307"/>
                  </a:lnTo>
                  <a:lnTo>
                    <a:pt x="852" y="1310"/>
                  </a:lnTo>
                  <a:lnTo>
                    <a:pt x="852" y="1310"/>
                  </a:lnTo>
                  <a:lnTo>
                    <a:pt x="852" y="1312"/>
                  </a:lnTo>
                  <a:lnTo>
                    <a:pt x="852" y="1312"/>
                  </a:lnTo>
                  <a:lnTo>
                    <a:pt x="852" y="1315"/>
                  </a:lnTo>
                  <a:lnTo>
                    <a:pt x="849" y="1315"/>
                  </a:lnTo>
                  <a:lnTo>
                    <a:pt x="849" y="1318"/>
                  </a:lnTo>
                  <a:lnTo>
                    <a:pt x="849" y="1318"/>
                  </a:lnTo>
                  <a:lnTo>
                    <a:pt x="849" y="1318"/>
                  </a:lnTo>
                  <a:lnTo>
                    <a:pt x="849" y="1320"/>
                  </a:lnTo>
                  <a:lnTo>
                    <a:pt x="849" y="1320"/>
                  </a:lnTo>
                  <a:lnTo>
                    <a:pt x="849" y="1320"/>
                  </a:lnTo>
                  <a:lnTo>
                    <a:pt x="849" y="1323"/>
                  </a:lnTo>
                  <a:lnTo>
                    <a:pt x="849" y="1323"/>
                  </a:lnTo>
                  <a:lnTo>
                    <a:pt x="849" y="1323"/>
                  </a:lnTo>
                  <a:lnTo>
                    <a:pt x="849" y="1326"/>
                  </a:lnTo>
                  <a:lnTo>
                    <a:pt x="846" y="1326"/>
                  </a:lnTo>
                  <a:lnTo>
                    <a:pt x="846" y="1326"/>
                  </a:lnTo>
                  <a:lnTo>
                    <a:pt x="846" y="1328"/>
                  </a:lnTo>
                  <a:lnTo>
                    <a:pt x="846" y="1328"/>
                  </a:lnTo>
                  <a:lnTo>
                    <a:pt x="846" y="1328"/>
                  </a:lnTo>
                  <a:lnTo>
                    <a:pt x="846" y="1331"/>
                  </a:lnTo>
                  <a:lnTo>
                    <a:pt x="846" y="1331"/>
                  </a:lnTo>
                  <a:lnTo>
                    <a:pt x="846" y="1334"/>
                  </a:lnTo>
                  <a:lnTo>
                    <a:pt x="846" y="1334"/>
                  </a:lnTo>
                  <a:lnTo>
                    <a:pt x="846" y="1334"/>
                  </a:lnTo>
                  <a:lnTo>
                    <a:pt x="846" y="1336"/>
                  </a:lnTo>
                  <a:lnTo>
                    <a:pt x="846" y="1336"/>
                  </a:lnTo>
                  <a:lnTo>
                    <a:pt x="846" y="1336"/>
                  </a:lnTo>
                  <a:lnTo>
                    <a:pt x="846" y="1339"/>
                  </a:lnTo>
                  <a:lnTo>
                    <a:pt x="846" y="1339"/>
                  </a:lnTo>
                  <a:lnTo>
                    <a:pt x="846" y="1342"/>
                  </a:lnTo>
                  <a:lnTo>
                    <a:pt x="846" y="1342"/>
                  </a:lnTo>
                  <a:lnTo>
                    <a:pt x="846" y="1344"/>
                  </a:lnTo>
                  <a:lnTo>
                    <a:pt x="844" y="1347"/>
                  </a:lnTo>
                  <a:lnTo>
                    <a:pt x="844" y="1347"/>
                  </a:lnTo>
                  <a:lnTo>
                    <a:pt x="844" y="1347"/>
                  </a:lnTo>
                  <a:lnTo>
                    <a:pt x="846" y="1347"/>
                  </a:lnTo>
                  <a:lnTo>
                    <a:pt x="846" y="1350"/>
                  </a:lnTo>
                  <a:lnTo>
                    <a:pt x="844" y="1350"/>
                  </a:lnTo>
                  <a:lnTo>
                    <a:pt x="844" y="1352"/>
                  </a:lnTo>
                  <a:lnTo>
                    <a:pt x="844" y="1352"/>
                  </a:lnTo>
                  <a:lnTo>
                    <a:pt x="844" y="1352"/>
                  </a:lnTo>
                  <a:lnTo>
                    <a:pt x="841" y="1355"/>
                  </a:lnTo>
                  <a:lnTo>
                    <a:pt x="841" y="1355"/>
                  </a:lnTo>
                  <a:lnTo>
                    <a:pt x="841" y="1355"/>
                  </a:lnTo>
                  <a:lnTo>
                    <a:pt x="841" y="1358"/>
                  </a:lnTo>
                  <a:lnTo>
                    <a:pt x="841" y="1360"/>
                  </a:lnTo>
                  <a:lnTo>
                    <a:pt x="841" y="1360"/>
                  </a:lnTo>
                  <a:lnTo>
                    <a:pt x="838" y="1363"/>
                  </a:lnTo>
                  <a:lnTo>
                    <a:pt x="838" y="1363"/>
                  </a:lnTo>
                  <a:lnTo>
                    <a:pt x="838" y="1366"/>
                  </a:lnTo>
                  <a:lnTo>
                    <a:pt x="838" y="1366"/>
                  </a:lnTo>
                  <a:lnTo>
                    <a:pt x="838" y="1368"/>
                  </a:lnTo>
                  <a:lnTo>
                    <a:pt x="838" y="1368"/>
                  </a:lnTo>
                  <a:lnTo>
                    <a:pt x="838" y="1371"/>
                  </a:lnTo>
                  <a:lnTo>
                    <a:pt x="838" y="1374"/>
                  </a:lnTo>
                  <a:lnTo>
                    <a:pt x="838" y="1374"/>
                  </a:lnTo>
                  <a:lnTo>
                    <a:pt x="838" y="1376"/>
                  </a:lnTo>
                  <a:lnTo>
                    <a:pt x="838" y="1379"/>
                  </a:lnTo>
                  <a:lnTo>
                    <a:pt x="838" y="1379"/>
                  </a:lnTo>
                  <a:lnTo>
                    <a:pt x="841" y="1382"/>
                  </a:lnTo>
                  <a:lnTo>
                    <a:pt x="841" y="1382"/>
                  </a:lnTo>
                  <a:lnTo>
                    <a:pt x="841" y="1382"/>
                  </a:lnTo>
                  <a:lnTo>
                    <a:pt x="841" y="1384"/>
                  </a:lnTo>
                  <a:lnTo>
                    <a:pt x="841" y="1384"/>
                  </a:lnTo>
                  <a:lnTo>
                    <a:pt x="841" y="1387"/>
                  </a:lnTo>
                  <a:lnTo>
                    <a:pt x="841" y="1387"/>
                  </a:lnTo>
                  <a:lnTo>
                    <a:pt x="841" y="1390"/>
                  </a:lnTo>
                  <a:lnTo>
                    <a:pt x="841" y="1390"/>
                  </a:lnTo>
                  <a:lnTo>
                    <a:pt x="841" y="1392"/>
                  </a:lnTo>
                  <a:lnTo>
                    <a:pt x="841" y="1392"/>
                  </a:lnTo>
                  <a:lnTo>
                    <a:pt x="841" y="1395"/>
                  </a:lnTo>
                  <a:lnTo>
                    <a:pt x="841" y="1395"/>
                  </a:lnTo>
                  <a:lnTo>
                    <a:pt x="841" y="1398"/>
                  </a:lnTo>
                  <a:lnTo>
                    <a:pt x="841" y="1400"/>
                  </a:lnTo>
                  <a:lnTo>
                    <a:pt x="841" y="1400"/>
                  </a:lnTo>
                  <a:lnTo>
                    <a:pt x="841" y="1403"/>
                  </a:lnTo>
                  <a:lnTo>
                    <a:pt x="841" y="1403"/>
                  </a:lnTo>
                  <a:lnTo>
                    <a:pt x="844" y="1406"/>
                  </a:lnTo>
                  <a:lnTo>
                    <a:pt x="844" y="1406"/>
                  </a:lnTo>
                  <a:lnTo>
                    <a:pt x="844" y="1408"/>
                  </a:lnTo>
                  <a:lnTo>
                    <a:pt x="844" y="1408"/>
                  </a:lnTo>
                  <a:lnTo>
                    <a:pt x="844" y="1411"/>
                  </a:lnTo>
                  <a:lnTo>
                    <a:pt x="844" y="1411"/>
                  </a:lnTo>
                  <a:lnTo>
                    <a:pt x="841" y="1411"/>
                  </a:lnTo>
                  <a:lnTo>
                    <a:pt x="838" y="1411"/>
                  </a:lnTo>
                  <a:lnTo>
                    <a:pt x="838" y="1411"/>
                  </a:lnTo>
                  <a:lnTo>
                    <a:pt x="833" y="1408"/>
                  </a:lnTo>
                  <a:lnTo>
                    <a:pt x="830" y="1408"/>
                  </a:lnTo>
                  <a:lnTo>
                    <a:pt x="828" y="1411"/>
                  </a:lnTo>
                  <a:lnTo>
                    <a:pt x="828" y="1411"/>
                  </a:lnTo>
                  <a:lnTo>
                    <a:pt x="825" y="1414"/>
                  </a:lnTo>
                  <a:lnTo>
                    <a:pt x="822" y="1416"/>
                  </a:lnTo>
                  <a:lnTo>
                    <a:pt x="822" y="1416"/>
                  </a:lnTo>
                  <a:lnTo>
                    <a:pt x="820" y="1416"/>
                  </a:lnTo>
                  <a:lnTo>
                    <a:pt x="817" y="1416"/>
                  </a:lnTo>
                  <a:lnTo>
                    <a:pt x="814" y="1419"/>
                  </a:lnTo>
                  <a:lnTo>
                    <a:pt x="812" y="1419"/>
                  </a:lnTo>
                  <a:lnTo>
                    <a:pt x="812" y="1419"/>
                  </a:lnTo>
                  <a:lnTo>
                    <a:pt x="809" y="1419"/>
                  </a:lnTo>
                  <a:lnTo>
                    <a:pt x="812" y="1416"/>
                  </a:lnTo>
                  <a:lnTo>
                    <a:pt x="812" y="1414"/>
                  </a:lnTo>
                  <a:lnTo>
                    <a:pt x="814" y="1414"/>
                  </a:lnTo>
                  <a:lnTo>
                    <a:pt x="812" y="1411"/>
                  </a:lnTo>
                  <a:lnTo>
                    <a:pt x="812" y="1411"/>
                  </a:lnTo>
                  <a:lnTo>
                    <a:pt x="812" y="1408"/>
                  </a:lnTo>
                  <a:lnTo>
                    <a:pt x="809" y="1406"/>
                  </a:lnTo>
                  <a:lnTo>
                    <a:pt x="806" y="1406"/>
                  </a:lnTo>
                  <a:lnTo>
                    <a:pt x="804" y="1406"/>
                  </a:lnTo>
                  <a:lnTo>
                    <a:pt x="804" y="1406"/>
                  </a:lnTo>
                  <a:lnTo>
                    <a:pt x="804" y="1403"/>
                  </a:lnTo>
                  <a:lnTo>
                    <a:pt x="804" y="1398"/>
                  </a:lnTo>
                  <a:lnTo>
                    <a:pt x="804" y="1398"/>
                  </a:lnTo>
                  <a:lnTo>
                    <a:pt x="806" y="1395"/>
                  </a:lnTo>
                  <a:lnTo>
                    <a:pt x="806" y="1392"/>
                  </a:lnTo>
                  <a:lnTo>
                    <a:pt x="809" y="1392"/>
                  </a:lnTo>
                  <a:lnTo>
                    <a:pt x="809" y="1392"/>
                  </a:lnTo>
                  <a:lnTo>
                    <a:pt x="812" y="1390"/>
                  </a:lnTo>
                  <a:lnTo>
                    <a:pt x="812" y="1387"/>
                  </a:lnTo>
                  <a:lnTo>
                    <a:pt x="814" y="1387"/>
                  </a:lnTo>
                  <a:lnTo>
                    <a:pt x="812" y="1384"/>
                  </a:lnTo>
                  <a:lnTo>
                    <a:pt x="812" y="1382"/>
                  </a:lnTo>
                  <a:lnTo>
                    <a:pt x="812" y="1379"/>
                  </a:lnTo>
                  <a:lnTo>
                    <a:pt x="812" y="1379"/>
                  </a:lnTo>
                  <a:lnTo>
                    <a:pt x="809" y="1379"/>
                  </a:lnTo>
                  <a:lnTo>
                    <a:pt x="806" y="1379"/>
                  </a:lnTo>
                  <a:lnTo>
                    <a:pt x="806" y="1379"/>
                  </a:lnTo>
                  <a:lnTo>
                    <a:pt x="806" y="1376"/>
                  </a:lnTo>
                  <a:lnTo>
                    <a:pt x="804" y="1376"/>
                  </a:lnTo>
                  <a:lnTo>
                    <a:pt x="804" y="1376"/>
                  </a:lnTo>
                  <a:lnTo>
                    <a:pt x="801" y="1374"/>
                  </a:lnTo>
                  <a:lnTo>
                    <a:pt x="798" y="1374"/>
                  </a:lnTo>
                  <a:lnTo>
                    <a:pt x="796" y="1371"/>
                  </a:lnTo>
                  <a:lnTo>
                    <a:pt x="793" y="1371"/>
                  </a:lnTo>
                  <a:lnTo>
                    <a:pt x="793" y="1374"/>
                  </a:lnTo>
                  <a:lnTo>
                    <a:pt x="790" y="1371"/>
                  </a:lnTo>
                  <a:lnTo>
                    <a:pt x="790" y="1368"/>
                  </a:lnTo>
                  <a:lnTo>
                    <a:pt x="790" y="1366"/>
                  </a:lnTo>
                  <a:lnTo>
                    <a:pt x="788" y="1363"/>
                  </a:lnTo>
                  <a:lnTo>
                    <a:pt x="790" y="1363"/>
                  </a:lnTo>
                  <a:lnTo>
                    <a:pt x="793" y="1360"/>
                  </a:lnTo>
                  <a:lnTo>
                    <a:pt x="793" y="1360"/>
                  </a:lnTo>
                  <a:lnTo>
                    <a:pt x="793" y="1358"/>
                  </a:lnTo>
                  <a:lnTo>
                    <a:pt x="793" y="1358"/>
                  </a:lnTo>
                  <a:lnTo>
                    <a:pt x="790" y="1358"/>
                  </a:lnTo>
                  <a:lnTo>
                    <a:pt x="790" y="1355"/>
                  </a:lnTo>
                  <a:lnTo>
                    <a:pt x="790" y="1355"/>
                  </a:lnTo>
                  <a:lnTo>
                    <a:pt x="788" y="1355"/>
                  </a:lnTo>
                  <a:lnTo>
                    <a:pt x="788" y="1358"/>
                  </a:lnTo>
                  <a:lnTo>
                    <a:pt x="785" y="1358"/>
                  </a:lnTo>
                  <a:lnTo>
                    <a:pt x="780" y="1358"/>
                  </a:lnTo>
                  <a:lnTo>
                    <a:pt x="780" y="1358"/>
                  </a:lnTo>
                  <a:lnTo>
                    <a:pt x="780" y="1355"/>
                  </a:lnTo>
                  <a:lnTo>
                    <a:pt x="777" y="1355"/>
                  </a:lnTo>
                  <a:lnTo>
                    <a:pt x="777" y="1355"/>
                  </a:lnTo>
                  <a:lnTo>
                    <a:pt x="774" y="1352"/>
                  </a:lnTo>
                  <a:lnTo>
                    <a:pt x="772" y="1352"/>
                  </a:lnTo>
                  <a:lnTo>
                    <a:pt x="772" y="1350"/>
                  </a:lnTo>
                  <a:lnTo>
                    <a:pt x="769" y="1347"/>
                  </a:lnTo>
                  <a:lnTo>
                    <a:pt x="769" y="1347"/>
                  </a:lnTo>
                  <a:lnTo>
                    <a:pt x="766" y="1344"/>
                  </a:lnTo>
                  <a:lnTo>
                    <a:pt x="764" y="1344"/>
                  </a:lnTo>
                  <a:lnTo>
                    <a:pt x="764" y="1344"/>
                  </a:lnTo>
                  <a:lnTo>
                    <a:pt x="761" y="1344"/>
                  </a:lnTo>
                  <a:lnTo>
                    <a:pt x="758" y="1344"/>
                  </a:lnTo>
                  <a:lnTo>
                    <a:pt x="753" y="1350"/>
                  </a:lnTo>
                  <a:lnTo>
                    <a:pt x="753" y="1350"/>
                  </a:lnTo>
                  <a:lnTo>
                    <a:pt x="753" y="1352"/>
                  </a:lnTo>
                  <a:lnTo>
                    <a:pt x="750" y="1352"/>
                  </a:lnTo>
                  <a:lnTo>
                    <a:pt x="753" y="1355"/>
                  </a:lnTo>
                  <a:lnTo>
                    <a:pt x="753" y="1355"/>
                  </a:lnTo>
                  <a:lnTo>
                    <a:pt x="756" y="1358"/>
                  </a:lnTo>
                  <a:lnTo>
                    <a:pt x="756" y="1360"/>
                  </a:lnTo>
                  <a:lnTo>
                    <a:pt x="753" y="1360"/>
                  </a:lnTo>
                  <a:lnTo>
                    <a:pt x="753" y="1363"/>
                  </a:lnTo>
                  <a:lnTo>
                    <a:pt x="750" y="1363"/>
                  </a:lnTo>
                  <a:lnTo>
                    <a:pt x="750" y="1366"/>
                  </a:lnTo>
                  <a:lnTo>
                    <a:pt x="747" y="1366"/>
                  </a:lnTo>
                  <a:lnTo>
                    <a:pt x="745" y="1371"/>
                  </a:lnTo>
                  <a:lnTo>
                    <a:pt x="745" y="1371"/>
                  </a:lnTo>
                  <a:lnTo>
                    <a:pt x="745" y="1374"/>
                  </a:lnTo>
                  <a:lnTo>
                    <a:pt x="745" y="1374"/>
                  </a:lnTo>
                  <a:lnTo>
                    <a:pt x="745" y="1376"/>
                  </a:lnTo>
                  <a:lnTo>
                    <a:pt x="742" y="1379"/>
                  </a:lnTo>
                  <a:lnTo>
                    <a:pt x="739" y="1379"/>
                  </a:lnTo>
                  <a:lnTo>
                    <a:pt x="737" y="1382"/>
                  </a:lnTo>
                  <a:lnTo>
                    <a:pt x="734" y="1382"/>
                  </a:lnTo>
                  <a:lnTo>
                    <a:pt x="734" y="1382"/>
                  </a:lnTo>
                  <a:lnTo>
                    <a:pt x="731" y="1382"/>
                  </a:lnTo>
                  <a:lnTo>
                    <a:pt x="729" y="1384"/>
                  </a:lnTo>
                  <a:lnTo>
                    <a:pt x="726" y="1384"/>
                  </a:lnTo>
                  <a:lnTo>
                    <a:pt x="723" y="1387"/>
                  </a:lnTo>
                  <a:lnTo>
                    <a:pt x="723" y="1387"/>
                  </a:lnTo>
                  <a:lnTo>
                    <a:pt x="723" y="1387"/>
                  </a:lnTo>
                  <a:lnTo>
                    <a:pt x="721" y="1390"/>
                  </a:lnTo>
                  <a:lnTo>
                    <a:pt x="718" y="1392"/>
                  </a:lnTo>
                  <a:lnTo>
                    <a:pt x="718" y="1392"/>
                  </a:lnTo>
                  <a:lnTo>
                    <a:pt x="718" y="1395"/>
                  </a:lnTo>
                  <a:lnTo>
                    <a:pt x="718" y="1398"/>
                  </a:lnTo>
                  <a:lnTo>
                    <a:pt x="718" y="1400"/>
                  </a:lnTo>
                  <a:lnTo>
                    <a:pt x="718" y="1400"/>
                  </a:lnTo>
                  <a:lnTo>
                    <a:pt x="718" y="1403"/>
                  </a:lnTo>
                  <a:lnTo>
                    <a:pt x="721" y="1406"/>
                  </a:lnTo>
                  <a:lnTo>
                    <a:pt x="723" y="1406"/>
                  </a:lnTo>
                  <a:lnTo>
                    <a:pt x="726" y="1408"/>
                  </a:lnTo>
                  <a:lnTo>
                    <a:pt x="726" y="1408"/>
                  </a:lnTo>
                  <a:lnTo>
                    <a:pt x="731" y="1411"/>
                  </a:lnTo>
                  <a:lnTo>
                    <a:pt x="731" y="1408"/>
                  </a:lnTo>
                  <a:lnTo>
                    <a:pt x="737" y="1408"/>
                  </a:lnTo>
                  <a:lnTo>
                    <a:pt x="739" y="1408"/>
                  </a:lnTo>
                  <a:lnTo>
                    <a:pt x="742" y="1411"/>
                  </a:lnTo>
                  <a:lnTo>
                    <a:pt x="742" y="1414"/>
                  </a:lnTo>
                  <a:lnTo>
                    <a:pt x="739" y="1416"/>
                  </a:lnTo>
                  <a:lnTo>
                    <a:pt x="739" y="1416"/>
                  </a:lnTo>
                  <a:lnTo>
                    <a:pt x="737" y="1419"/>
                  </a:lnTo>
                  <a:lnTo>
                    <a:pt x="737" y="1422"/>
                  </a:lnTo>
                  <a:lnTo>
                    <a:pt x="737" y="1424"/>
                  </a:lnTo>
                  <a:lnTo>
                    <a:pt x="739" y="1427"/>
                  </a:lnTo>
                  <a:lnTo>
                    <a:pt x="739" y="1424"/>
                  </a:lnTo>
                  <a:lnTo>
                    <a:pt x="742" y="1424"/>
                  </a:lnTo>
                  <a:lnTo>
                    <a:pt x="745" y="1422"/>
                  </a:lnTo>
                  <a:lnTo>
                    <a:pt x="747" y="1422"/>
                  </a:lnTo>
                  <a:lnTo>
                    <a:pt x="750" y="1422"/>
                  </a:lnTo>
                  <a:lnTo>
                    <a:pt x="750" y="1422"/>
                  </a:lnTo>
                  <a:lnTo>
                    <a:pt x="753" y="1422"/>
                  </a:lnTo>
                  <a:lnTo>
                    <a:pt x="756" y="1422"/>
                  </a:lnTo>
                  <a:lnTo>
                    <a:pt x="758" y="1422"/>
                  </a:lnTo>
                  <a:lnTo>
                    <a:pt x="758" y="1422"/>
                  </a:lnTo>
                  <a:lnTo>
                    <a:pt x="761" y="1422"/>
                  </a:lnTo>
                  <a:lnTo>
                    <a:pt x="761" y="1422"/>
                  </a:lnTo>
                  <a:lnTo>
                    <a:pt x="761" y="1422"/>
                  </a:lnTo>
                  <a:lnTo>
                    <a:pt x="764" y="1419"/>
                  </a:lnTo>
                  <a:lnTo>
                    <a:pt x="766" y="1419"/>
                  </a:lnTo>
                  <a:lnTo>
                    <a:pt x="766" y="1416"/>
                  </a:lnTo>
                  <a:lnTo>
                    <a:pt x="769" y="1416"/>
                  </a:lnTo>
                  <a:lnTo>
                    <a:pt x="772" y="1419"/>
                  </a:lnTo>
                  <a:lnTo>
                    <a:pt x="774" y="1416"/>
                  </a:lnTo>
                  <a:lnTo>
                    <a:pt x="777" y="1416"/>
                  </a:lnTo>
                  <a:lnTo>
                    <a:pt x="777" y="1416"/>
                  </a:lnTo>
                  <a:lnTo>
                    <a:pt x="777" y="1419"/>
                  </a:lnTo>
                  <a:lnTo>
                    <a:pt x="774" y="1422"/>
                  </a:lnTo>
                  <a:lnTo>
                    <a:pt x="774" y="1422"/>
                  </a:lnTo>
                  <a:lnTo>
                    <a:pt x="777" y="1422"/>
                  </a:lnTo>
                  <a:lnTo>
                    <a:pt x="780" y="1422"/>
                  </a:lnTo>
                  <a:lnTo>
                    <a:pt x="782" y="1422"/>
                  </a:lnTo>
                  <a:lnTo>
                    <a:pt x="782" y="1424"/>
                  </a:lnTo>
                  <a:lnTo>
                    <a:pt x="782" y="1427"/>
                  </a:lnTo>
                  <a:lnTo>
                    <a:pt x="785" y="1427"/>
                  </a:lnTo>
                  <a:lnTo>
                    <a:pt x="785" y="1427"/>
                  </a:lnTo>
                  <a:lnTo>
                    <a:pt x="785" y="1430"/>
                  </a:lnTo>
                  <a:lnTo>
                    <a:pt x="782" y="1438"/>
                  </a:lnTo>
                  <a:lnTo>
                    <a:pt x="782" y="1438"/>
                  </a:lnTo>
                  <a:lnTo>
                    <a:pt x="782" y="1440"/>
                  </a:lnTo>
                  <a:lnTo>
                    <a:pt x="782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0"/>
                  </a:lnTo>
                  <a:lnTo>
                    <a:pt x="780" y="1443"/>
                  </a:lnTo>
                  <a:lnTo>
                    <a:pt x="780" y="1443"/>
                  </a:lnTo>
                  <a:lnTo>
                    <a:pt x="780" y="1446"/>
                  </a:lnTo>
                  <a:lnTo>
                    <a:pt x="780" y="1446"/>
                  </a:lnTo>
                  <a:lnTo>
                    <a:pt x="777" y="1448"/>
                  </a:lnTo>
                  <a:lnTo>
                    <a:pt x="777" y="1448"/>
                  </a:lnTo>
                  <a:lnTo>
                    <a:pt x="777" y="1451"/>
                  </a:lnTo>
                  <a:lnTo>
                    <a:pt x="774" y="1454"/>
                  </a:lnTo>
                  <a:lnTo>
                    <a:pt x="774" y="1454"/>
                  </a:lnTo>
                  <a:lnTo>
                    <a:pt x="774" y="1454"/>
                  </a:lnTo>
                  <a:lnTo>
                    <a:pt x="772" y="1454"/>
                  </a:lnTo>
                  <a:lnTo>
                    <a:pt x="772" y="1454"/>
                  </a:lnTo>
                  <a:lnTo>
                    <a:pt x="769" y="1456"/>
                  </a:lnTo>
                  <a:lnTo>
                    <a:pt x="769" y="1459"/>
                  </a:lnTo>
                  <a:lnTo>
                    <a:pt x="766" y="1462"/>
                  </a:lnTo>
                  <a:lnTo>
                    <a:pt x="766" y="1464"/>
                  </a:lnTo>
                  <a:lnTo>
                    <a:pt x="766" y="1467"/>
                  </a:lnTo>
                  <a:lnTo>
                    <a:pt x="764" y="1470"/>
                  </a:lnTo>
                  <a:lnTo>
                    <a:pt x="764" y="1473"/>
                  </a:lnTo>
                  <a:lnTo>
                    <a:pt x="761" y="1475"/>
                  </a:lnTo>
                  <a:lnTo>
                    <a:pt x="758" y="1475"/>
                  </a:lnTo>
                  <a:lnTo>
                    <a:pt x="753" y="1475"/>
                  </a:lnTo>
                  <a:lnTo>
                    <a:pt x="753" y="1475"/>
                  </a:lnTo>
                  <a:lnTo>
                    <a:pt x="750" y="1475"/>
                  </a:lnTo>
                  <a:lnTo>
                    <a:pt x="750" y="1473"/>
                  </a:lnTo>
                  <a:lnTo>
                    <a:pt x="747" y="1473"/>
                  </a:lnTo>
                  <a:lnTo>
                    <a:pt x="747" y="1475"/>
                  </a:lnTo>
                  <a:lnTo>
                    <a:pt x="747" y="1475"/>
                  </a:lnTo>
                  <a:lnTo>
                    <a:pt x="747" y="1475"/>
                  </a:lnTo>
                  <a:lnTo>
                    <a:pt x="742" y="1475"/>
                  </a:lnTo>
                  <a:lnTo>
                    <a:pt x="739" y="1475"/>
                  </a:lnTo>
                  <a:lnTo>
                    <a:pt x="737" y="1475"/>
                  </a:lnTo>
                  <a:lnTo>
                    <a:pt x="737" y="1478"/>
                  </a:lnTo>
                  <a:lnTo>
                    <a:pt x="737" y="1481"/>
                  </a:lnTo>
                  <a:lnTo>
                    <a:pt x="737" y="1483"/>
                  </a:lnTo>
                  <a:lnTo>
                    <a:pt x="737" y="1486"/>
                  </a:lnTo>
                  <a:lnTo>
                    <a:pt x="737" y="1489"/>
                  </a:lnTo>
                  <a:lnTo>
                    <a:pt x="737" y="1491"/>
                  </a:lnTo>
                  <a:lnTo>
                    <a:pt x="737" y="1491"/>
                  </a:lnTo>
                  <a:lnTo>
                    <a:pt x="737" y="1494"/>
                  </a:lnTo>
                  <a:lnTo>
                    <a:pt x="737" y="1497"/>
                  </a:lnTo>
                  <a:lnTo>
                    <a:pt x="739" y="1499"/>
                  </a:lnTo>
                  <a:lnTo>
                    <a:pt x="739" y="1499"/>
                  </a:lnTo>
                  <a:lnTo>
                    <a:pt x="742" y="1499"/>
                  </a:lnTo>
                  <a:lnTo>
                    <a:pt x="742" y="1499"/>
                  </a:lnTo>
                  <a:lnTo>
                    <a:pt x="742" y="1502"/>
                  </a:lnTo>
                  <a:lnTo>
                    <a:pt x="742" y="1505"/>
                  </a:lnTo>
                  <a:lnTo>
                    <a:pt x="742" y="1507"/>
                  </a:lnTo>
                  <a:lnTo>
                    <a:pt x="742" y="1507"/>
                  </a:lnTo>
                  <a:lnTo>
                    <a:pt x="742" y="1510"/>
                  </a:lnTo>
                  <a:lnTo>
                    <a:pt x="739" y="1510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3"/>
                  </a:lnTo>
                  <a:lnTo>
                    <a:pt x="739" y="1515"/>
                  </a:lnTo>
                  <a:lnTo>
                    <a:pt x="739" y="1518"/>
                  </a:lnTo>
                  <a:lnTo>
                    <a:pt x="737" y="1523"/>
                  </a:lnTo>
                  <a:lnTo>
                    <a:pt x="737" y="1523"/>
                  </a:lnTo>
                  <a:lnTo>
                    <a:pt x="734" y="1526"/>
                  </a:lnTo>
                  <a:lnTo>
                    <a:pt x="734" y="1529"/>
                  </a:lnTo>
                  <a:lnTo>
                    <a:pt x="734" y="1529"/>
                  </a:lnTo>
                  <a:lnTo>
                    <a:pt x="734" y="1531"/>
                  </a:lnTo>
                  <a:lnTo>
                    <a:pt x="731" y="1531"/>
                  </a:lnTo>
                  <a:lnTo>
                    <a:pt x="731" y="1534"/>
                  </a:lnTo>
                  <a:lnTo>
                    <a:pt x="729" y="1534"/>
                  </a:lnTo>
                  <a:lnTo>
                    <a:pt x="726" y="1534"/>
                  </a:lnTo>
                  <a:lnTo>
                    <a:pt x="726" y="1534"/>
                  </a:lnTo>
                  <a:lnTo>
                    <a:pt x="723" y="1534"/>
                  </a:lnTo>
                  <a:lnTo>
                    <a:pt x="721" y="1534"/>
                  </a:lnTo>
                  <a:lnTo>
                    <a:pt x="721" y="1537"/>
                  </a:lnTo>
                  <a:lnTo>
                    <a:pt x="721" y="1539"/>
                  </a:lnTo>
                  <a:lnTo>
                    <a:pt x="721" y="1539"/>
                  </a:lnTo>
                  <a:lnTo>
                    <a:pt x="721" y="1542"/>
                  </a:lnTo>
                  <a:lnTo>
                    <a:pt x="718" y="1542"/>
                  </a:lnTo>
                  <a:lnTo>
                    <a:pt x="715" y="1542"/>
                  </a:lnTo>
                  <a:lnTo>
                    <a:pt x="713" y="1545"/>
                  </a:lnTo>
                  <a:lnTo>
                    <a:pt x="713" y="1545"/>
                  </a:lnTo>
                  <a:lnTo>
                    <a:pt x="710" y="1545"/>
                  </a:lnTo>
                  <a:lnTo>
                    <a:pt x="707" y="1545"/>
                  </a:lnTo>
                  <a:lnTo>
                    <a:pt x="707" y="1545"/>
                  </a:lnTo>
                  <a:lnTo>
                    <a:pt x="705" y="1545"/>
                  </a:lnTo>
                  <a:lnTo>
                    <a:pt x="702" y="1542"/>
                  </a:lnTo>
                  <a:lnTo>
                    <a:pt x="699" y="1542"/>
                  </a:lnTo>
                  <a:lnTo>
                    <a:pt x="699" y="1545"/>
                  </a:lnTo>
                  <a:lnTo>
                    <a:pt x="699" y="1547"/>
                  </a:lnTo>
                  <a:lnTo>
                    <a:pt x="697" y="1547"/>
                  </a:lnTo>
                  <a:lnTo>
                    <a:pt x="697" y="1550"/>
                  </a:lnTo>
                  <a:lnTo>
                    <a:pt x="694" y="1550"/>
                  </a:lnTo>
                  <a:lnTo>
                    <a:pt x="691" y="1550"/>
                  </a:lnTo>
                  <a:lnTo>
                    <a:pt x="689" y="1550"/>
                  </a:lnTo>
                  <a:lnTo>
                    <a:pt x="683" y="1550"/>
                  </a:lnTo>
                  <a:lnTo>
                    <a:pt x="683" y="1547"/>
                  </a:lnTo>
                  <a:lnTo>
                    <a:pt x="681" y="1547"/>
                  </a:lnTo>
                  <a:lnTo>
                    <a:pt x="681" y="1547"/>
                  </a:lnTo>
                  <a:lnTo>
                    <a:pt x="678" y="1547"/>
                  </a:lnTo>
                  <a:lnTo>
                    <a:pt x="678" y="1547"/>
                  </a:lnTo>
                  <a:lnTo>
                    <a:pt x="678" y="1545"/>
                  </a:lnTo>
                  <a:lnTo>
                    <a:pt x="678" y="1545"/>
                  </a:lnTo>
                  <a:lnTo>
                    <a:pt x="678" y="1545"/>
                  </a:lnTo>
                  <a:lnTo>
                    <a:pt x="675" y="1542"/>
                  </a:lnTo>
                  <a:lnTo>
                    <a:pt x="673" y="1545"/>
                  </a:lnTo>
                  <a:lnTo>
                    <a:pt x="670" y="1545"/>
                  </a:lnTo>
                  <a:lnTo>
                    <a:pt x="670" y="1547"/>
                  </a:lnTo>
                  <a:lnTo>
                    <a:pt x="670" y="1547"/>
                  </a:lnTo>
                  <a:lnTo>
                    <a:pt x="667" y="1547"/>
                  </a:lnTo>
                  <a:lnTo>
                    <a:pt x="667" y="1547"/>
                  </a:lnTo>
                  <a:lnTo>
                    <a:pt x="665" y="1547"/>
                  </a:lnTo>
                  <a:lnTo>
                    <a:pt x="662" y="1550"/>
                  </a:lnTo>
                  <a:lnTo>
                    <a:pt x="662" y="1553"/>
                  </a:lnTo>
                  <a:lnTo>
                    <a:pt x="659" y="1555"/>
                  </a:lnTo>
                  <a:lnTo>
                    <a:pt x="657" y="1555"/>
                  </a:lnTo>
                  <a:lnTo>
                    <a:pt x="657" y="1558"/>
                  </a:lnTo>
                  <a:lnTo>
                    <a:pt x="654" y="1555"/>
                  </a:lnTo>
                  <a:lnTo>
                    <a:pt x="654" y="1555"/>
                  </a:lnTo>
                  <a:lnTo>
                    <a:pt x="654" y="1553"/>
                  </a:lnTo>
                  <a:lnTo>
                    <a:pt x="654" y="1553"/>
                  </a:lnTo>
                  <a:lnTo>
                    <a:pt x="657" y="1553"/>
                  </a:lnTo>
                  <a:lnTo>
                    <a:pt x="657" y="1553"/>
                  </a:lnTo>
                  <a:lnTo>
                    <a:pt x="654" y="1550"/>
                  </a:lnTo>
                  <a:lnTo>
                    <a:pt x="654" y="1547"/>
                  </a:lnTo>
                  <a:lnTo>
                    <a:pt x="654" y="1547"/>
                  </a:lnTo>
                  <a:lnTo>
                    <a:pt x="654" y="1545"/>
                  </a:lnTo>
                  <a:lnTo>
                    <a:pt x="654" y="1545"/>
                  </a:lnTo>
                  <a:lnTo>
                    <a:pt x="651" y="1545"/>
                  </a:lnTo>
                  <a:lnTo>
                    <a:pt x="649" y="1545"/>
                  </a:lnTo>
                  <a:lnTo>
                    <a:pt x="646" y="1545"/>
                  </a:lnTo>
                  <a:lnTo>
                    <a:pt x="646" y="1542"/>
                  </a:lnTo>
                  <a:lnTo>
                    <a:pt x="643" y="1539"/>
                  </a:lnTo>
                  <a:lnTo>
                    <a:pt x="643" y="1539"/>
                  </a:lnTo>
                  <a:lnTo>
                    <a:pt x="641" y="1539"/>
                  </a:lnTo>
                  <a:lnTo>
                    <a:pt x="638" y="1539"/>
                  </a:lnTo>
                  <a:lnTo>
                    <a:pt x="638" y="1539"/>
                  </a:lnTo>
                  <a:lnTo>
                    <a:pt x="638" y="1542"/>
                  </a:lnTo>
                  <a:lnTo>
                    <a:pt x="638" y="1542"/>
                  </a:lnTo>
                  <a:lnTo>
                    <a:pt x="635" y="1539"/>
                  </a:lnTo>
                  <a:lnTo>
                    <a:pt x="633" y="1539"/>
                  </a:lnTo>
                  <a:lnTo>
                    <a:pt x="630" y="1539"/>
                  </a:lnTo>
                  <a:lnTo>
                    <a:pt x="630" y="1542"/>
                  </a:lnTo>
                  <a:lnTo>
                    <a:pt x="627" y="1542"/>
                  </a:lnTo>
                  <a:lnTo>
                    <a:pt x="627" y="1545"/>
                  </a:lnTo>
                  <a:lnTo>
                    <a:pt x="627" y="1545"/>
                  </a:lnTo>
                  <a:lnTo>
                    <a:pt x="627" y="1547"/>
                  </a:lnTo>
                  <a:lnTo>
                    <a:pt x="627" y="1550"/>
                  </a:lnTo>
                  <a:lnTo>
                    <a:pt x="627" y="1550"/>
                  </a:lnTo>
                  <a:lnTo>
                    <a:pt x="625" y="1550"/>
                  </a:lnTo>
                  <a:lnTo>
                    <a:pt x="622" y="1550"/>
                  </a:lnTo>
                  <a:lnTo>
                    <a:pt x="619" y="1550"/>
                  </a:lnTo>
                  <a:lnTo>
                    <a:pt x="619" y="1550"/>
                  </a:lnTo>
                  <a:lnTo>
                    <a:pt x="617" y="1553"/>
                  </a:lnTo>
                  <a:lnTo>
                    <a:pt x="614" y="1555"/>
                  </a:lnTo>
                  <a:lnTo>
                    <a:pt x="614" y="1555"/>
                  </a:lnTo>
                  <a:lnTo>
                    <a:pt x="611" y="1555"/>
                  </a:lnTo>
                  <a:lnTo>
                    <a:pt x="611" y="1555"/>
                  </a:lnTo>
                  <a:lnTo>
                    <a:pt x="606" y="1561"/>
                  </a:lnTo>
                  <a:lnTo>
                    <a:pt x="606" y="1563"/>
                  </a:lnTo>
                  <a:lnTo>
                    <a:pt x="609" y="1563"/>
                  </a:lnTo>
                  <a:lnTo>
                    <a:pt x="609" y="1566"/>
                  </a:lnTo>
                  <a:lnTo>
                    <a:pt x="606" y="1569"/>
                  </a:lnTo>
                  <a:lnTo>
                    <a:pt x="606" y="1571"/>
                  </a:lnTo>
                  <a:lnTo>
                    <a:pt x="609" y="1574"/>
                  </a:lnTo>
                  <a:lnTo>
                    <a:pt x="609" y="1577"/>
                  </a:lnTo>
                  <a:lnTo>
                    <a:pt x="606" y="1577"/>
                  </a:lnTo>
                  <a:lnTo>
                    <a:pt x="603" y="1577"/>
                  </a:lnTo>
                  <a:lnTo>
                    <a:pt x="603" y="1579"/>
                  </a:lnTo>
                  <a:lnTo>
                    <a:pt x="603" y="1582"/>
                  </a:lnTo>
                  <a:lnTo>
                    <a:pt x="606" y="1585"/>
                  </a:lnTo>
                  <a:lnTo>
                    <a:pt x="606" y="1587"/>
                  </a:lnTo>
                  <a:lnTo>
                    <a:pt x="606" y="1590"/>
                  </a:lnTo>
                  <a:lnTo>
                    <a:pt x="609" y="1593"/>
                  </a:lnTo>
                  <a:lnTo>
                    <a:pt x="611" y="1593"/>
                  </a:lnTo>
                  <a:lnTo>
                    <a:pt x="611" y="1595"/>
                  </a:lnTo>
                  <a:lnTo>
                    <a:pt x="611" y="1598"/>
                  </a:lnTo>
                  <a:lnTo>
                    <a:pt x="611" y="1598"/>
                  </a:lnTo>
                  <a:lnTo>
                    <a:pt x="611" y="1601"/>
                  </a:lnTo>
                  <a:lnTo>
                    <a:pt x="611" y="1601"/>
                  </a:lnTo>
                  <a:lnTo>
                    <a:pt x="611" y="1601"/>
                  </a:lnTo>
                  <a:lnTo>
                    <a:pt x="611" y="1603"/>
                  </a:lnTo>
                  <a:lnTo>
                    <a:pt x="609" y="1606"/>
                  </a:lnTo>
                  <a:lnTo>
                    <a:pt x="609" y="1606"/>
                  </a:lnTo>
                  <a:lnTo>
                    <a:pt x="606" y="1606"/>
                  </a:lnTo>
                  <a:lnTo>
                    <a:pt x="606" y="1606"/>
                  </a:lnTo>
                  <a:lnTo>
                    <a:pt x="603" y="1609"/>
                  </a:lnTo>
                  <a:lnTo>
                    <a:pt x="603" y="1609"/>
                  </a:lnTo>
                  <a:lnTo>
                    <a:pt x="601" y="1611"/>
                  </a:lnTo>
                  <a:lnTo>
                    <a:pt x="601" y="1611"/>
                  </a:lnTo>
                  <a:lnTo>
                    <a:pt x="598" y="1611"/>
                  </a:lnTo>
                  <a:lnTo>
                    <a:pt x="598" y="1614"/>
                  </a:lnTo>
                  <a:lnTo>
                    <a:pt x="595" y="1614"/>
                  </a:lnTo>
                  <a:lnTo>
                    <a:pt x="593" y="1614"/>
                  </a:lnTo>
                  <a:lnTo>
                    <a:pt x="593" y="1617"/>
                  </a:lnTo>
                  <a:lnTo>
                    <a:pt x="593" y="1619"/>
                  </a:lnTo>
                  <a:lnTo>
                    <a:pt x="590" y="1617"/>
                  </a:lnTo>
                  <a:lnTo>
                    <a:pt x="590" y="1614"/>
                  </a:lnTo>
                  <a:lnTo>
                    <a:pt x="590" y="1614"/>
                  </a:lnTo>
                  <a:lnTo>
                    <a:pt x="590" y="1614"/>
                  </a:lnTo>
                  <a:lnTo>
                    <a:pt x="587" y="1611"/>
                  </a:lnTo>
                  <a:lnTo>
                    <a:pt x="587" y="1611"/>
                  </a:lnTo>
                  <a:lnTo>
                    <a:pt x="587" y="1609"/>
                  </a:lnTo>
                  <a:lnTo>
                    <a:pt x="587" y="1609"/>
                  </a:lnTo>
                  <a:lnTo>
                    <a:pt x="587" y="1606"/>
                  </a:lnTo>
                  <a:lnTo>
                    <a:pt x="585" y="1606"/>
                  </a:lnTo>
                  <a:lnTo>
                    <a:pt x="585" y="1603"/>
                  </a:lnTo>
                  <a:lnTo>
                    <a:pt x="585" y="1601"/>
                  </a:lnTo>
                  <a:lnTo>
                    <a:pt x="585" y="1601"/>
                  </a:lnTo>
                  <a:lnTo>
                    <a:pt x="585" y="1598"/>
                  </a:lnTo>
                  <a:lnTo>
                    <a:pt x="585" y="1598"/>
                  </a:lnTo>
                  <a:lnTo>
                    <a:pt x="582" y="1598"/>
                  </a:lnTo>
                  <a:lnTo>
                    <a:pt x="582" y="1595"/>
                  </a:lnTo>
                  <a:lnTo>
                    <a:pt x="582" y="1595"/>
                  </a:lnTo>
                  <a:lnTo>
                    <a:pt x="582" y="1593"/>
                  </a:lnTo>
                  <a:lnTo>
                    <a:pt x="582" y="1593"/>
                  </a:lnTo>
                  <a:lnTo>
                    <a:pt x="582" y="1590"/>
                  </a:lnTo>
                  <a:lnTo>
                    <a:pt x="579" y="1590"/>
                  </a:lnTo>
                  <a:lnTo>
                    <a:pt x="579" y="1587"/>
                  </a:lnTo>
                  <a:lnTo>
                    <a:pt x="579" y="1585"/>
                  </a:lnTo>
                  <a:lnTo>
                    <a:pt x="579" y="1585"/>
                  </a:lnTo>
                  <a:lnTo>
                    <a:pt x="582" y="1582"/>
                  </a:lnTo>
                  <a:lnTo>
                    <a:pt x="579" y="1582"/>
                  </a:lnTo>
                  <a:lnTo>
                    <a:pt x="579" y="1579"/>
                  </a:lnTo>
                  <a:lnTo>
                    <a:pt x="579" y="1577"/>
                  </a:lnTo>
                  <a:lnTo>
                    <a:pt x="579" y="1577"/>
                  </a:lnTo>
                  <a:lnTo>
                    <a:pt x="582" y="1577"/>
                  </a:lnTo>
                  <a:lnTo>
                    <a:pt x="582" y="1574"/>
                  </a:lnTo>
                  <a:lnTo>
                    <a:pt x="582" y="1574"/>
                  </a:lnTo>
                  <a:lnTo>
                    <a:pt x="582" y="1571"/>
                  </a:lnTo>
                  <a:lnTo>
                    <a:pt x="582" y="1571"/>
                  </a:lnTo>
                  <a:lnTo>
                    <a:pt x="582" y="1569"/>
                  </a:lnTo>
                  <a:lnTo>
                    <a:pt x="579" y="1569"/>
                  </a:lnTo>
                  <a:lnTo>
                    <a:pt x="579" y="1566"/>
                  </a:lnTo>
                  <a:lnTo>
                    <a:pt x="579" y="1566"/>
                  </a:lnTo>
                  <a:lnTo>
                    <a:pt x="577" y="1566"/>
                  </a:lnTo>
                  <a:lnTo>
                    <a:pt x="577" y="1563"/>
                  </a:lnTo>
                  <a:lnTo>
                    <a:pt x="574" y="1563"/>
                  </a:lnTo>
                  <a:lnTo>
                    <a:pt x="574" y="1563"/>
                  </a:lnTo>
                  <a:lnTo>
                    <a:pt x="574" y="1561"/>
                  </a:lnTo>
                  <a:lnTo>
                    <a:pt x="574" y="1561"/>
                  </a:lnTo>
                  <a:lnTo>
                    <a:pt x="574" y="1558"/>
                  </a:lnTo>
                  <a:lnTo>
                    <a:pt x="574" y="1558"/>
                  </a:lnTo>
                  <a:lnTo>
                    <a:pt x="574" y="1555"/>
                  </a:lnTo>
                  <a:lnTo>
                    <a:pt x="574" y="1555"/>
                  </a:lnTo>
                  <a:lnTo>
                    <a:pt x="574" y="1553"/>
                  </a:lnTo>
                  <a:lnTo>
                    <a:pt x="574" y="1553"/>
                  </a:lnTo>
                  <a:lnTo>
                    <a:pt x="574" y="1550"/>
                  </a:lnTo>
                  <a:lnTo>
                    <a:pt x="574" y="1550"/>
                  </a:lnTo>
                  <a:lnTo>
                    <a:pt x="574" y="1547"/>
                  </a:lnTo>
                  <a:lnTo>
                    <a:pt x="574" y="1545"/>
                  </a:lnTo>
                  <a:lnTo>
                    <a:pt x="577" y="1545"/>
                  </a:lnTo>
                  <a:lnTo>
                    <a:pt x="577" y="1545"/>
                  </a:lnTo>
                  <a:lnTo>
                    <a:pt x="577" y="1542"/>
                  </a:lnTo>
                  <a:lnTo>
                    <a:pt x="579" y="1542"/>
                  </a:lnTo>
                  <a:lnTo>
                    <a:pt x="579" y="1542"/>
                  </a:lnTo>
                  <a:lnTo>
                    <a:pt x="582" y="1539"/>
                  </a:lnTo>
                  <a:lnTo>
                    <a:pt x="585" y="1539"/>
                  </a:lnTo>
                  <a:lnTo>
                    <a:pt x="585" y="1539"/>
                  </a:lnTo>
                  <a:lnTo>
                    <a:pt x="585" y="1537"/>
                  </a:lnTo>
                  <a:lnTo>
                    <a:pt x="587" y="1534"/>
                  </a:lnTo>
                  <a:lnTo>
                    <a:pt x="587" y="1534"/>
                  </a:lnTo>
                  <a:lnTo>
                    <a:pt x="587" y="1531"/>
                  </a:lnTo>
                  <a:lnTo>
                    <a:pt x="587" y="1529"/>
                  </a:lnTo>
                  <a:lnTo>
                    <a:pt x="587" y="1529"/>
                  </a:lnTo>
                  <a:lnTo>
                    <a:pt x="590" y="1526"/>
                  </a:lnTo>
                  <a:lnTo>
                    <a:pt x="590" y="1523"/>
                  </a:lnTo>
                  <a:lnTo>
                    <a:pt x="590" y="1523"/>
                  </a:lnTo>
                  <a:lnTo>
                    <a:pt x="590" y="1521"/>
                  </a:lnTo>
                  <a:lnTo>
                    <a:pt x="590" y="1521"/>
                  </a:lnTo>
                  <a:lnTo>
                    <a:pt x="590" y="1518"/>
                  </a:lnTo>
                  <a:lnTo>
                    <a:pt x="590" y="1518"/>
                  </a:lnTo>
                  <a:lnTo>
                    <a:pt x="590" y="1515"/>
                  </a:lnTo>
                  <a:lnTo>
                    <a:pt x="590" y="1515"/>
                  </a:lnTo>
                  <a:lnTo>
                    <a:pt x="590" y="1515"/>
                  </a:lnTo>
                  <a:lnTo>
                    <a:pt x="590" y="1513"/>
                  </a:lnTo>
                  <a:lnTo>
                    <a:pt x="590" y="1510"/>
                  </a:lnTo>
                  <a:lnTo>
                    <a:pt x="590" y="1510"/>
                  </a:lnTo>
                  <a:lnTo>
                    <a:pt x="590" y="1507"/>
                  </a:lnTo>
                  <a:lnTo>
                    <a:pt x="590" y="1507"/>
                  </a:lnTo>
                  <a:lnTo>
                    <a:pt x="590" y="1505"/>
                  </a:lnTo>
                  <a:lnTo>
                    <a:pt x="587" y="1505"/>
                  </a:lnTo>
                  <a:lnTo>
                    <a:pt x="587" y="1505"/>
                  </a:lnTo>
                  <a:lnTo>
                    <a:pt x="587" y="1505"/>
                  </a:lnTo>
                  <a:lnTo>
                    <a:pt x="585" y="1502"/>
                  </a:lnTo>
                  <a:lnTo>
                    <a:pt x="585" y="1502"/>
                  </a:lnTo>
                  <a:lnTo>
                    <a:pt x="582" y="1502"/>
                  </a:lnTo>
                  <a:lnTo>
                    <a:pt x="582" y="1502"/>
                  </a:lnTo>
                  <a:lnTo>
                    <a:pt x="579" y="1499"/>
                  </a:lnTo>
                  <a:lnTo>
                    <a:pt x="579" y="1499"/>
                  </a:lnTo>
                  <a:lnTo>
                    <a:pt x="579" y="1499"/>
                  </a:lnTo>
                  <a:lnTo>
                    <a:pt x="579" y="1497"/>
                  </a:lnTo>
                  <a:lnTo>
                    <a:pt x="577" y="1497"/>
                  </a:lnTo>
                  <a:lnTo>
                    <a:pt x="577" y="1497"/>
                  </a:lnTo>
                  <a:lnTo>
                    <a:pt x="577" y="1497"/>
                  </a:lnTo>
                  <a:lnTo>
                    <a:pt x="574" y="1497"/>
                  </a:lnTo>
                  <a:lnTo>
                    <a:pt x="571" y="1497"/>
                  </a:lnTo>
                  <a:lnTo>
                    <a:pt x="571" y="1497"/>
                  </a:lnTo>
                  <a:lnTo>
                    <a:pt x="571" y="1494"/>
                  </a:lnTo>
                  <a:lnTo>
                    <a:pt x="571" y="1494"/>
                  </a:lnTo>
                  <a:lnTo>
                    <a:pt x="571" y="1494"/>
                  </a:lnTo>
                  <a:lnTo>
                    <a:pt x="569" y="1491"/>
                  </a:lnTo>
                  <a:lnTo>
                    <a:pt x="569" y="1491"/>
                  </a:lnTo>
                  <a:lnTo>
                    <a:pt x="569" y="1491"/>
                  </a:lnTo>
                  <a:lnTo>
                    <a:pt x="566" y="1491"/>
                  </a:lnTo>
                  <a:lnTo>
                    <a:pt x="566" y="1489"/>
                  </a:lnTo>
                  <a:lnTo>
                    <a:pt x="566" y="1489"/>
                  </a:lnTo>
                  <a:lnTo>
                    <a:pt x="566" y="1489"/>
                  </a:lnTo>
                  <a:lnTo>
                    <a:pt x="566" y="1486"/>
                  </a:lnTo>
                  <a:lnTo>
                    <a:pt x="566" y="1486"/>
                  </a:lnTo>
                  <a:lnTo>
                    <a:pt x="566" y="1483"/>
                  </a:lnTo>
                  <a:lnTo>
                    <a:pt x="566" y="1483"/>
                  </a:lnTo>
                  <a:lnTo>
                    <a:pt x="566" y="1481"/>
                  </a:lnTo>
                  <a:lnTo>
                    <a:pt x="566" y="1481"/>
                  </a:lnTo>
                  <a:lnTo>
                    <a:pt x="566" y="1478"/>
                  </a:lnTo>
                  <a:lnTo>
                    <a:pt x="566" y="1478"/>
                  </a:lnTo>
                  <a:lnTo>
                    <a:pt x="566" y="1475"/>
                  </a:lnTo>
                  <a:lnTo>
                    <a:pt x="566" y="1475"/>
                  </a:lnTo>
                  <a:lnTo>
                    <a:pt x="566" y="1473"/>
                  </a:lnTo>
                  <a:lnTo>
                    <a:pt x="566" y="1473"/>
                  </a:lnTo>
                  <a:lnTo>
                    <a:pt x="566" y="1470"/>
                  </a:lnTo>
                  <a:lnTo>
                    <a:pt x="563" y="1470"/>
                  </a:lnTo>
                  <a:lnTo>
                    <a:pt x="563" y="1467"/>
                  </a:lnTo>
                  <a:lnTo>
                    <a:pt x="563" y="1467"/>
                  </a:lnTo>
                  <a:lnTo>
                    <a:pt x="563" y="1464"/>
                  </a:lnTo>
                  <a:lnTo>
                    <a:pt x="563" y="1462"/>
                  </a:lnTo>
                  <a:lnTo>
                    <a:pt x="563" y="1462"/>
                  </a:lnTo>
                  <a:lnTo>
                    <a:pt x="563" y="1462"/>
                  </a:lnTo>
                  <a:lnTo>
                    <a:pt x="561" y="1462"/>
                  </a:lnTo>
                  <a:lnTo>
                    <a:pt x="561" y="1462"/>
                  </a:lnTo>
                  <a:lnTo>
                    <a:pt x="561" y="1462"/>
                  </a:lnTo>
                  <a:lnTo>
                    <a:pt x="558" y="1462"/>
                  </a:lnTo>
                  <a:lnTo>
                    <a:pt x="558" y="1462"/>
                  </a:lnTo>
                  <a:lnTo>
                    <a:pt x="555" y="1459"/>
                  </a:lnTo>
                  <a:lnTo>
                    <a:pt x="555" y="1459"/>
                  </a:lnTo>
                  <a:lnTo>
                    <a:pt x="553" y="1459"/>
                  </a:lnTo>
                  <a:lnTo>
                    <a:pt x="553" y="1459"/>
                  </a:lnTo>
                  <a:lnTo>
                    <a:pt x="550" y="1459"/>
                  </a:lnTo>
                  <a:lnTo>
                    <a:pt x="550" y="1462"/>
                  </a:lnTo>
                  <a:lnTo>
                    <a:pt x="547" y="1462"/>
                  </a:lnTo>
                  <a:lnTo>
                    <a:pt x="547" y="1462"/>
                  </a:lnTo>
                  <a:lnTo>
                    <a:pt x="545" y="1462"/>
                  </a:lnTo>
                  <a:lnTo>
                    <a:pt x="545" y="1459"/>
                  </a:lnTo>
                  <a:lnTo>
                    <a:pt x="542" y="1459"/>
                  </a:lnTo>
                  <a:lnTo>
                    <a:pt x="542" y="1459"/>
                  </a:lnTo>
                  <a:lnTo>
                    <a:pt x="545" y="1456"/>
                  </a:lnTo>
                  <a:lnTo>
                    <a:pt x="547" y="1456"/>
                  </a:lnTo>
                  <a:lnTo>
                    <a:pt x="550" y="1454"/>
                  </a:lnTo>
                  <a:lnTo>
                    <a:pt x="550" y="1454"/>
                  </a:lnTo>
                  <a:lnTo>
                    <a:pt x="553" y="1454"/>
                  </a:lnTo>
                  <a:lnTo>
                    <a:pt x="555" y="1454"/>
                  </a:lnTo>
                  <a:lnTo>
                    <a:pt x="558" y="1454"/>
                  </a:lnTo>
                  <a:lnTo>
                    <a:pt x="558" y="1451"/>
                  </a:lnTo>
                  <a:lnTo>
                    <a:pt x="561" y="1448"/>
                  </a:lnTo>
                  <a:lnTo>
                    <a:pt x="563" y="1448"/>
                  </a:lnTo>
                  <a:lnTo>
                    <a:pt x="563" y="1446"/>
                  </a:lnTo>
                  <a:lnTo>
                    <a:pt x="566" y="1443"/>
                  </a:lnTo>
                  <a:lnTo>
                    <a:pt x="566" y="1443"/>
                  </a:lnTo>
                  <a:lnTo>
                    <a:pt x="569" y="1440"/>
                  </a:lnTo>
                  <a:lnTo>
                    <a:pt x="569" y="1438"/>
                  </a:lnTo>
                  <a:lnTo>
                    <a:pt x="569" y="1435"/>
                  </a:lnTo>
                  <a:lnTo>
                    <a:pt x="569" y="1432"/>
                  </a:lnTo>
                  <a:lnTo>
                    <a:pt x="569" y="1432"/>
                  </a:lnTo>
                  <a:lnTo>
                    <a:pt x="569" y="1430"/>
                  </a:lnTo>
                  <a:lnTo>
                    <a:pt x="566" y="1427"/>
                  </a:lnTo>
                  <a:lnTo>
                    <a:pt x="566" y="1427"/>
                  </a:lnTo>
                  <a:lnTo>
                    <a:pt x="566" y="1427"/>
                  </a:lnTo>
                  <a:lnTo>
                    <a:pt x="563" y="1427"/>
                  </a:lnTo>
                  <a:lnTo>
                    <a:pt x="563" y="1427"/>
                  </a:lnTo>
                  <a:lnTo>
                    <a:pt x="561" y="1427"/>
                  </a:lnTo>
                  <a:lnTo>
                    <a:pt x="561" y="1427"/>
                  </a:lnTo>
                  <a:lnTo>
                    <a:pt x="558" y="1427"/>
                  </a:lnTo>
                  <a:lnTo>
                    <a:pt x="555" y="1432"/>
                  </a:lnTo>
                  <a:lnTo>
                    <a:pt x="555" y="1432"/>
                  </a:lnTo>
                  <a:lnTo>
                    <a:pt x="555" y="1435"/>
                  </a:lnTo>
                  <a:lnTo>
                    <a:pt x="553" y="1435"/>
                  </a:lnTo>
                  <a:lnTo>
                    <a:pt x="553" y="1435"/>
                  </a:lnTo>
                  <a:lnTo>
                    <a:pt x="550" y="1435"/>
                  </a:lnTo>
                  <a:lnTo>
                    <a:pt x="547" y="1435"/>
                  </a:lnTo>
                  <a:lnTo>
                    <a:pt x="547" y="1432"/>
                  </a:lnTo>
                  <a:lnTo>
                    <a:pt x="547" y="1435"/>
                  </a:lnTo>
                  <a:lnTo>
                    <a:pt x="545" y="1435"/>
                  </a:lnTo>
                  <a:lnTo>
                    <a:pt x="545" y="1438"/>
                  </a:lnTo>
                  <a:lnTo>
                    <a:pt x="545" y="1438"/>
                  </a:lnTo>
                  <a:lnTo>
                    <a:pt x="542" y="1438"/>
                  </a:lnTo>
                  <a:lnTo>
                    <a:pt x="542" y="1435"/>
                  </a:lnTo>
                  <a:lnTo>
                    <a:pt x="539" y="1435"/>
                  </a:lnTo>
                  <a:lnTo>
                    <a:pt x="539" y="1435"/>
                  </a:lnTo>
                  <a:lnTo>
                    <a:pt x="537" y="1435"/>
                  </a:lnTo>
                  <a:lnTo>
                    <a:pt x="537" y="1435"/>
                  </a:lnTo>
                  <a:lnTo>
                    <a:pt x="537" y="1435"/>
                  </a:lnTo>
                  <a:lnTo>
                    <a:pt x="534" y="1435"/>
                  </a:lnTo>
                  <a:lnTo>
                    <a:pt x="534" y="1432"/>
                  </a:lnTo>
                  <a:lnTo>
                    <a:pt x="534" y="1432"/>
                  </a:lnTo>
                  <a:lnTo>
                    <a:pt x="531" y="1432"/>
                  </a:lnTo>
                  <a:lnTo>
                    <a:pt x="531" y="1432"/>
                  </a:lnTo>
                  <a:lnTo>
                    <a:pt x="529" y="1432"/>
                  </a:lnTo>
                  <a:lnTo>
                    <a:pt x="526" y="1432"/>
                  </a:lnTo>
                  <a:lnTo>
                    <a:pt x="526" y="1432"/>
                  </a:lnTo>
                  <a:lnTo>
                    <a:pt x="526" y="1435"/>
                  </a:lnTo>
                  <a:lnTo>
                    <a:pt x="523" y="1435"/>
                  </a:lnTo>
                  <a:lnTo>
                    <a:pt x="523" y="1435"/>
                  </a:lnTo>
                  <a:lnTo>
                    <a:pt x="521" y="1438"/>
                  </a:lnTo>
                  <a:lnTo>
                    <a:pt x="523" y="1438"/>
                  </a:lnTo>
                  <a:lnTo>
                    <a:pt x="523" y="1438"/>
                  </a:lnTo>
                  <a:lnTo>
                    <a:pt x="523" y="1440"/>
                  </a:lnTo>
                  <a:lnTo>
                    <a:pt x="523" y="1440"/>
                  </a:lnTo>
                  <a:lnTo>
                    <a:pt x="523" y="1440"/>
                  </a:lnTo>
                  <a:lnTo>
                    <a:pt x="521" y="1440"/>
                  </a:lnTo>
                  <a:lnTo>
                    <a:pt x="523" y="1443"/>
                  </a:lnTo>
                  <a:lnTo>
                    <a:pt x="521" y="1443"/>
                  </a:lnTo>
                  <a:lnTo>
                    <a:pt x="521" y="1443"/>
                  </a:lnTo>
                  <a:lnTo>
                    <a:pt x="518" y="1443"/>
                  </a:lnTo>
                  <a:lnTo>
                    <a:pt x="518" y="1446"/>
                  </a:lnTo>
                  <a:lnTo>
                    <a:pt x="518" y="1446"/>
                  </a:lnTo>
                  <a:lnTo>
                    <a:pt x="515" y="1448"/>
                  </a:lnTo>
                  <a:lnTo>
                    <a:pt x="515" y="1448"/>
                  </a:lnTo>
                  <a:lnTo>
                    <a:pt x="515" y="1448"/>
                  </a:lnTo>
                  <a:lnTo>
                    <a:pt x="512" y="1448"/>
                  </a:lnTo>
                  <a:lnTo>
                    <a:pt x="512" y="1448"/>
                  </a:lnTo>
                  <a:lnTo>
                    <a:pt x="510" y="1448"/>
                  </a:lnTo>
                  <a:lnTo>
                    <a:pt x="507" y="1451"/>
                  </a:lnTo>
                  <a:lnTo>
                    <a:pt x="507" y="1451"/>
                  </a:lnTo>
                  <a:lnTo>
                    <a:pt x="507" y="1451"/>
                  </a:lnTo>
                  <a:lnTo>
                    <a:pt x="504" y="1454"/>
                  </a:lnTo>
                  <a:lnTo>
                    <a:pt x="502" y="1451"/>
                  </a:lnTo>
                  <a:lnTo>
                    <a:pt x="502" y="1451"/>
                  </a:lnTo>
                  <a:lnTo>
                    <a:pt x="499" y="1451"/>
                  </a:lnTo>
                  <a:lnTo>
                    <a:pt x="496" y="1454"/>
                  </a:lnTo>
                  <a:lnTo>
                    <a:pt x="491" y="1454"/>
                  </a:lnTo>
                  <a:lnTo>
                    <a:pt x="480" y="1454"/>
                  </a:lnTo>
                  <a:lnTo>
                    <a:pt x="478" y="1454"/>
                  </a:lnTo>
                  <a:lnTo>
                    <a:pt x="475" y="1454"/>
                  </a:lnTo>
                  <a:lnTo>
                    <a:pt x="470" y="1454"/>
                  </a:lnTo>
                  <a:lnTo>
                    <a:pt x="464" y="1451"/>
                  </a:lnTo>
                  <a:lnTo>
                    <a:pt x="462" y="1448"/>
                  </a:lnTo>
                  <a:lnTo>
                    <a:pt x="459" y="1448"/>
                  </a:lnTo>
                  <a:lnTo>
                    <a:pt x="454" y="1440"/>
                  </a:lnTo>
                  <a:lnTo>
                    <a:pt x="451" y="1438"/>
                  </a:lnTo>
                  <a:lnTo>
                    <a:pt x="446" y="1432"/>
                  </a:lnTo>
                  <a:lnTo>
                    <a:pt x="446" y="1430"/>
                  </a:lnTo>
                  <a:lnTo>
                    <a:pt x="446" y="1427"/>
                  </a:lnTo>
                  <a:lnTo>
                    <a:pt x="443" y="1424"/>
                  </a:lnTo>
                  <a:lnTo>
                    <a:pt x="443" y="1424"/>
                  </a:lnTo>
                  <a:lnTo>
                    <a:pt x="440" y="1427"/>
                  </a:lnTo>
                  <a:lnTo>
                    <a:pt x="438" y="1427"/>
                  </a:lnTo>
                  <a:lnTo>
                    <a:pt x="435" y="1427"/>
                  </a:lnTo>
                  <a:lnTo>
                    <a:pt x="432" y="1427"/>
                  </a:lnTo>
                  <a:lnTo>
                    <a:pt x="427" y="1427"/>
                  </a:lnTo>
                  <a:lnTo>
                    <a:pt x="424" y="1427"/>
                  </a:lnTo>
                  <a:lnTo>
                    <a:pt x="422" y="1427"/>
                  </a:lnTo>
                  <a:lnTo>
                    <a:pt x="422" y="1430"/>
                  </a:lnTo>
                  <a:lnTo>
                    <a:pt x="419" y="1430"/>
                  </a:lnTo>
                  <a:lnTo>
                    <a:pt x="419" y="1430"/>
                  </a:lnTo>
                  <a:lnTo>
                    <a:pt x="416" y="1427"/>
                  </a:lnTo>
                  <a:lnTo>
                    <a:pt x="414" y="1424"/>
                  </a:lnTo>
                  <a:lnTo>
                    <a:pt x="411" y="1424"/>
                  </a:lnTo>
                  <a:lnTo>
                    <a:pt x="411" y="1424"/>
                  </a:lnTo>
                  <a:lnTo>
                    <a:pt x="411" y="1427"/>
                  </a:lnTo>
                  <a:lnTo>
                    <a:pt x="408" y="1430"/>
                  </a:lnTo>
                  <a:lnTo>
                    <a:pt x="406" y="1430"/>
                  </a:lnTo>
                  <a:lnTo>
                    <a:pt x="403" y="1432"/>
                  </a:lnTo>
                  <a:lnTo>
                    <a:pt x="403" y="1432"/>
                  </a:lnTo>
                  <a:lnTo>
                    <a:pt x="403" y="1435"/>
                  </a:lnTo>
                  <a:lnTo>
                    <a:pt x="400" y="1435"/>
                  </a:lnTo>
                  <a:lnTo>
                    <a:pt x="395" y="1435"/>
                  </a:lnTo>
                  <a:lnTo>
                    <a:pt x="392" y="1435"/>
                  </a:lnTo>
                  <a:lnTo>
                    <a:pt x="392" y="1432"/>
                  </a:lnTo>
                  <a:lnTo>
                    <a:pt x="392" y="1430"/>
                  </a:lnTo>
                  <a:lnTo>
                    <a:pt x="392" y="1430"/>
                  </a:lnTo>
                  <a:lnTo>
                    <a:pt x="390" y="1427"/>
                  </a:lnTo>
                  <a:lnTo>
                    <a:pt x="387" y="1427"/>
                  </a:lnTo>
                  <a:lnTo>
                    <a:pt x="384" y="1427"/>
                  </a:lnTo>
                  <a:lnTo>
                    <a:pt x="382" y="1427"/>
                  </a:lnTo>
                  <a:lnTo>
                    <a:pt x="382" y="1427"/>
                  </a:lnTo>
                  <a:lnTo>
                    <a:pt x="379" y="1427"/>
                  </a:lnTo>
                  <a:lnTo>
                    <a:pt x="376" y="1424"/>
                  </a:lnTo>
                  <a:lnTo>
                    <a:pt x="376" y="1424"/>
                  </a:lnTo>
                  <a:lnTo>
                    <a:pt x="371" y="1427"/>
                  </a:lnTo>
                  <a:lnTo>
                    <a:pt x="371" y="1427"/>
                  </a:lnTo>
                  <a:lnTo>
                    <a:pt x="368" y="1432"/>
                  </a:lnTo>
                  <a:lnTo>
                    <a:pt x="371" y="1435"/>
                  </a:lnTo>
                  <a:lnTo>
                    <a:pt x="371" y="1438"/>
                  </a:lnTo>
                  <a:lnTo>
                    <a:pt x="368" y="1438"/>
                  </a:lnTo>
                  <a:lnTo>
                    <a:pt x="368" y="1440"/>
                  </a:lnTo>
                  <a:lnTo>
                    <a:pt x="368" y="1443"/>
                  </a:lnTo>
                  <a:lnTo>
                    <a:pt x="371" y="1446"/>
                  </a:lnTo>
                  <a:lnTo>
                    <a:pt x="371" y="1446"/>
                  </a:lnTo>
                  <a:lnTo>
                    <a:pt x="371" y="1448"/>
                  </a:lnTo>
                  <a:lnTo>
                    <a:pt x="374" y="1451"/>
                  </a:lnTo>
                  <a:lnTo>
                    <a:pt x="374" y="1451"/>
                  </a:lnTo>
                  <a:lnTo>
                    <a:pt x="371" y="1451"/>
                  </a:lnTo>
                  <a:lnTo>
                    <a:pt x="368" y="1448"/>
                  </a:lnTo>
                  <a:lnTo>
                    <a:pt x="366" y="1448"/>
                  </a:lnTo>
                  <a:lnTo>
                    <a:pt x="363" y="1448"/>
                  </a:lnTo>
                  <a:lnTo>
                    <a:pt x="360" y="1448"/>
                  </a:lnTo>
                  <a:lnTo>
                    <a:pt x="360" y="1448"/>
                  </a:lnTo>
                  <a:lnTo>
                    <a:pt x="358" y="1451"/>
                  </a:lnTo>
                  <a:lnTo>
                    <a:pt x="358" y="1451"/>
                  </a:lnTo>
                  <a:lnTo>
                    <a:pt x="355" y="1454"/>
                  </a:lnTo>
                  <a:lnTo>
                    <a:pt x="352" y="1456"/>
                  </a:lnTo>
                  <a:lnTo>
                    <a:pt x="350" y="1456"/>
                  </a:lnTo>
                  <a:lnTo>
                    <a:pt x="350" y="1459"/>
                  </a:lnTo>
                  <a:lnTo>
                    <a:pt x="347" y="1462"/>
                  </a:lnTo>
                  <a:lnTo>
                    <a:pt x="347" y="1464"/>
                  </a:lnTo>
                  <a:lnTo>
                    <a:pt x="347" y="1464"/>
                  </a:lnTo>
                  <a:lnTo>
                    <a:pt x="344" y="1467"/>
                  </a:lnTo>
                  <a:lnTo>
                    <a:pt x="339" y="1467"/>
                  </a:lnTo>
                  <a:lnTo>
                    <a:pt x="342" y="1462"/>
                  </a:lnTo>
                  <a:lnTo>
                    <a:pt x="342" y="1459"/>
                  </a:lnTo>
                  <a:lnTo>
                    <a:pt x="342" y="1456"/>
                  </a:lnTo>
                  <a:lnTo>
                    <a:pt x="342" y="1454"/>
                  </a:lnTo>
                  <a:lnTo>
                    <a:pt x="342" y="1451"/>
                  </a:lnTo>
                  <a:lnTo>
                    <a:pt x="342" y="1448"/>
                  </a:lnTo>
                  <a:lnTo>
                    <a:pt x="339" y="1446"/>
                  </a:lnTo>
                  <a:lnTo>
                    <a:pt x="339" y="1446"/>
                  </a:lnTo>
                  <a:lnTo>
                    <a:pt x="336" y="1440"/>
                  </a:lnTo>
                  <a:lnTo>
                    <a:pt x="336" y="1438"/>
                  </a:lnTo>
                  <a:lnTo>
                    <a:pt x="334" y="1435"/>
                  </a:lnTo>
                  <a:lnTo>
                    <a:pt x="334" y="1435"/>
                  </a:lnTo>
                  <a:lnTo>
                    <a:pt x="331" y="1432"/>
                  </a:lnTo>
                  <a:lnTo>
                    <a:pt x="328" y="1432"/>
                  </a:lnTo>
                  <a:lnTo>
                    <a:pt x="326" y="1432"/>
                  </a:lnTo>
                  <a:lnTo>
                    <a:pt x="323" y="1432"/>
                  </a:lnTo>
                  <a:lnTo>
                    <a:pt x="323" y="1430"/>
                  </a:lnTo>
                  <a:lnTo>
                    <a:pt x="320" y="1427"/>
                  </a:lnTo>
                  <a:lnTo>
                    <a:pt x="320" y="1427"/>
                  </a:lnTo>
                  <a:lnTo>
                    <a:pt x="323" y="1424"/>
                  </a:lnTo>
                  <a:lnTo>
                    <a:pt x="326" y="1422"/>
                  </a:lnTo>
                  <a:lnTo>
                    <a:pt x="328" y="1419"/>
                  </a:lnTo>
                  <a:lnTo>
                    <a:pt x="326" y="1416"/>
                  </a:lnTo>
                  <a:lnTo>
                    <a:pt x="326" y="1416"/>
                  </a:lnTo>
                  <a:lnTo>
                    <a:pt x="326" y="1414"/>
                  </a:lnTo>
                  <a:lnTo>
                    <a:pt x="323" y="1411"/>
                  </a:lnTo>
                  <a:lnTo>
                    <a:pt x="323" y="1408"/>
                  </a:lnTo>
                  <a:lnTo>
                    <a:pt x="320" y="1406"/>
                  </a:lnTo>
                  <a:lnTo>
                    <a:pt x="318" y="1403"/>
                  </a:lnTo>
                  <a:lnTo>
                    <a:pt x="315" y="1400"/>
                  </a:lnTo>
                  <a:lnTo>
                    <a:pt x="315" y="1398"/>
                  </a:lnTo>
                  <a:lnTo>
                    <a:pt x="312" y="1395"/>
                  </a:lnTo>
                  <a:lnTo>
                    <a:pt x="310" y="1395"/>
                  </a:lnTo>
                  <a:lnTo>
                    <a:pt x="307" y="1395"/>
                  </a:lnTo>
                  <a:lnTo>
                    <a:pt x="307" y="1392"/>
                  </a:lnTo>
                  <a:lnTo>
                    <a:pt x="310" y="1392"/>
                  </a:lnTo>
                  <a:lnTo>
                    <a:pt x="310" y="1390"/>
                  </a:lnTo>
                  <a:lnTo>
                    <a:pt x="310" y="1387"/>
                  </a:lnTo>
                  <a:lnTo>
                    <a:pt x="310" y="1384"/>
                  </a:lnTo>
                  <a:lnTo>
                    <a:pt x="310" y="1384"/>
                  </a:lnTo>
                  <a:lnTo>
                    <a:pt x="307" y="1384"/>
                  </a:lnTo>
                  <a:lnTo>
                    <a:pt x="304" y="1382"/>
                  </a:lnTo>
                  <a:lnTo>
                    <a:pt x="304" y="1379"/>
                  </a:lnTo>
                  <a:lnTo>
                    <a:pt x="302" y="1376"/>
                  </a:lnTo>
                  <a:lnTo>
                    <a:pt x="302" y="1379"/>
                  </a:lnTo>
                  <a:lnTo>
                    <a:pt x="299" y="1379"/>
                  </a:lnTo>
                  <a:lnTo>
                    <a:pt x="296" y="1376"/>
                  </a:lnTo>
                  <a:lnTo>
                    <a:pt x="296" y="1374"/>
                  </a:lnTo>
                  <a:lnTo>
                    <a:pt x="294" y="1374"/>
                  </a:lnTo>
                  <a:lnTo>
                    <a:pt x="291" y="1371"/>
                  </a:lnTo>
                  <a:lnTo>
                    <a:pt x="291" y="1371"/>
                  </a:lnTo>
                  <a:lnTo>
                    <a:pt x="291" y="1374"/>
                  </a:lnTo>
                  <a:lnTo>
                    <a:pt x="286" y="1374"/>
                  </a:lnTo>
                  <a:lnTo>
                    <a:pt x="283" y="1374"/>
                  </a:lnTo>
                  <a:lnTo>
                    <a:pt x="280" y="1371"/>
                  </a:lnTo>
                  <a:lnTo>
                    <a:pt x="278" y="1371"/>
                  </a:lnTo>
                  <a:lnTo>
                    <a:pt x="275" y="1374"/>
                  </a:lnTo>
                  <a:lnTo>
                    <a:pt x="275" y="1376"/>
                  </a:lnTo>
                  <a:lnTo>
                    <a:pt x="272" y="1379"/>
                  </a:lnTo>
                  <a:lnTo>
                    <a:pt x="269" y="1379"/>
                  </a:lnTo>
                  <a:lnTo>
                    <a:pt x="267" y="1376"/>
                  </a:lnTo>
                  <a:lnTo>
                    <a:pt x="267" y="1374"/>
                  </a:lnTo>
                  <a:lnTo>
                    <a:pt x="267" y="1371"/>
                  </a:lnTo>
                  <a:lnTo>
                    <a:pt x="269" y="1371"/>
                  </a:lnTo>
                  <a:lnTo>
                    <a:pt x="269" y="1368"/>
                  </a:lnTo>
                  <a:lnTo>
                    <a:pt x="269" y="1366"/>
                  </a:lnTo>
                  <a:lnTo>
                    <a:pt x="269" y="1366"/>
                  </a:lnTo>
                  <a:lnTo>
                    <a:pt x="269" y="1363"/>
                  </a:lnTo>
                  <a:lnTo>
                    <a:pt x="269" y="1363"/>
                  </a:lnTo>
                  <a:lnTo>
                    <a:pt x="269" y="1360"/>
                  </a:lnTo>
                  <a:lnTo>
                    <a:pt x="269" y="1360"/>
                  </a:lnTo>
                  <a:lnTo>
                    <a:pt x="267" y="1358"/>
                  </a:lnTo>
                  <a:lnTo>
                    <a:pt x="264" y="1355"/>
                  </a:lnTo>
                  <a:lnTo>
                    <a:pt x="264" y="1355"/>
                  </a:lnTo>
                  <a:lnTo>
                    <a:pt x="261" y="1355"/>
                  </a:lnTo>
                  <a:lnTo>
                    <a:pt x="259" y="1355"/>
                  </a:lnTo>
                  <a:lnTo>
                    <a:pt x="256" y="1358"/>
                  </a:lnTo>
                  <a:lnTo>
                    <a:pt x="253" y="1358"/>
                  </a:lnTo>
                  <a:lnTo>
                    <a:pt x="253" y="1358"/>
                  </a:lnTo>
                  <a:lnTo>
                    <a:pt x="253" y="1360"/>
                  </a:lnTo>
                  <a:lnTo>
                    <a:pt x="253" y="1360"/>
                  </a:lnTo>
                  <a:lnTo>
                    <a:pt x="253" y="1363"/>
                  </a:lnTo>
                  <a:lnTo>
                    <a:pt x="253" y="1363"/>
                  </a:lnTo>
                  <a:lnTo>
                    <a:pt x="248" y="1363"/>
                  </a:lnTo>
                  <a:lnTo>
                    <a:pt x="248" y="1360"/>
                  </a:lnTo>
                  <a:lnTo>
                    <a:pt x="245" y="1360"/>
                  </a:lnTo>
                  <a:lnTo>
                    <a:pt x="248" y="1358"/>
                  </a:lnTo>
                  <a:lnTo>
                    <a:pt x="248" y="1355"/>
                  </a:lnTo>
                  <a:lnTo>
                    <a:pt x="248" y="1355"/>
                  </a:lnTo>
                  <a:lnTo>
                    <a:pt x="245" y="1352"/>
                  </a:lnTo>
                  <a:lnTo>
                    <a:pt x="245" y="1350"/>
                  </a:lnTo>
                  <a:lnTo>
                    <a:pt x="248" y="1350"/>
                  </a:lnTo>
                  <a:lnTo>
                    <a:pt x="248" y="1347"/>
                  </a:lnTo>
                  <a:lnTo>
                    <a:pt x="248" y="1344"/>
                  </a:lnTo>
                  <a:lnTo>
                    <a:pt x="248" y="1342"/>
                  </a:lnTo>
                  <a:lnTo>
                    <a:pt x="251" y="1339"/>
                  </a:lnTo>
                  <a:lnTo>
                    <a:pt x="251" y="1336"/>
                  </a:lnTo>
                  <a:lnTo>
                    <a:pt x="248" y="1336"/>
                  </a:lnTo>
                  <a:lnTo>
                    <a:pt x="245" y="1334"/>
                  </a:lnTo>
                  <a:lnTo>
                    <a:pt x="243" y="1334"/>
                  </a:lnTo>
                  <a:lnTo>
                    <a:pt x="240" y="1334"/>
                  </a:lnTo>
                  <a:lnTo>
                    <a:pt x="240" y="1331"/>
                  </a:lnTo>
                  <a:lnTo>
                    <a:pt x="240" y="1328"/>
                  </a:lnTo>
                  <a:lnTo>
                    <a:pt x="243" y="1326"/>
                  </a:lnTo>
                  <a:lnTo>
                    <a:pt x="245" y="1326"/>
                  </a:lnTo>
                  <a:lnTo>
                    <a:pt x="245" y="1326"/>
                  </a:lnTo>
                  <a:lnTo>
                    <a:pt x="248" y="1326"/>
                  </a:lnTo>
                  <a:lnTo>
                    <a:pt x="248" y="1326"/>
                  </a:lnTo>
                  <a:lnTo>
                    <a:pt x="248" y="1323"/>
                  </a:lnTo>
                  <a:lnTo>
                    <a:pt x="248" y="1320"/>
                  </a:lnTo>
                  <a:lnTo>
                    <a:pt x="248" y="1315"/>
                  </a:lnTo>
                  <a:lnTo>
                    <a:pt x="248" y="1312"/>
                  </a:lnTo>
                  <a:lnTo>
                    <a:pt x="248" y="1310"/>
                  </a:lnTo>
                  <a:lnTo>
                    <a:pt x="248" y="1304"/>
                  </a:lnTo>
                  <a:lnTo>
                    <a:pt x="248" y="1301"/>
                  </a:lnTo>
                  <a:lnTo>
                    <a:pt x="248" y="1299"/>
                  </a:lnTo>
                  <a:lnTo>
                    <a:pt x="251" y="1299"/>
                  </a:lnTo>
                  <a:lnTo>
                    <a:pt x="253" y="1296"/>
                  </a:lnTo>
                  <a:lnTo>
                    <a:pt x="253" y="1296"/>
                  </a:lnTo>
                  <a:lnTo>
                    <a:pt x="253" y="1291"/>
                  </a:lnTo>
                  <a:lnTo>
                    <a:pt x="253" y="1288"/>
                  </a:lnTo>
                  <a:lnTo>
                    <a:pt x="256" y="1283"/>
                  </a:lnTo>
                  <a:lnTo>
                    <a:pt x="259" y="1283"/>
                  </a:lnTo>
                  <a:lnTo>
                    <a:pt x="259" y="1283"/>
                  </a:lnTo>
                  <a:lnTo>
                    <a:pt x="261" y="1283"/>
                  </a:lnTo>
                  <a:lnTo>
                    <a:pt x="267" y="1283"/>
                  </a:lnTo>
                  <a:lnTo>
                    <a:pt x="267" y="1280"/>
                  </a:lnTo>
                  <a:lnTo>
                    <a:pt x="267" y="1277"/>
                  </a:lnTo>
                  <a:lnTo>
                    <a:pt x="264" y="1275"/>
                  </a:lnTo>
                  <a:lnTo>
                    <a:pt x="261" y="1272"/>
                  </a:lnTo>
                  <a:lnTo>
                    <a:pt x="259" y="1269"/>
                  </a:lnTo>
                  <a:lnTo>
                    <a:pt x="256" y="1267"/>
                  </a:lnTo>
                  <a:lnTo>
                    <a:pt x="253" y="1264"/>
                  </a:lnTo>
                  <a:lnTo>
                    <a:pt x="251" y="1261"/>
                  </a:lnTo>
                  <a:lnTo>
                    <a:pt x="251" y="1259"/>
                  </a:lnTo>
                  <a:lnTo>
                    <a:pt x="251" y="1259"/>
                  </a:lnTo>
                  <a:lnTo>
                    <a:pt x="251" y="1256"/>
                  </a:lnTo>
                  <a:lnTo>
                    <a:pt x="251" y="1256"/>
                  </a:lnTo>
                  <a:lnTo>
                    <a:pt x="251" y="1253"/>
                  </a:lnTo>
                  <a:lnTo>
                    <a:pt x="253" y="1253"/>
                  </a:lnTo>
                  <a:lnTo>
                    <a:pt x="256" y="1253"/>
                  </a:lnTo>
                  <a:lnTo>
                    <a:pt x="259" y="1251"/>
                  </a:lnTo>
                  <a:lnTo>
                    <a:pt x="259" y="1251"/>
                  </a:lnTo>
                  <a:lnTo>
                    <a:pt x="261" y="1248"/>
                  </a:lnTo>
                  <a:lnTo>
                    <a:pt x="261" y="1248"/>
                  </a:lnTo>
                  <a:lnTo>
                    <a:pt x="264" y="1248"/>
                  </a:lnTo>
                  <a:lnTo>
                    <a:pt x="264" y="1248"/>
                  </a:lnTo>
                  <a:lnTo>
                    <a:pt x="267" y="1248"/>
                  </a:lnTo>
                  <a:lnTo>
                    <a:pt x="267" y="1245"/>
                  </a:lnTo>
                  <a:lnTo>
                    <a:pt x="269" y="1243"/>
                  </a:lnTo>
                  <a:lnTo>
                    <a:pt x="269" y="1240"/>
                  </a:lnTo>
                  <a:lnTo>
                    <a:pt x="272" y="1237"/>
                  </a:lnTo>
                  <a:lnTo>
                    <a:pt x="272" y="1237"/>
                  </a:lnTo>
                  <a:lnTo>
                    <a:pt x="272" y="1237"/>
                  </a:lnTo>
                  <a:lnTo>
                    <a:pt x="275" y="1237"/>
                  </a:lnTo>
                  <a:lnTo>
                    <a:pt x="275" y="1237"/>
                  </a:lnTo>
                  <a:lnTo>
                    <a:pt x="278" y="1237"/>
                  </a:lnTo>
                  <a:lnTo>
                    <a:pt x="275" y="1235"/>
                  </a:lnTo>
                  <a:lnTo>
                    <a:pt x="278" y="1232"/>
                  </a:lnTo>
                  <a:lnTo>
                    <a:pt x="278" y="1232"/>
                  </a:lnTo>
                  <a:lnTo>
                    <a:pt x="280" y="1229"/>
                  </a:lnTo>
                  <a:lnTo>
                    <a:pt x="280" y="1232"/>
                  </a:lnTo>
                  <a:lnTo>
                    <a:pt x="283" y="1229"/>
                  </a:lnTo>
                  <a:lnTo>
                    <a:pt x="283" y="1227"/>
                  </a:lnTo>
                  <a:lnTo>
                    <a:pt x="286" y="1227"/>
                  </a:lnTo>
                  <a:lnTo>
                    <a:pt x="286" y="1224"/>
                  </a:lnTo>
                  <a:lnTo>
                    <a:pt x="286" y="1224"/>
                  </a:lnTo>
                  <a:lnTo>
                    <a:pt x="288" y="1224"/>
                  </a:lnTo>
                  <a:lnTo>
                    <a:pt x="288" y="1224"/>
                  </a:lnTo>
                  <a:lnTo>
                    <a:pt x="291" y="1224"/>
                  </a:lnTo>
                  <a:lnTo>
                    <a:pt x="291" y="1221"/>
                  </a:lnTo>
                  <a:lnTo>
                    <a:pt x="294" y="1221"/>
                  </a:lnTo>
                  <a:lnTo>
                    <a:pt x="296" y="1219"/>
                  </a:lnTo>
                  <a:lnTo>
                    <a:pt x="296" y="1216"/>
                  </a:lnTo>
                  <a:lnTo>
                    <a:pt x="296" y="1216"/>
                  </a:lnTo>
                  <a:lnTo>
                    <a:pt x="294" y="1213"/>
                  </a:lnTo>
                  <a:lnTo>
                    <a:pt x="294" y="1213"/>
                  </a:lnTo>
                  <a:lnTo>
                    <a:pt x="291" y="1211"/>
                  </a:lnTo>
                  <a:lnTo>
                    <a:pt x="291" y="1208"/>
                  </a:lnTo>
                  <a:lnTo>
                    <a:pt x="291" y="1205"/>
                  </a:lnTo>
                  <a:lnTo>
                    <a:pt x="291" y="1205"/>
                  </a:lnTo>
                  <a:lnTo>
                    <a:pt x="294" y="1203"/>
                  </a:lnTo>
                  <a:lnTo>
                    <a:pt x="294" y="1203"/>
                  </a:lnTo>
                  <a:lnTo>
                    <a:pt x="296" y="1203"/>
                  </a:lnTo>
                  <a:lnTo>
                    <a:pt x="296" y="1203"/>
                  </a:lnTo>
                  <a:lnTo>
                    <a:pt x="296" y="1203"/>
                  </a:lnTo>
                  <a:lnTo>
                    <a:pt x="296" y="1200"/>
                  </a:lnTo>
                  <a:lnTo>
                    <a:pt x="296" y="1200"/>
                  </a:lnTo>
                  <a:lnTo>
                    <a:pt x="296" y="1197"/>
                  </a:lnTo>
                  <a:lnTo>
                    <a:pt x="296" y="1195"/>
                  </a:lnTo>
                  <a:lnTo>
                    <a:pt x="296" y="1192"/>
                  </a:lnTo>
                  <a:lnTo>
                    <a:pt x="296" y="1192"/>
                  </a:lnTo>
                  <a:lnTo>
                    <a:pt x="296" y="1189"/>
                  </a:lnTo>
                  <a:lnTo>
                    <a:pt x="299" y="1189"/>
                  </a:lnTo>
                  <a:lnTo>
                    <a:pt x="299" y="1189"/>
                  </a:lnTo>
                  <a:lnTo>
                    <a:pt x="299" y="1187"/>
                  </a:lnTo>
                  <a:lnTo>
                    <a:pt x="302" y="1187"/>
                  </a:lnTo>
                  <a:lnTo>
                    <a:pt x="302" y="1184"/>
                  </a:lnTo>
                  <a:lnTo>
                    <a:pt x="304" y="1181"/>
                  </a:lnTo>
                  <a:lnTo>
                    <a:pt x="304" y="1179"/>
                  </a:lnTo>
                  <a:lnTo>
                    <a:pt x="304" y="1179"/>
                  </a:lnTo>
                  <a:lnTo>
                    <a:pt x="304" y="1179"/>
                  </a:lnTo>
                  <a:lnTo>
                    <a:pt x="307" y="1176"/>
                  </a:lnTo>
                  <a:lnTo>
                    <a:pt x="310" y="1176"/>
                  </a:lnTo>
                  <a:lnTo>
                    <a:pt x="312" y="1176"/>
                  </a:lnTo>
                  <a:lnTo>
                    <a:pt x="315" y="1176"/>
                  </a:lnTo>
                  <a:lnTo>
                    <a:pt x="315" y="1173"/>
                  </a:lnTo>
                  <a:lnTo>
                    <a:pt x="318" y="1173"/>
                  </a:lnTo>
                  <a:lnTo>
                    <a:pt x="320" y="1173"/>
                  </a:lnTo>
                  <a:lnTo>
                    <a:pt x="320" y="1171"/>
                  </a:lnTo>
                  <a:lnTo>
                    <a:pt x="323" y="1171"/>
                  </a:lnTo>
                  <a:lnTo>
                    <a:pt x="323" y="1171"/>
                  </a:lnTo>
                  <a:lnTo>
                    <a:pt x="326" y="1168"/>
                  </a:lnTo>
                  <a:lnTo>
                    <a:pt x="328" y="1168"/>
                  </a:lnTo>
                  <a:lnTo>
                    <a:pt x="331" y="1165"/>
                  </a:lnTo>
                  <a:lnTo>
                    <a:pt x="331" y="1163"/>
                  </a:lnTo>
                  <a:lnTo>
                    <a:pt x="331" y="1163"/>
                  </a:lnTo>
                  <a:lnTo>
                    <a:pt x="334" y="1160"/>
                  </a:lnTo>
                  <a:lnTo>
                    <a:pt x="334" y="1157"/>
                  </a:lnTo>
                  <a:lnTo>
                    <a:pt x="334" y="1157"/>
                  </a:lnTo>
                  <a:lnTo>
                    <a:pt x="334" y="1155"/>
                  </a:lnTo>
                  <a:lnTo>
                    <a:pt x="331" y="1155"/>
                  </a:lnTo>
                  <a:lnTo>
                    <a:pt x="331" y="1155"/>
                  </a:lnTo>
                  <a:lnTo>
                    <a:pt x="328" y="1152"/>
                  </a:lnTo>
                  <a:lnTo>
                    <a:pt x="323" y="1149"/>
                  </a:lnTo>
                  <a:lnTo>
                    <a:pt x="320" y="1146"/>
                  </a:lnTo>
                  <a:lnTo>
                    <a:pt x="318" y="1146"/>
                  </a:lnTo>
                  <a:lnTo>
                    <a:pt x="318" y="1144"/>
                  </a:lnTo>
                  <a:lnTo>
                    <a:pt x="315" y="1141"/>
                  </a:lnTo>
                  <a:lnTo>
                    <a:pt x="315" y="1141"/>
                  </a:lnTo>
                  <a:lnTo>
                    <a:pt x="315" y="1136"/>
                  </a:lnTo>
                  <a:lnTo>
                    <a:pt x="315" y="1136"/>
                  </a:lnTo>
                  <a:lnTo>
                    <a:pt x="312" y="1136"/>
                  </a:lnTo>
                  <a:lnTo>
                    <a:pt x="312" y="1133"/>
                  </a:lnTo>
                  <a:lnTo>
                    <a:pt x="310" y="1130"/>
                  </a:lnTo>
                  <a:lnTo>
                    <a:pt x="310" y="1128"/>
                  </a:lnTo>
                  <a:lnTo>
                    <a:pt x="310" y="1125"/>
                  </a:lnTo>
                  <a:lnTo>
                    <a:pt x="310" y="1122"/>
                  </a:lnTo>
                  <a:lnTo>
                    <a:pt x="312" y="1120"/>
                  </a:lnTo>
                  <a:lnTo>
                    <a:pt x="315" y="1120"/>
                  </a:lnTo>
                  <a:lnTo>
                    <a:pt x="318" y="1120"/>
                  </a:lnTo>
                  <a:lnTo>
                    <a:pt x="318" y="1120"/>
                  </a:lnTo>
                  <a:lnTo>
                    <a:pt x="323" y="1120"/>
                  </a:lnTo>
                  <a:lnTo>
                    <a:pt x="326" y="1120"/>
                  </a:lnTo>
                  <a:lnTo>
                    <a:pt x="331" y="1122"/>
                  </a:lnTo>
                  <a:lnTo>
                    <a:pt x="334" y="1122"/>
                  </a:lnTo>
                  <a:lnTo>
                    <a:pt x="334" y="1122"/>
                  </a:lnTo>
                  <a:lnTo>
                    <a:pt x="336" y="1122"/>
                  </a:lnTo>
                  <a:lnTo>
                    <a:pt x="336" y="1122"/>
                  </a:lnTo>
                  <a:lnTo>
                    <a:pt x="339" y="1122"/>
                  </a:lnTo>
                  <a:lnTo>
                    <a:pt x="342" y="1120"/>
                  </a:lnTo>
                  <a:lnTo>
                    <a:pt x="344" y="1120"/>
                  </a:lnTo>
                  <a:lnTo>
                    <a:pt x="344" y="1120"/>
                  </a:lnTo>
                  <a:lnTo>
                    <a:pt x="347" y="1122"/>
                  </a:lnTo>
                  <a:lnTo>
                    <a:pt x="347" y="1120"/>
                  </a:lnTo>
                  <a:lnTo>
                    <a:pt x="350" y="1120"/>
                  </a:lnTo>
                  <a:lnTo>
                    <a:pt x="352" y="1117"/>
                  </a:lnTo>
                  <a:lnTo>
                    <a:pt x="355" y="1120"/>
                  </a:lnTo>
                  <a:lnTo>
                    <a:pt x="355" y="1120"/>
                  </a:lnTo>
                  <a:lnTo>
                    <a:pt x="358" y="1120"/>
                  </a:lnTo>
                  <a:lnTo>
                    <a:pt x="360" y="1120"/>
                  </a:lnTo>
                  <a:lnTo>
                    <a:pt x="363" y="1120"/>
                  </a:lnTo>
                  <a:lnTo>
                    <a:pt x="363" y="1117"/>
                  </a:lnTo>
                  <a:lnTo>
                    <a:pt x="366" y="1117"/>
                  </a:lnTo>
                  <a:lnTo>
                    <a:pt x="366" y="1117"/>
                  </a:lnTo>
                  <a:lnTo>
                    <a:pt x="374" y="1117"/>
                  </a:lnTo>
                  <a:lnTo>
                    <a:pt x="374" y="1114"/>
                  </a:lnTo>
                  <a:lnTo>
                    <a:pt x="376" y="1114"/>
                  </a:lnTo>
                  <a:lnTo>
                    <a:pt x="382" y="1114"/>
                  </a:lnTo>
                  <a:lnTo>
                    <a:pt x="382" y="1114"/>
                  </a:lnTo>
                  <a:lnTo>
                    <a:pt x="384" y="1114"/>
                  </a:lnTo>
                  <a:lnTo>
                    <a:pt x="387" y="1114"/>
                  </a:lnTo>
                  <a:lnTo>
                    <a:pt x="387" y="1112"/>
                  </a:lnTo>
                  <a:lnTo>
                    <a:pt x="390" y="1112"/>
                  </a:lnTo>
                  <a:lnTo>
                    <a:pt x="390" y="1109"/>
                  </a:lnTo>
                  <a:lnTo>
                    <a:pt x="390" y="1106"/>
                  </a:lnTo>
                  <a:lnTo>
                    <a:pt x="387" y="1104"/>
                  </a:lnTo>
                  <a:lnTo>
                    <a:pt x="384" y="1101"/>
                  </a:lnTo>
                  <a:lnTo>
                    <a:pt x="384" y="1098"/>
                  </a:lnTo>
                  <a:lnTo>
                    <a:pt x="387" y="1093"/>
                  </a:lnTo>
                  <a:lnTo>
                    <a:pt x="387" y="1093"/>
                  </a:lnTo>
                  <a:lnTo>
                    <a:pt x="387" y="1088"/>
                  </a:lnTo>
                  <a:lnTo>
                    <a:pt x="387" y="1088"/>
                  </a:lnTo>
                  <a:lnTo>
                    <a:pt x="384" y="1085"/>
                  </a:lnTo>
                  <a:lnTo>
                    <a:pt x="384" y="1085"/>
                  </a:lnTo>
                  <a:lnTo>
                    <a:pt x="382" y="1085"/>
                  </a:lnTo>
                  <a:lnTo>
                    <a:pt x="382" y="1085"/>
                  </a:lnTo>
                  <a:lnTo>
                    <a:pt x="379" y="1085"/>
                  </a:lnTo>
                  <a:lnTo>
                    <a:pt x="379" y="1082"/>
                  </a:lnTo>
                  <a:lnTo>
                    <a:pt x="379" y="1082"/>
                  </a:lnTo>
                  <a:lnTo>
                    <a:pt x="379" y="1080"/>
                  </a:lnTo>
                  <a:lnTo>
                    <a:pt x="376" y="1080"/>
                  </a:lnTo>
                  <a:lnTo>
                    <a:pt x="374" y="1080"/>
                  </a:lnTo>
                  <a:lnTo>
                    <a:pt x="374" y="1077"/>
                  </a:lnTo>
                  <a:lnTo>
                    <a:pt x="371" y="1074"/>
                  </a:lnTo>
                  <a:lnTo>
                    <a:pt x="371" y="1072"/>
                  </a:lnTo>
                  <a:lnTo>
                    <a:pt x="371" y="1069"/>
                  </a:lnTo>
                  <a:lnTo>
                    <a:pt x="371" y="1069"/>
                  </a:lnTo>
                  <a:lnTo>
                    <a:pt x="371" y="1069"/>
                  </a:lnTo>
                  <a:lnTo>
                    <a:pt x="371" y="1066"/>
                  </a:lnTo>
                  <a:lnTo>
                    <a:pt x="371" y="1064"/>
                  </a:lnTo>
                  <a:lnTo>
                    <a:pt x="371" y="1061"/>
                  </a:lnTo>
                  <a:lnTo>
                    <a:pt x="371" y="1056"/>
                  </a:lnTo>
                  <a:lnTo>
                    <a:pt x="371" y="1053"/>
                  </a:lnTo>
                  <a:lnTo>
                    <a:pt x="374" y="1050"/>
                  </a:lnTo>
                  <a:lnTo>
                    <a:pt x="374" y="1048"/>
                  </a:lnTo>
                  <a:lnTo>
                    <a:pt x="371" y="1045"/>
                  </a:lnTo>
                  <a:lnTo>
                    <a:pt x="371" y="1042"/>
                  </a:lnTo>
                  <a:lnTo>
                    <a:pt x="371" y="1042"/>
                  </a:lnTo>
                  <a:lnTo>
                    <a:pt x="371" y="1040"/>
                  </a:lnTo>
                  <a:lnTo>
                    <a:pt x="371" y="1037"/>
                  </a:lnTo>
                  <a:lnTo>
                    <a:pt x="371" y="1034"/>
                  </a:lnTo>
                  <a:lnTo>
                    <a:pt x="368" y="1032"/>
                  </a:lnTo>
                  <a:lnTo>
                    <a:pt x="366" y="1032"/>
                  </a:lnTo>
                  <a:lnTo>
                    <a:pt x="366" y="1029"/>
                  </a:lnTo>
                  <a:lnTo>
                    <a:pt x="363" y="1029"/>
                  </a:lnTo>
                  <a:lnTo>
                    <a:pt x="360" y="1029"/>
                  </a:lnTo>
                  <a:lnTo>
                    <a:pt x="360" y="1026"/>
                  </a:lnTo>
                  <a:lnTo>
                    <a:pt x="360" y="1024"/>
                  </a:lnTo>
                  <a:lnTo>
                    <a:pt x="360" y="1024"/>
                  </a:lnTo>
                  <a:lnTo>
                    <a:pt x="363" y="1024"/>
                  </a:lnTo>
                  <a:lnTo>
                    <a:pt x="366" y="1024"/>
                  </a:lnTo>
                  <a:lnTo>
                    <a:pt x="366" y="1024"/>
                  </a:lnTo>
                  <a:lnTo>
                    <a:pt x="366" y="1021"/>
                  </a:lnTo>
                  <a:lnTo>
                    <a:pt x="363" y="1018"/>
                  </a:lnTo>
                  <a:lnTo>
                    <a:pt x="360" y="1018"/>
                  </a:lnTo>
                  <a:lnTo>
                    <a:pt x="358" y="1018"/>
                  </a:lnTo>
                  <a:lnTo>
                    <a:pt x="358" y="1016"/>
                  </a:lnTo>
                  <a:lnTo>
                    <a:pt x="355" y="1016"/>
                  </a:lnTo>
                  <a:lnTo>
                    <a:pt x="355" y="1016"/>
                  </a:lnTo>
                  <a:lnTo>
                    <a:pt x="352" y="1018"/>
                  </a:lnTo>
                  <a:lnTo>
                    <a:pt x="350" y="1016"/>
                  </a:lnTo>
                  <a:lnTo>
                    <a:pt x="347" y="1013"/>
                  </a:lnTo>
                  <a:lnTo>
                    <a:pt x="347" y="1013"/>
                  </a:lnTo>
                  <a:lnTo>
                    <a:pt x="344" y="1013"/>
                  </a:lnTo>
                  <a:lnTo>
                    <a:pt x="342" y="1013"/>
                  </a:lnTo>
                  <a:lnTo>
                    <a:pt x="339" y="1010"/>
                  </a:lnTo>
                  <a:lnTo>
                    <a:pt x="336" y="1010"/>
                  </a:lnTo>
                  <a:lnTo>
                    <a:pt x="334" y="1013"/>
                  </a:lnTo>
                  <a:lnTo>
                    <a:pt x="334" y="1016"/>
                  </a:lnTo>
                  <a:lnTo>
                    <a:pt x="336" y="1018"/>
                  </a:lnTo>
                  <a:lnTo>
                    <a:pt x="334" y="1021"/>
                  </a:lnTo>
                  <a:lnTo>
                    <a:pt x="331" y="1021"/>
                  </a:lnTo>
                  <a:lnTo>
                    <a:pt x="328" y="1021"/>
                  </a:lnTo>
                  <a:lnTo>
                    <a:pt x="328" y="1024"/>
                  </a:lnTo>
                  <a:lnTo>
                    <a:pt x="326" y="1026"/>
                  </a:lnTo>
                  <a:lnTo>
                    <a:pt x="326" y="1026"/>
                  </a:lnTo>
                  <a:lnTo>
                    <a:pt x="326" y="1029"/>
                  </a:lnTo>
                  <a:lnTo>
                    <a:pt x="323" y="1029"/>
                  </a:lnTo>
                  <a:lnTo>
                    <a:pt x="323" y="1032"/>
                  </a:lnTo>
                  <a:lnTo>
                    <a:pt x="323" y="1032"/>
                  </a:lnTo>
                  <a:lnTo>
                    <a:pt x="323" y="1034"/>
                  </a:lnTo>
                  <a:lnTo>
                    <a:pt x="320" y="1034"/>
                  </a:lnTo>
                  <a:lnTo>
                    <a:pt x="318" y="1037"/>
                  </a:lnTo>
                  <a:lnTo>
                    <a:pt x="318" y="1037"/>
                  </a:lnTo>
                  <a:lnTo>
                    <a:pt x="318" y="1040"/>
                  </a:lnTo>
                  <a:lnTo>
                    <a:pt x="315" y="1040"/>
                  </a:lnTo>
                  <a:lnTo>
                    <a:pt x="312" y="1040"/>
                  </a:lnTo>
                  <a:lnTo>
                    <a:pt x="310" y="1040"/>
                  </a:lnTo>
                  <a:lnTo>
                    <a:pt x="307" y="1040"/>
                  </a:lnTo>
                  <a:lnTo>
                    <a:pt x="304" y="1042"/>
                  </a:lnTo>
                  <a:lnTo>
                    <a:pt x="304" y="1042"/>
                  </a:lnTo>
                  <a:lnTo>
                    <a:pt x="302" y="1042"/>
                  </a:lnTo>
                  <a:lnTo>
                    <a:pt x="302" y="1045"/>
                  </a:lnTo>
                  <a:lnTo>
                    <a:pt x="302" y="1045"/>
                  </a:lnTo>
                  <a:lnTo>
                    <a:pt x="299" y="1045"/>
                  </a:lnTo>
                  <a:lnTo>
                    <a:pt x="296" y="1042"/>
                  </a:lnTo>
                  <a:lnTo>
                    <a:pt x="294" y="1040"/>
                  </a:lnTo>
                  <a:lnTo>
                    <a:pt x="291" y="1040"/>
                  </a:lnTo>
                  <a:lnTo>
                    <a:pt x="291" y="1042"/>
                  </a:lnTo>
                  <a:lnTo>
                    <a:pt x="288" y="1045"/>
                  </a:lnTo>
                  <a:lnTo>
                    <a:pt x="288" y="1045"/>
                  </a:lnTo>
                  <a:lnTo>
                    <a:pt x="288" y="1048"/>
                  </a:lnTo>
                  <a:lnTo>
                    <a:pt x="288" y="1048"/>
                  </a:lnTo>
                  <a:lnTo>
                    <a:pt x="288" y="1045"/>
                  </a:lnTo>
                  <a:lnTo>
                    <a:pt x="288" y="1045"/>
                  </a:lnTo>
                  <a:lnTo>
                    <a:pt x="283" y="1048"/>
                  </a:lnTo>
                  <a:lnTo>
                    <a:pt x="283" y="1050"/>
                  </a:lnTo>
                  <a:lnTo>
                    <a:pt x="280" y="1053"/>
                  </a:lnTo>
                  <a:lnTo>
                    <a:pt x="278" y="1056"/>
                  </a:lnTo>
                  <a:lnTo>
                    <a:pt x="278" y="1058"/>
                  </a:lnTo>
                  <a:lnTo>
                    <a:pt x="278" y="1061"/>
                  </a:lnTo>
                  <a:lnTo>
                    <a:pt x="275" y="1064"/>
                  </a:lnTo>
                  <a:lnTo>
                    <a:pt x="275" y="1066"/>
                  </a:lnTo>
                  <a:lnTo>
                    <a:pt x="278" y="1069"/>
                  </a:lnTo>
                  <a:lnTo>
                    <a:pt x="278" y="1069"/>
                  </a:lnTo>
                  <a:lnTo>
                    <a:pt x="278" y="1072"/>
                  </a:lnTo>
                  <a:lnTo>
                    <a:pt x="278" y="1072"/>
                  </a:lnTo>
                  <a:lnTo>
                    <a:pt x="275" y="1074"/>
                  </a:lnTo>
                  <a:lnTo>
                    <a:pt x="272" y="1074"/>
                  </a:lnTo>
                  <a:lnTo>
                    <a:pt x="269" y="1077"/>
                  </a:lnTo>
                  <a:lnTo>
                    <a:pt x="267" y="1077"/>
                  </a:lnTo>
                  <a:lnTo>
                    <a:pt x="267" y="1082"/>
                  </a:lnTo>
                  <a:lnTo>
                    <a:pt x="267" y="1082"/>
                  </a:lnTo>
                  <a:lnTo>
                    <a:pt x="267" y="1082"/>
                  </a:lnTo>
                  <a:lnTo>
                    <a:pt x="264" y="1085"/>
                  </a:lnTo>
                  <a:lnTo>
                    <a:pt x="261" y="1085"/>
                  </a:lnTo>
                  <a:lnTo>
                    <a:pt x="259" y="1088"/>
                  </a:lnTo>
                  <a:lnTo>
                    <a:pt x="256" y="1088"/>
                  </a:lnTo>
                  <a:lnTo>
                    <a:pt x="253" y="1090"/>
                  </a:lnTo>
                  <a:lnTo>
                    <a:pt x="251" y="1093"/>
                  </a:lnTo>
                  <a:lnTo>
                    <a:pt x="248" y="1093"/>
                  </a:lnTo>
                  <a:lnTo>
                    <a:pt x="243" y="1093"/>
                  </a:lnTo>
                  <a:lnTo>
                    <a:pt x="243" y="1096"/>
                  </a:lnTo>
                  <a:lnTo>
                    <a:pt x="240" y="1096"/>
                  </a:lnTo>
                  <a:lnTo>
                    <a:pt x="240" y="1096"/>
                  </a:lnTo>
                  <a:lnTo>
                    <a:pt x="237" y="1096"/>
                  </a:lnTo>
                  <a:lnTo>
                    <a:pt x="237" y="1098"/>
                  </a:lnTo>
                  <a:lnTo>
                    <a:pt x="235" y="1098"/>
                  </a:lnTo>
                  <a:lnTo>
                    <a:pt x="235" y="1098"/>
                  </a:lnTo>
                  <a:lnTo>
                    <a:pt x="232" y="1098"/>
                  </a:lnTo>
                  <a:lnTo>
                    <a:pt x="232" y="1101"/>
                  </a:lnTo>
                  <a:lnTo>
                    <a:pt x="232" y="1101"/>
                  </a:lnTo>
                  <a:lnTo>
                    <a:pt x="227" y="1104"/>
                  </a:lnTo>
                  <a:lnTo>
                    <a:pt x="224" y="1104"/>
                  </a:lnTo>
                  <a:lnTo>
                    <a:pt x="224" y="1106"/>
                  </a:lnTo>
                  <a:lnTo>
                    <a:pt x="224" y="1109"/>
                  </a:lnTo>
                  <a:lnTo>
                    <a:pt x="227" y="1109"/>
                  </a:lnTo>
                  <a:lnTo>
                    <a:pt x="227" y="1112"/>
                  </a:lnTo>
                  <a:lnTo>
                    <a:pt x="224" y="1114"/>
                  </a:lnTo>
                  <a:lnTo>
                    <a:pt x="221" y="1114"/>
                  </a:lnTo>
                  <a:lnTo>
                    <a:pt x="219" y="1117"/>
                  </a:lnTo>
                  <a:lnTo>
                    <a:pt x="219" y="1114"/>
                  </a:lnTo>
                  <a:lnTo>
                    <a:pt x="216" y="1112"/>
                  </a:lnTo>
                  <a:lnTo>
                    <a:pt x="213" y="1109"/>
                  </a:lnTo>
                  <a:lnTo>
                    <a:pt x="213" y="1106"/>
                  </a:lnTo>
                  <a:lnTo>
                    <a:pt x="211" y="1106"/>
                  </a:lnTo>
                  <a:lnTo>
                    <a:pt x="211" y="1106"/>
                  </a:lnTo>
                  <a:lnTo>
                    <a:pt x="208" y="1109"/>
                  </a:lnTo>
                  <a:lnTo>
                    <a:pt x="205" y="1109"/>
                  </a:lnTo>
                  <a:lnTo>
                    <a:pt x="203" y="1114"/>
                  </a:lnTo>
                  <a:lnTo>
                    <a:pt x="197" y="1117"/>
                  </a:lnTo>
                  <a:lnTo>
                    <a:pt x="195" y="1120"/>
                  </a:lnTo>
                  <a:lnTo>
                    <a:pt x="192" y="1120"/>
                  </a:lnTo>
                  <a:lnTo>
                    <a:pt x="189" y="1117"/>
                  </a:lnTo>
                  <a:lnTo>
                    <a:pt x="195" y="1112"/>
                  </a:lnTo>
                  <a:lnTo>
                    <a:pt x="195" y="1109"/>
                  </a:lnTo>
                  <a:lnTo>
                    <a:pt x="192" y="1106"/>
                  </a:lnTo>
                  <a:lnTo>
                    <a:pt x="192" y="1104"/>
                  </a:lnTo>
                  <a:lnTo>
                    <a:pt x="189" y="1101"/>
                  </a:lnTo>
                  <a:lnTo>
                    <a:pt x="187" y="1098"/>
                  </a:lnTo>
                  <a:lnTo>
                    <a:pt x="184" y="1093"/>
                  </a:lnTo>
                  <a:lnTo>
                    <a:pt x="179" y="1088"/>
                  </a:lnTo>
                  <a:lnTo>
                    <a:pt x="176" y="1082"/>
                  </a:lnTo>
                  <a:lnTo>
                    <a:pt x="176" y="1082"/>
                  </a:lnTo>
                  <a:lnTo>
                    <a:pt x="173" y="1077"/>
                  </a:lnTo>
                  <a:lnTo>
                    <a:pt x="173" y="1074"/>
                  </a:lnTo>
                  <a:lnTo>
                    <a:pt x="168" y="1074"/>
                  </a:lnTo>
                  <a:lnTo>
                    <a:pt x="165" y="1072"/>
                  </a:lnTo>
                  <a:lnTo>
                    <a:pt x="163" y="1072"/>
                  </a:lnTo>
                  <a:lnTo>
                    <a:pt x="163" y="1074"/>
                  </a:lnTo>
                  <a:lnTo>
                    <a:pt x="160" y="1074"/>
                  </a:lnTo>
                  <a:lnTo>
                    <a:pt x="157" y="1074"/>
                  </a:lnTo>
                  <a:lnTo>
                    <a:pt x="155" y="1074"/>
                  </a:lnTo>
                  <a:lnTo>
                    <a:pt x="152" y="1074"/>
                  </a:lnTo>
                  <a:lnTo>
                    <a:pt x="147" y="1077"/>
                  </a:lnTo>
                  <a:lnTo>
                    <a:pt x="144" y="1080"/>
                  </a:lnTo>
                  <a:lnTo>
                    <a:pt x="144" y="1080"/>
                  </a:lnTo>
                  <a:lnTo>
                    <a:pt x="144" y="1082"/>
                  </a:lnTo>
                  <a:lnTo>
                    <a:pt x="144" y="1082"/>
                  </a:lnTo>
                  <a:lnTo>
                    <a:pt x="141" y="1082"/>
                  </a:lnTo>
                  <a:lnTo>
                    <a:pt x="139" y="1080"/>
                  </a:lnTo>
                  <a:lnTo>
                    <a:pt x="136" y="1080"/>
                  </a:lnTo>
                  <a:lnTo>
                    <a:pt x="136" y="1080"/>
                  </a:lnTo>
                  <a:lnTo>
                    <a:pt x="133" y="1082"/>
                  </a:lnTo>
                  <a:lnTo>
                    <a:pt x="131" y="1080"/>
                  </a:lnTo>
                  <a:lnTo>
                    <a:pt x="128" y="1080"/>
                  </a:lnTo>
                  <a:lnTo>
                    <a:pt x="125" y="1077"/>
                  </a:lnTo>
                  <a:lnTo>
                    <a:pt x="125" y="1077"/>
                  </a:lnTo>
                  <a:lnTo>
                    <a:pt x="123" y="1080"/>
                  </a:lnTo>
                  <a:lnTo>
                    <a:pt x="120" y="1082"/>
                  </a:lnTo>
                  <a:lnTo>
                    <a:pt x="117" y="1080"/>
                  </a:lnTo>
                  <a:lnTo>
                    <a:pt x="115" y="1082"/>
                  </a:lnTo>
                  <a:lnTo>
                    <a:pt x="115" y="1082"/>
                  </a:lnTo>
                  <a:lnTo>
                    <a:pt x="112" y="1082"/>
                  </a:lnTo>
                  <a:lnTo>
                    <a:pt x="109" y="1080"/>
                  </a:lnTo>
                  <a:lnTo>
                    <a:pt x="112" y="1077"/>
                  </a:lnTo>
                  <a:lnTo>
                    <a:pt x="112" y="1074"/>
                  </a:lnTo>
                  <a:lnTo>
                    <a:pt x="112" y="1074"/>
                  </a:lnTo>
                  <a:lnTo>
                    <a:pt x="112" y="1072"/>
                  </a:lnTo>
                  <a:lnTo>
                    <a:pt x="112" y="1069"/>
                  </a:lnTo>
                  <a:lnTo>
                    <a:pt x="109" y="1066"/>
                  </a:lnTo>
                  <a:lnTo>
                    <a:pt x="109" y="1064"/>
                  </a:lnTo>
                  <a:lnTo>
                    <a:pt x="109" y="1061"/>
                  </a:lnTo>
                  <a:lnTo>
                    <a:pt x="109" y="1058"/>
                  </a:lnTo>
                  <a:lnTo>
                    <a:pt x="112" y="1056"/>
                  </a:lnTo>
                  <a:lnTo>
                    <a:pt x="112" y="1053"/>
                  </a:lnTo>
                  <a:lnTo>
                    <a:pt x="115" y="1050"/>
                  </a:lnTo>
                  <a:lnTo>
                    <a:pt x="112" y="1048"/>
                  </a:lnTo>
                  <a:lnTo>
                    <a:pt x="115" y="1045"/>
                  </a:lnTo>
                  <a:lnTo>
                    <a:pt x="115" y="1040"/>
                  </a:lnTo>
                  <a:lnTo>
                    <a:pt x="117" y="1037"/>
                  </a:lnTo>
                  <a:lnTo>
                    <a:pt x="120" y="1037"/>
                  </a:lnTo>
                  <a:lnTo>
                    <a:pt x="120" y="1037"/>
                  </a:lnTo>
                  <a:lnTo>
                    <a:pt x="120" y="1037"/>
                  </a:lnTo>
                  <a:lnTo>
                    <a:pt x="123" y="1034"/>
                  </a:lnTo>
                  <a:lnTo>
                    <a:pt x="123" y="1034"/>
                  </a:lnTo>
                  <a:lnTo>
                    <a:pt x="123" y="1032"/>
                  </a:lnTo>
                  <a:lnTo>
                    <a:pt x="125" y="1032"/>
                  </a:lnTo>
                  <a:lnTo>
                    <a:pt x="125" y="1034"/>
                  </a:lnTo>
                  <a:lnTo>
                    <a:pt x="128" y="1034"/>
                  </a:lnTo>
                  <a:lnTo>
                    <a:pt x="131" y="1032"/>
                  </a:lnTo>
                  <a:lnTo>
                    <a:pt x="131" y="1032"/>
                  </a:lnTo>
                  <a:lnTo>
                    <a:pt x="131" y="1029"/>
                  </a:lnTo>
                  <a:lnTo>
                    <a:pt x="133" y="1029"/>
                  </a:lnTo>
                  <a:lnTo>
                    <a:pt x="133" y="1029"/>
                  </a:lnTo>
                  <a:lnTo>
                    <a:pt x="131" y="1026"/>
                  </a:lnTo>
                  <a:lnTo>
                    <a:pt x="131" y="1021"/>
                  </a:lnTo>
                  <a:lnTo>
                    <a:pt x="131" y="1018"/>
                  </a:lnTo>
                  <a:lnTo>
                    <a:pt x="131" y="1016"/>
                  </a:lnTo>
                  <a:lnTo>
                    <a:pt x="131" y="1010"/>
                  </a:lnTo>
                  <a:lnTo>
                    <a:pt x="131" y="1008"/>
                  </a:lnTo>
                  <a:lnTo>
                    <a:pt x="128" y="1005"/>
                  </a:lnTo>
                  <a:lnTo>
                    <a:pt x="125" y="1002"/>
                  </a:lnTo>
                  <a:lnTo>
                    <a:pt x="125" y="1000"/>
                  </a:lnTo>
                  <a:lnTo>
                    <a:pt x="128" y="997"/>
                  </a:lnTo>
                  <a:lnTo>
                    <a:pt x="128" y="994"/>
                  </a:lnTo>
                  <a:lnTo>
                    <a:pt x="131" y="994"/>
                  </a:lnTo>
                  <a:lnTo>
                    <a:pt x="131" y="992"/>
                  </a:lnTo>
                  <a:lnTo>
                    <a:pt x="131" y="989"/>
                  </a:lnTo>
                  <a:lnTo>
                    <a:pt x="133" y="986"/>
                  </a:lnTo>
                  <a:lnTo>
                    <a:pt x="133" y="986"/>
                  </a:lnTo>
                  <a:lnTo>
                    <a:pt x="136" y="986"/>
                  </a:lnTo>
                  <a:lnTo>
                    <a:pt x="136" y="983"/>
                  </a:lnTo>
                  <a:lnTo>
                    <a:pt x="139" y="983"/>
                  </a:lnTo>
                  <a:lnTo>
                    <a:pt x="139" y="983"/>
                  </a:lnTo>
                  <a:lnTo>
                    <a:pt x="139" y="981"/>
                  </a:lnTo>
                  <a:lnTo>
                    <a:pt x="139" y="981"/>
                  </a:lnTo>
                  <a:lnTo>
                    <a:pt x="139" y="978"/>
                  </a:lnTo>
                  <a:lnTo>
                    <a:pt x="141" y="978"/>
                  </a:lnTo>
                  <a:lnTo>
                    <a:pt x="141" y="975"/>
                  </a:lnTo>
                  <a:lnTo>
                    <a:pt x="144" y="975"/>
                  </a:lnTo>
                  <a:lnTo>
                    <a:pt x="144" y="975"/>
                  </a:lnTo>
                  <a:lnTo>
                    <a:pt x="144" y="975"/>
                  </a:lnTo>
                  <a:lnTo>
                    <a:pt x="147" y="973"/>
                  </a:lnTo>
                  <a:lnTo>
                    <a:pt x="147" y="970"/>
                  </a:lnTo>
                  <a:lnTo>
                    <a:pt x="147" y="967"/>
                  </a:lnTo>
                  <a:lnTo>
                    <a:pt x="147" y="965"/>
                  </a:lnTo>
                  <a:lnTo>
                    <a:pt x="149" y="965"/>
                  </a:lnTo>
                  <a:lnTo>
                    <a:pt x="149" y="965"/>
                  </a:lnTo>
                  <a:lnTo>
                    <a:pt x="152" y="965"/>
                  </a:lnTo>
                  <a:lnTo>
                    <a:pt x="152" y="962"/>
                  </a:lnTo>
                  <a:lnTo>
                    <a:pt x="152" y="959"/>
                  </a:lnTo>
                  <a:lnTo>
                    <a:pt x="152" y="954"/>
                  </a:lnTo>
                  <a:lnTo>
                    <a:pt x="155" y="949"/>
                  </a:lnTo>
                  <a:lnTo>
                    <a:pt x="173" y="933"/>
                  </a:lnTo>
                  <a:lnTo>
                    <a:pt x="171" y="933"/>
                  </a:lnTo>
                  <a:lnTo>
                    <a:pt x="171" y="933"/>
                  </a:lnTo>
                  <a:lnTo>
                    <a:pt x="171" y="933"/>
                  </a:lnTo>
                  <a:lnTo>
                    <a:pt x="171" y="930"/>
                  </a:lnTo>
                  <a:lnTo>
                    <a:pt x="168" y="930"/>
                  </a:lnTo>
                  <a:lnTo>
                    <a:pt x="168" y="930"/>
                  </a:lnTo>
                  <a:lnTo>
                    <a:pt x="168" y="930"/>
                  </a:lnTo>
                  <a:lnTo>
                    <a:pt x="165" y="930"/>
                  </a:lnTo>
                  <a:lnTo>
                    <a:pt x="165" y="930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5" y="927"/>
                  </a:lnTo>
                  <a:lnTo>
                    <a:pt x="163" y="927"/>
                  </a:lnTo>
                  <a:lnTo>
                    <a:pt x="163" y="927"/>
                  </a:lnTo>
                  <a:lnTo>
                    <a:pt x="163" y="927"/>
                  </a:lnTo>
                  <a:lnTo>
                    <a:pt x="163" y="925"/>
                  </a:lnTo>
                  <a:lnTo>
                    <a:pt x="163" y="925"/>
                  </a:lnTo>
                  <a:lnTo>
                    <a:pt x="160" y="925"/>
                  </a:lnTo>
                  <a:lnTo>
                    <a:pt x="160" y="922"/>
                  </a:lnTo>
                  <a:lnTo>
                    <a:pt x="160" y="922"/>
                  </a:lnTo>
                  <a:lnTo>
                    <a:pt x="160" y="919"/>
                  </a:lnTo>
                  <a:lnTo>
                    <a:pt x="160" y="919"/>
                  </a:lnTo>
                  <a:lnTo>
                    <a:pt x="176" y="914"/>
                  </a:lnTo>
                  <a:lnTo>
                    <a:pt x="173" y="909"/>
                  </a:lnTo>
                  <a:lnTo>
                    <a:pt x="173" y="909"/>
                  </a:lnTo>
                  <a:lnTo>
                    <a:pt x="173" y="906"/>
                  </a:lnTo>
                  <a:lnTo>
                    <a:pt x="173" y="906"/>
                  </a:lnTo>
                  <a:lnTo>
                    <a:pt x="171" y="903"/>
                  </a:lnTo>
                  <a:lnTo>
                    <a:pt x="171" y="901"/>
                  </a:lnTo>
                  <a:lnTo>
                    <a:pt x="171" y="901"/>
                  </a:lnTo>
                  <a:lnTo>
                    <a:pt x="173" y="901"/>
                  </a:lnTo>
                  <a:lnTo>
                    <a:pt x="176" y="898"/>
                  </a:lnTo>
                  <a:lnTo>
                    <a:pt x="179" y="898"/>
                  </a:lnTo>
                  <a:lnTo>
                    <a:pt x="179" y="898"/>
                  </a:lnTo>
                  <a:lnTo>
                    <a:pt x="181" y="895"/>
                  </a:lnTo>
                  <a:lnTo>
                    <a:pt x="184" y="895"/>
                  </a:lnTo>
                  <a:lnTo>
                    <a:pt x="187" y="893"/>
                  </a:lnTo>
                  <a:lnTo>
                    <a:pt x="181" y="890"/>
                  </a:lnTo>
                  <a:lnTo>
                    <a:pt x="179" y="890"/>
                  </a:lnTo>
                  <a:lnTo>
                    <a:pt x="173" y="890"/>
                  </a:lnTo>
                  <a:lnTo>
                    <a:pt x="173" y="893"/>
                  </a:lnTo>
                  <a:lnTo>
                    <a:pt x="171" y="893"/>
                  </a:lnTo>
                  <a:lnTo>
                    <a:pt x="168" y="890"/>
                  </a:lnTo>
                  <a:lnTo>
                    <a:pt x="168" y="890"/>
                  </a:lnTo>
                  <a:lnTo>
                    <a:pt x="165" y="890"/>
                  </a:lnTo>
                  <a:lnTo>
                    <a:pt x="163" y="890"/>
                  </a:lnTo>
                  <a:lnTo>
                    <a:pt x="160" y="887"/>
                  </a:lnTo>
                  <a:lnTo>
                    <a:pt x="163" y="887"/>
                  </a:lnTo>
                  <a:lnTo>
                    <a:pt x="163" y="885"/>
                  </a:lnTo>
                  <a:lnTo>
                    <a:pt x="163" y="882"/>
                  </a:lnTo>
                  <a:lnTo>
                    <a:pt x="160" y="879"/>
                  </a:lnTo>
                  <a:lnTo>
                    <a:pt x="157" y="879"/>
                  </a:lnTo>
                  <a:lnTo>
                    <a:pt x="155" y="877"/>
                  </a:lnTo>
                  <a:lnTo>
                    <a:pt x="155" y="877"/>
                  </a:lnTo>
                  <a:lnTo>
                    <a:pt x="152" y="874"/>
                  </a:lnTo>
                  <a:lnTo>
                    <a:pt x="149" y="874"/>
                  </a:lnTo>
                  <a:lnTo>
                    <a:pt x="149" y="877"/>
                  </a:lnTo>
                  <a:lnTo>
                    <a:pt x="147" y="877"/>
                  </a:lnTo>
                  <a:lnTo>
                    <a:pt x="147" y="877"/>
                  </a:lnTo>
                  <a:lnTo>
                    <a:pt x="144" y="877"/>
                  </a:lnTo>
                  <a:lnTo>
                    <a:pt x="141" y="877"/>
                  </a:lnTo>
                  <a:lnTo>
                    <a:pt x="141" y="877"/>
                  </a:lnTo>
                  <a:lnTo>
                    <a:pt x="139" y="877"/>
                  </a:lnTo>
                  <a:lnTo>
                    <a:pt x="136" y="877"/>
                  </a:lnTo>
                  <a:lnTo>
                    <a:pt x="136" y="879"/>
                  </a:lnTo>
                  <a:lnTo>
                    <a:pt x="133" y="882"/>
                  </a:lnTo>
                  <a:lnTo>
                    <a:pt x="133" y="882"/>
                  </a:lnTo>
                  <a:lnTo>
                    <a:pt x="133" y="885"/>
                  </a:lnTo>
                  <a:lnTo>
                    <a:pt x="131" y="887"/>
                  </a:lnTo>
                  <a:lnTo>
                    <a:pt x="131" y="887"/>
                  </a:lnTo>
                  <a:lnTo>
                    <a:pt x="128" y="887"/>
                  </a:lnTo>
                  <a:lnTo>
                    <a:pt x="125" y="887"/>
                  </a:lnTo>
                  <a:lnTo>
                    <a:pt x="123" y="890"/>
                  </a:lnTo>
                  <a:lnTo>
                    <a:pt x="123" y="890"/>
                  </a:lnTo>
                  <a:lnTo>
                    <a:pt x="123" y="893"/>
                  </a:lnTo>
                  <a:lnTo>
                    <a:pt x="120" y="893"/>
                  </a:lnTo>
                  <a:lnTo>
                    <a:pt x="120" y="895"/>
                  </a:lnTo>
                  <a:lnTo>
                    <a:pt x="117" y="898"/>
                  </a:lnTo>
                  <a:lnTo>
                    <a:pt x="115" y="895"/>
                  </a:lnTo>
                  <a:lnTo>
                    <a:pt x="115" y="895"/>
                  </a:lnTo>
                  <a:lnTo>
                    <a:pt x="112" y="895"/>
                  </a:lnTo>
                  <a:lnTo>
                    <a:pt x="109" y="895"/>
                  </a:lnTo>
                  <a:lnTo>
                    <a:pt x="107" y="898"/>
                  </a:lnTo>
                  <a:lnTo>
                    <a:pt x="107" y="898"/>
                  </a:lnTo>
                  <a:lnTo>
                    <a:pt x="104" y="898"/>
                  </a:lnTo>
                  <a:lnTo>
                    <a:pt x="104" y="901"/>
                  </a:lnTo>
                  <a:lnTo>
                    <a:pt x="104" y="901"/>
                  </a:lnTo>
                  <a:lnTo>
                    <a:pt x="104" y="901"/>
                  </a:lnTo>
                  <a:lnTo>
                    <a:pt x="101" y="901"/>
                  </a:lnTo>
                  <a:lnTo>
                    <a:pt x="99" y="901"/>
                  </a:lnTo>
                  <a:lnTo>
                    <a:pt x="99" y="903"/>
                  </a:lnTo>
                  <a:lnTo>
                    <a:pt x="96" y="906"/>
                  </a:lnTo>
                  <a:lnTo>
                    <a:pt x="93" y="909"/>
                  </a:lnTo>
                  <a:lnTo>
                    <a:pt x="88" y="909"/>
                  </a:lnTo>
                  <a:lnTo>
                    <a:pt x="88" y="909"/>
                  </a:lnTo>
                  <a:lnTo>
                    <a:pt x="85" y="909"/>
                  </a:lnTo>
                  <a:lnTo>
                    <a:pt x="85" y="911"/>
                  </a:lnTo>
                  <a:lnTo>
                    <a:pt x="83" y="911"/>
                  </a:lnTo>
                  <a:lnTo>
                    <a:pt x="77" y="911"/>
                  </a:lnTo>
                  <a:lnTo>
                    <a:pt x="75" y="911"/>
                  </a:lnTo>
                  <a:lnTo>
                    <a:pt x="72" y="911"/>
                  </a:lnTo>
                  <a:lnTo>
                    <a:pt x="72" y="911"/>
                  </a:lnTo>
                  <a:lnTo>
                    <a:pt x="72" y="909"/>
                  </a:lnTo>
                  <a:lnTo>
                    <a:pt x="72" y="903"/>
                  </a:lnTo>
                  <a:lnTo>
                    <a:pt x="69" y="903"/>
                  </a:lnTo>
                  <a:lnTo>
                    <a:pt x="67" y="901"/>
                  </a:lnTo>
                  <a:lnTo>
                    <a:pt x="67" y="901"/>
                  </a:lnTo>
                  <a:lnTo>
                    <a:pt x="64" y="901"/>
                  </a:lnTo>
                  <a:lnTo>
                    <a:pt x="61" y="898"/>
                  </a:lnTo>
                  <a:lnTo>
                    <a:pt x="61" y="895"/>
                  </a:lnTo>
                  <a:lnTo>
                    <a:pt x="59" y="895"/>
                  </a:lnTo>
                  <a:lnTo>
                    <a:pt x="59" y="893"/>
                  </a:lnTo>
                  <a:lnTo>
                    <a:pt x="59" y="893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90"/>
                  </a:lnTo>
                  <a:lnTo>
                    <a:pt x="61" y="887"/>
                  </a:lnTo>
                  <a:lnTo>
                    <a:pt x="61" y="887"/>
                  </a:lnTo>
                  <a:lnTo>
                    <a:pt x="59" y="887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82"/>
                  </a:lnTo>
                  <a:lnTo>
                    <a:pt x="59" y="879"/>
                  </a:lnTo>
                  <a:lnTo>
                    <a:pt x="59" y="879"/>
                  </a:lnTo>
                  <a:lnTo>
                    <a:pt x="59" y="877"/>
                  </a:lnTo>
                  <a:lnTo>
                    <a:pt x="59" y="877"/>
                  </a:lnTo>
                  <a:lnTo>
                    <a:pt x="56" y="874"/>
                  </a:lnTo>
                  <a:lnTo>
                    <a:pt x="56" y="871"/>
                  </a:lnTo>
                  <a:lnTo>
                    <a:pt x="56" y="871"/>
                  </a:lnTo>
                  <a:lnTo>
                    <a:pt x="56" y="869"/>
                  </a:lnTo>
                  <a:lnTo>
                    <a:pt x="56" y="866"/>
                  </a:lnTo>
                  <a:lnTo>
                    <a:pt x="56" y="866"/>
                  </a:lnTo>
                  <a:lnTo>
                    <a:pt x="59" y="863"/>
                  </a:lnTo>
                  <a:lnTo>
                    <a:pt x="59" y="863"/>
                  </a:lnTo>
                  <a:lnTo>
                    <a:pt x="59" y="861"/>
                  </a:lnTo>
                  <a:lnTo>
                    <a:pt x="59" y="861"/>
                  </a:lnTo>
                  <a:lnTo>
                    <a:pt x="59" y="858"/>
                  </a:lnTo>
                  <a:lnTo>
                    <a:pt x="59" y="858"/>
                  </a:lnTo>
                  <a:lnTo>
                    <a:pt x="59" y="855"/>
                  </a:lnTo>
                  <a:lnTo>
                    <a:pt x="56" y="855"/>
                  </a:lnTo>
                  <a:lnTo>
                    <a:pt x="56" y="855"/>
                  </a:lnTo>
                  <a:lnTo>
                    <a:pt x="56" y="853"/>
                  </a:lnTo>
                  <a:lnTo>
                    <a:pt x="56" y="853"/>
                  </a:lnTo>
                  <a:lnTo>
                    <a:pt x="56" y="850"/>
                  </a:lnTo>
                  <a:lnTo>
                    <a:pt x="53" y="847"/>
                  </a:lnTo>
                  <a:lnTo>
                    <a:pt x="53" y="847"/>
                  </a:lnTo>
                  <a:lnTo>
                    <a:pt x="53" y="845"/>
                  </a:lnTo>
                  <a:lnTo>
                    <a:pt x="53" y="845"/>
                  </a:lnTo>
                  <a:lnTo>
                    <a:pt x="53" y="842"/>
                  </a:lnTo>
                  <a:lnTo>
                    <a:pt x="53" y="839"/>
                  </a:lnTo>
                  <a:lnTo>
                    <a:pt x="53" y="834"/>
                  </a:lnTo>
                  <a:lnTo>
                    <a:pt x="56" y="834"/>
                  </a:lnTo>
                  <a:lnTo>
                    <a:pt x="56" y="831"/>
                  </a:lnTo>
                  <a:lnTo>
                    <a:pt x="59" y="828"/>
                  </a:lnTo>
                  <a:lnTo>
                    <a:pt x="59" y="828"/>
                  </a:lnTo>
                  <a:lnTo>
                    <a:pt x="61" y="831"/>
                  </a:lnTo>
                  <a:lnTo>
                    <a:pt x="61" y="831"/>
                  </a:lnTo>
                  <a:lnTo>
                    <a:pt x="64" y="831"/>
                  </a:lnTo>
                  <a:lnTo>
                    <a:pt x="67" y="834"/>
                  </a:lnTo>
                  <a:lnTo>
                    <a:pt x="67" y="831"/>
                  </a:lnTo>
                  <a:lnTo>
                    <a:pt x="67" y="831"/>
                  </a:lnTo>
                  <a:lnTo>
                    <a:pt x="69" y="831"/>
                  </a:lnTo>
                  <a:lnTo>
                    <a:pt x="69" y="831"/>
                  </a:lnTo>
                  <a:lnTo>
                    <a:pt x="67" y="831"/>
                  </a:lnTo>
                  <a:lnTo>
                    <a:pt x="67" y="831"/>
                  </a:lnTo>
                  <a:lnTo>
                    <a:pt x="64" y="831"/>
                  </a:lnTo>
                  <a:lnTo>
                    <a:pt x="64" y="828"/>
                  </a:lnTo>
                  <a:lnTo>
                    <a:pt x="64" y="828"/>
                  </a:lnTo>
                  <a:lnTo>
                    <a:pt x="64" y="828"/>
                  </a:lnTo>
                  <a:lnTo>
                    <a:pt x="64" y="826"/>
                  </a:lnTo>
                  <a:lnTo>
                    <a:pt x="64" y="826"/>
                  </a:lnTo>
                  <a:lnTo>
                    <a:pt x="64" y="823"/>
                  </a:lnTo>
                  <a:lnTo>
                    <a:pt x="67" y="823"/>
                  </a:lnTo>
                  <a:lnTo>
                    <a:pt x="67" y="820"/>
                  </a:lnTo>
                  <a:lnTo>
                    <a:pt x="67" y="820"/>
                  </a:lnTo>
                  <a:lnTo>
                    <a:pt x="69" y="820"/>
                  </a:lnTo>
                  <a:lnTo>
                    <a:pt x="69" y="820"/>
                  </a:lnTo>
                  <a:lnTo>
                    <a:pt x="69" y="820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2" y="823"/>
                  </a:lnTo>
                  <a:lnTo>
                    <a:pt x="75" y="823"/>
                  </a:lnTo>
                  <a:lnTo>
                    <a:pt x="75" y="823"/>
                  </a:lnTo>
                  <a:lnTo>
                    <a:pt x="75" y="823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5" y="826"/>
                  </a:lnTo>
                  <a:lnTo>
                    <a:pt x="77" y="828"/>
                  </a:lnTo>
                  <a:lnTo>
                    <a:pt x="77" y="828"/>
                  </a:lnTo>
                  <a:lnTo>
                    <a:pt x="77" y="826"/>
                  </a:lnTo>
                  <a:lnTo>
                    <a:pt x="77" y="826"/>
                  </a:lnTo>
                  <a:lnTo>
                    <a:pt x="77" y="826"/>
                  </a:lnTo>
                  <a:lnTo>
                    <a:pt x="77" y="823"/>
                  </a:lnTo>
                  <a:lnTo>
                    <a:pt x="77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80" y="823"/>
                  </a:lnTo>
                  <a:lnTo>
                    <a:pt x="77" y="820"/>
                  </a:lnTo>
                  <a:lnTo>
                    <a:pt x="77" y="820"/>
                  </a:lnTo>
                  <a:lnTo>
                    <a:pt x="75" y="820"/>
                  </a:lnTo>
                  <a:lnTo>
                    <a:pt x="75" y="820"/>
                  </a:lnTo>
                  <a:lnTo>
                    <a:pt x="75" y="820"/>
                  </a:lnTo>
                  <a:lnTo>
                    <a:pt x="75" y="818"/>
                  </a:lnTo>
                  <a:lnTo>
                    <a:pt x="75" y="818"/>
                  </a:lnTo>
                  <a:lnTo>
                    <a:pt x="75" y="818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5" y="815"/>
                  </a:lnTo>
                  <a:lnTo>
                    <a:pt x="72" y="812"/>
                  </a:lnTo>
                  <a:lnTo>
                    <a:pt x="72" y="812"/>
                  </a:lnTo>
                  <a:lnTo>
                    <a:pt x="72" y="810"/>
                  </a:lnTo>
                  <a:lnTo>
                    <a:pt x="72" y="810"/>
                  </a:lnTo>
                  <a:lnTo>
                    <a:pt x="72" y="810"/>
                  </a:lnTo>
                  <a:lnTo>
                    <a:pt x="72" y="807"/>
                  </a:lnTo>
                  <a:lnTo>
                    <a:pt x="72" y="807"/>
                  </a:lnTo>
                  <a:lnTo>
                    <a:pt x="69" y="807"/>
                  </a:lnTo>
                  <a:lnTo>
                    <a:pt x="72" y="807"/>
                  </a:lnTo>
                  <a:lnTo>
                    <a:pt x="72" y="804"/>
                  </a:lnTo>
                  <a:lnTo>
                    <a:pt x="72" y="804"/>
                  </a:lnTo>
                  <a:lnTo>
                    <a:pt x="72" y="804"/>
                  </a:lnTo>
                  <a:lnTo>
                    <a:pt x="72" y="802"/>
                  </a:lnTo>
                  <a:lnTo>
                    <a:pt x="72" y="802"/>
                  </a:lnTo>
                  <a:lnTo>
                    <a:pt x="72" y="802"/>
                  </a:lnTo>
                  <a:lnTo>
                    <a:pt x="72" y="799"/>
                  </a:lnTo>
                  <a:lnTo>
                    <a:pt x="72" y="799"/>
                  </a:lnTo>
                  <a:lnTo>
                    <a:pt x="75" y="799"/>
                  </a:lnTo>
                  <a:lnTo>
                    <a:pt x="75" y="796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2" y="794"/>
                  </a:lnTo>
                  <a:lnTo>
                    <a:pt x="72" y="794"/>
                  </a:lnTo>
                  <a:lnTo>
                    <a:pt x="72" y="794"/>
                  </a:lnTo>
                  <a:lnTo>
                    <a:pt x="69" y="791"/>
                  </a:lnTo>
                  <a:lnTo>
                    <a:pt x="69" y="791"/>
                  </a:lnTo>
                  <a:lnTo>
                    <a:pt x="67" y="791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91"/>
                  </a:lnTo>
                  <a:lnTo>
                    <a:pt x="64" y="788"/>
                  </a:lnTo>
                  <a:lnTo>
                    <a:pt x="64" y="788"/>
                  </a:lnTo>
                  <a:lnTo>
                    <a:pt x="61" y="788"/>
                  </a:lnTo>
                  <a:lnTo>
                    <a:pt x="61" y="788"/>
                  </a:lnTo>
                  <a:lnTo>
                    <a:pt x="61" y="788"/>
                  </a:lnTo>
                  <a:lnTo>
                    <a:pt x="61" y="786"/>
                  </a:lnTo>
                  <a:lnTo>
                    <a:pt x="59" y="786"/>
                  </a:lnTo>
                  <a:lnTo>
                    <a:pt x="59" y="786"/>
                  </a:lnTo>
                  <a:lnTo>
                    <a:pt x="56" y="783"/>
                  </a:lnTo>
                  <a:lnTo>
                    <a:pt x="56" y="783"/>
                  </a:lnTo>
                  <a:lnTo>
                    <a:pt x="56" y="783"/>
                  </a:lnTo>
                  <a:lnTo>
                    <a:pt x="53" y="783"/>
                  </a:lnTo>
                  <a:lnTo>
                    <a:pt x="53" y="783"/>
                  </a:lnTo>
                  <a:lnTo>
                    <a:pt x="53" y="783"/>
                  </a:lnTo>
                  <a:lnTo>
                    <a:pt x="51" y="783"/>
                  </a:lnTo>
                  <a:lnTo>
                    <a:pt x="51" y="783"/>
                  </a:lnTo>
                  <a:lnTo>
                    <a:pt x="51" y="780"/>
                  </a:lnTo>
                  <a:lnTo>
                    <a:pt x="48" y="780"/>
                  </a:lnTo>
                  <a:lnTo>
                    <a:pt x="48" y="780"/>
                  </a:lnTo>
                  <a:lnTo>
                    <a:pt x="48" y="780"/>
                  </a:lnTo>
                  <a:lnTo>
                    <a:pt x="48" y="778"/>
                  </a:lnTo>
                  <a:lnTo>
                    <a:pt x="45" y="778"/>
                  </a:lnTo>
                  <a:lnTo>
                    <a:pt x="45" y="778"/>
                  </a:lnTo>
                  <a:lnTo>
                    <a:pt x="43" y="775"/>
                  </a:lnTo>
                  <a:lnTo>
                    <a:pt x="43" y="775"/>
                  </a:lnTo>
                  <a:lnTo>
                    <a:pt x="45" y="775"/>
                  </a:lnTo>
                  <a:lnTo>
                    <a:pt x="45" y="772"/>
                  </a:lnTo>
                  <a:lnTo>
                    <a:pt x="43" y="772"/>
                  </a:lnTo>
                  <a:lnTo>
                    <a:pt x="43" y="772"/>
                  </a:lnTo>
                  <a:lnTo>
                    <a:pt x="40" y="772"/>
                  </a:lnTo>
                  <a:lnTo>
                    <a:pt x="40" y="772"/>
                  </a:lnTo>
                  <a:lnTo>
                    <a:pt x="40" y="772"/>
                  </a:lnTo>
                  <a:lnTo>
                    <a:pt x="37" y="772"/>
                  </a:lnTo>
                  <a:lnTo>
                    <a:pt x="37" y="772"/>
                  </a:lnTo>
                  <a:lnTo>
                    <a:pt x="37" y="772"/>
                  </a:lnTo>
                  <a:lnTo>
                    <a:pt x="34" y="772"/>
                  </a:lnTo>
                  <a:lnTo>
                    <a:pt x="34" y="772"/>
                  </a:lnTo>
                  <a:lnTo>
                    <a:pt x="34" y="770"/>
                  </a:lnTo>
                  <a:lnTo>
                    <a:pt x="32" y="770"/>
                  </a:lnTo>
                  <a:lnTo>
                    <a:pt x="29" y="770"/>
                  </a:lnTo>
                  <a:lnTo>
                    <a:pt x="29" y="770"/>
                  </a:lnTo>
                  <a:lnTo>
                    <a:pt x="29" y="772"/>
                  </a:lnTo>
                  <a:lnTo>
                    <a:pt x="29" y="772"/>
                  </a:lnTo>
                  <a:lnTo>
                    <a:pt x="29" y="775"/>
                  </a:lnTo>
                  <a:lnTo>
                    <a:pt x="26" y="775"/>
                  </a:lnTo>
                  <a:lnTo>
                    <a:pt x="26" y="772"/>
                  </a:lnTo>
                  <a:lnTo>
                    <a:pt x="26" y="772"/>
                  </a:lnTo>
                  <a:lnTo>
                    <a:pt x="26" y="770"/>
                  </a:lnTo>
                  <a:lnTo>
                    <a:pt x="24" y="770"/>
                  </a:lnTo>
                  <a:lnTo>
                    <a:pt x="24" y="770"/>
                  </a:lnTo>
                  <a:lnTo>
                    <a:pt x="21" y="770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1" y="767"/>
                  </a:lnTo>
                  <a:lnTo>
                    <a:pt x="24" y="767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4"/>
                  </a:lnTo>
                  <a:lnTo>
                    <a:pt x="24" y="762"/>
                  </a:lnTo>
                  <a:lnTo>
                    <a:pt x="24" y="762"/>
                  </a:lnTo>
                  <a:lnTo>
                    <a:pt x="24" y="759"/>
                  </a:lnTo>
                  <a:lnTo>
                    <a:pt x="24" y="759"/>
                  </a:lnTo>
                  <a:lnTo>
                    <a:pt x="24" y="756"/>
                  </a:lnTo>
                  <a:lnTo>
                    <a:pt x="24" y="756"/>
                  </a:lnTo>
                  <a:lnTo>
                    <a:pt x="24" y="756"/>
                  </a:lnTo>
                  <a:lnTo>
                    <a:pt x="26" y="756"/>
                  </a:lnTo>
                  <a:lnTo>
                    <a:pt x="29" y="759"/>
                  </a:lnTo>
                  <a:lnTo>
                    <a:pt x="29" y="759"/>
                  </a:lnTo>
                  <a:lnTo>
                    <a:pt x="29" y="759"/>
                  </a:lnTo>
                  <a:lnTo>
                    <a:pt x="32" y="759"/>
                  </a:lnTo>
                  <a:lnTo>
                    <a:pt x="34" y="759"/>
                  </a:lnTo>
                  <a:lnTo>
                    <a:pt x="34" y="759"/>
                  </a:lnTo>
                  <a:lnTo>
                    <a:pt x="37" y="759"/>
                  </a:lnTo>
                  <a:lnTo>
                    <a:pt x="37" y="759"/>
                  </a:lnTo>
                  <a:lnTo>
                    <a:pt x="40" y="759"/>
                  </a:lnTo>
                  <a:lnTo>
                    <a:pt x="40" y="756"/>
                  </a:lnTo>
                  <a:lnTo>
                    <a:pt x="40" y="756"/>
                  </a:lnTo>
                  <a:lnTo>
                    <a:pt x="40" y="754"/>
                  </a:lnTo>
                  <a:lnTo>
                    <a:pt x="43" y="754"/>
                  </a:lnTo>
                  <a:lnTo>
                    <a:pt x="43" y="751"/>
                  </a:lnTo>
                  <a:lnTo>
                    <a:pt x="40" y="748"/>
                  </a:lnTo>
                  <a:lnTo>
                    <a:pt x="40" y="748"/>
                  </a:lnTo>
                  <a:lnTo>
                    <a:pt x="37" y="743"/>
                  </a:lnTo>
                  <a:lnTo>
                    <a:pt x="37" y="735"/>
                  </a:lnTo>
                  <a:lnTo>
                    <a:pt x="40" y="732"/>
                  </a:lnTo>
                  <a:lnTo>
                    <a:pt x="43" y="730"/>
                  </a:lnTo>
                  <a:lnTo>
                    <a:pt x="40" y="727"/>
                  </a:lnTo>
                  <a:lnTo>
                    <a:pt x="37" y="727"/>
                  </a:lnTo>
                  <a:lnTo>
                    <a:pt x="37" y="724"/>
                  </a:lnTo>
                  <a:lnTo>
                    <a:pt x="37" y="724"/>
                  </a:lnTo>
                  <a:lnTo>
                    <a:pt x="40" y="722"/>
                  </a:lnTo>
                  <a:lnTo>
                    <a:pt x="43" y="719"/>
                  </a:lnTo>
                  <a:lnTo>
                    <a:pt x="45" y="719"/>
                  </a:lnTo>
                  <a:lnTo>
                    <a:pt x="48" y="716"/>
                  </a:lnTo>
                  <a:lnTo>
                    <a:pt x="45" y="714"/>
                  </a:lnTo>
                  <a:lnTo>
                    <a:pt x="45" y="714"/>
                  </a:lnTo>
                  <a:lnTo>
                    <a:pt x="45" y="711"/>
                  </a:lnTo>
                  <a:lnTo>
                    <a:pt x="48" y="708"/>
                  </a:lnTo>
                  <a:lnTo>
                    <a:pt x="48" y="706"/>
                  </a:lnTo>
                  <a:lnTo>
                    <a:pt x="45" y="703"/>
                  </a:lnTo>
                  <a:lnTo>
                    <a:pt x="40" y="703"/>
                  </a:lnTo>
                  <a:lnTo>
                    <a:pt x="40" y="703"/>
                  </a:lnTo>
                  <a:lnTo>
                    <a:pt x="37" y="700"/>
                  </a:lnTo>
                  <a:lnTo>
                    <a:pt x="34" y="698"/>
                  </a:lnTo>
                  <a:lnTo>
                    <a:pt x="32" y="698"/>
                  </a:lnTo>
                  <a:lnTo>
                    <a:pt x="26" y="698"/>
                  </a:lnTo>
                  <a:lnTo>
                    <a:pt x="26" y="695"/>
                  </a:lnTo>
                  <a:lnTo>
                    <a:pt x="26" y="692"/>
                  </a:lnTo>
                  <a:lnTo>
                    <a:pt x="26" y="692"/>
                  </a:lnTo>
                  <a:lnTo>
                    <a:pt x="26" y="692"/>
                  </a:lnTo>
                  <a:lnTo>
                    <a:pt x="24" y="690"/>
                  </a:lnTo>
                  <a:lnTo>
                    <a:pt x="21" y="692"/>
                  </a:lnTo>
                  <a:lnTo>
                    <a:pt x="18" y="690"/>
                  </a:lnTo>
                  <a:lnTo>
                    <a:pt x="16" y="690"/>
                  </a:lnTo>
                  <a:lnTo>
                    <a:pt x="16" y="690"/>
                  </a:lnTo>
                  <a:lnTo>
                    <a:pt x="13" y="687"/>
                  </a:lnTo>
                  <a:lnTo>
                    <a:pt x="13" y="687"/>
                  </a:lnTo>
                  <a:lnTo>
                    <a:pt x="16" y="684"/>
                  </a:lnTo>
                  <a:lnTo>
                    <a:pt x="13" y="682"/>
                  </a:lnTo>
                  <a:lnTo>
                    <a:pt x="13" y="682"/>
                  </a:lnTo>
                  <a:lnTo>
                    <a:pt x="10" y="682"/>
                  </a:lnTo>
                  <a:lnTo>
                    <a:pt x="10" y="682"/>
                  </a:lnTo>
                  <a:lnTo>
                    <a:pt x="8" y="682"/>
                  </a:lnTo>
                  <a:lnTo>
                    <a:pt x="8" y="682"/>
                  </a:lnTo>
                  <a:lnTo>
                    <a:pt x="5" y="679"/>
                  </a:lnTo>
                  <a:lnTo>
                    <a:pt x="5" y="679"/>
                  </a:lnTo>
                  <a:lnTo>
                    <a:pt x="2" y="679"/>
                  </a:lnTo>
                  <a:lnTo>
                    <a:pt x="0" y="676"/>
                  </a:lnTo>
                  <a:lnTo>
                    <a:pt x="0" y="674"/>
                  </a:lnTo>
                  <a:lnTo>
                    <a:pt x="2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8" y="671"/>
                  </a:lnTo>
                  <a:lnTo>
                    <a:pt x="10" y="671"/>
                  </a:lnTo>
                  <a:lnTo>
                    <a:pt x="13" y="671"/>
                  </a:lnTo>
                  <a:lnTo>
                    <a:pt x="16" y="674"/>
                  </a:lnTo>
                  <a:lnTo>
                    <a:pt x="18" y="671"/>
                  </a:lnTo>
                  <a:lnTo>
                    <a:pt x="21" y="671"/>
                  </a:lnTo>
                  <a:lnTo>
                    <a:pt x="24" y="674"/>
                  </a:lnTo>
                  <a:lnTo>
                    <a:pt x="26" y="674"/>
                  </a:lnTo>
                  <a:lnTo>
                    <a:pt x="29" y="674"/>
                  </a:lnTo>
                  <a:lnTo>
                    <a:pt x="32" y="676"/>
                  </a:lnTo>
                  <a:lnTo>
                    <a:pt x="34" y="674"/>
                  </a:lnTo>
                  <a:lnTo>
                    <a:pt x="34" y="671"/>
                  </a:lnTo>
                  <a:lnTo>
                    <a:pt x="34" y="671"/>
                  </a:lnTo>
                  <a:lnTo>
                    <a:pt x="32" y="671"/>
                  </a:lnTo>
                  <a:lnTo>
                    <a:pt x="32" y="668"/>
                  </a:lnTo>
                  <a:lnTo>
                    <a:pt x="29" y="668"/>
                  </a:lnTo>
                  <a:lnTo>
                    <a:pt x="29" y="668"/>
                  </a:lnTo>
                  <a:lnTo>
                    <a:pt x="26" y="665"/>
                  </a:lnTo>
                  <a:lnTo>
                    <a:pt x="26" y="665"/>
                  </a:lnTo>
                  <a:lnTo>
                    <a:pt x="26" y="663"/>
                  </a:lnTo>
                  <a:lnTo>
                    <a:pt x="24" y="663"/>
                  </a:lnTo>
                  <a:lnTo>
                    <a:pt x="24" y="660"/>
                  </a:lnTo>
                  <a:lnTo>
                    <a:pt x="24" y="657"/>
                  </a:lnTo>
                  <a:lnTo>
                    <a:pt x="26" y="655"/>
                  </a:lnTo>
                  <a:lnTo>
                    <a:pt x="26" y="655"/>
                  </a:lnTo>
                  <a:lnTo>
                    <a:pt x="32" y="655"/>
                  </a:lnTo>
                  <a:lnTo>
                    <a:pt x="32" y="652"/>
                  </a:lnTo>
                  <a:lnTo>
                    <a:pt x="29" y="647"/>
                  </a:lnTo>
                  <a:lnTo>
                    <a:pt x="29" y="644"/>
                  </a:lnTo>
                  <a:lnTo>
                    <a:pt x="26" y="641"/>
                  </a:lnTo>
                  <a:lnTo>
                    <a:pt x="24" y="641"/>
                  </a:lnTo>
                  <a:lnTo>
                    <a:pt x="24" y="636"/>
                  </a:lnTo>
                  <a:lnTo>
                    <a:pt x="21" y="636"/>
                  </a:lnTo>
                  <a:lnTo>
                    <a:pt x="18" y="633"/>
                  </a:lnTo>
                  <a:lnTo>
                    <a:pt x="18" y="631"/>
                  </a:lnTo>
                  <a:lnTo>
                    <a:pt x="21" y="631"/>
                  </a:lnTo>
                  <a:lnTo>
                    <a:pt x="24" y="631"/>
                  </a:lnTo>
                  <a:lnTo>
                    <a:pt x="24" y="631"/>
                  </a:lnTo>
                  <a:lnTo>
                    <a:pt x="26" y="628"/>
                  </a:lnTo>
                  <a:lnTo>
                    <a:pt x="29" y="628"/>
                  </a:lnTo>
                  <a:lnTo>
                    <a:pt x="32" y="628"/>
                  </a:lnTo>
                  <a:lnTo>
                    <a:pt x="32" y="625"/>
                  </a:lnTo>
                  <a:lnTo>
                    <a:pt x="29" y="625"/>
                  </a:lnTo>
                  <a:lnTo>
                    <a:pt x="29" y="623"/>
                  </a:lnTo>
                  <a:lnTo>
                    <a:pt x="29" y="623"/>
                  </a:lnTo>
                  <a:lnTo>
                    <a:pt x="29" y="620"/>
                  </a:lnTo>
                  <a:lnTo>
                    <a:pt x="32" y="617"/>
                  </a:lnTo>
                  <a:lnTo>
                    <a:pt x="32" y="615"/>
                  </a:lnTo>
                  <a:lnTo>
                    <a:pt x="32" y="612"/>
                  </a:lnTo>
                  <a:lnTo>
                    <a:pt x="32" y="612"/>
                  </a:lnTo>
                  <a:lnTo>
                    <a:pt x="29" y="612"/>
                  </a:lnTo>
                  <a:lnTo>
                    <a:pt x="29" y="609"/>
                  </a:lnTo>
                  <a:lnTo>
                    <a:pt x="29" y="604"/>
                  </a:lnTo>
                  <a:lnTo>
                    <a:pt x="26" y="601"/>
                  </a:lnTo>
                  <a:lnTo>
                    <a:pt x="24" y="601"/>
                  </a:lnTo>
                  <a:lnTo>
                    <a:pt x="24" y="596"/>
                  </a:lnTo>
                  <a:lnTo>
                    <a:pt x="24" y="593"/>
                  </a:lnTo>
                  <a:lnTo>
                    <a:pt x="24" y="591"/>
                  </a:lnTo>
                  <a:lnTo>
                    <a:pt x="24" y="588"/>
                  </a:lnTo>
                  <a:lnTo>
                    <a:pt x="26" y="588"/>
                  </a:lnTo>
                  <a:lnTo>
                    <a:pt x="29" y="585"/>
                  </a:lnTo>
                  <a:lnTo>
                    <a:pt x="32" y="585"/>
                  </a:lnTo>
                  <a:lnTo>
                    <a:pt x="32" y="583"/>
                  </a:lnTo>
                  <a:lnTo>
                    <a:pt x="32" y="580"/>
                  </a:lnTo>
                  <a:lnTo>
                    <a:pt x="34" y="575"/>
                  </a:lnTo>
                  <a:lnTo>
                    <a:pt x="34" y="575"/>
                  </a:lnTo>
                  <a:lnTo>
                    <a:pt x="29" y="575"/>
                  </a:lnTo>
                  <a:lnTo>
                    <a:pt x="29" y="572"/>
                  </a:lnTo>
                  <a:lnTo>
                    <a:pt x="29" y="569"/>
                  </a:lnTo>
                  <a:lnTo>
                    <a:pt x="29" y="567"/>
                  </a:lnTo>
                  <a:lnTo>
                    <a:pt x="26" y="564"/>
                  </a:lnTo>
                  <a:lnTo>
                    <a:pt x="29" y="564"/>
                  </a:lnTo>
                  <a:lnTo>
                    <a:pt x="29" y="564"/>
                  </a:lnTo>
                  <a:lnTo>
                    <a:pt x="32" y="564"/>
                  </a:lnTo>
                  <a:lnTo>
                    <a:pt x="32" y="559"/>
                  </a:lnTo>
                  <a:lnTo>
                    <a:pt x="34" y="553"/>
                  </a:lnTo>
                  <a:lnTo>
                    <a:pt x="34" y="551"/>
                  </a:lnTo>
                  <a:lnTo>
                    <a:pt x="34" y="548"/>
                  </a:lnTo>
                  <a:lnTo>
                    <a:pt x="37" y="548"/>
                  </a:lnTo>
                  <a:lnTo>
                    <a:pt x="37" y="548"/>
                  </a:lnTo>
                  <a:lnTo>
                    <a:pt x="37" y="545"/>
                  </a:lnTo>
                  <a:lnTo>
                    <a:pt x="40" y="545"/>
                  </a:lnTo>
                  <a:lnTo>
                    <a:pt x="43" y="545"/>
                  </a:lnTo>
                  <a:lnTo>
                    <a:pt x="43" y="543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5" y="540"/>
                  </a:lnTo>
                  <a:lnTo>
                    <a:pt x="48" y="537"/>
                  </a:lnTo>
                  <a:lnTo>
                    <a:pt x="51" y="535"/>
                  </a:lnTo>
                  <a:lnTo>
                    <a:pt x="53" y="535"/>
                  </a:lnTo>
                  <a:lnTo>
                    <a:pt x="56" y="532"/>
                  </a:lnTo>
                  <a:lnTo>
                    <a:pt x="56" y="535"/>
                  </a:lnTo>
                  <a:lnTo>
                    <a:pt x="56" y="535"/>
                  </a:lnTo>
                  <a:lnTo>
                    <a:pt x="61" y="535"/>
                  </a:lnTo>
                  <a:lnTo>
                    <a:pt x="67" y="532"/>
                  </a:lnTo>
                  <a:lnTo>
                    <a:pt x="67" y="529"/>
                  </a:lnTo>
                  <a:lnTo>
                    <a:pt x="69" y="527"/>
                  </a:lnTo>
                  <a:lnTo>
                    <a:pt x="75" y="524"/>
                  </a:lnTo>
                  <a:lnTo>
                    <a:pt x="75" y="524"/>
                  </a:lnTo>
                  <a:lnTo>
                    <a:pt x="80" y="524"/>
                  </a:lnTo>
                  <a:lnTo>
                    <a:pt x="80" y="524"/>
                  </a:lnTo>
                  <a:lnTo>
                    <a:pt x="83" y="524"/>
                  </a:lnTo>
                  <a:lnTo>
                    <a:pt x="85" y="524"/>
                  </a:lnTo>
                  <a:lnTo>
                    <a:pt x="88" y="524"/>
                  </a:lnTo>
                  <a:lnTo>
                    <a:pt x="91" y="524"/>
                  </a:lnTo>
                  <a:lnTo>
                    <a:pt x="93" y="524"/>
                  </a:lnTo>
                  <a:lnTo>
                    <a:pt x="96" y="524"/>
                  </a:lnTo>
                  <a:lnTo>
                    <a:pt x="99" y="524"/>
                  </a:lnTo>
                  <a:lnTo>
                    <a:pt x="99" y="524"/>
                  </a:lnTo>
                  <a:lnTo>
                    <a:pt x="101" y="524"/>
                  </a:lnTo>
                  <a:lnTo>
                    <a:pt x="101" y="521"/>
                  </a:lnTo>
                  <a:lnTo>
                    <a:pt x="101" y="519"/>
                  </a:lnTo>
                  <a:lnTo>
                    <a:pt x="104" y="519"/>
                  </a:lnTo>
                  <a:lnTo>
                    <a:pt x="107" y="516"/>
                  </a:lnTo>
                  <a:lnTo>
                    <a:pt x="107" y="516"/>
                  </a:lnTo>
                  <a:lnTo>
                    <a:pt x="107" y="513"/>
                  </a:lnTo>
                  <a:lnTo>
                    <a:pt x="109" y="516"/>
                  </a:lnTo>
                  <a:lnTo>
                    <a:pt x="112" y="516"/>
                  </a:lnTo>
                  <a:lnTo>
                    <a:pt x="112" y="519"/>
                  </a:lnTo>
                  <a:lnTo>
                    <a:pt x="115" y="519"/>
                  </a:lnTo>
                  <a:lnTo>
                    <a:pt x="117" y="519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0" y="516"/>
                  </a:lnTo>
                  <a:lnTo>
                    <a:pt x="123" y="516"/>
                  </a:lnTo>
                  <a:lnTo>
                    <a:pt x="125" y="516"/>
                  </a:lnTo>
                  <a:lnTo>
                    <a:pt x="128" y="516"/>
                  </a:lnTo>
                  <a:lnTo>
                    <a:pt x="131" y="516"/>
                  </a:lnTo>
                  <a:lnTo>
                    <a:pt x="133" y="513"/>
                  </a:lnTo>
                  <a:lnTo>
                    <a:pt x="136" y="511"/>
                  </a:lnTo>
                  <a:lnTo>
                    <a:pt x="136" y="511"/>
                  </a:lnTo>
                  <a:lnTo>
                    <a:pt x="133" y="508"/>
                  </a:lnTo>
                  <a:lnTo>
                    <a:pt x="133" y="508"/>
                  </a:lnTo>
                  <a:lnTo>
                    <a:pt x="133" y="508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5"/>
                  </a:lnTo>
                  <a:lnTo>
                    <a:pt x="133" y="502"/>
                  </a:lnTo>
                  <a:lnTo>
                    <a:pt x="133" y="502"/>
                  </a:lnTo>
                  <a:lnTo>
                    <a:pt x="131" y="502"/>
                  </a:lnTo>
                  <a:lnTo>
                    <a:pt x="131" y="500"/>
                  </a:lnTo>
                  <a:lnTo>
                    <a:pt x="131" y="500"/>
                  </a:lnTo>
                  <a:lnTo>
                    <a:pt x="131" y="497"/>
                  </a:lnTo>
                  <a:lnTo>
                    <a:pt x="131" y="497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1" y="492"/>
                  </a:lnTo>
                  <a:lnTo>
                    <a:pt x="131" y="492"/>
                  </a:lnTo>
                  <a:lnTo>
                    <a:pt x="131" y="492"/>
                  </a:lnTo>
                  <a:lnTo>
                    <a:pt x="131" y="489"/>
                  </a:lnTo>
                  <a:lnTo>
                    <a:pt x="131" y="489"/>
                  </a:lnTo>
                  <a:lnTo>
                    <a:pt x="131" y="486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4"/>
                  </a:lnTo>
                  <a:lnTo>
                    <a:pt x="131" y="481"/>
                  </a:lnTo>
                  <a:lnTo>
                    <a:pt x="131" y="481"/>
                  </a:lnTo>
                  <a:lnTo>
                    <a:pt x="133" y="476"/>
                  </a:lnTo>
                  <a:lnTo>
                    <a:pt x="133" y="476"/>
                  </a:lnTo>
                  <a:lnTo>
                    <a:pt x="133" y="476"/>
                  </a:lnTo>
                  <a:lnTo>
                    <a:pt x="133" y="473"/>
                  </a:lnTo>
                  <a:lnTo>
                    <a:pt x="136" y="476"/>
                  </a:lnTo>
                  <a:lnTo>
                    <a:pt x="136" y="473"/>
                  </a:lnTo>
                  <a:lnTo>
                    <a:pt x="136" y="473"/>
                  </a:lnTo>
                  <a:lnTo>
                    <a:pt x="136" y="470"/>
                  </a:lnTo>
                  <a:lnTo>
                    <a:pt x="139" y="468"/>
                  </a:lnTo>
                  <a:lnTo>
                    <a:pt x="139" y="468"/>
                  </a:lnTo>
                  <a:lnTo>
                    <a:pt x="139" y="468"/>
                  </a:lnTo>
                  <a:lnTo>
                    <a:pt x="141" y="468"/>
                  </a:lnTo>
                  <a:lnTo>
                    <a:pt x="141" y="465"/>
                  </a:lnTo>
                  <a:lnTo>
                    <a:pt x="141" y="465"/>
                  </a:lnTo>
                  <a:lnTo>
                    <a:pt x="144" y="465"/>
                  </a:lnTo>
                  <a:lnTo>
                    <a:pt x="144" y="462"/>
                  </a:lnTo>
                  <a:lnTo>
                    <a:pt x="147" y="462"/>
                  </a:lnTo>
                  <a:lnTo>
                    <a:pt x="149" y="462"/>
                  </a:lnTo>
                  <a:lnTo>
                    <a:pt x="152" y="462"/>
                  </a:lnTo>
                  <a:lnTo>
                    <a:pt x="152" y="465"/>
                  </a:lnTo>
                  <a:lnTo>
                    <a:pt x="152" y="465"/>
                  </a:lnTo>
                  <a:lnTo>
                    <a:pt x="155" y="462"/>
                  </a:lnTo>
                  <a:lnTo>
                    <a:pt x="155" y="462"/>
                  </a:lnTo>
                  <a:lnTo>
                    <a:pt x="160" y="465"/>
                  </a:lnTo>
                  <a:lnTo>
                    <a:pt x="160" y="465"/>
                  </a:lnTo>
                  <a:lnTo>
                    <a:pt x="160" y="465"/>
                  </a:lnTo>
                  <a:lnTo>
                    <a:pt x="163" y="465"/>
                  </a:lnTo>
                  <a:lnTo>
                    <a:pt x="165" y="465"/>
                  </a:lnTo>
                  <a:lnTo>
                    <a:pt x="165" y="465"/>
                  </a:lnTo>
                  <a:lnTo>
                    <a:pt x="168" y="465"/>
                  </a:lnTo>
                  <a:lnTo>
                    <a:pt x="168" y="462"/>
                  </a:lnTo>
                  <a:lnTo>
                    <a:pt x="171" y="462"/>
                  </a:lnTo>
                  <a:lnTo>
                    <a:pt x="171" y="460"/>
                  </a:lnTo>
                  <a:lnTo>
                    <a:pt x="171" y="460"/>
                  </a:lnTo>
                  <a:lnTo>
                    <a:pt x="173" y="462"/>
                  </a:lnTo>
                  <a:lnTo>
                    <a:pt x="176" y="462"/>
                  </a:lnTo>
                  <a:lnTo>
                    <a:pt x="176" y="462"/>
                  </a:lnTo>
                  <a:lnTo>
                    <a:pt x="179" y="460"/>
                  </a:lnTo>
                  <a:lnTo>
                    <a:pt x="181" y="460"/>
                  </a:lnTo>
                  <a:lnTo>
                    <a:pt x="181" y="460"/>
                  </a:lnTo>
                  <a:lnTo>
                    <a:pt x="187" y="460"/>
                  </a:lnTo>
                  <a:lnTo>
                    <a:pt x="189" y="460"/>
                  </a:lnTo>
                  <a:lnTo>
                    <a:pt x="192" y="457"/>
                  </a:lnTo>
                  <a:lnTo>
                    <a:pt x="195" y="457"/>
                  </a:lnTo>
                  <a:lnTo>
                    <a:pt x="195" y="454"/>
                  </a:lnTo>
                  <a:lnTo>
                    <a:pt x="197" y="452"/>
                  </a:lnTo>
                  <a:lnTo>
                    <a:pt x="197" y="452"/>
                  </a:lnTo>
                  <a:lnTo>
                    <a:pt x="197" y="449"/>
                  </a:lnTo>
                  <a:lnTo>
                    <a:pt x="197" y="449"/>
                  </a:lnTo>
                  <a:lnTo>
                    <a:pt x="200" y="446"/>
                  </a:lnTo>
                  <a:lnTo>
                    <a:pt x="200" y="444"/>
                  </a:lnTo>
                  <a:lnTo>
                    <a:pt x="203" y="444"/>
                  </a:lnTo>
                  <a:lnTo>
                    <a:pt x="203" y="444"/>
                  </a:lnTo>
                  <a:lnTo>
                    <a:pt x="205" y="444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5" y="441"/>
                  </a:lnTo>
                  <a:lnTo>
                    <a:pt x="208" y="438"/>
                  </a:lnTo>
                  <a:lnTo>
                    <a:pt x="208" y="438"/>
                  </a:lnTo>
                  <a:lnTo>
                    <a:pt x="211" y="438"/>
                  </a:lnTo>
                  <a:lnTo>
                    <a:pt x="211" y="436"/>
                  </a:lnTo>
                  <a:lnTo>
                    <a:pt x="211" y="433"/>
                  </a:lnTo>
                  <a:lnTo>
                    <a:pt x="211" y="433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28"/>
                  </a:lnTo>
                  <a:lnTo>
                    <a:pt x="211" y="428"/>
                  </a:lnTo>
                  <a:lnTo>
                    <a:pt x="213" y="425"/>
                  </a:lnTo>
                  <a:lnTo>
                    <a:pt x="216" y="425"/>
                  </a:lnTo>
                  <a:lnTo>
                    <a:pt x="216" y="422"/>
                  </a:lnTo>
                  <a:lnTo>
                    <a:pt x="219" y="420"/>
                  </a:lnTo>
                  <a:lnTo>
                    <a:pt x="216" y="420"/>
                  </a:lnTo>
                  <a:lnTo>
                    <a:pt x="216" y="420"/>
                  </a:lnTo>
                  <a:lnTo>
                    <a:pt x="213" y="420"/>
                  </a:lnTo>
                  <a:lnTo>
                    <a:pt x="213" y="420"/>
                  </a:lnTo>
                  <a:lnTo>
                    <a:pt x="213" y="417"/>
                  </a:lnTo>
                  <a:lnTo>
                    <a:pt x="211" y="414"/>
                  </a:lnTo>
                  <a:lnTo>
                    <a:pt x="213" y="414"/>
                  </a:lnTo>
                  <a:lnTo>
                    <a:pt x="213" y="412"/>
                  </a:lnTo>
                  <a:lnTo>
                    <a:pt x="213" y="409"/>
                  </a:lnTo>
                  <a:lnTo>
                    <a:pt x="213" y="409"/>
                  </a:lnTo>
                  <a:lnTo>
                    <a:pt x="213" y="406"/>
                  </a:lnTo>
                  <a:lnTo>
                    <a:pt x="213" y="406"/>
                  </a:lnTo>
                  <a:lnTo>
                    <a:pt x="213" y="404"/>
                  </a:lnTo>
                  <a:lnTo>
                    <a:pt x="213" y="404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9" y="401"/>
                  </a:lnTo>
                  <a:lnTo>
                    <a:pt x="219" y="398"/>
                  </a:lnTo>
                  <a:lnTo>
                    <a:pt x="221" y="398"/>
                  </a:lnTo>
                  <a:lnTo>
                    <a:pt x="221" y="398"/>
                  </a:lnTo>
                  <a:lnTo>
                    <a:pt x="224" y="396"/>
                  </a:lnTo>
                  <a:lnTo>
                    <a:pt x="224" y="396"/>
                  </a:lnTo>
                  <a:lnTo>
                    <a:pt x="227" y="396"/>
                  </a:lnTo>
                  <a:lnTo>
                    <a:pt x="229" y="393"/>
                  </a:lnTo>
                  <a:lnTo>
                    <a:pt x="229" y="390"/>
                  </a:lnTo>
                  <a:lnTo>
                    <a:pt x="229" y="388"/>
                  </a:lnTo>
                  <a:lnTo>
                    <a:pt x="227" y="38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1" name="Freeform 8887">
              <a:extLst>
                <a:ext uri="{FF2B5EF4-FFF2-40B4-BE49-F238E27FC236}">
                  <a16:creationId xmlns:a16="http://schemas.microsoft.com/office/drawing/2014/main" id="{72687606-02E8-634E-BAA7-C43F84C696B2}"/>
                </a:ext>
              </a:extLst>
            </p:cNvPr>
            <p:cNvSpPr/>
            <p:nvPr/>
          </p:nvSpPr>
          <p:spPr bwMode="auto">
            <a:xfrm>
              <a:off x="10076652" y="412753"/>
              <a:ext cx="1708150" cy="1701799"/>
            </a:xfrm>
            <a:custGeom>
              <a:avLst/>
              <a:gdLst>
                <a:gd name="T0" fmla="*/ 967 w 1076"/>
                <a:gd name="T1" fmla="*/ 738 h 1072"/>
                <a:gd name="T2" fmla="*/ 953 w 1076"/>
                <a:gd name="T3" fmla="*/ 690 h 1072"/>
                <a:gd name="T4" fmla="*/ 969 w 1076"/>
                <a:gd name="T5" fmla="*/ 682 h 1072"/>
                <a:gd name="T6" fmla="*/ 1044 w 1076"/>
                <a:gd name="T7" fmla="*/ 628 h 1072"/>
                <a:gd name="T8" fmla="*/ 961 w 1076"/>
                <a:gd name="T9" fmla="*/ 578 h 1072"/>
                <a:gd name="T10" fmla="*/ 937 w 1076"/>
                <a:gd name="T11" fmla="*/ 578 h 1072"/>
                <a:gd name="T12" fmla="*/ 908 w 1076"/>
                <a:gd name="T13" fmla="*/ 554 h 1072"/>
                <a:gd name="T14" fmla="*/ 860 w 1076"/>
                <a:gd name="T15" fmla="*/ 554 h 1072"/>
                <a:gd name="T16" fmla="*/ 780 w 1076"/>
                <a:gd name="T17" fmla="*/ 591 h 1072"/>
                <a:gd name="T18" fmla="*/ 759 w 1076"/>
                <a:gd name="T19" fmla="*/ 578 h 1072"/>
                <a:gd name="T20" fmla="*/ 759 w 1076"/>
                <a:gd name="T21" fmla="*/ 556 h 1072"/>
                <a:gd name="T22" fmla="*/ 791 w 1076"/>
                <a:gd name="T23" fmla="*/ 540 h 1072"/>
                <a:gd name="T24" fmla="*/ 836 w 1076"/>
                <a:gd name="T25" fmla="*/ 506 h 1072"/>
                <a:gd name="T26" fmla="*/ 831 w 1076"/>
                <a:gd name="T27" fmla="*/ 409 h 1072"/>
                <a:gd name="T28" fmla="*/ 793 w 1076"/>
                <a:gd name="T29" fmla="*/ 383 h 1072"/>
                <a:gd name="T30" fmla="*/ 767 w 1076"/>
                <a:gd name="T31" fmla="*/ 308 h 1072"/>
                <a:gd name="T32" fmla="*/ 844 w 1076"/>
                <a:gd name="T33" fmla="*/ 353 h 1072"/>
                <a:gd name="T34" fmla="*/ 916 w 1076"/>
                <a:gd name="T35" fmla="*/ 273 h 1072"/>
                <a:gd name="T36" fmla="*/ 975 w 1076"/>
                <a:gd name="T37" fmla="*/ 265 h 1072"/>
                <a:gd name="T38" fmla="*/ 1042 w 1076"/>
                <a:gd name="T39" fmla="*/ 244 h 1072"/>
                <a:gd name="T40" fmla="*/ 1066 w 1076"/>
                <a:gd name="T41" fmla="*/ 212 h 1072"/>
                <a:gd name="T42" fmla="*/ 1044 w 1076"/>
                <a:gd name="T43" fmla="*/ 193 h 1072"/>
                <a:gd name="T44" fmla="*/ 1020 w 1076"/>
                <a:gd name="T45" fmla="*/ 145 h 1072"/>
                <a:gd name="T46" fmla="*/ 983 w 1076"/>
                <a:gd name="T47" fmla="*/ 131 h 1072"/>
                <a:gd name="T48" fmla="*/ 975 w 1076"/>
                <a:gd name="T49" fmla="*/ 121 h 1072"/>
                <a:gd name="T50" fmla="*/ 964 w 1076"/>
                <a:gd name="T51" fmla="*/ 81 h 1072"/>
                <a:gd name="T52" fmla="*/ 975 w 1076"/>
                <a:gd name="T53" fmla="*/ 11 h 1072"/>
                <a:gd name="T54" fmla="*/ 943 w 1076"/>
                <a:gd name="T55" fmla="*/ 22 h 1072"/>
                <a:gd name="T56" fmla="*/ 841 w 1076"/>
                <a:gd name="T57" fmla="*/ 54 h 1072"/>
                <a:gd name="T58" fmla="*/ 844 w 1076"/>
                <a:gd name="T59" fmla="*/ 65 h 1072"/>
                <a:gd name="T60" fmla="*/ 817 w 1076"/>
                <a:gd name="T61" fmla="*/ 78 h 1072"/>
                <a:gd name="T62" fmla="*/ 791 w 1076"/>
                <a:gd name="T63" fmla="*/ 129 h 1072"/>
                <a:gd name="T64" fmla="*/ 860 w 1076"/>
                <a:gd name="T65" fmla="*/ 131 h 1072"/>
                <a:gd name="T66" fmla="*/ 855 w 1076"/>
                <a:gd name="T67" fmla="*/ 164 h 1072"/>
                <a:gd name="T68" fmla="*/ 777 w 1076"/>
                <a:gd name="T69" fmla="*/ 139 h 1072"/>
                <a:gd name="T70" fmla="*/ 716 w 1076"/>
                <a:gd name="T71" fmla="*/ 121 h 1072"/>
                <a:gd name="T72" fmla="*/ 620 w 1076"/>
                <a:gd name="T73" fmla="*/ 169 h 1072"/>
                <a:gd name="T74" fmla="*/ 553 w 1076"/>
                <a:gd name="T75" fmla="*/ 180 h 1072"/>
                <a:gd name="T76" fmla="*/ 489 w 1076"/>
                <a:gd name="T77" fmla="*/ 201 h 1072"/>
                <a:gd name="T78" fmla="*/ 398 w 1076"/>
                <a:gd name="T79" fmla="*/ 236 h 1072"/>
                <a:gd name="T80" fmla="*/ 313 w 1076"/>
                <a:gd name="T81" fmla="*/ 292 h 1072"/>
                <a:gd name="T82" fmla="*/ 265 w 1076"/>
                <a:gd name="T83" fmla="*/ 345 h 1072"/>
                <a:gd name="T84" fmla="*/ 208 w 1076"/>
                <a:gd name="T85" fmla="*/ 436 h 1072"/>
                <a:gd name="T86" fmla="*/ 283 w 1076"/>
                <a:gd name="T87" fmla="*/ 498 h 1072"/>
                <a:gd name="T88" fmla="*/ 211 w 1076"/>
                <a:gd name="T89" fmla="*/ 527 h 1072"/>
                <a:gd name="T90" fmla="*/ 134 w 1076"/>
                <a:gd name="T91" fmla="*/ 519 h 1072"/>
                <a:gd name="T92" fmla="*/ 83 w 1076"/>
                <a:gd name="T93" fmla="*/ 599 h 1072"/>
                <a:gd name="T94" fmla="*/ 16 w 1076"/>
                <a:gd name="T95" fmla="*/ 655 h 1072"/>
                <a:gd name="T96" fmla="*/ 46 w 1076"/>
                <a:gd name="T97" fmla="*/ 706 h 1072"/>
                <a:gd name="T98" fmla="*/ 99 w 1076"/>
                <a:gd name="T99" fmla="*/ 765 h 1072"/>
                <a:gd name="T100" fmla="*/ 30 w 1076"/>
                <a:gd name="T101" fmla="*/ 858 h 1072"/>
                <a:gd name="T102" fmla="*/ 19 w 1076"/>
                <a:gd name="T103" fmla="*/ 960 h 1072"/>
                <a:gd name="T104" fmla="*/ 112 w 1076"/>
                <a:gd name="T105" fmla="*/ 1024 h 1072"/>
                <a:gd name="T106" fmla="*/ 230 w 1076"/>
                <a:gd name="T107" fmla="*/ 1059 h 1072"/>
                <a:gd name="T108" fmla="*/ 371 w 1076"/>
                <a:gd name="T109" fmla="*/ 1040 h 1072"/>
                <a:gd name="T110" fmla="*/ 422 w 1076"/>
                <a:gd name="T111" fmla="*/ 973 h 1072"/>
                <a:gd name="T112" fmla="*/ 489 w 1076"/>
                <a:gd name="T113" fmla="*/ 938 h 1072"/>
                <a:gd name="T114" fmla="*/ 572 w 1076"/>
                <a:gd name="T115" fmla="*/ 896 h 1072"/>
                <a:gd name="T116" fmla="*/ 665 w 1076"/>
                <a:gd name="T117" fmla="*/ 914 h 1072"/>
                <a:gd name="T118" fmla="*/ 721 w 1076"/>
                <a:gd name="T119" fmla="*/ 952 h 1072"/>
                <a:gd name="T120" fmla="*/ 807 w 1076"/>
                <a:gd name="T121" fmla="*/ 944 h 1072"/>
                <a:gd name="T122" fmla="*/ 852 w 1076"/>
                <a:gd name="T123" fmla="*/ 864 h 1072"/>
                <a:gd name="T124" fmla="*/ 916 w 1076"/>
                <a:gd name="T125" fmla="*/ 832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76" h="1072" extrusionOk="0">
                  <a:moveTo>
                    <a:pt x="956" y="837"/>
                  </a:moveTo>
                  <a:lnTo>
                    <a:pt x="956" y="837"/>
                  </a:lnTo>
                  <a:lnTo>
                    <a:pt x="956" y="834"/>
                  </a:lnTo>
                  <a:lnTo>
                    <a:pt x="956" y="832"/>
                  </a:lnTo>
                  <a:lnTo>
                    <a:pt x="956" y="829"/>
                  </a:lnTo>
                  <a:lnTo>
                    <a:pt x="956" y="829"/>
                  </a:lnTo>
                  <a:lnTo>
                    <a:pt x="956" y="826"/>
                  </a:lnTo>
                  <a:lnTo>
                    <a:pt x="956" y="826"/>
                  </a:lnTo>
                  <a:lnTo>
                    <a:pt x="956" y="826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6" y="824"/>
                  </a:lnTo>
                  <a:lnTo>
                    <a:pt x="953" y="824"/>
                  </a:lnTo>
                  <a:lnTo>
                    <a:pt x="951" y="824"/>
                  </a:lnTo>
                  <a:lnTo>
                    <a:pt x="951" y="824"/>
                  </a:lnTo>
                  <a:lnTo>
                    <a:pt x="948" y="824"/>
                  </a:lnTo>
                  <a:lnTo>
                    <a:pt x="945" y="821"/>
                  </a:lnTo>
                  <a:lnTo>
                    <a:pt x="945" y="821"/>
                  </a:lnTo>
                  <a:lnTo>
                    <a:pt x="948" y="821"/>
                  </a:lnTo>
                  <a:lnTo>
                    <a:pt x="951" y="818"/>
                  </a:lnTo>
                  <a:lnTo>
                    <a:pt x="951" y="818"/>
                  </a:lnTo>
                  <a:lnTo>
                    <a:pt x="953" y="818"/>
                  </a:lnTo>
                  <a:lnTo>
                    <a:pt x="953" y="818"/>
                  </a:lnTo>
                  <a:lnTo>
                    <a:pt x="953" y="818"/>
                  </a:lnTo>
                  <a:lnTo>
                    <a:pt x="953" y="816"/>
                  </a:lnTo>
                  <a:lnTo>
                    <a:pt x="953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8"/>
                  </a:lnTo>
                  <a:lnTo>
                    <a:pt x="956" y="816"/>
                  </a:lnTo>
                  <a:lnTo>
                    <a:pt x="956" y="816"/>
                  </a:lnTo>
                  <a:lnTo>
                    <a:pt x="956" y="813"/>
                  </a:lnTo>
                  <a:lnTo>
                    <a:pt x="956" y="813"/>
                  </a:lnTo>
                  <a:lnTo>
                    <a:pt x="956" y="813"/>
                  </a:lnTo>
                  <a:lnTo>
                    <a:pt x="956" y="810"/>
                  </a:lnTo>
                  <a:lnTo>
                    <a:pt x="959" y="808"/>
                  </a:lnTo>
                  <a:lnTo>
                    <a:pt x="959" y="808"/>
                  </a:lnTo>
                  <a:lnTo>
                    <a:pt x="959" y="805"/>
                  </a:lnTo>
                  <a:lnTo>
                    <a:pt x="959" y="805"/>
                  </a:lnTo>
                  <a:lnTo>
                    <a:pt x="959" y="802"/>
                  </a:lnTo>
                  <a:lnTo>
                    <a:pt x="959" y="802"/>
                  </a:lnTo>
                  <a:lnTo>
                    <a:pt x="959" y="799"/>
                  </a:lnTo>
                  <a:lnTo>
                    <a:pt x="959" y="799"/>
                  </a:lnTo>
                  <a:lnTo>
                    <a:pt x="959" y="797"/>
                  </a:lnTo>
                  <a:lnTo>
                    <a:pt x="959" y="797"/>
                  </a:lnTo>
                  <a:lnTo>
                    <a:pt x="959" y="794"/>
                  </a:lnTo>
                  <a:lnTo>
                    <a:pt x="959" y="794"/>
                  </a:lnTo>
                  <a:lnTo>
                    <a:pt x="959" y="791"/>
                  </a:lnTo>
                  <a:lnTo>
                    <a:pt x="959" y="791"/>
                  </a:lnTo>
                  <a:lnTo>
                    <a:pt x="959" y="789"/>
                  </a:lnTo>
                  <a:lnTo>
                    <a:pt x="959" y="789"/>
                  </a:lnTo>
                  <a:lnTo>
                    <a:pt x="959" y="786"/>
                  </a:lnTo>
                  <a:lnTo>
                    <a:pt x="959" y="786"/>
                  </a:lnTo>
                  <a:lnTo>
                    <a:pt x="959" y="783"/>
                  </a:lnTo>
                  <a:lnTo>
                    <a:pt x="959" y="783"/>
                  </a:lnTo>
                  <a:lnTo>
                    <a:pt x="956" y="781"/>
                  </a:lnTo>
                  <a:lnTo>
                    <a:pt x="956" y="781"/>
                  </a:lnTo>
                  <a:lnTo>
                    <a:pt x="959" y="778"/>
                  </a:lnTo>
                  <a:lnTo>
                    <a:pt x="959" y="775"/>
                  </a:lnTo>
                  <a:lnTo>
                    <a:pt x="959" y="775"/>
                  </a:lnTo>
                  <a:lnTo>
                    <a:pt x="959" y="773"/>
                  </a:lnTo>
                  <a:lnTo>
                    <a:pt x="959" y="770"/>
                  </a:lnTo>
                  <a:lnTo>
                    <a:pt x="959" y="767"/>
                  </a:lnTo>
                  <a:lnTo>
                    <a:pt x="959" y="767"/>
                  </a:lnTo>
                  <a:lnTo>
                    <a:pt x="959" y="765"/>
                  </a:lnTo>
                  <a:lnTo>
                    <a:pt x="959" y="762"/>
                  </a:lnTo>
                  <a:lnTo>
                    <a:pt x="961" y="762"/>
                  </a:lnTo>
                  <a:lnTo>
                    <a:pt x="961" y="759"/>
                  </a:lnTo>
                  <a:lnTo>
                    <a:pt x="961" y="759"/>
                  </a:lnTo>
                  <a:lnTo>
                    <a:pt x="961" y="757"/>
                  </a:lnTo>
                  <a:lnTo>
                    <a:pt x="961" y="757"/>
                  </a:lnTo>
                  <a:lnTo>
                    <a:pt x="961" y="754"/>
                  </a:lnTo>
                  <a:lnTo>
                    <a:pt x="964" y="751"/>
                  </a:lnTo>
                  <a:lnTo>
                    <a:pt x="964" y="751"/>
                  </a:lnTo>
                  <a:lnTo>
                    <a:pt x="964" y="749"/>
                  </a:lnTo>
                  <a:lnTo>
                    <a:pt x="964" y="749"/>
                  </a:lnTo>
                  <a:lnTo>
                    <a:pt x="964" y="746"/>
                  </a:lnTo>
                  <a:lnTo>
                    <a:pt x="967" y="743"/>
                  </a:lnTo>
                  <a:lnTo>
                    <a:pt x="967" y="743"/>
                  </a:lnTo>
                  <a:lnTo>
                    <a:pt x="967" y="741"/>
                  </a:lnTo>
                  <a:lnTo>
                    <a:pt x="967" y="738"/>
                  </a:lnTo>
                  <a:lnTo>
                    <a:pt x="967" y="738"/>
                  </a:lnTo>
                  <a:lnTo>
                    <a:pt x="967" y="735"/>
                  </a:lnTo>
                  <a:lnTo>
                    <a:pt x="964" y="733"/>
                  </a:lnTo>
                  <a:lnTo>
                    <a:pt x="964" y="730"/>
                  </a:lnTo>
                  <a:lnTo>
                    <a:pt x="964" y="730"/>
                  </a:lnTo>
                  <a:lnTo>
                    <a:pt x="964" y="727"/>
                  </a:lnTo>
                  <a:lnTo>
                    <a:pt x="964" y="727"/>
                  </a:lnTo>
                  <a:lnTo>
                    <a:pt x="964" y="725"/>
                  </a:lnTo>
                  <a:lnTo>
                    <a:pt x="964" y="725"/>
                  </a:lnTo>
                  <a:lnTo>
                    <a:pt x="964" y="722"/>
                  </a:lnTo>
                  <a:lnTo>
                    <a:pt x="964" y="722"/>
                  </a:lnTo>
                  <a:lnTo>
                    <a:pt x="964" y="722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4" y="719"/>
                  </a:lnTo>
                  <a:lnTo>
                    <a:pt x="961" y="717"/>
                  </a:lnTo>
                  <a:lnTo>
                    <a:pt x="961" y="717"/>
                  </a:lnTo>
                  <a:lnTo>
                    <a:pt x="961" y="714"/>
                  </a:lnTo>
                  <a:lnTo>
                    <a:pt x="961" y="714"/>
                  </a:lnTo>
                  <a:lnTo>
                    <a:pt x="959" y="711"/>
                  </a:lnTo>
                  <a:lnTo>
                    <a:pt x="959" y="711"/>
                  </a:lnTo>
                  <a:lnTo>
                    <a:pt x="959" y="711"/>
                  </a:lnTo>
                  <a:lnTo>
                    <a:pt x="961" y="709"/>
                  </a:lnTo>
                  <a:lnTo>
                    <a:pt x="961" y="709"/>
                  </a:lnTo>
                  <a:lnTo>
                    <a:pt x="961" y="709"/>
                  </a:lnTo>
                  <a:lnTo>
                    <a:pt x="961" y="711"/>
                  </a:lnTo>
                  <a:lnTo>
                    <a:pt x="961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11"/>
                  </a:lnTo>
                  <a:lnTo>
                    <a:pt x="964" y="709"/>
                  </a:lnTo>
                  <a:lnTo>
                    <a:pt x="964" y="709"/>
                  </a:lnTo>
                  <a:lnTo>
                    <a:pt x="964" y="706"/>
                  </a:lnTo>
                  <a:lnTo>
                    <a:pt x="967" y="706"/>
                  </a:lnTo>
                  <a:lnTo>
                    <a:pt x="967" y="706"/>
                  </a:lnTo>
                  <a:lnTo>
                    <a:pt x="967" y="706"/>
                  </a:lnTo>
                  <a:lnTo>
                    <a:pt x="967" y="703"/>
                  </a:lnTo>
                  <a:lnTo>
                    <a:pt x="964" y="703"/>
                  </a:lnTo>
                  <a:lnTo>
                    <a:pt x="967" y="703"/>
                  </a:lnTo>
                  <a:lnTo>
                    <a:pt x="967" y="701"/>
                  </a:lnTo>
                  <a:lnTo>
                    <a:pt x="967" y="701"/>
                  </a:lnTo>
                  <a:lnTo>
                    <a:pt x="967" y="698"/>
                  </a:lnTo>
                  <a:lnTo>
                    <a:pt x="967" y="698"/>
                  </a:lnTo>
                  <a:lnTo>
                    <a:pt x="969" y="695"/>
                  </a:lnTo>
                  <a:lnTo>
                    <a:pt x="969" y="695"/>
                  </a:lnTo>
                  <a:lnTo>
                    <a:pt x="969" y="695"/>
                  </a:lnTo>
                  <a:lnTo>
                    <a:pt x="969" y="693"/>
                  </a:lnTo>
                  <a:lnTo>
                    <a:pt x="969" y="693"/>
                  </a:lnTo>
                  <a:lnTo>
                    <a:pt x="972" y="690"/>
                  </a:lnTo>
                  <a:lnTo>
                    <a:pt x="972" y="690"/>
                  </a:lnTo>
                  <a:lnTo>
                    <a:pt x="972" y="690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72" y="687"/>
                  </a:lnTo>
                  <a:lnTo>
                    <a:pt x="969" y="687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0"/>
                  </a:lnTo>
                  <a:lnTo>
                    <a:pt x="969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7" y="693"/>
                  </a:lnTo>
                  <a:lnTo>
                    <a:pt x="964" y="693"/>
                  </a:lnTo>
                  <a:lnTo>
                    <a:pt x="964" y="693"/>
                  </a:lnTo>
                  <a:lnTo>
                    <a:pt x="961" y="693"/>
                  </a:lnTo>
                  <a:lnTo>
                    <a:pt x="961" y="693"/>
                  </a:lnTo>
                  <a:lnTo>
                    <a:pt x="959" y="693"/>
                  </a:lnTo>
                  <a:lnTo>
                    <a:pt x="959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6" y="693"/>
                  </a:lnTo>
                  <a:lnTo>
                    <a:pt x="953" y="690"/>
                  </a:lnTo>
                  <a:lnTo>
                    <a:pt x="953" y="690"/>
                  </a:lnTo>
                  <a:lnTo>
                    <a:pt x="953" y="690"/>
                  </a:lnTo>
                  <a:lnTo>
                    <a:pt x="953" y="687"/>
                  </a:lnTo>
                  <a:lnTo>
                    <a:pt x="953" y="687"/>
                  </a:lnTo>
                  <a:lnTo>
                    <a:pt x="953" y="687"/>
                  </a:lnTo>
                  <a:lnTo>
                    <a:pt x="953" y="685"/>
                  </a:lnTo>
                  <a:lnTo>
                    <a:pt x="953" y="685"/>
                  </a:lnTo>
                  <a:lnTo>
                    <a:pt x="953" y="685"/>
                  </a:lnTo>
                  <a:lnTo>
                    <a:pt x="951" y="682"/>
                  </a:lnTo>
                  <a:lnTo>
                    <a:pt x="951" y="682"/>
                  </a:lnTo>
                  <a:lnTo>
                    <a:pt x="948" y="682"/>
                  </a:lnTo>
                  <a:lnTo>
                    <a:pt x="945" y="682"/>
                  </a:lnTo>
                  <a:lnTo>
                    <a:pt x="945" y="682"/>
                  </a:lnTo>
                  <a:lnTo>
                    <a:pt x="943" y="682"/>
                  </a:lnTo>
                  <a:lnTo>
                    <a:pt x="943" y="679"/>
                  </a:lnTo>
                  <a:lnTo>
                    <a:pt x="943" y="679"/>
                  </a:lnTo>
                  <a:lnTo>
                    <a:pt x="940" y="679"/>
                  </a:lnTo>
                  <a:lnTo>
                    <a:pt x="943" y="677"/>
                  </a:lnTo>
                  <a:lnTo>
                    <a:pt x="943" y="677"/>
                  </a:lnTo>
                  <a:lnTo>
                    <a:pt x="945" y="677"/>
                  </a:lnTo>
                  <a:lnTo>
                    <a:pt x="945" y="679"/>
                  </a:lnTo>
                  <a:lnTo>
                    <a:pt x="948" y="679"/>
                  </a:lnTo>
                  <a:lnTo>
                    <a:pt x="948" y="677"/>
                  </a:lnTo>
                  <a:lnTo>
                    <a:pt x="948" y="677"/>
                  </a:lnTo>
                  <a:lnTo>
                    <a:pt x="948" y="677"/>
                  </a:lnTo>
                  <a:lnTo>
                    <a:pt x="951" y="677"/>
                  </a:lnTo>
                  <a:lnTo>
                    <a:pt x="951" y="677"/>
                  </a:lnTo>
                  <a:lnTo>
                    <a:pt x="951" y="677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3" y="679"/>
                  </a:lnTo>
                  <a:lnTo>
                    <a:pt x="956" y="682"/>
                  </a:lnTo>
                  <a:lnTo>
                    <a:pt x="956" y="682"/>
                  </a:lnTo>
                  <a:lnTo>
                    <a:pt x="956" y="682"/>
                  </a:lnTo>
                  <a:lnTo>
                    <a:pt x="959" y="682"/>
                  </a:lnTo>
                  <a:lnTo>
                    <a:pt x="959" y="682"/>
                  </a:lnTo>
                  <a:lnTo>
                    <a:pt x="959" y="682"/>
                  </a:lnTo>
                  <a:lnTo>
                    <a:pt x="961" y="682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61" y="679"/>
                  </a:lnTo>
                  <a:lnTo>
                    <a:pt x="959" y="677"/>
                  </a:lnTo>
                  <a:lnTo>
                    <a:pt x="959" y="677"/>
                  </a:lnTo>
                  <a:lnTo>
                    <a:pt x="956" y="674"/>
                  </a:lnTo>
                  <a:lnTo>
                    <a:pt x="956" y="671"/>
                  </a:lnTo>
                  <a:lnTo>
                    <a:pt x="956" y="671"/>
                  </a:lnTo>
                  <a:lnTo>
                    <a:pt x="956" y="671"/>
                  </a:lnTo>
                  <a:lnTo>
                    <a:pt x="956" y="669"/>
                  </a:lnTo>
                  <a:lnTo>
                    <a:pt x="959" y="669"/>
                  </a:lnTo>
                  <a:lnTo>
                    <a:pt x="959" y="666"/>
                  </a:lnTo>
                  <a:lnTo>
                    <a:pt x="959" y="666"/>
                  </a:lnTo>
                  <a:lnTo>
                    <a:pt x="956" y="663"/>
                  </a:lnTo>
                  <a:lnTo>
                    <a:pt x="959" y="663"/>
                  </a:lnTo>
                  <a:lnTo>
                    <a:pt x="961" y="666"/>
                  </a:lnTo>
                  <a:lnTo>
                    <a:pt x="961" y="666"/>
                  </a:lnTo>
                  <a:lnTo>
                    <a:pt x="961" y="666"/>
                  </a:lnTo>
                  <a:lnTo>
                    <a:pt x="961" y="669"/>
                  </a:lnTo>
                  <a:lnTo>
                    <a:pt x="961" y="669"/>
                  </a:lnTo>
                  <a:lnTo>
                    <a:pt x="961" y="669"/>
                  </a:lnTo>
                  <a:lnTo>
                    <a:pt x="964" y="669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4" y="671"/>
                  </a:lnTo>
                  <a:lnTo>
                    <a:pt x="961" y="671"/>
                  </a:lnTo>
                  <a:lnTo>
                    <a:pt x="961" y="671"/>
                  </a:lnTo>
                  <a:lnTo>
                    <a:pt x="961" y="671"/>
                  </a:lnTo>
                  <a:lnTo>
                    <a:pt x="961" y="674"/>
                  </a:lnTo>
                  <a:lnTo>
                    <a:pt x="961" y="674"/>
                  </a:lnTo>
                  <a:lnTo>
                    <a:pt x="961" y="674"/>
                  </a:lnTo>
                  <a:lnTo>
                    <a:pt x="961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4" y="677"/>
                  </a:lnTo>
                  <a:lnTo>
                    <a:pt x="967" y="677"/>
                  </a:lnTo>
                  <a:lnTo>
                    <a:pt x="967" y="677"/>
                  </a:lnTo>
                  <a:lnTo>
                    <a:pt x="967" y="677"/>
                  </a:lnTo>
                  <a:lnTo>
                    <a:pt x="967" y="679"/>
                  </a:lnTo>
                  <a:lnTo>
                    <a:pt x="969" y="679"/>
                  </a:lnTo>
                  <a:lnTo>
                    <a:pt x="969" y="679"/>
                  </a:lnTo>
                  <a:lnTo>
                    <a:pt x="969" y="682"/>
                  </a:lnTo>
                  <a:lnTo>
                    <a:pt x="969" y="682"/>
                  </a:lnTo>
                  <a:lnTo>
                    <a:pt x="972" y="682"/>
                  </a:lnTo>
                  <a:lnTo>
                    <a:pt x="972" y="682"/>
                  </a:lnTo>
                  <a:lnTo>
                    <a:pt x="972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5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82"/>
                  </a:lnTo>
                  <a:lnTo>
                    <a:pt x="978" y="679"/>
                  </a:lnTo>
                  <a:lnTo>
                    <a:pt x="980" y="679"/>
                  </a:lnTo>
                  <a:lnTo>
                    <a:pt x="980" y="677"/>
                  </a:lnTo>
                  <a:lnTo>
                    <a:pt x="983" y="677"/>
                  </a:lnTo>
                  <a:lnTo>
                    <a:pt x="983" y="674"/>
                  </a:lnTo>
                  <a:lnTo>
                    <a:pt x="983" y="674"/>
                  </a:lnTo>
                  <a:lnTo>
                    <a:pt x="980" y="674"/>
                  </a:lnTo>
                  <a:lnTo>
                    <a:pt x="980" y="671"/>
                  </a:lnTo>
                  <a:lnTo>
                    <a:pt x="978" y="671"/>
                  </a:lnTo>
                  <a:lnTo>
                    <a:pt x="978" y="671"/>
                  </a:lnTo>
                  <a:lnTo>
                    <a:pt x="975" y="671"/>
                  </a:lnTo>
                  <a:lnTo>
                    <a:pt x="975" y="669"/>
                  </a:lnTo>
                  <a:lnTo>
                    <a:pt x="975" y="669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6"/>
                  </a:lnTo>
                  <a:lnTo>
                    <a:pt x="978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69"/>
                  </a:lnTo>
                  <a:lnTo>
                    <a:pt x="980" y="671"/>
                  </a:lnTo>
                  <a:lnTo>
                    <a:pt x="980" y="671"/>
                  </a:lnTo>
                  <a:lnTo>
                    <a:pt x="980" y="671"/>
                  </a:lnTo>
                  <a:lnTo>
                    <a:pt x="983" y="671"/>
                  </a:lnTo>
                  <a:lnTo>
                    <a:pt x="983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6" y="671"/>
                  </a:lnTo>
                  <a:lnTo>
                    <a:pt x="988" y="669"/>
                  </a:lnTo>
                  <a:lnTo>
                    <a:pt x="988" y="669"/>
                  </a:lnTo>
                  <a:lnTo>
                    <a:pt x="988" y="669"/>
                  </a:lnTo>
                  <a:lnTo>
                    <a:pt x="991" y="666"/>
                  </a:lnTo>
                  <a:lnTo>
                    <a:pt x="991" y="666"/>
                  </a:lnTo>
                  <a:lnTo>
                    <a:pt x="994" y="663"/>
                  </a:lnTo>
                  <a:lnTo>
                    <a:pt x="994" y="663"/>
                  </a:lnTo>
                  <a:lnTo>
                    <a:pt x="994" y="661"/>
                  </a:lnTo>
                  <a:lnTo>
                    <a:pt x="996" y="661"/>
                  </a:lnTo>
                  <a:lnTo>
                    <a:pt x="996" y="658"/>
                  </a:lnTo>
                  <a:lnTo>
                    <a:pt x="999" y="658"/>
                  </a:lnTo>
                  <a:lnTo>
                    <a:pt x="999" y="658"/>
                  </a:lnTo>
                  <a:lnTo>
                    <a:pt x="999" y="658"/>
                  </a:lnTo>
                  <a:lnTo>
                    <a:pt x="1002" y="658"/>
                  </a:lnTo>
                  <a:lnTo>
                    <a:pt x="1004" y="658"/>
                  </a:lnTo>
                  <a:lnTo>
                    <a:pt x="1007" y="658"/>
                  </a:lnTo>
                  <a:lnTo>
                    <a:pt x="1010" y="655"/>
                  </a:lnTo>
                  <a:lnTo>
                    <a:pt x="1012" y="653"/>
                  </a:lnTo>
                  <a:lnTo>
                    <a:pt x="1015" y="653"/>
                  </a:lnTo>
                  <a:lnTo>
                    <a:pt x="1018" y="650"/>
                  </a:lnTo>
                  <a:lnTo>
                    <a:pt x="1018" y="647"/>
                  </a:lnTo>
                  <a:lnTo>
                    <a:pt x="1020" y="647"/>
                  </a:lnTo>
                  <a:lnTo>
                    <a:pt x="1023" y="647"/>
                  </a:lnTo>
                  <a:lnTo>
                    <a:pt x="1023" y="645"/>
                  </a:lnTo>
                  <a:lnTo>
                    <a:pt x="1026" y="645"/>
                  </a:lnTo>
                  <a:lnTo>
                    <a:pt x="1028" y="642"/>
                  </a:lnTo>
                  <a:lnTo>
                    <a:pt x="1028" y="642"/>
                  </a:lnTo>
                  <a:lnTo>
                    <a:pt x="1031" y="639"/>
                  </a:lnTo>
                  <a:lnTo>
                    <a:pt x="1034" y="639"/>
                  </a:lnTo>
                  <a:lnTo>
                    <a:pt x="1036" y="636"/>
                  </a:lnTo>
                  <a:lnTo>
                    <a:pt x="1039" y="634"/>
                  </a:lnTo>
                  <a:lnTo>
                    <a:pt x="1039" y="634"/>
                  </a:lnTo>
                  <a:lnTo>
                    <a:pt x="1042" y="634"/>
                  </a:lnTo>
                  <a:lnTo>
                    <a:pt x="1042" y="634"/>
                  </a:lnTo>
                  <a:lnTo>
                    <a:pt x="1044" y="634"/>
                  </a:lnTo>
                  <a:lnTo>
                    <a:pt x="1044" y="634"/>
                  </a:lnTo>
                  <a:lnTo>
                    <a:pt x="1044" y="634"/>
                  </a:lnTo>
                  <a:lnTo>
                    <a:pt x="1047" y="634"/>
                  </a:lnTo>
                  <a:lnTo>
                    <a:pt x="1047" y="634"/>
                  </a:lnTo>
                  <a:lnTo>
                    <a:pt x="1047" y="631"/>
                  </a:lnTo>
                  <a:lnTo>
                    <a:pt x="1044" y="628"/>
                  </a:lnTo>
                  <a:lnTo>
                    <a:pt x="1044" y="628"/>
                  </a:lnTo>
                  <a:lnTo>
                    <a:pt x="1042" y="628"/>
                  </a:lnTo>
                  <a:lnTo>
                    <a:pt x="1042" y="626"/>
                  </a:lnTo>
                  <a:lnTo>
                    <a:pt x="1039" y="626"/>
                  </a:lnTo>
                  <a:lnTo>
                    <a:pt x="1036" y="626"/>
                  </a:lnTo>
                  <a:lnTo>
                    <a:pt x="1036" y="626"/>
                  </a:lnTo>
                  <a:lnTo>
                    <a:pt x="1034" y="626"/>
                  </a:lnTo>
                  <a:lnTo>
                    <a:pt x="1034" y="623"/>
                  </a:lnTo>
                  <a:lnTo>
                    <a:pt x="1034" y="623"/>
                  </a:lnTo>
                  <a:lnTo>
                    <a:pt x="1034" y="620"/>
                  </a:lnTo>
                  <a:lnTo>
                    <a:pt x="1034" y="618"/>
                  </a:lnTo>
                  <a:lnTo>
                    <a:pt x="1034" y="618"/>
                  </a:lnTo>
                  <a:lnTo>
                    <a:pt x="1036" y="615"/>
                  </a:lnTo>
                  <a:lnTo>
                    <a:pt x="1036" y="610"/>
                  </a:lnTo>
                  <a:lnTo>
                    <a:pt x="1036" y="607"/>
                  </a:lnTo>
                  <a:lnTo>
                    <a:pt x="1036" y="607"/>
                  </a:lnTo>
                  <a:lnTo>
                    <a:pt x="1034" y="607"/>
                  </a:lnTo>
                  <a:lnTo>
                    <a:pt x="1034" y="604"/>
                  </a:lnTo>
                  <a:lnTo>
                    <a:pt x="1031" y="602"/>
                  </a:lnTo>
                  <a:lnTo>
                    <a:pt x="1031" y="602"/>
                  </a:lnTo>
                  <a:lnTo>
                    <a:pt x="1031" y="599"/>
                  </a:lnTo>
                  <a:lnTo>
                    <a:pt x="1031" y="599"/>
                  </a:lnTo>
                  <a:lnTo>
                    <a:pt x="1031" y="596"/>
                  </a:lnTo>
                  <a:lnTo>
                    <a:pt x="1031" y="596"/>
                  </a:lnTo>
                  <a:lnTo>
                    <a:pt x="1028" y="594"/>
                  </a:lnTo>
                  <a:lnTo>
                    <a:pt x="1028" y="594"/>
                  </a:lnTo>
                  <a:lnTo>
                    <a:pt x="1028" y="591"/>
                  </a:lnTo>
                  <a:lnTo>
                    <a:pt x="1028" y="591"/>
                  </a:lnTo>
                  <a:lnTo>
                    <a:pt x="1026" y="591"/>
                  </a:lnTo>
                  <a:lnTo>
                    <a:pt x="1026" y="588"/>
                  </a:lnTo>
                  <a:lnTo>
                    <a:pt x="1023" y="588"/>
                  </a:lnTo>
                  <a:lnTo>
                    <a:pt x="1023" y="588"/>
                  </a:lnTo>
                  <a:lnTo>
                    <a:pt x="1020" y="588"/>
                  </a:lnTo>
                  <a:lnTo>
                    <a:pt x="1020" y="586"/>
                  </a:lnTo>
                  <a:lnTo>
                    <a:pt x="1018" y="586"/>
                  </a:lnTo>
                  <a:lnTo>
                    <a:pt x="1015" y="586"/>
                  </a:lnTo>
                  <a:lnTo>
                    <a:pt x="1015" y="586"/>
                  </a:lnTo>
                  <a:lnTo>
                    <a:pt x="1015" y="583"/>
                  </a:lnTo>
                  <a:lnTo>
                    <a:pt x="1012" y="583"/>
                  </a:lnTo>
                  <a:lnTo>
                    <a:pt x="1010" y="583"/>
                  </a:lnTo>
                  <a:lnTo>
                    <a:pt x="1010" y="583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7" y="586"/>
                  </a:lnTo>
                  <a:lnTo>
                    <a:pt x="1004" y="588"/>
                  </a:lnTo>
                  <a:lnTo>
                    <a:pt x="1004" y="588"/>
                  </a:lnTo>
                  <a:lnTo>
                    <a:pt x="1004" y="588"/>
                  </a:lnTo>
                  <a:lnTo>
                    <a:pt x="1004" y="591"/>
                  </a:lnTo>
                  <a:lnTo>
                    <a:pt x="1002" y="591"/>
                  </a:lnTo>
                  <a:lnTo>
                    <a:pt x="999" y="588"/>
                  </a:lnTo>
                  <a:lnTo>
                    <a:pt x="999" y="588"/>
                  </a:lnTo>
                  <a:lnTo>
                    <a:pt x="996" y="588"/>
                  </a:lnTo>
                  <a:lnTo>
                    <a:pt x="994" y="588"/>
                  </a:lnTo>
                  <a:lnTo>
                    <a:pt x="994" y="586"/>
                  </a:lnTo>
                  <a:lnTo>
                    <a:pt x="991" y="586"/>
                  </a:lnTo>
                  <a:lnTo>
                    <a:pt x="991" y="583"/>
                  </a:lnTo>
                  <a:lnTo>
                    <a:pt x="991" y="583"/>
                  </a:lnTo>
                  <a:lnTo>
                    <a:pt x="988" y="580"/>
                  </a:lnTo>
                  <a:lnTo>
                    <a:pt x="988" y="580"/>
                  </a:lnTo>
                  <a:lnTo>
                    <a:pt x="988" y="578"/>
                  </a:lnTo>
                  <a:lnTo>
                    <a:pt x="991" y="578"/>
                  </a:lnTo>
                  <a:lnTo>
                    <a:pt x="991" y="575"/>
                  </a:lnTo>
                  <a:lnTo>
                    <a:pt x="991" y="575"/>
                  </a:lnTo>
                  <a:lnTo>
                    <a:pt x="991" y="572"/>
                  </a:lnTo>
                  <a:lnTo>
                    <a:pt x="988" y="572"/>
                  </a:lnTo>
                  <a:lnTo>
                    <a:pt x="988" y="572"/>
                  </a:lnTo>
                  <a:lnTo>
                    <a:pt x="986" y="572"/>
                  </a:lnTo>
                  <a:lnTo>
                    <a:pt x="980" y="572"/>
                  </a:lnTo>
                  <a:lnTo>
                    <a:pt x="978" y="572"/>
                  </a:lnTo>
                  <a:lnTo>
                    <a:pt x="978" y="572"/>
                  </a:lnTo>
                  <a:lnTo>
                    <a:pt x="975" y="572"/>
                  </a:lnTo>
                  <a:lnTo>
                    <a:pt x="972" y="572"/>
                  </a:lnTo>
                  <a:lnTo>
                    <a:pt x="972" y="572"/>
                  </a:lnTo>
                  <a:lnTo>
                    <a:pt x="969" y="575"/>
                  </a:lnTo>
                  <a:lnTo>
                    <a:pt x="969" y="575"/>
                  </a:lnTo>
                  <a:lnTo>
                    <a:pt x="967" y="575"/>
                  </a:lnTo>
                  <a:lnTo>
                    <a:pt x="967" y="575"/>
                  </a:lnTo>
                  <a:lnTo>
                    <a:pt x="964" y="575"/>
                  </a:lnTo>
                  <a:lnTo>
                    <a:pt x="964" y="575"/>
                  </a:lnTo>
                  <a:lnTo>
                    <a:pt x="964" y="578"/>
                  </a:lnTo>
                  <a:lnTo>
                    <a:pt x="964" y="578"/>
                  </a:lnTo>
                  <a:lnTo>
                    <a:pt x="961" y="578"/>
                  </a:lnTo>
                  <a:lnTo>
                    <a:pt x="961" y="578"/>
                  </a:lnTo>
                  <a:lnTo>
                    <a:pt x="959" y="578"/>
                  </a:lnTo>
                  <a:lnTo>
                    <a:pt x="959" y="580"/>
                  </a:lnTo>
                  <a:lnTo>
                    <a:pt x="959" y="580"/>
                  </a:lnTo>
                  <a:lnTo>
                    <a:pt x="956" y="580"/>
                  </a:lnTo>
                  <a:lnTo>
                    <a:pt x="956" y="578"/>
                  </a:lnTo>
                  <a:lnTo>
                    <a:pt x="956" y="578"/>
                  </a:lnTo>
                  <a:lnTo>
                    <a:pt x="956" y="578"/>
                  </a:lnTo>
                  <a:lnTo>
                    <a:pt x="956" y="580"/>
                  </a:lnTo>
                  <a:lnTo>
                    <a:pt x="956" y="580"/>
                  </a:lnTo>
                  <a:lnTo>
                    <a:pt x="956" y="580"/>
                  </a:lnTo>
                  <a:lnTo>
                    <a:pt x="953" y="580"/>
                  </a:lnTo>
                  <a:lnTo>
                    <a:pt x="953" y="580"/>
                  </a:lnTo>
                  <a:lnTo>
                    <a:pt x="951" y="580"/>
                  </a:lnTo>
                  <a:lnTo>
                    <a:pt x="951" y="580"/>
                  </a:lnTo>
                  <a:lnTo>
                    <a:pt x="948" y="580"/>
                  </a:lnTo>
                  <a:lnTo>
                    <a:pt x="948" y="578"/>
                  </a:lnTo>
                  <a:lnTo>
                    <a:pt x="948" y="578"/>
                  </a:lnTo>
                  <a:lnTo>
                    <a:pt x="948" y="578"/>
                  </a:lnTo>
                  <a:lnTo>
                    <a:pt x="948" y="575"/>
                  </a:lnTo>
                  <a:lnTo>
                    <a:pt x="948" y="575"/>
                  </a:lnTo>
                  <a:lnTo>
                    <a:pt x="951" y="575"/>
                  </a:lnTo>
                  <a:lnTo>
                    <a:pt x="951" y="575"/>
                  </a:lnTo>
                  <a:lnTo>
                    <a:pt x="953" y="575"/>
                  </a:lnTo>
                  <a:lnTo>
                    <a:pt x="953" y="575"/>
                  </a:lnTo>
                  <a:lnTo>
                    <a:pt x="953" y="575"/>
                  </a:lnTo>
                  <a:lnTo>
                    <a:pt x="956" y="575"/>
                  </a:lnTo>
                  <a:lnTo>
                    <a:pt x="956" y="575"/>
                  </a:lnTo>
                  <a:lnTo>
                    <a:pt x="959" y="575"/>
                  </a:lnTo>
                  <a:lnTo>
                    <a:pt x="959" y="575"/>
                  </a:lnTo>
                  <a:lnTo>
                    <a:pt x="956" y="575"/>
                  </a:lnTo>
                  <a:lnTo>
                    <a:pt x="956" y="575"/>
                  </a:lnTo>
                  <a:lnTo>
                    <a:pt x="953" y="575"/>
                  </a:lnTo>
                  <a:lnTo>
                    <a:pt x="951" y="575"/>
                  </a:lnTo>
                  <a:lnTo>
                    <a:pt x="951" y="575"/>
                  </a:lnTo>
                  <a:lnTo>
                    <a:pt x="948" y="575"/>
                  </a:lnTo>
                  <a:lnTo>
                    <a:pt x="948" y="575"/>
                  </a:lnTo>
                  <a:lnTo>
                    <a:pt x="945" y="572"/>
                  </a:lnTo>
                  <a:lnTo>
                    <a:pt x="943" y="572"/>
                  </a:lnTo>
                  <a:lnTo>
                    <a:pt x="940" y="572"/>
                  </a:lnTo>
                  <a:lnTo>
                    <a:pt x="937" y="572"/>
                  </a:lnTo>
                  <a:lnTo>
                    <a:pt x="935" y="570"/>
                  </a:lnTo>
                  <a:lnTo>
                    <a:pt x="932" y="570"/>
                  </a:lnTo>
                  <a:lnTo>
                    <a:pt x="932" y="567"/>
                  </a:lnTo>
                  <a:lnTo>
                    <a:pt x="929" y="567"/>
                  </a:lnTo>
                  <a:lnTo>
                    <a:pt x="929" y="570"/>
                  </a:lnTo>
                  <a:lnTo>
                    <a:pt x="929" y="570"/>
                  </a:lnTo>
                  <a:lnTo>
                    <a:pt x="932" y="570"/>
                  </a:lnTo>
                  <a:lnTo>
                    <a:pt x="932" y="570"/>
                  </a:lnTo>
                  <a:lnTo>
                    <a:pt x="935" y="572"/>
                  </a:lnTo>
                  <a:lnTo>
                    <a:pt x="935" y="572"/>
                  </a:lnTo>
                  <a:lnTo>
                    <a:pt x="937" y="572"/>
                  </a:lnTo>
                  <a:lnTo>
                    <a:pt x="937" y="572"/>
                  </a:lnTo>
                  <a:lnTo>
                    <a:pt x="940" y="575"/>
                  </a:lnTo>
                  <a:lnTo>
                    <a:pt x="940" y="575"/>
                  </a:lnTo>
                  <a:lnTo>
                    <a:pt x="943" y="575"/>
                  </a:lnTo>
                  <a:lnTo>
                    <a:pt x="943" y="575"/>
                  </a:lnTo>
                  <a:lnTo>
                    <a:pt x="943" y="575"/>
                  </a:lnTo>
                  <a:lnTo>
                    <a:pt x="945" y="575"/>
                  </a:lnTo>
                  <a:lnTo>
                    <a:pt x="945" y="575"/>
                  </a:lnTo>
                  <a:lnTo>
                    <a:pt x="945" y="575"/>
                  </a:lnTo>
                  <a:lnTo>
                    <a:pt x="945" y="578"/>
                  </a:lnTo>
                  <a:lnTo>
                    <a:pt x="945" y="578"/>
                  </a:lnTo>
                  <a:lnTo>
                    <a:pt x="945" y="578"/>
                  </a:lnTo>
                  <a:lnTo>
                    <a:pt x="945" y="580"/>
                  </a:lnTo>
                  <a:lnTo>
                    <a:pt x="945" y="583"/>
                  </a:lnTo>
                  <a:lnTo>
                    <a:pt x="945" y="583"/>
                  </a:lnTo>
                  <a:lnTo>
                    <a:pt x="943" y="586"/>
                  </a:lnTo>
                  <a:lnTo>
                    <a:pt x="943" y="586"/>
                  </a:lnTo>
                  <a:lnTo>
                    <a:pt x="943" y="586"/>
                  </a:lnTo>
                  <a:lnTo>
                    <a:pt x="940" y="586"/>
                  </a:lnTo>
                  <a:lnTo>
                    <a:pt x="940" y="586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3"/>
                  </a:lnTo>
                  <a:lnTo>
                    <a:pt x="940" y="580"/>
                  </a:lnTo>
                  <a:lnTo>
                    <a:pt x="937" y="580"/>
                  </a:lnTo>
                  <a:lnTo>
                    <a:pt x="937" y="580"/>
                  </a:lnTo>
                  <a:lnTo>
                    <a:pt x="935" y="580"/>
                  </a:lnTo>
                  <a:lnTo>
                    <a:pt x="935" y="580"/>
                  </a:lnTo>
                  <a:lnTo>
                    <a:pt x="935" y="580"/>
                  </a:lnTo>
                  <a:lnTo>
                    <a:pt x="935" y="578"/>
                  </a:lnTo>
                  <a:lnTo>
                    <a:pt x="935" y="578"/>
                  </a:lnTo>
                  <a:lnTo>
                    <a:pt x="937" y="578"/>
                  </a:lnTo>
                  <a:lnTo>
                    <a:pt x="937" y="578"/>
                  </a:lnTo>
                  <a:lnTo>
                    <a:pt x="940" y="578"/>
                  </a:lnTo>
                  <a:lnTo>
                    <a:pt x="937" y="575"/>
                  </a:lnTo>
                  <a:lnTo>
                    <a:pt x="937" y="575"/>
                  </a:lnTo>
                  <a:lnTo>
                    <a:pt x="935" y="575"/>
                  </a:lnTo>
                  <a:lnTo>
                    <a:pt x="935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32" y="575"/>
                  </a:lnTo>
                  <a:lnTo>
                    <a:pt x="929" y="575"/>
                  </a:lnTo>
                  <a:lnTo>
                    <a:pt x="929" y="575"/>
                  </a:lnTo>
                  <a:lnTo>
                    <a:pt x="929" y="572"/>
                  </a:lnTo>
                  <a:lnTo>
                    <a:pt x="929" y="575"/>
                  </a:lnTo>
                  <a:lnTo>
                    <a:pt x="927" y="575"/>
                  </a:lnTo>
                  <a:lnTo>
                    <a:pt x="927" y="578"/>
                  </a:lnTo>
                  <a:lnTo>
                    <a:pt x="924" y="578"/>
                  </a:lnTo>
                  <a:lnTo>
                    <a:pt x="924" y="578"/>
                  </a:lnTo>
                  <a:lnTo>
                    <a:pt x="924" y="580"/>
                  </a:lnTo>
                  <a:lnTo>
                    <a:pt x="924" y="583"/>
                  </a:lnTo>
                  <a:lnTo>
                    <a:pt x="924" y="583"/>
                  </a:lnTo>
                  <a:lnTo>
                    <a:pt x="924" y="586"/>
                  </a:lnTo>
                  <a:lnTo>
                    <a:pt x="924" y="586"/>
                  </a:lnTo>
                  <a:lnTo>
                    <a:pt x="924" y="586"/>
                  </a:lnTo>
                  <a:lnTo>
                    <a:pt x="924" y="588"/>
                  </a:lnTo>
                  <a:lnTo>
                    <a:pt x="924" y="588"/>
                  </a:lnTo>
                  <a:lnTo>
                    <a:pt x="921" y="588"/>
                  </a:lnTo>
                  <a:lnTo>
                    <a:pt x="921" y="588"/>
                  </a:lnTo>
                  <a:lnTo>
                    <a:pt x="919" y="588"/>
                  </a:lnTo>
                  <a:lnTo>
                    <a:pt x="919" y="588"/>
                  </a:lnTo>
                  <a:lnTo>
                    <a:pt x="919" y="588"/>
                  </a:lnTo>
                  <a:lnTo>
                    <a:pt x="916" y="586"/>
                  </a:lnTo>
                  <a:lnTo>
                    <a:pt x="916" y="583"/>
                  </a:lnTo>
                  <a:lnTo>
                    <a:pt x="916" y="583"/>
                  </a:lnTo>
                  <a:lnTo>
                    <a:pt x="916" y="583"/>
                  </a:lnTo>
                  <a:lnTo>
                    <a:pt x="913" y="580"/>
                  </a:lnTo>
                  <a:lnTo>
                    <a:pt x="916" y="580"/>
                  </a:lnTo>
                  <a:lnTo>
                    <a:pt x="916" y="580"/>
                  </a:lnTo>
                  <a:lnTo>
                    <a:pt x="919" y="580"/>
                  </a:lnTo>
                  <a:lnTo>
                    <a:pt x="919" y="578"/>
                  </a:lnTo>
                  <a:lnTo>
                    <a:pt x="919" y="578"/>
                  </a:lnTo>
                  <a:lnTo>
                    <a:pt x="919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21" y="578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19" y="575"/>
                  </a:lnTo>
                  <a:lnTo>
                    <a:pt x="921" y="572"/>
                  </a:lnTo>
                  <a:lnTo>
                    <a:pt x="921" y="572"/>
                  </a:lnTo>
                  <a:lnTo>
                    <a:pt x="924" y="572"/>
                  </a:lnTo>
                  <a:lnTo>
                    <a:pt x="924" y="572"/>
                  </a:lnTo>
                  <a:lnTo>
                    <a:pt x="927" y="572"/>
                  </a:lnTo>
                  <a:lnTo>
                    <a:pt x="927" y="572"/>
                  </a:lnTo>
                  <a:lnTo>
                    <a:pt x="927" y="572"/>
                  </a:lnTo>
                  <a:lnTo>
                    <a:pt x="927" y="570"/>
                  </a:lnTo>
                  <a:lnTo>
                    <a:pt x="924" y="570"/>
                  </a:lnTo>
                  <a:lnTo>
                    <a:pt x="924" y="570"/>
                  </a:lnTo>
                  <a:lnTo>
                    <a:pt x="924" y="570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70"/>
                  </a:lnTo>
                  <a:lnTo>
                    <a:pt x="919" y="567"/>
                  </a:lnTo>
                  <a:lnTo>
                    <a:pt x="921" y="570"/>
                  </a:lnTo>
                  <a:lnTo>
                    <a:pt x="921" y="570"/>
                  </a:lnTo>
                  <a:lnTo>
                    <a:pt x="921" y="567"/>
                  </a:lnTo>
                  <a:lnTo>
                    <a:pt x="924" y="567"/>
                  </a:lnTo>
                  <a:lnTo>
                    <a:pt x="924" y="567"/>
                  </a:lnTo>
                  <a:lnTo>
                    <a:pt x="924" y="567"/>
                  </a:lnTo>
                  <a:lnTo>
                    <a:pt x="927" y="567"/>
                  </a:lnTo>
                  <a:lnTo>
                    <a:pt x="927" y="567"/>
                  </a:lnTo>
                  <a:lnTo>
                    <a:pt x="927" y="567"/>
                  </a:lnTo>
                  <a:lnTo>
                    <a:pt x="927" y="564"/>
                  </a:lnTo>
                  <a:lnTo>
                    <a:pt x="927" y="564"/>
                  </a:lnTo>
                  <a:lnTo>
                    <a:pt x="924" y="562"/>
                  </a:lnTo>
                  <a:lnTo>
                    <a:pt x="919" y="562"/>
                  </a:lnTo>
                  <a:lnTo>
                    <a:pt x="916" y="559"/>
                  </a:lnTo>
                  <a:lnTo>
                    <a:pt x="913" y="559"/>
                  </a:lnTo>
                  <a:lnTo>
                    <a:pt x="911" y="556"/>
                  </a:lnTo>
                  <a:lnTo>
                    <a:pt x="908" y="554"/>
                  </a:lnTo>
                  <a:lnTo>
                    <a:pt x="900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5" y="548"/>
                  </a:lnTo>
                  <a:lnTo>
                    <a:pt x="895" y="548"/>
                  </a:lnTo>
                  <a:lnTo>
                    <a:pt x="892" y="548"/>
                  </a:lnTo>
                  <a:lnTo>
                    <a:pt x="895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7" y="551"/>
                  </a:lnTo>
                  <a:lnTo>
                    <a:pt x="895" y="551"/>
                  </a:lnTo>
                  <a:lnTo>
                    <a:pt x="895" y="551"/>
                  </a:lnTo>
                  <a:lnTo>
                    <a:pt x="895" y="554"/>
                  </a:lnTo>
                  <a:lnTo>
                    <a:pt x="892" y="554"/>
                  </a:lnTo>
                  <a:lnTo>
                    <a:pt x="892" y="554"/>
                  </a:lnTo>
                  <a:lnTo>
                    <a:pt x="889" y="554"/>
                  </a:lnTo>
                  <a:lnTo>
                    <a:pt x="889" y="554"/>
                  </a:lnTo>
                  <a:lnTo>
                    <a:pt x="889" y="556"/>
                  </a:lnTo>
                  <a:lnTo>
                    <a:pt x="887" y="556"/>
                  </a:lnTo>
                  <a:lnTo>
                    <a:pt x="887" y="556"/>
                  </a:lnTo>
                  <a:lnTo>
                    <a:pt x="887" y="556"/>
                  </a:lnTo>
                  <a:lnTo>
                    <a:pt x="884" y="556"/>
                  </a:lnTo>
                  <a:lnTo>
                    <a:pt x="884" y="556"/>
                  </a:lnTo>
                  <a:lnTo>
                    <a:pt x="884" y="556"/>
                  </a:lnTo>
                  <a:lnTo>
                    <a:pt x="881" y="556"/>
                  </a:lnTo>
                  <a:lnTo>
                    <a:pt x="881" y="554"/>
                  </a:lnTo>
                  <a:lnTo>
                    <a:pt x="884" y="554"/>
                  </a:lnTo>
                  <a:lnTo>
                    <a:pt x="884" y="551"/>
                  </a:lnTo>
                  <a:lnTo>
                    <a:pt x="881" y="551"/>
                  </a:lnTo>
                  <a:lnTo>
                    <a:pt x="881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4" y="548"/>
                  </a:lnTo>
                  <a:lnTo>
                    <a:pt x="887" y="548"/>
                  </a:lnTo>
                  <a:lnTo>
                    <a:pt x="887" y="548"/>
                  </a:lnTo>
                  <a:lnTo>
                    <a:pt x="887" y="548"/>
                  </a:lnTo>
                  <a:lnTo>
                    <a:pt x="884" y="548"/>
                  </a:lnTo>
                  <a:lnTo>
                    <a:pt x="881" y="548"/>
                  </a:lnTo>
                  <a:lnTo>
                    <a:pt x="881" y="546"/>
                  </a:lnTo>
                  <a:lnTo>
                    <a:pt x="879" y="546"/>
                  </a:lnTo>
                  <a:lnTo>
                    <a:pt x="876" y="546"/>
                  </a:lnTo>
                  <a:lnTo>
                    <a:pt x="873" y="546"/>
                  </a:lnTo>
                  <a:lnTo>
                    <a:pt x="868" y="546"/>
                  </a:lnTo>
                  <a:lnTo>
                    <a:pt x="865" y="543"/>
                  </a:lnTo>
                  <a:lnTo>
                    <a:pt x="860" y="543"/>
                  </a:lnTo>
                  <a:lnTo>
                    <a:pt x="857" y="543"/>
                  </a:lnTo>
                  <a:lnTo>
                    <a:pt x="852" y="540"/>
                  </a:lnTo>
                  <a:lnTo>
                    <a:pt x="849" y="540"/>
                  </a:lnTo>
                  <a:lnTo>
                    <a:pt x="847" y="538"/>
                  </a:lnTo>
                  <a:lnTo>
                    <a:pt x="847" y="538"/>
                  </a:lnTo>
                  <a:lnTo>
                    <a:pt x="847" y="538"/>
                  </a:lnTo>
                  <a:lnTo>
                    <a:pt x="844" y="540"/>
                  </a:lnTo>
                  <a:lnTo>
                    <a:pt x="844" y="538"/>
                  </a:lnTo>
                  <a:lnTo>
                    <a:pt x="844" y="540"/>
                  </a:lnTo>
                  <a:lnTo>
                    <a:pt x="844" y="540"/>
                  </a:lnTo>
                  <a:lnTo>
                    <a:pt x="844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7" y="540"/>
                  </a:lnTo>
                  <a:lnTo>
                    <a:pt x="849" y="540"/>
                  </a:lnTo>
                  <a:lnTo>
                    <a:pt x="849" y="540"/>
                  </a:lnTo>
                  <a:lnTo>
                    <a:pt x="852" y="540"/>
                  </a:lnTo>
                  <a:lnTo>
                    <a:pt x="852" y="540"/>
                  </a:lnTo>
                  <a:lnTo>
                    <a:pt x="852" y="540"/>
                  </a:lnTo>
                  <a:lnTo>
                    <a:pt x="855" y="543"/>
                  </a:lnTo>
                  <a:lnTo>
                    <a:pt x="855" y="543"/>
                  </a:lnTo>
                  <a:lnTo>
                    <a:pt x="855" y="543"/>
                  </a:lnTo>
                  <a:lnTo>
                    <a:pt x="857" y="546"/>
                  </a:lnTo>
                  <a:lnTo>
                    <a:pt x="857" y="548"/>
                  </a:lnTo>
                  <a:lnTo>
                    <a:pt x="857" y="551"/>
                  </a:lnTo>
                  <a:lnTo>
                    <a:pt x="857" y="554"/>
                  </a:lnTo>
                  <a:lnTo>
                    <a:pt x="857" y="554"/>
                  </a:lnTo>
                  <a:lnTo>
                    <a:pt x="857" y="554"/>
                  </a:lnTo>
                  <a:lnTo>
                    <a:pt x="857" y="556"/>
                  </a:lnTo>
                  <a:lnTo>
                    <a:pt x="857" y="556"/>
                  </a:lnTo>
                  <a:lnTo>
                    <a:pt x="860" y="554"/>
                  </a:lnTo>
                  <a:lnTo>
                    <a:pt x="860" y="556"/>
                  </a:lnTo>
                  <a:lnTo>
                    <a:pt x="860" y="554"/>
                  </a:lnTo>
                  <a:lnTo>
                    <a:pt x="863" y="554"/>
                  </a:lnTo>
                  <a:lnTo>
                    <a:pt x="863" y="554"/>
                  </a:lnTo>
                  <a:lnTo>
                    <a:pt x="863" y="556"/>
                  </a:lnTo>
                  <a:lnTo>
                    <a:pt x="863" y="556"/>
                  </a:lnTo>
                  <a:lnTo>
                    <a:pt x="863" y="556"/>
                  </a:lnTo>
                  <a:lnTo>
                    <a:pt x="860" y="559"/>
                  </a:lnTo>
                  <a:lnTo>
                    <a:pt x="860" y="559"/>
                  </a:lnTo>
                  <a:lnTo>
                    <a:pt x="860" y="559"/>
                  </a:lnTo>
                  <a:lnTo>
                    <a:pt x="857" y="562"/>
                  </a:lnTo>
                  <a:lnTo>
                    <a:pt x="857" y="562"/>
                  </a:lnTo>
                  <a:lnTo>
                    <a:pt x="855" y="562"/>
                  </a:lnTo>
                  <a:lnTo>
                    <a:pt x="855" y="564"/>
                  </a:lnTo>
                  <a:lnTo>
                    <a:pt x="852" y="564"/>
                  </a:lnTo>
                  <a:lnTo>
                    <a:pt x="849" y="564"/>
                  </a:lnTo>
                  <a:lnTo>
                    <a:pt x="849" y="564"/>
                  </a:lnTo>
                  <a:lnTo>
                    <a:pt x="847" y="564"/>
                  </a:lnTo>
                  <a:lnTo>
                    <a:pt x="844" y="567"/>
                  </a:lnTo>
                  <a:lnTo>
                    <a:pt x="841" y="567"/>
                  </a:lnTo>
                  <a:lnTo>
                    <a:pt x="841" y="567"/>
                  </a:lnTo>
                  <a:lnTo>
                    <a:pt x="839" y="567"/>
                  </a:lnTo>
                  <a:lnTo>
                    <a:pt x="833" y="567"/>
                  </a:lnTo>
                  <a:lnTo>
                    <a:pt x="833" y="567"/>
                  </a:lnTo>
                  <a:lnTo>
                    <a:pt x="831" y="567"/>
                  </a:lnTo>
                  <a:lnTo>
                    <a:pt x="828" y="567"/>
                  </a:lnTo>
                  <a:lnTo>
                    <a:pt x="825" y="567"/>
                  </a:lnTo>
                  <a:lnTo>
                    <a:pt x="823" y="567"/>
                  </a:lnTo>
                  <a:lnTo>
                    <a:pt x="820" y="567"/>
                  </a:lnTo>
                  <a:lnTo>
                    <a:pt x="817" y="564"/>
                  </a:lnTo>
                  <a:lnTo>
                    <a:pt x="817" y="564"/>
                  </a:lnTo>
                  <a:lnTo>
                    <a:pt x="815" y="562"/>
                  </a:lnTo>
                  <a:lnTo>
                    <a:pt x="815" y="562"/>
                  </a:lnTo>
                  <a:lnTo>
                    <a:pt x="812" y="559"/>
                  </a:lnTo>
                  <a:lnTo>
                    <a:pt x="809" y="556"/>
                  </a:lnTo>
                  <a:lnTo>
                    <a:pt x="807" y="554"/>
                  </a:lnTo>
                  <a:lnTo>
                    <a:pt x="807" y="551"/>
                  </a:lnTo>
                  <a:lnTo>
                    <a:pt x="804" y="551"/>
                  </a:lnTo>
                  <a:lnTo>
                    <a:pt x="804" y="548"/>
                  </a:lnTo>
                  <a:lnTo>
                    <a:pt x="801" y="546"/>
                  </a:lnTo>
                  <a:lnTo>
                    <a:pt x="801" y="546"/>
                  </a:lnTo>
                  <a:lnTo>
                    <a:pt x="799" y="546"/>
                  </a:lnTo>
                  <a:lnTo>
                    <a:pt x="799" y="546"/>
                  </a:lnTo>
                  <a:lnTo>
                    <a:pt x="796" y="548"/>
                  </a:lnTo>
                  <a:lnTo>
                    <a:pt x="796" y="548"/>
                  </a:lnTo>
                  <a:lnTo>
                    <a:pt x="796" y="548"/>
                  </a:lnTo>
                  <a:lnTo>
                    <a:pt x="793" y="551"/>
                  </a:lnTo>
                  <a:lnTo>
                    <a:pt x="793" y="554"/>
                  </a:lnTo>
                  <a:lnTo>
                    <a:pt x="793" y="554"/>
                  </a:lnTo>
                  <a:lnTo>
                    <a:pt x="793" y="554"/>
                  </a:lnTo>
                  <a:lnTo>
                    <a:pt x="793" y="556"/>
                  </a:lnTo>
                  <a:lnTo>
                    <a:pt x="793" y="556"/>
                  </a:lnTo>
                  <a:lnTo>
                    <a:pt x="793" y="559"/>
                  </a:lnTo>
                  <a:lnTo>
                    <a:pt x="791" y="562"/>
                  </a:lnTo>
                  <a:lnTo>
                    <a:pt x="791" y="562"/>
                  </a:lnTo>
                  <a:lnTo>
                    <a:pt x="791" y="564"/>
                  </a:lnTo>
                  <a:lnTo>
                    <a:pt x="791" y="567"/>
                  </a:lnTo>
                  <a:lnTo>
                    <a:pt x="791" y="570"/>
                  </a:lnTo>
                  <a:lnTo>
                    <a:pt x="793" y="570"/>
                  </a:lnTo>
                  <a:lnTo>
                    <a:pt x="793" y="572"/>
                  </a:lnTo>
                  <a:lnTo>
                    <a:pt x="793" y="572"/>
                  </a:lnTo>
                  <a:lnTo>
                    <a:pt x="793" y="575"/>
                  </a:lnTo>
                  <a:lnTo>
                    <a:pt x="793" y="575"/>
                  </a:lnTo>
                  <a:lnTo>
                    <a:pt x="796" y="578"/>
                  </a:lnTo>
                  <a:lnTo>
                    <a:pt x="796" y="580"/>
                  </a:lnTo>
                  <a:lnTo>
                    <a:pt x="796" y="580"/>
                  </a:lnTo>
                  <a:lnTo>
                    <a:pt x="796" y="583"/>
                  </a:lnTo>
                  <a:lnTo>
                    <a:pt x="796" y="583"/>
                  </a:lnTo>
                  <a:lnTo>
                    <a:pt x="796" y="583"/>
                  </a:lnTo>
                  <a:lnTo>
                    <a:pt x="793" y="583"/>
                  </a:lnTo>
                  <a:lnTo>
                    <a:pt x="793" y="583"/>
                  </a:lnTo>
                  <a:lnTo>
                    <a:pt x="791" y="583"/>
                  </a:lnTo>
                  <a:lnTo>
                    <a:pt x="788" y="583"/>
                  </a:lnTo>
                  <a:lnTo>
                    <a:pt x="788" y="583"/>
                  </a:lnTo>
                  <a:lnTo>
                    <a:pt x="785" y="583"/>
                  </a:lnTo>
                  <a:lnTo>
                    <a:pt x="785" y="583"/>
                  </a:lnTo>
                  <a:lnTo>
                    <a:pt x="783" y="583"/>
                  </a:lnTo>
                  <a:lnTo>
                    <a:pt x="783" y="583"/>
                  </a:lnTo>
                  <a:lnTo>
                    <a:pt x="780" y="583"/>
                  </a:lnTo>
                  <a:lnTo>
                    <a:pt x="780" y="586"/>
                  </a:lnTo>
                  <a:lnTo>
                    <a:pt x="777" y="586"/>
                  </a:lnTo>
                  <a:lnTo>
                    <a:pt x="777" y="586"/>
                  </a:lnTo>
                  <a:lnTo>
                    <a:pt x="777" y="588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1"/>
                  </a:lnTo>
                  <a:lnTo>
                    <a:pt x="780" y="594"/>
                  </a:lnTo>
                  <a:lnTo>
                    <a:pt x="780" y="596"/>
                  </a:lnTo>
                  <a:lnTo>
                    <a:pt x="777" y="596"/>
                  </a:lnTo>
                  <a:lnTo>
                    <a:pt x="777" y="596"/>
                  </a:lnTo>
                  <a:lnTo>
                    <a:pt x="777" y="599"/>
                  </a:lnTo>
                  <a:lnTo>
                    <a:pt x="777" y="599"/>
                  </a:lnTo>
                  <a:lnTo>
                    <a:pt x="777" y="602"/>
                  </a:lnTo>
                  <a:lnTo>
                    <a:pt x="777" y="602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80" y="607"/>
                  </a:lnTo>
                  <a:lnTo>
                    <a:pt x="777" y="604"/>
                  </a:lnTo>
                  <a:lnTo>
                    <a:pt x="777" y="604"/>
                  </a:lnTo>
                  <a:lnTo>
                    <a:pt x="777" y="602"/>
                  </a:lnTo>
                  <a:lnTo>
                    <a:pt x="775" y="602"/>
                  </a:lnTo>
                  <a:lnTo>
                    <a:pt x="775" y="602"/>
                  </a:lnTo>
                  <a:lnTo>
                    <a:pt x="775" y="599"/>
                  </a:lnTo>
                  <a:lnTo>
                    <a:pt x="775" y="596"/>
                  </a:lnTo>
                  <a:lnTo>
                    <a:pt x="775" y="596"/>
                  </a:lnTo>
                  <a:lnTo>
                    <a:pt x="775" y="596"/>
                  </a:lnTo>
                  <a:lnTo>
                    <a:pt x="777" y="594"/>
                  </a:lnTo>
                  <a:lnTo>
                    <a:pt x="777" y="594"/>
                  </a:lnTo>
                  <a:lnTo>
                    <a:pt x="777" y="591"/>
                  </a:lnTo>
                  <a:lnTo>
                    <a:pt x="777" y="591"/>
                  </a:lnTo>
                  <a:lnTo>
                    <a:pt x="775" y="588"/>
                  </a:lnTo>
                  <a:lnTo>
                    <a:pt x="775" y="588"/>
                  </a:lnTo>
                  <a:lnTo>
                    <a:pt x="775" y="586"/>
                  </a:lnTo>
                  <a:lnTo>
                    <a:pt x="772" y="586"/>
                  </a:lnTo>
                  <a:lnTo>
                    <a:pt x="772" y="586"/>
                  </a:lnTo>
                  <a:lnTo>
                    <a:pt x="772" y="586"/>
                  </a:lnTo>
                  <a:lnTo>
                    <a:pt x="769" y="586"/>
                  </a:lnTo>
                  <a:lnTo>
                    <a:pt x="767" y="586"/>
                  </a:lnTo>
                  <a:lnTo>
                    <a:pt x="764" y="586"/>
                  </a:lnTo>
                  <a:lnTo>
                    <a:pt x="764" y="586"/>
                  </a:lnTo>
                  <a:lnTo>
                    <a:pt x="761" y="586"/>
                  </a:lnTo>
                  <a:lnTo>
                    <a:pt x="759" y="583"/>
                  </a:lnTo>
                  <a:lnTo>
                    <a:pt x="756" y="583"/>
                  </a:lnTo>
                  <a:lnTo>
                    <a:pt x="756" y="583"/>
                  </a:lnTo>
                  <a:lnTo>
                    <a:pt x="753" y="583"/>
                  </a:lnTo>
                  <a:lnTo>
                    <a:pt x="753" y="583"/>
                  </a:lnTo>
                  <a:lnTo>
                    <a:pt x="751" y="583"/>
                  </a:lnTo>
                  <a:lnTo>
                    <a:pt x="751" y="586"/>
                  </a:lnTo>
                  <a:lnTo>
                    <a:pt x="748" y="586"/>
                  </a:lnTo>
                  <a:lnTo>
                    <a:pt x="748" y="586"/>
                  </a:lnTo>
                  <a:lnTo>
                    <a:pt x="748" y="588"/>
                  </a:lnTo>
                  <a:lnTo>
                    <a:pt x="748" y="588"/>
                  </a:lnTo>
                  <a:lnTo>
                    <a:pt x="745" y="591"/>
                  </a:lnTo>
                  <a:lnTo>
                    <a:pt x="745" y="588"/>
                  </a:lnTo>
                  <a:lnTo>
                    <a:pt x="745" y="588"/>
                  </a:lnTo>
                  <a:lnTo>
                    <a:pt x="745" y="588"/>
                  </a:lnTo>
                  <a:lnTo>
                    <a:pt x="745" y="586"/>
                  </a:lnTo>
                  <a:lnTo>
                    <a:pt x="745" y="586"/>
                  </a:lnTo>
                  <a:lnTo>
                    <a:pt x="745" y="586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5" y="583"/>
                  </a:lnTo>
                  <a:lnTo>
                    <a:pt x="748" y="583"/>
                  </a:lnTo>
                  <a:lnTo>
                    <a:pt x="748" y="583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1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3" y="580"/>
                  </a:lnTo>
                  <a:lnTo>
                    <a:pt x="756" y="580"/>
                  </a:lnTo>
                  <a:lnTo>
                    <a:pt x="756" y="578"/>
                  </a:lnTo>
                  <a:lnTo>
                    <a:pt x="756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59" y="578"/>
                  </a:lnTo>
                  <a:lnTo>
                    <a:pt x="761" y="578"/>
                  </a:lnTo>
                  <a:lnTo>
                    <a:pt x="761" y="578"/>
                  </a:lnTo>
                  <a:lnTo>
                    <a:pt x="764" y="578"/>
                  </a:lnTo>
                  <a:lnTo>
                    <a:pt x="764" y="578"/>
                  </a:lnTo>
                  <a:lnTo>
                    <a:pt x="764" y="578"/>
                  </a:lnTo>
                  <a:lnTo>
                    <a:pt x="767" y="578"/>
                  </a:lnTo>
                  <a:lnTo>
                    <a:pt x="767" y="578"/>
                  </a:lnTo>
                  <a:lnTo>
                    <a:pt x="769" y="575"/>
                  </a:lnTo>
                  <a:lnTo>
                    <a:pt x="769" y="575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7" y="570"/>
                  </a:lnTo>
                  <a:lnTo>
                    <a:pt x="767" y="570"/>
                  </a:lnTo>
                  <a:lnTo>
                    <a:pt x="767" y="570"/>
                  </a:lnTo>
                  <a:lnTo>
                    <a:pt x="767" y="567"/>
                  </a:lnTo>
                  <a:lnTo>
                    <a:pt x="767" y="567"/>
                  </a:lnTo>
                  <a:lnTo>
                    <a:pt x="769" y="567"/>
                  </a:lnTo>
                  <a:lnTo>
                    <a:pt x="769" y="567"/>
                  </a:lnTo>
                  <a:lnTo>
                    <a:pt x="769" y="564"/>
                  </a:lnTo>
                  <a:lnTo>
                    <a:pt x="772" y="564"/>
                  </a:lnTo>
                  <a:lnTo>
                    <a:pt x="772" y="564"/>
                  </a:lnTo>
                  <a:lnTo>
                    <a:pt x="772" y="564"/>
                  </a:lnTo>
                  <a:lnTo>
                    <a:pt x="775" y="564"/>
                  </a:lnTo>
                  <a:lnTo>
                    <a:pt x="775" y="562"/>
                  </a:lnTo>
                  <a:lnTo>
                    <a:pt x="775" y="562"/>
                  </a:lnTo>
                  <a:lnTo>
                    <a:pt x="775" y="562"/>
                  </a:lnTo>
                  <a:lnTo>
                    <a:pt x="777" y="562"/>
                  </a:lnTo>
                  <a:lnTo>
                    <a:pt x="777" y="562"/>
                  </a:lnTo>
                  <a:lnTo>
                    <a:pt x="780" y="562"/>
                  </a:lnTo>
                  <a:lnTo>
                    <a:pt x="780" y="562"/>
                  </a:lnTo>
                  <a:lnTo>
                    <a:pt x="783" y="562"/>
                  </a:lnTo>
                  <a:lnTo>
                    <a:pt x="783" y="562"/>
                  </a:lnTo>
                  <a:lnTo>
                    <a:pt x="783" y="562"/>
                  </a:lnTo>
                  <a:lnTo>
                    <a:pt x="785" y="559"/>
                  </a:lnTo>
                  <a:lnTo>
                    <a:pt x="785" y="559"/>
                  </a:lnTo>
                  <a:lnTo>
                    <a:pt x="785" y="559"/>
                  </a:lnTo>
                  <a:lnTo>
                    <a:pt x="788" y="556"/>
                  </a:lnTo>
                  <a:lnTo>
                    <a:pt x="788" y="556"/>
                  </a:lnTo>
                  <a:lnTo>
                    <a:pt x="788" y="554"/>
                  </a:lnTo>
                  <a:lnTo>
                    <a:pt x="788" y="554"/>
                  </a:lnTo>
                  <a:lnTo>
                    <a:pt x="788" y="551"/>
                  </a:lnTo>
                  <a:lnTo>
                    <a:pt x="788" y="551"/>
                  </a:lnTo>
                  <a:lnTo>
                    <a:pt x="788" y="551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8" y="548"/>
                  </a:lnTo>
                  <a:lnTo>
                    <a:pt x="785" y="548"/>
                  </a:lnTo>
                  <a:lnTo>
                    <a:pt x="783" y="546"/>
                  </a:lnTo>
                  <a:lnTo>
                    <a:pt x="783" y="546"/>
                  </a:lnTo>
                  <a:lnTo>
                    <a:pt x="783" y="546"/>
                  </a:lnTo>
                  <a:lnTo>
                    <a:pt x="780" y="546"/>
                  </a:lnTo>
                  <a:lnTo>
                    <a:pt x="780" y="546"/>
                  </a:lnTo>
                  <a:lnTo>
                    <a:pt x="780" y="543"/>
                  </a:lnTo>
                  <a:lnTo>
                    <a:pt x="777" y="543"/>
                  </a:lnTo>
                  <a:lnTo>
                    <a:pt x="777" y="546"/>
                  </a:lnTo>
                  <a:lnTo>
                    <a:pt x="775" y="546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2" y="546"/>
                  </a:lnTo>
                  <a:lnTo>
                    <a:pt x="769" y="546"/>
                  </a:lnTo>
                  <a:lnTo>
                    <a:pt x="769" y="546"/>
                  </a:lnTo>
                  <a:lnTo>
                    <a:pt x="769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7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4" y="546"/>
                  </a:lnTo>
                  <a:lnTo>
                    <a:pt x="761" y="546"/>
                  </a:lnTo>
                  <a:lnTo>
                    <a:pt x="761" y="546"/>
                  </a:lnTo>
                  <a:lnTo>
                    <a:pt x="761" y="546"/>
                  </a:lnTo>
                  <a:lnTo>
                    <a:pt x="761" y="548"/>
                  </a:lnTo>
                  <a:lnTo>
                    <a:pt x="759" y="548"/>
                  </a:lnTo>
                  <a:lnTo>
                    <a:pt x="759" y="548"/>
                  </a:lnTo>
                  <a:lnTo>
                    <a:pt x="759" y="551"/>
                  </a:lnTo>
                  <a:lnTo>
                    <a:pt x="759" y="551"/>
                  </a:lnTo>
                  <a:lnTo>
                    <a:pt x="759" y="554"/>
                  </a:lnTo>
                  <a:lnTo>
                    <a:pt x="759" y="554"/>
                  </a:lnTo>
                  <a:lnTo>
                    <a:pt x="759" y="556"/>
                  </a:lnTo>
                  <a:lnTo>
                    <a:pt x="759" y="556"/>
                  </a:lnTo>
                  <a:lnTo>
                    <a:pt x="759" y="559"/>
                  </a:lnTo>
                  <a:lnTo>
                    <a:pt x="756" y="559"/>
                  </a:lnTo>
                  <a:lnTo>
                    <a:pt x="753" y="562"/>
                  </a:lnTo>
                  <a:lnTo>
                    <a:pt x="753" y="564"/>
                  </a:lnTo>
                  <a:lnTo>
                    <a:pt x="753" y="564"/>
                  </a:lnTo>
                  <a:lnTo>
                    <a:pt x="751" y="564"/>
                  </a:lnTo>
                  <a:lnTo>
                    <a:pt x="751" y="564"/>
                  </a:lnTo>
                  <a:lnTo>
                    <a:pt x="748" y="564"/>
                  </a:lnTo>
                  <a:lnTo>
                    <a:pt x="748" y="564"/>
                  </a:lnTo>
                  <a:lnTo>
                    <a:pt x="745" y="564"/>
                  </a:lnTo>
                  <a:lnTo>
                    <a:pt x="745" y="567"/>
                  </a:lnTo>
                  <a:lnTo>
                    <a:pt x="745" y="570"/>
                  </a:lnTo>
                  <a:lnTo>
                    <a:pt x="743" y="567"/>
                  </a:lnTo>
                  <a:lnTo>
                    <a:pt x="743" y="567"/>
                  </a:lnTo>
                  <a:lnTo>
                    <a:pt x="745" y="567"/>
                  </a:lnTo>
                  <a:lnTo>
                    <a:pt x="745" y="564"/>
                  </a:lnTo>
                  <a:lnTo>
                    <a:pt x="743" y="564"/>
                  </a:lnTo>
                  <a:lnTo>
                    <a:pt x="743" y="564"/>
                  </a:lnTo>
                  <a:lnTo>
                    <a:pt x="743" y="562"/>
                  </a:lnTo>
                  <a:lnTo>
                    <a:pt x="743" y="562"/>
                  </a:lnTo>
                  <a:lnTo>
                    <a:pt x="745" y="562"/>
                  </a:lnTo>
                  <a:lnTo>
                    <a:pt x="745" y="562"/>
                  </a:lnTo>
                  <a:lnTo>
                    <a:pt x="745" y="562"/>
                  </a:lnTo>
                  <a:lnTo>
                    <a:pt x="748" y="562"/>
                  </a:lnTo>
                  <a:lnTo>
                    <a:pt x="748" y="562"/>
                  </a:lnTo>
                  <a:lnTo>
                    <a:pt x="751" y="559"/>
                  </a:lnTo>
                  <a:lnTo>
                    <a:pt x="751" y="559"/>
                  </a:lnTo>
                  <a:lnTo>
                    <a:pt x="751" y="559"/>
                  </a:lnTo>
                  <a:lnTo>
                    <a:pt x="753" y="559"/>
                  </a:lnTo>
                  <a:lnTo>
                    <a:pt x="753" y="559"/>
                  </a:lnTo>
                  <a:lnTo>
                    <a:pt x="753" y="559"/>
                  </a:lnTo>
                  <a:lnTo>
                    <a:pt x="753" y="556"/>
                  </a:lnTo>
                  <a:lnTo>
                    <a:pt x="753" y="556"/>
                  </a:lnTo>
                  <a:lnTo>
                    <a:pt x="753" y="554"/>
                  </a:lnTo>
                  <a:lnTo>
                    <a:pt x="753" y="551"/>
                  </a:lnTo>
                  <a:lnTo>
                    <a:pt x="753" y="551"/>
                  </a:lnTo>
                  <a:lnTo>
                    <a:pt x="753" y="548"/>
                  </a:lnTo>
                  <a:lnTo>
                    <a:pt x="753" y="548"/>
                  </a:lnTo>
                  <a:lnTo>
                    <a:pt x="756" y="548"/>
                  </a:lnTo>
                  <a:lnTo>
                    <a:pt x="756" y="546"/>
                  </a:lnTo>
                  <a:lnTo>
                    <a:pt x="756" y="546"/>
                  </a:lnTo>
                  <a:lnTo>
                    <a:pt x="756" y="546"/>
                  </a:lnTo>
                  <a:lnTo>
                    <a:pt x="759" y="543"/>
                  </a:lnTo>
                  <a:lnTo>
                    <a:pt x="761" y="543"/>
                  </a:lnTo>
                  <a:lnTo>
                    <a:pt x="761" y="543"/>
                  </a:lnTo>
                  <a:lnTo>
                    <a:pt x="761" y="543"/>
                  </a:lnTo>
                  <a:lnTo>
                    <a:pt x="764" y="543"/>
                  </a:lnTo>
                  <a:lnTo>
                    <a:pt x="764" y="543"/>
                  </a:lnTo>
                  <a:lnTo>
                    <a:pt x="764" y="540"/>
                  </a:lnTo>
                  <a:lnTo>
                    <a:pt x="767" y="540"/>
                  </a:lnTo>
                  <a:lnTo>
                    <a:pt x="767" y="540"/>
                  </a:lnTo>
                  <a:lnTo>
                    <a:pt x="767" y="540"/>
                  </a:lnTo>
                  <a:lnTo>
                    <a:pt x="769" y="540"/>
                  </a:lnTo>
                  <a:lnTo>
                    <a:pt x="769" y="540"/>
                  </a:lnTo>
                  <a:lnTo>
                    <a:pt x="769" y="540"/>
                  </a:lnTo>
                  <a:lnTo>
                    <a:pt x="772" y="540"/>
                  </a:lnTo>
                  <a:lnTo>
                    <a:pt x="772" y="540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5" y="543"/>
                  </a:lnTo>
                  <a:lnTo>
                    <a:pt x="777" y="543"/>
                  </a:lnTo>
                  <a:lnTo>
                    <a:pt x="777" y="543"/>
                  </a:lnTo>
                  <a:lnTo>
                    <a:pt x="780" y="540"/>
                  </a:lnTo>
                  <a:lnTo>
                    <a:pt x="780" y="540"/>
                  </a:lnTo>
                  <a:lnTo>
                    <a:pt x="780" y="538"/>
                  </a:lnTo>
                  <a:lnTo>
                    <a:pt x="780" y="538"/>
                  </a:lnTo>
                  <a:lnTo>
                    <a:pt x="780" y="538"/>
                  </a:lnTo>
                  <a:lnTo>
                    <a:pt x="783" y="538"/>
                  </a:lnTo>
                  <a:lnTo>
                    <a:pt x="783" y="538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3" y="535"/>
                  </a:lnTo>
                  <a:lnTo>
                    <a:pt x="785" y="535"/>
                  </a:lnTo>
                  <a:lnTo>
                    <a:pt x="785" y="538"/>
                  </a:lnTo>
                  <a:lnTo>
                    <a:pt x="788" y="538"/>
                  </a:lnTo>
                  <a:lnTo>
                    <a:pt x="788" y="538"/>
                  </a:lnTo>
                  <a:lnTo>
                    <a:pt x="788" y="538"/>
                  </a:lnTo>
                  <a:lnTo>
                    <a:pt x="791" y="538"/>
                  </a:lnTo>
                  <a:lnTo>
                    <a:pt x="791" y="538"/>
                  </a:lnTo>
                  <a:lnTo>
                    <a:pt x="791" y="540"/>
                  </a:lnTo>
                  <a:lnTo>
                    <a:pt x="791" y="540"/>
                  </a:lnTo>
                  <a:lnTo>
                    <a:pt x="791" y="540"/>
                  </a:lnTo>
                  <a:lnTo>
                    <a:pt x="791" y="543"/>
                  </a:lnTo>
                  <a:lnTo>
                    <a:pt x="791" y="543"/>
                  </a:lnTo>
                  <a:lnTo>
                    <a:pt x="791" y="543"/>
                  </a:lnTo>
                  <a:lnTo>
                    <a:pt x="793" y="543"/>
                  </a:lnTo>
                  <a:lnTo>
                    <a:pt x="793" y="543"/>
                  </a:lnTo>
                  <a:lnTo>
                    <a:pt x="793" y="540"/>
                  </a:lnTo>
                  <a:lnTo>
                    <a:pt x="796" y="540"/>
                  </a:lnTo>
                  <a:lnTo>
                    <a:pt x="796" y="543"/>
                  </a:lnTo>
                  <a:lnTo>
                    <a:pt x="796" y="543"/>
                  </a:lnTo>
                  <a:lnTo>
                    <a:pt x="796" y="543"/>
                  </a:lnTo>
                  <a:lnTo>
                    <a:pt x="799" y="543"/>
                  </a:lnTo>
                  <a:lnTo>
                    <a:pt x="799" y="540"/>
                  </a:lnTo>
                  <a:lnTo>
                    <a:pt x="799" y="540"/>
                  </a:lnTo>
                  <a:lnTo>
                    <a:pt x="799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1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4" y="540"/>
                  </a:lnTo>
                  <a:lnTo>
                    <a:pt x="807" y="540"/>
                  </a:lnTo>
                  <a:lnTo>
                    <a:pt x="807" y="540"/>
                  </a:lnTo>
                  <a:lnTo>
                    <a:pt x="807" y="540"/>
                  </a:lnTo>
                  <a:lnTo>
                    <a:pt x="809" y="540"/>
                  </a:lnTo>
                  <a:lnTo>
                    <a:pt x="809" y="540"/>
                  </a:lnTo>
                  <a:lnTo>
                    <a:pt x="809" y="540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8"/>
                  </a:lnTo>
                  <a:lnTo>
                    <a:pt x="812" y="535"/>
                  </a:lnTo>
                  <a:lnTo>
                    <a:pt x="812" y="535"/>
                  </a:lnTo>
                  <a:lnTo>
                    <a:pt x="815" y="535"/>
                  </a:lnTo>
                  <a:lnTo>
                    <a:pt x="815" y="535"/>
                  </a:lnTo>
                  <a:lnTo>
                    <a:pt x="815" y="532"/>
                  </a:lnTo>
                  <a:lnTo>
                    <a:pt x="815" y="532"/>
                  </a:lnTo>
                  <a:lnTo>
                    <a:pt x="817" y="532"/>
                  </a:lnTo>
                  <a:lnTo>
                    <a:pt x="817" y="532"/>
                  </a:lnTo>
                  <a:lnTo>
                    <a:pt x="817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2"/>
                  </a:lnTo>
                  <a:lnTo>
                    <a:pt x="820" y="530"/>
                  </a:lnTo>
                  <a:lnTo>
                    <a:pt x="820" y="527"/>
                  </a:lnTo>
                  <a:lnTo>
                    <a:pt x="820" y="527"/>
                  </a:lnTo>
                  <a:lnTo>
                    <a:pt x="820" y="527"/>
                  </a:lnTo>
                  <a:lnTo>
                    <a:pt x="823" y="527"/>
                  </a:lnTo>
                  <a:lnTo>
                    <a:pt x="823" y="527"/>
                  </a:lnTo>
                  <a:lnTo>
                    <a:pt x="823" y="524"/>
                  </a:lnTo>
                  <a:lnTo>
                    <a:pt x="825" y="524"/>
                  </a:lnTo>
                  <a:lnTo>
                    <a:pt x="825" y="524"/>
                  </a:lnTo>
                  <a:lnTo>
                    <a:pt x="825" y="524"/>
                  </a:lnTo>
                  <a:lnTo>
                    <a:pt x="825" y="522"/>
                  </a:lnTo>
                  <a:lnTo>
                    <a:pt x="825" y="522"/>
                  </a:lnTo>
                  <a:lnTo>
                    <a:pt x="828" y="522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4"/>
                  </a:lnTo>
                  <a:lnTo>
                    <a:pt x="828" y="522"/>
                  </a:lnTo>
                  <a:lnTo>
                    <a:pt x="831" y="522"/>
                  </a:lnTo>
                  <a:lnTo>
                    <a:pt x="831" y="522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9"/>
                  </a:lnTo>
                  <a:lnTo>
                    <a:pt x="831" y="516"/>
                  </a:lnTo>
                  <a:lnTo>
                    <a:pt x="831" y="516"/>
                  </a:lnTo>
                  <a:lnTo>
                    <a:pt x="831" y="516"/>
                  </a:lnTo>
                  <a:lnTo>
                    <a:pt x="833" y="514"/>
                  </a:lnTo>
                  <a:lnTo>
                    <a:pt x="833" y="514"/>
                  </a:lnTo>
                  <a:lnTo>
                    <a:pt x="833" y="514"/>
                  </a:lnTo>
                  <a:lnTo>
                    <a:pt x="833" y="511"/>
                  </a:lnTo>
                  <a:lnTo>
                    <a:pt x="833" y="511"/>
                  </a:lnTo>
                  <a:lnTo>
                    <a:pt x="833" y="508"/>
                  </a:lnTo>
                  <a:lnTo>
                    <a:pt x="833" y="508"/>
                  </a:lnTo>
                  <a:lnTo>
                    <a:pt x="836" y="508"/>
                  </a:lnTo>
                  <a:lnTo>
                    <a:pt x="836" y="506"/>
                  </a:lnTo>
                  <a:lnTo>
                    <a:pt x="836" y="506"/>
                  </a:lnTo>
                  <a:lnTo>
                    <a:pt x="839" y="506"/>
                  </a:lnTo>
                  <a:lnTo>
                    <a:pt x="839" y="506"/>
                  </a:lnTo>
                  <a:lnTo>
                    <a:pt x="839" y="506"/>
                  </a:lnTo>
                  <a:lnTo>
                    <a:pt x="841" y="506"/>
                  </a:lnTo>
                  <a:lnTo>
                    <a:pt x="841" y="508"/>
                  </a:lnTo>
                  <a:lnTo>
                    <a:pt x="841" y="508"/>
                  </a:lnTo>
                  <a:lnTo>
                    <a:pt x="841" y="508"/>
                  </a:lnTo>
                  <a:lnTo>
                    <a:pt x="841" y="511"/>
                  </a:lnTo>
                  <a:lnTo>
                    <a:pt x="841" y="511"/>
                  </a:lnTo>
                  <a:lnTo>
                    <a:pt x="841" y="514"/>
                  </a:lnTo>
                  <a:lnTo>
                    <a:pt x="839" y="514"/>
                  </a:lnTo>
                  <a:lnTo>
                    <a:pt x="839" y="516"/>
                  </a:lnTo>
                  <a:lnTo>
                    <a:pt x="839" y="516"/>
                  </a:lnTo>
                  <a:lnTo>
                    <a:pt x="839" y="516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39" y="519"/>
                  </a:lnTo>
                  <a:lnTo>
                    <a:pt x="841" y="519"/>
                  </a:lnTo>
                  <a:lnTo>
                    <a:pt x="841" y="516"/>
                  </a:lnTo>
                  <a:lnTo>
                    <a:pt x="841" y="516"/>
                  </a:lnTo>
                  <a:lnTo>
                    <a:pt x="841" y="516"/>
                  </a:lnTo>
                  <a:lnTo>
                    <a:pt x="841" y="514"/>
                  </a:lnTo>
                  <a:lnTo>
                    <a:pt x="841" y="511"/>
                  </a:lnTo>
                  <a:lnTo>
                    <a:pt x="841" y="511"/>
                  </a:lnTo>
                  <a:lnTo>
                    <a:pt x="841" y="508"/>
                  </a:lnTo>
                  <a:lnTo>
                    <a:pt x="841" y="506"/>
                  </a:lnTo>
                  <a:lnTo>
                    <a:pt x="839" y="498"/>
                  </a:lnTo>
                  <a:lnTo>
                    <a:pt x="839" y="495"/>
                  </a:lnTo>
                  <a:lnTo>
                    <a:pt x="839" y="495"/>
                  </a:lnTo>
                  <a:lnTo>
                    <a:pt x="839" y="492"/>
                  </a:lnTo>
                  <a:lnTo>
                    <a:pt x="839" y="490"/>
                  </a:lnTo>
                  <a:lnTo>
                    <a:pt x="839" y="490"/>
                  </a:lnTo>
                  <a:lnTo>
                    <a:pt x="839" y="487"/>
                  </a:lnTo>
                  <a:lnTo>
                    <a:pt x="839" y="484"/>
                  </a:lnTo>
                  <a:lnTo>
                    <a:pt x="839" y="481"/>
                  </a:lnTo>
                  <a:lnTo>
                    <a:pt x="841" y="479"/>
                  </a:lnTo>
                  <a:lnTo>
                    <a:pt x="841" y="479"/>
                  </a:lnTo>
                  <a:lnTo>
                    <a:pt x="841" y="476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3"/>
                  </a:lnTo>
                  <a:lnTo>
                    <a:pt x="844" y="471"/>
                  </a:lnTo>
                  <a:lnTo>
                    <a:pt x="844" y="471"/>
                  </a:lnTo>
                  <a:lnTo>
                    <a:pt x="844" y="468"/>
                  </a:lnTo>
                  <a:lnTo>
                    <a:pt x="844" y="468"/>
                  </a:lnTo>
                  <a:lnTo>
                    <a:pt x="844" y="465"/>
                  </a:lnTo>
                  <a:lnTo>
                    <a:pt x="844" y="465"/>
                  </a:lnTo>
                  <a:lnTo>
                    <a:pt x="841" y="463"/>
                  </a:lnTo>
                  <a:lnTo>
                    <a:pt x="841" y="463"/>
                  </a:lnTo>
                  <a:lnTo>
                    <a:pt x="841" y="460"/>
                  </a:lnTo>
                  <a:lnTo>
                    <a:pt x="841" y="457"/>
                  </a:lnTo>
                  <a:lnTo>
                    <a:pt x="839" y="455"/>
                  </a:lnTo>
                  <a:lnTo>
                    <a:pt x="839" y="452"/>
                  </a:lnTo>
                  <a:lnTo>
                    <a:pt x="836" y="449"/>
                  </a:lnTo>
                  <a:lnTo>
                    <a:pt x="836" y="449"/>
                  </a:lnTo>
                  <a:lnTo>
                    <a:pt x="836" y="447"/>
                  </a:lnTo>
                  <a:lnTo>
                    <a:pt x="836" y="444"/>
                  </a:lnTo>
                  <a:lnTo>
                    <a:pt x="836" y="444"/>
                  </a:lnTo>
                  <a:lnTo>
                    <a:pt x="836" y="444"/>
                  </a:lnTo>
                  <a:lnTo>
                    <a:pt x="836" y="441"/>
                  </a:lnTo>
                  <a:lnTo>
                    <a:pt x="836" y="441"/>
                  </a:lnTo>
                  <a:lnTo>
                    <a:pt x="836" y="439"/>
                  </a:lnTo>
                  <a:lnTo>
                    <a:pt x="836" y="439"/>
                  </a:lnTo>
                  <a:lnTo>
                    <a:pt x="839" y="436"/>
                  </a:lnTo>
                  <a:lnTo>
                    <a:pt x="839" y="436"/>
                  </a:lnTo>
                  <a:lnTo>
                    <a:pt x="839" y="433"/>
                  </a:lnTo>
                  <a:lnTo>
                    <a:pt x="836" y="431"/>
                  </a:lnTo>
                  <a:lnTo>
                    <a:pt x="836" y="431"/>
                  </a:lnTo>
                  <a:lnTo>
                    <a:pt x="836" y="431"/>
                  </a:lnTo>
                  <a:lnTo>
                    <a:pt x="836" y="428"/>
                  </a:lnTo>
                  <a:lnTo>
                    <a:pt x="836" y="425"/>
                  </a:lnTo>
                  <a:lnTo>
                    <a:pt x="836" y="425"/>
                  </a:lnTo>
                  <a:lnTo>
                    <a:pt x="836" y="423"/>
                  </a:lnTo>
                  <a:lnTo>
                    <a:pt x="836" y="423"/>
                  </a:lnTo>
                  <a:lnTo>
                    <a:pt x="836" y="420"/>
                  </a:lnTo>
                  <a:lnTo>
                    <a:pt x="836" y="420"/>
                  </a:lnTo>
                  <a:lnTo>
                    <a:pt x="836" y="420"/>
                  </a:lnTo>
                  <a:lnTo>
                    <a:pt x="836" y="417"/>
                  </a:lnTo>
                  <a:lnTo>
                    <a:pt x="836" y="415"/>
                  </a:lnTo>
                  <a:lnTo>
                    <a:pt x="833" y="415"/>
                  </a:lnTo>
                  <a:lnTo>
                    <a:pt x="833" y="412"/>
                  </a:lnTo>
                  <a:lnTo>
                    <a:pt x="831" y="409"/>
                  </a:lnTo>
                  <a:lnTo>
                    <a:pt x="828" y="409"/>
                  </a:lnTo>
                  <a:lnTo>
                    <a:pt x="825" y="407"/>
                  </a:lnTo>
                  <a:lnTo>
                    <a:pt x="825" y="407"/>
                  </a:lnTo>
                  <a:lnTo>
                    <a:pt x="825" y="404"/>
                  </a:lnTo>
                  <a:lnTo>
                    <a:pt x="825" y="404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0" y="399"/>
                  </a:lnTo>
                  <a:lnTo>
                    <a:pt x="820" y="399"/>
                  </a:lnTo>
                  <a:lnTo>
                    <a:pt x="817" y="399"/>
                  </a:lnTo>
                  <a:lnTo>
                    <a:pt x="817" y="399"/>
                  </a:lnTo>
                  <a:lnTo>
                    <a:pt x="817" y="401"/>
                  </a:lnTo>
                  <a:lnTo>
                    <a:pt x="817" y="401"/>
                  </a:lnTo>
                  <a:lnTo>
                    <a:pt x="817" y="401"/>
                  </a:lnTo>
                  <a:lnTo>
                    <a:pt x="815" y="404"/>
                  </a:lnTo>
                  <a:lnTo>
                    <a:pt x="815" y="404"/>
                  </a:lnTo>
                  <a:lnTo>
                    <a:pt x="815" y="404"/>
                  </a:lnTo>
                  <a:lnTo>
                    <a:pt x="812" y="404"/>
                  </a:lnTo>
                  <a:lnTo>
                    <a:pt x="812" y="407"/>
                  </a:lnTo>
                  <a:lnTo>
                    <a:pt x="812" y="407"/>
                  </a:lnTo>
                  <a:lnTo>
                    <a:pt x="812" y="409"/>
                  </a:lnTo>
                  <a:lnTo>
                    <a:pt x="812" y="412"/>
                  </a:lnTo>
                  <a:lnTo>
                    <a:pt x="809" y="412"/>
                  </a:lnTo>
                  <a:lnTo>
                    <a:pt x="809" y="415"/>
                  </a:lnTo>
                  <a:lnTo>
                    <a:pt x="812" y="415"/>
                  </a:lnTo>
                  <a:lnTo>
                    <a:pt x="812" y="415"/>
                  </a:lnTo>
                  <a:lnTo>
                    <a:pt x="812" y="417"/>
                  </a:lnTo>
                  <a:lnTo>
                    <a:pt x="812" y="417"/>
                  </a:lnTo>
                  <a:lnTo>
                    <a:pt x="815" y="417"/>
                  </a:lnTo>
                  <a:lnTo>
                    <a:pt x="815" y="417"/>
                  </a:lnTo>
                  <a:lnTo>
                    <a:pt x="815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7" y="417"/>
                  </a:lnTo>
                  <a:lnTo>
                    <a:pt x="815" y="420"/>
                  </a:lnTo>
                  <a:lnTo>
                    <a:pt x="815" y="420"/>
                  </a:lnTo>
                  <a:lnTo>
                    <a:pt x="812" y="420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12" y="423"/>
                  </a:lnTo>
                  <a:lnTo>
                    <a:pt x="809" y="425"/>
                  </a:lnTo>
                  <a:lnTo>
                    <a:pt x="809" y="423"/>
                  </a:lnTo>
                  <a:lnTo>
                    <a:pt x="809" y="423"/>
                  </a:lnTo>
                  <a:lnTo>
                    <a:pt x="809" y="423"/>
                  </a:lnTo>
                  <a:lnTo>
                    <a:pt x="809" y="420"/>
                  </a:lnTo>
                  <a:lnTo>
                    <a:pt x="809" y="420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5"/>
                  </a:lnTo>
                  <a:lnTo>
                    <a:pt x="809" y="415"/>
                  </a:lnTo>
                  <a:lnTo>
                    <a:pt x="809" y="412"/>
                  </a:lnTo>
                  <a:lnTo>
                    <a:pt x="809" y="412"/>
                  </a:lnTo>
                  <a:lnTo>
                    <a:pt x="809" y="409"/>
                  </a:lnTo>
                  <a:lnTo>
                    <a:pt x="809" y="409"/>
                  </a:lnTo>
                  <a:lnTo>
                    <a:pt x="812" y="407"/>
                  </a:lnTo>
                  <a:lnTo>
                    <a:pt x="812" y="407"/>
                  </a:lnTo>
                  <a:lnTo>
                    <a:pt x="812" y="404"/>
                  </a:lnTo>
                  <a:lnTo>
                    <a:pt x="812" y="404"/>
                  </a:lnTo>
                  <a:lnTo>
                    <a:pt x="812" y="404"/>
                  </a:lnTo>
                  <a:lnTo>
                    <a:pt x="815" y="401"/>
                  </a:lnTo>
                  <a:lnTo>
                    <a:pt x="815" y="401"/>
                  </a:lnTo>
                  <a:lnTo>
                    <a:pt x="817" y="401"/>
                  </a:lnTo>
                  <a:lnTo>
                    <a:pt x="817" y="399"/>
                  </a:lnTo>
                  <a:lnTo>
                    <a:pt x="815" y="399"/>
                  </a:lnTo>
                  <a:lnTo>
                    <a:pt x="817" y="396"/>
                  </a:lnTo>
                  <a:lnTo>
                    <a:pt x="817" y="396"/>
                  </a:lnTo>
                  <a:lnTo>
                    <a:pt x="817" y="396"/>
                  </a:lnTo>
                  <a:lnTo>
                    <a:pt x="817" y="393"/>
                  </a:lnTo>
                  <a:lnTo>
                    <a:pt x="815" y="391"/>
                  </a:lnTo>
                  <a:lnTo>
                    <a:pt x="815" y="391"/>
                  </a:lnTo>
                  <a:lnTo>
                    <a:pt x="815" y="388"/>
                  </a:lnTo>
                  <a:lnTo>
                    <a:pt x="815" y="385"/>
                  </a:lnTo>
                  <a:lnTo>
                    <a:pt x="812" y="383"/>
                  </a:lnTo>
                  <a:lnTo>
                    <a:pt x="809" y="383"/>
                  </a:lnTo>
                  <a:lnTo>
                    <a:pt x="807" y="380"/>
                  </a:lnTo>
                  <a:lnTo>
                    <a:pt x="807" y="380"/>
                  </a:lnTo>
                  <a:lnTo>
                    <a:pt x="804" y="377"/>
                  </a:lnTo>
                  <a:lnTo>
                    <a:pt x="801" y="377"/>
                  </a:lnTo>
                  <a:lnTo>
                    <a:pt x="801" y="380"/>
                  </a:lnTo>
                  <a:lnTo>
                    <a:pt x="796" y="380"/>
                  </a:lnTo>
                  <a:lnTo>
                    <a:pt x="793" y="383"/>
                  </a:lnTo>
                  <a:lnTo>
                    <a:pt x="791" y="383"/>
                  </a:lnTo>
                  <a:lnTo>
                    <a:pt x="785" y="383"/>
                  </a:lnTo>
                  <a:lnTo>
                    <a:pt x="785" y="383"/>
                  </a:lnTo>
                  <a:lnTo>
                    <a:pt x="783" y="383"/>
                  </a:lnTo>
                  <a:lnTo>
                    <a:pt x="780" y="383"/>
                  </a:lnTo>
                  <a:lnTo>
                    <a:pt x="777" y="383"/>
                  </a:lnTo>
                  <a:lnTo>
                    <a:pt x="777" y="383"/>
                  </a:lnTo>
                  <a:lnTo>
                    <a:pt x="772" y="380"/>
                  </a:lnTo>
                  <a:lnTo>
                    <a:pt x="769" y="380"/>
                  </a:lnTo>
                  <a:lnTo>
                    <a:pt x="769" y="380"/>
                  </a:lnTo>
                  <a:lnTo>
                    <a:pt x="767" y="377"/>
                  </a:lnTo>
                  <a:lnTo>
                    <a:pt x="764" y="377"/>
                  </a:lnTo>
                  <a:lnTo>
                    <a:pt x="761" y="375"/>
                  </a:lnTo>
                  <a:lnTo>
                    <a:pt x="761" y="372"/>
                  </a:lnTo>
                  <a:lnTo>
                    <a:pt x="759" y="369"/>
                  </a:lnTo>
                  <a:lnTo>
                    <a:pt x="756" y="367"/>
                  </a:lnTo>
                  <a:lnTo>
                    <a:pt x="753" y="367"/>
                  </a:lnTo>
                  <a:lnTo>
                    <a:pt x="753" y="364"/>
                  </a:lnTo>
                  <a:lnTo>
                    <a:pt x="751" y="359"/>
                  </a:lnTo>
                  <a:lnTo>
                    <a:pt x="751" y="359"/>
                  </a:lnTo>
                  <a:lnTo>
                    <a:pt x="751" y="356"/>
                  </a:lnTo>
                  <a:lnTo>
                    <a:pt x="751" y="356"/>
                  </a:lnTo>
                  <a:lnTo>
                    <a:pt x="753" y="356"/>
                  </a:lnTo>
                  <a:lnTo>
                    <a:pt x="756" y="356"/>
                  </a:lnTo>
                  <a:lnTo>
                    <a:pt x="756" y="356"/>
                  </a:lnTo>
                  <a:lnTo>
                    <a:pt x="759" y="356"/>
                  </a:lnTo>
                  <a:lnTo>
                    <a:pt x="759" y="356"/>
                  </a:lnTo>
                  <a:lnTo>
                    <a:pt x="759" y="353"/>
                  </a:lnTo>
                  <a:lnTo>
                    <a:pt x="759" y="353"/>
                  </a:lnTo>
                  <a:lnTo>
                    <a:pt x="761" y="351"/>
                  </a:lnTo>
                  <a:lnTo>
                    <a:pt x="761" y="351"/>
                  </a:lnTo>
                  <a:lnTo>
                    <a:pt x="761" y="348"/>
                  </a:lnTo>
                  <a:lnTo>
                    <a:pt x="761" y="348"/>
                  </a:lnTo>
                  <a:lnTo>
                    <a:pt x="761" y="343"/>
                  </a:lnTo>
                  <a:lnTo>
                    <a:pt x="759" y="340"/>
                  </a:lnTo>
                  <a:lnTo>
                    <a:pt x="756" y="340"/>
                  </a:lnTo>
                  <a:lnTo>
                    <a:pt x="756" y="340"/>
                  </a:lnTo>
                  <a:lnTo>
                    <a:pt x="751" y="340"/>
                  </a:lnTo>
                  <a:lnTo>
                    <a:pt x="751" y="340"/>
                  </a:lnTo>
                  <a:lnTo>
                    <a:pt x="748" y="340"/>
                  </a:lnTo>
                  <a:lnTo>
                    <a:pt x="745" y="343"/>
                  </a:lnTo>
                  <a:lnTo>
                    <a:pt x="745" y="340"/>
                  </a:lnTo>
                  <a:lnTo>
                    <a:pt x="743" y="340"/>
                  </a:lnTo>
                  <a:lnTo>
                    <a:pt x="745" y="340"/>
                  </a:lnTo>
                  <a:lnTo>
                    <a:pt x="745" y="337"/>
                  </a:lnTo>
                  <a:lnTo>
                    <a:pt x="748" y="337"/>
                  </a:lnTo>
                  <a:lnTo>
                    <a:pt x="751" y="337"/>
                  </a:lnTo>
                  <a:lnTo>
                    <a:pt x="753" y="335"/>
                  </a:lnTo>
                  <a:lnTo>
                    <a:pt x="751" y="332"/>
                  </a:lnTo>
                  <a:lnTo>
                    <a:pt x="751" y="332"/>
                  </a:lnTo>
                  <a:lnTo>
                    <a:pt x="753" y="332"/>
                  </a:lnTo>
                  <a:lnTo>
                    <a:pt x="753" y="329"/>
                  </a:lnTo>
                  <a:lnTo>
                    <a:pt x="753" y="329"/>
                  </a:lnTo>
                  <a:lnTo>
                    <a:pt x="756" y="332"/>
                  </a:lnTo>
                  <a:lnTo>
                    <a:pt x="756" y="335"/>
                  </a:lnTo>
                  <a:lnTo>
                    <a:pt x="759" y="335"/>
                  </a:lnTo>
                  <a:lnTo>
                    <a:pt x="759" y="335"/>
                  </a:lnTo>
                  <a:lnTo>
                    <a:pt x="761" y="335"/>
                  </a:lnTo>
                  <a:lnTo>
                    <a:pt x="761" y="335"/>
                  </a:lnTo>
                  <a:lnTo>
                    <a:pt x="764" y="335"/>
                  </a:lnTo>
                  <a:lnTo>
                    <a:pt x="767" y="335"/>
                  </a:lnTo>
                  <a:lnTo>
                    <a:pt x="767" y="335"/>
                  </a:lnTo>
                  <a:lnTo>
                    <a:pt x="769" y="332"/>
                  </a:lnTo>
                  <a:lnTo>
                    <a:pt x="769" y="329"/>
                  </a:lnTo>
                  <a:lnTo>
                    <a:pt x="769" y="329"/>
                  </a:lnTo>
                  <a:lnTo>
                    <a:pt x="769" y="327"/>
                  </a:lnTo>
                  <a:lnTo>
                    <a:pt x="767" y="324"/>
                  </a:lnTo>
                  <a:lnTo>
                    <a:pt x="767" y="321"/>
                  </a:lnTo>
                  <a:lnTo>
                    <a:pt x="764" y="318"/>
                  </a:lnTo>
                  <a:lnTo>
                    <a:pt x="764" y="316"/>
                  </a:lnTo>
                  <a:lnTo>
                    <a:pt x="764" y="316"/>
                  </a:lnTo>
                  <a:lnTo>
                    <a:pt x="761" y="313"/>
                  </a:lnTo>
                  <a:lnTo>
                    <a:pt x="761" y="313"/>
                  </a:lnTo>
                  <a:lnTo>
                    <a:pt x="759" y="313"/>
                  </a:lnTo>
                  <a:lnTo>
                    <a:pt x="759" y="310"/>
                  </a:lnTo>
                  <a:lnTo>
                    <a:pt x="759" y="308"/>
                  </a:lnTo>
                  <a:lnTo>
                    <a:pt x="759" y="308"/>
                  </a:lnTo>
                  <a:lnTo>
                    <a:pt x="759" y="305"/>
                  </a:lnTo>
                  <a:lnTo>
                    <a:pt x="759" y="305"/>
                  </a:lnTo>
                  <a:lnTo>
                    <a:pt x="761" y="305"/>
                  </a:lnTo>
                  <a:lnTo>
                    <a:pt x="761" y="305"/>
                  </a:lnTo>
                  <a:lnTo>
                    <a:pt x="764" y="308"/>
                  </a:lnTo>
                  <a:lnTo>
                    <a:pt x="764" y="308"/>
                  </a:lnTo>
                  <a:lnTo>
                    <a:pt x="767" y="308"/>
                  </a:lnTo>
                  <a:lnTo>
                    <a:pt x="767" y="310"/>
                  </a:lnTo>
                  <a:lnTo>
                    <a:pt x="769" y="310"/>
                  </a:lnTo>
                  <a:lnTo>
                    <a:pt x="769" y="310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5" y="313"/>
                  </a:lnTo>
                  <a:lnTo>
                    <a:pt x="775" y="316"/>
                  </a:lnTo>
                  <a:lnTo>
                    <a:pt x="775" y="316"/>
                  </a:lnTo>
                  <a:lnTo>
                    <a:pt x="775" y="318"/>
                  </a:lnTo>
                  <a:lnTo>
                    <a:pt x="777" y="318"/>
                  </a:lnTo>
                  <a:lnTo>
                    <a:pt x="777" y="318"/>
                  </a:lnTo>
                  <a:lnTo>
                    <a:pt x="780" y="318"/>
                  </a:lnTo>
                  <a:lnTo>
                    <a:pt x="780" y="321"/>
                  </a:lnTo>
                  <a:lnTo>
                    <a:pt x="780" y="321"/>
                  </a:lnTo>
                  <a:lnTo>
                    <a:pt x="780" y="324"/>
                  </a:lnTo>
                  <a:lnTo>
                    <a:pt x="780" y="327"/>
                  </a:lnTo>
                  <a:lnTo>
                    <a:pt x="780" y="327"/>
                  </a:lnTo>
                  <a:lnTo>
                    <a:pt x="780" y="329"/>
                  </a:lnTo>
                  <a:lnTo>
                    <a:pt x="783" y="329"/>
                  </a:lnTo>
                  <a:lnTo>
                    <a:pt x="783" y="332"/>
                  </a:lnTo>
                  <a:lnTo>
                    <a:pt x="785" y="332"/>
                  </a:lnTo>
                  <a:lnTo>
                    <a:pt x="785" y="332"/>
                  </a:lnTo>
                  <a:lnTo>
                    <a:pt x="785" y="335"/>
                  </a:lnTo>
                  <a:lnTo>
                    <a:pt x="785" y="335"/>
                  </a:lnTo>
                  <a:lnTo>
                    <a:pt x="788" y="337"/>
                  </a:lnTo>
                  <a:lnTo>
                    <a:pt x="788" y="337"/>
                  </a:lnTo>
                  <a:lnTo>
                    <a:pt x="788" y="337"/>
                  </a:lnTo>
                  <a:lnTo>
                    <a:pt x="785" y="337"/>
                  </a:lnTo>
                  <a:lnTo>
                    <a:pt x="783" y="340"/>
                  </a:lnTo>
                  <a:lnTo>
                    <a:pt x="783" y="340"/>
                  </a:lnTo>
                  <a:lnTo>
                    <a:pt x="780" y="340"/>
                  </a:lnTo>
                  <a:lnTo>
                    <a:pt x="780" y="340"/>
                  </a:lnTo>
                  <a:lnTo>
                    <a:pt x="780" y="340"/>
                  </a:lnTo>
                  <a:lnTo>
                    <a:pt x="783" y="343"/>
                  </a:lnTo>
                  <a:lnTo>
                    <a:pt x="785" y="343"/>
                  </a:lnTo>
                  <a:lnTo>
                    <a:pt x="785" y="343"/>
                  </a:lnTo>
                  <a:lnTo>
                    <a:pt x="788" y="343"/>
                  </a:lnTo>
                  <a:lnTo>
                    <a:pt x="788" y="343"/>
                  </a:lnTo>
                  <a:lnTo>
                    <a:pt x="791" y="345"/>
                  </a:lnTo>
                  <a:lnTo>
                    <a:pt x="791" y="345"/>
                  </a:lnTo>
                  <a:lnTo>
                    <a:pt x="793" y="345"/>
                  </a:lnTo>
                  <a:lnTo>
                    <a:pt x="793" y="345"/>
                  </a:lnTo>
                  <a:lnTo>
                    <a:pt x="796" y="345"/>
                  </a:lnTo>
                  <a:lnTo>
                    <a:pt x="799" y="345"/>
                  </a:lnTo>
                  <a:lnTo>
                    <a:pt x="799" y="345"/>
                  </a:lnTo>
                  <a:lnTo>
                    <a:pt x="801" y="345"/>
                  </a:lnTo>
                  <a:lnTo>
                    <a:pt x="801" y="345"/>
                  </a:lnTo>
                  <a:lnTo>
                    <a:pt x="804" y="345"/>
                  </a:lnTo>
                  <a:lnTo>
                    <a:pt x="807" y="345"/>
                  </a:lnTo>
                  <a:lnTo>
                    <a:pt x="807" y="345"/>
                  </a:lnTo>
                  <a:lnTo>
                    <a:pt x="809" y="345"/>
                  </a:lnTo>
                  <a:lnTo>
                    <a:pt x="809" y="345"/>
                  </a:lnTo>
                  <a:lnTo>
                    <a:pt x="809" y="345"/>
                  </a:lnTo>
                  <a:lnTo>
                    <a:pt x="812" y="345"/>
                  </a:lnTo>
                  <a:lnTo>
                    <a:pt x="812" y="345"/>
                  </a:lnTo>
                  <a:lnTo>
                    <a:pt x="812" y="343"/>
                  </a:lnTo>
                  <a:lnTo>
                    <a:pt x="812" y="343"/>
                  </a:lnTo>
                  <a:lnTo>
                    <a:pt x="815" y="340"/>
                  </a:lnTo>
                  <a:lnTo>
                    <a:pt x="815" y="340"/>
                  </a:lnTo>
                  <a:lnTo>
                    <a:pt x="817" y="340"/>
                  </a:lnTo>
                  <a:lnTo>
                    <a:pt x="817" y="340"/>
                  </a:lnTo>
                  <a:lnTo>
                    <a:pt x="820" y="340"/>
                  </a:lnTo>
                  <a:lnTo>
                    <a:pt x="823" y="343"/>
                  </a:lnTo>
                  <a:lnTo>
                    <a:pt x="823" y="345"/>
                  </a:lnTo>
                  <a:lnTo>
                    <a:pt x="823" y="348"/>
                  </a:lnTo>
                  <a:lnTo>
                    <a:pt x="825" y="348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8" y="351"/>
                  </a:lnTo>
                  <a:lnTo>
                    <a:pt x="828" y="353"/>
                  </a:lnTo>
                  <a:lnTo>
                    <a:pt x="831" y="353"/>
                  </a:lnTo>
                  <a:lnTo>
                    <a:pt x="831" y="353"/>
                  </a:lnTo>
                  <a:lnTo>
                    <a:pt x="831" y="356"/>
                  </a:lnTo>
                  <a:lnTo>
                    <a:pt x="831" y="356"/>
                  </a:lnTo>
                  <a:lnTo>
                    <a:pt x="831" y="356"/>
                  </a:lnTo>
                  <a:lnTo>
                    <a:pt x="833" y="359"/>
                  </a:lnTo>
                  <a:lnTo>
                    <a:pt x="833" y="356"/>
                  </a:lnTo>
                  <a:lnTo>
                    <a:pt x="836" y="356"/>
                  </a:lnTo>
                  <a:lnTo>
                    <a:pt x="836" y="356"/>
                  </a:lnTo>
                  <a:lnTo>
                    <a:pt x="839" y="356"/>
                  </a:lnTo>
                  <a:lnTo>
                    <a:pt x="841" y="353"/>
                  </a:lnTo>
                  <a:lnTo>
                    <a:pt x="844" y="353"/>
                  </a:lnTo>
                  <a:lnTo>
                    <a:pt x="844" y="351"/>
                  </a:lnTo>
                  <a:lnTo>
                    <a:pt x="844" y="348"/>
                  </a:lnTo>
                  <a:lnTo>
                    <a:pt x="844" y="348"/>
                  </a:lnTo>
                  <a:lnTo>
                    <a:pt x="847" y="345"/>
                  </a:lnTo>
                  <a:lnTo>
                    <a:pt x="847" y="343"/>
                  </a:lnTo>
                  <a:lnTo>
                    <a:pt x="849" y="343"/>
                  </a:lnTo>
                  <a:lnTo>
                    <a:pt x="849" y="343"/>
                  </a:lnTo>
                  <a:lnTo>
                    <a:pt x="852" y="337"/>
                  </a:lnTo>
                  <a:lnTo>
                    <a:pt x="852" y="337"/>
                  </a:lnTo>
                  <a:lnTo>
                    <a:pt x="852" y="335"/>
                  </a:lnTo>
                  <a:lnTo>
                    <a:pt x="855" y="335"/>
                  </a:lnTo>
                  <a:lnTo>
                    <a:pt x="855" y="335"/>
                  </a:lnTo>
                  <a:lnTo>
                    <a:pt x="857" y="332"/>
                  </a:lnTo>
                  <a:lnTo>
                    <a:pt x="857" y="327"/>
                  </a:lnTo>
                  <a:lnTo>
                    <a:pt x="860" y="327"/>
                  </a:lnTo>
                  <a:lnTo>
                    <a:pt x="860" y="324"/>
                  </a:lnTo>
                  <a:lnTo>
                    <a:pt x="863" y="321"/>
                  </a:lnTo>
                  <a:lnTo>
                    <a:pt x="863" y="321"/>
                  </a:lnTo>
                  <a:lnTo>
                    <a:pt x="863" y="318"/>
                  </a:lnTo>
                  <a:lnTo>
                    <a:pt x="863" y="316"/>
                  </a:lnTo>
                  <a:lnTo>
                    <a:pt x="863" y="313"/>
                  </a:lnTo>
                  <a:lnTo>
                    <a:pt x="860" y="310"/>
                  </a:lnTo>
                  <a:lnTo>
                    <a:pt x="860" y="305"/>
                  </a:lnTo>
                  <a:lnTo>
                    <a:pt x="860" y="302"/>
                  </a:lnTo>
                  <a:lnTo>
                    <a:pt x="860" y="302"/>
                  </a:lnTo>
                  <a:lnTo>
                    <a:pt x="863" y="297"/>
                  </a:lnTo>
                  <a:lnTo>
                    <a:pt x="865" y="292"/>
                  </a:lnTo>
                  <a:lnTo>
                    <a:pt x="865" y="292"/>
                  </a:lnTo>
                  <a:lnTo>
                    <a:pt x="865" y="292"/>
                  </a:lnTo>
                  <a:lnTo>
                    <a:pt x="868" y="292"/>
                  </a:lnTo>
                  <a:lnTo>
                    <a:pt x="868" y="292"/>
                  </a:lnTo>
                  <a:lnTo>
                    <a:pt x="871" y="289"/>
                  </a:lnTo>
                  <a:lnTo>
                    <a:pt x="871" y="289"/>
                  </a:lnTo>
                  <a:lnTo>
                    <a:pt x="873" y="289"/>
                  </a:lnTo>
                  <a:lnTo>
                    <a:pt x="873" y="286"/>
                  </a:lnTo>
                  <a:lnTo>
                    <a:pt x="873" y="286"/>
                  </a:lnTo>
                  <a:lnTo>
                    <a:pt x="876" y="284"/>
                  </a:lnTo>
                  <a:lnTo>
                    <a:pt x="876" y="284"/>
                  </a:lnTo>
                  <a:lnTo>
                    <a:pt x="876" y="281"/>
                  </a:lnTo>
                  <a:lnTo>
                    <a:pt x="879" y="281"/>
                  </a:lnTo>
                  <a:lnTo>
                    <a:pt x="879" y="281"/>
                  </a:lnTo>
                  <a:lnTo>
                    <a:pt x="881" y="281"/>
                  </a:lnTo>
                  <a:lnTo>
                    <a:pt x="881" y="281"/>
                  </a:lnTo>
                  <a:lnTo>
                    <a:pt x="881" y="281"/>
                  </a:lnTo>
                  <a:lnTo>
                    <a:pt x="884" y="281"/>
                  </a:lnTo>
                  <a:lnTo>
                    <a:pt x="884" y="281"/>
                  </a:lnTo>
                  <a:lnTo>
                    <a:pt x="884" y="278"/>
                  </a:lnTo>
                  <a:lnTo>
                    <a:pt x="887" y="278"/>
                  </a:lnTo>
                  <a:lnTo>
                    <a:pt x="887" y="278"/>
                  </a:lnTo>
                  <a:lnTo>
                    <a:pt x="887" y="278"/>
                  </a:lnTo>
                  <a:lnTo>
                    <a:pt x="889" y="276"/>
                  </a:lnTo>
                  <a:lnTo>
                    <a:pt x="889" y="276"/>
                  </a:lnTo>
                  <a:lnTo>
                    <a:pt x="892" y="273"/>
                  </a:lnTo>
                  <a:lnTo>
                    <a:pt x="892" y="273"/>
                  </a:lnTo>
                  <a:lnTo>
                    <a:pt x="892" y="273"/>
                  </a:lnTo>
                  <a:lnTo>
                    <a:pt x="895" y="270"/>
                  </a:lnTo>
                  <a:lnTo>
                    <a:pt x="895" y="270"/>
                  </a:lnTo>
                  <a:lnTo>
                    <a:pt x="895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70"/>
                  </a:lnTo>
                  <a:lnTo>
                    <a:pt x="897" y="270"/>
                  </a:lnTo>
                  <a:lnTo>
                    <a:pt x="900" y="268"/>
                  </a:lnTo>
                  <a:lnTo>
                    <a:pt x="903" y="268"/>
                  </a:lnTo>
                  <a:lnTo>
                    <a:pt x="903" y="268"/>
                  </a:lnTo>
                  <a:lnTo>
                    <a:pt x="905" y="268"/>
                  </a:lnTo>
                  <a:lnTo>
                    <a:pt x="905" y="268"/>
                  </a:lnTo>
                  <a:lnTo>
                    <a:pt x="905" y="268"/>
                  </a:lnTo>
                  <a:lnTo>
                    <a:pt x="908" y="268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11" y="270"/>
                  </a:lnTo>
                  <a:lnTo>
                    <a:pt x="911" y="273"/>
                  </a:lnTo>
                  <a:lnTo>
                    <a:pt x="911" y="273"/>
                  </a:lnTo>
                  <a:lnTo>
                    <a:pt x="913" y="273"/>
                  </a:lnTo>
                  <a:lnTo>
                    <a:pt x="913" y="273"/>
                  </a:lnTo>
                  <a:lnTo>
                    <a:pt x="913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6" y="273"/>
                  </a:lnTo>
                  <a:lnTo>
                    <a:pt x="913" y="273"/>
                  </a:lnTo>
                  <a:lnTo>
                    <a:pt x="913" y="276"/>
                  </a:lnTo>
                  <a:lnTo>
                    <a:pt x="916" y="276"/>
                  </a:lnTo>
                  <a:lnTo>
                    <a:pt x="919" y="276"/>
                  </a:lnTo>
                  <a:lnTo>
                    <a:pt x="921" y="276"/>
                  </a:lnTo>
                  <a:lnTo>
                    <a:pt x="924" y="276"/>
                  </a:lnTo>
                  <a:lnTo>
                    <a:pt x="927" y="276"/>
                  </a:lnTo>
                  <a:lnTo>
                    <a:pt x="927" y="276"/>
                  </a:lnTo>
                  <a:lnTo>
                    <a:pt x="929" y="276"/>
                  </a:lnTo>
                  <a:lnTo>
                    <a:pt x="929" y="276"/>
                  </a:lnTo>
                  <a:lnTo>
                    <a:pt x="929" y="276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2" y="278"/>
                  </a:lnTo>
                  <a:lnTo>
                    <a:pt x="932" y="281"/>
                  </a:lnTo>
                  <a:lnTo>
                    <a:pt x="935" y="281"/>
                  </a:lnTo>
                  <a:lnTo>
                    <a:pt x="935" y="281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4"/>
                  </a:lnTo>
                  <a:lnTo>
                    <a:pt x="937" y="286"/>
                  </a:lnTo>
                  <a:lnTo>
                    <a:pt x="940" y="286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5" y="286"/>
                  </a:lnTo>
                  <a:lnTo>
                    <a:pt x="945" y="289"/>
                  </a:lnTo>
                  <a:lnTo>
                    <a:pt x="948" y="289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51" y="286"/>
                  </a:lnTo>
                  <a:lnTo>
                    <a:pt x="951" y="286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3" y="284"/>
                  </a:lnTo>
                  <a:lnTo>
                    <a:pt x="956" y="284"/>
                  </a:lnTo>
                  <a:lnTo>
                    <a:pt x="956" y="284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59" y="284"/>
                  </a:lnTo>
                  <a:lnTo>
                    <a:pt x="961" y="281"/>
                  </a:lnTo>
                  <a:lnTo>
                    <a:pt x="961" y="281"/>
                  </a:lnTo>
                  <a:lnTo>
                    <a:pt x="961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81"/>
                  </a:lnTo>
                  <a:lnTo>
                    <a:pt x="964" y="278"/>
                  </a:lnTo>
                  <a:lnTo>
                    <a:pt x="967" y="278"/>
                  </a:lnTo>
                  <a:lnTo>
                    <a:pt x="967" y="278"/>
                  </a:lnTo>
                  <a:lnTo>
                    <a:pt x="967" y="281"/>
                  </a:lnTo>
                  <a:lnTo>
                    <a:pt x="967" y="281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69" y="284"/>
                  </a:lnTo>
                  <a:lnTo>
                    <a:pt x="972" y="284"/>
                  </a:lnTo>
                  <a:lnTo>
                    <a:pt x="972" y="281"/>
                  </a:lnTo>
                  <a:lnTo>
                    <a:pt x="972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5" y="278"/>
                  </a:lnTo>
                  <a:lnTo>
                    <a:pt x="975" y="278"/>
                  </a:lnTo>
                  <a:lnTo>
                    <a:pt x="975" y="278"/>
                  </a:lnTo>
                  <a:lnTo>
                    <a:pt x="978" y="276"/>
                  </a:lnTo>
                  <a:lnTo>
                    <a:pt x="978" y="276"/>
                  </a:lnTo>
                  <a:lnTo>
                    <a:pt x="978" y="273"/>
                  </a:lnTo>
                  <a:lnTo>
                    <a:pt x="980" y="273"/>
                  </a:lnTo>
                  <a:lnTo>
                    <a:pt x="980" y="270"/>
                  </a:lnTo>
                  <a:lnTo>
                    <a:pt x="980" y="268"/>
                  </a:lnTo>
                  <a:lnTo>
                    <a:pt x="980" y="268"/>
                  </a:lnTo>
                  <a:lnTo>
                    <a:pt x="980" y="265"/>
                  </a:lnTo>
                  <a:lnTo>
                    <a:pt x="978" y="265"/>
                  </a:lnTo>
                  <a:lnTo>
                    <a:pt x="978" y="265"/>
                  </a:lnTo>
                  <a:lnTo>
                    <a:pt x="975" y="265"/>
                  </a:lnTo>
                  <a:lnTo>
                    <a:pt x="975" y="265"/>
                  </a:lnTo>
                  <a:lnTo>
                    <a:pt x="975" y="265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5" y="262"/>
                  </a:lnTo>
                  <a:lnTo>
                    <a:pt x="978" y="262"/>
                  </a:lnTo>
                  <a:lnTo>
                    <a:pt x="978" y="262"/>
                  </a:lnTo>
                  <a:lnTo>
                    <a:pt x="978" y="265"/>
                  </a:lnTo>
                  <a:lnTo>
                    <a:pt x="978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0" y="265"/>
                  </a:lnTo>
                  <a:lnTo>
                    <a:pt x="983" y="262"/>
                  </a:lnTo>
                  <a:lnTo>
                    <a:pt x="983" y="262"/>
                  </a:lnTo>
                  <a:lnTo>
                    <a:pt x="983" y="262"/>
                  </a:lnTo>
                  <a:lnTo>
                    <a:pt x="986" y="262"/>
                  </a:lnTo>
                  <a:lnTo>
                    <a:pt x="986" y="260"/>
                  </a:lnTo>
                  <a:lnTo>
                    <a:pt x="988" y="260"/>
                  </a:lnTo>
                  <a:lnTo>
                    <a:pt x="988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1" y="260"/>
                  </a:lnTo>
                  <a:lnTo>
                    <a:pt x="994" y="260"/>
                  </a:lnTo>
                  <a:lnTo>
                    <a:pt x="994" y="260"/>
                  </a:lnTo>
                  <a:lnTo>
                    <a:pt x="994" y="260"/>
                  </a:lnTo>
                  <a:lnTo>
                    <a:pt x="996" y="257"/>
                  </a:lnTo>
                  <a:lnTo>
                    <a:pt x="996" y="257"/>
                  </a:lnTo>
                  <a:lnTo>
                    <a:pt x="999" y="257"/>
                  </a:lnTo>
                  <a:lnTo>
                    <a:pt x="999" y="257"/>
                  </a:lnTo>
                  <a:lnTo>
                    <a:pt x="999" y="254"/>
                  </a:lnTo>
                  <a:lnTo>
                    <a:pt x="1002" y="254"/>
                  </a:lnTo>
                  <a:lnTo>
                    <a:pt x="1002" y="254"/>
                  </a:lnTo>
                  <a:lnTo>
                    <a:pt x="1004" y="254"/>
                  </a:lnTo>
                  <a:lnTo>
                    <a:pt x="1002" y="254"/>
                  </a:lnTo>
                  <a:lnTo>
                    <a:pt x="1004" y="254"/>
                  </a:lnTo>
                  <a:lnTo>
                    <a:pt x="1004" y="254"/>
                  </a:lnTo>
                  <a:lnTo>
                    <a:pt x="1004" y="252"/>
                  </a:lnTo>
                  <a:lnTo>
                    <a:pt x="1007" y="252"/>
                  </a:lnTo>
                  <a:lnTo>
                    <a:pt x="1007" y="252"/>
                  </a:lnTo>
                  <a:lnTo>
                    <a:pt x="1007" y="252"/>
                  </a:lnTo>
                  <a:lnTo>
                    <a:pt x="1010" y="252"/>
                  </a:lnTo>
                  <a:lnTo>
                    <a:pt x="1012" y="249"/>
                  </a:lnTo>
                  <a:lnTo>
                    <a:pt x="1012" y="249"/>
                  </a:lnTo>
                  <a:lnTo>
                    <a:pt x="1012" y="249"/>
                  </a:lnTo>
                  <a:lnTo>
                    <a:pt x="1015" y="249"/>
                  </a:lnTo>
                  <a:lnTo>
                    <a:pt x="1015" y="249"/>
                  </a:lnTo>
                  <a:lnTo>
                    <a:pt x="1018" y="249"/>
                  </a:lnTo>
                  <a:lnTo>
                    <a:pt x="1018" y="246"/>
                  </a:lnTo>
                  <a:lnTo>
                    <a:pt x="1020" y="246"/>
                  </a:lnTo>
                  <a:lnTo>
                    <a:pt x="1023" y="246"/>
                  </a:lnTo>
                  <a:lnTo>
                    <a:pt x="1023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6" y="246"/>
                  </a:lnTo>
                  <a:lnTo>
                    <a:pt x="1028" y="246"/>
                  </a:lnTo>
                  <a:lnTo>
                    <a:pt x="1028" y="249"/>
                  </a:lnTo>
                  <a:lnTo>
                    <a:pt x="1031" y="249"/>
                  </a:lnTo>
                  <a:lnTo>
                    <a:pt x="1031" y="249"/>
                  </a:lnTo>
                  <a:lnTo>
                    <a:pt x="1031" y="249"/>
                  </a:lnTo>
                  <a:lnTo>
                    <a:pt x="1034" y="249"/>
                  </a:lnTo>
                  <a:lnTo>
                    <a:pt x="1034" y="249"/>
                  </a:lnTo>
                  <a:lnTo>
                    <a:pt x="1036" y="249"/>
                  </a:lnTo>
                  <a:lnTo>
                    <a:pt x="1036" y="249"/>
                  </a:lnTo>
                  <a:lnTo>
                    <a:pt x="1036" y="249"/>
                  </a:lnTo>
                  <a:lnTo>
                    <a:pt x="1039" y="249"/>
                  </a:lnTo>
                  <a:lnTo>
                    <a:pt x="1039" y="246"/>
                  </a:lnTo>
                  <a:lnTo>
                    <a:pt x="1039" y="246"/>
                  </a:lnTo>
                  <a:lnTo>
                    <a:pt x="1042" y="246"/>
                  </a:lnTo>
                  <a:lnTo>
                    <a:pt x="1042" y="246"/>
                  </a:lnTo>
                  <a:lnTo>
                    <a:pt x="1039" y="246"/>
                  </a:lnTo>
                  <a:lnTo>
                    <a:pt x="1039" y="244"/>
                  </a:lnTo>
                  <a:lnTo>
                    <a:pt x="1039" y="244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39" y="238"/>
                  </a:lnTo>
                  <a:lnTo>
                    <a:pt x="1039" y="238"/>
                  </a:lnTo>
                  <a:lnTo>
                    <a:pt x="1039" y="241"/>
                  </a:lnTo>
                  <a:lnTo>
                    <a:pt x="1039" y="241"/>
                  </a:lnTo>
                  <a:lnTo>
                    <a:pt x="1042" y="241"/>
                  </a:lnTo>
                  <a:lnTo>
                    <a:pt x="1042" y="244"/>
                  </a:lnTo>
                  <a:lnTo>
                    <a:pt x="1042" y="244"/>
                  </a:lnTo>
                  <a:lnTo>
                    <a:pt x="1042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4" y="244"/>
                  </a:lnTo>
                  <a:lnTo>
                    <a:pt x="1047" y="244"/>
                  </a:lnTo>
                  <a:lnTo>
                    <a:pt x="1047" y="244"/>
                  </a:lnTo>
                  <a:lnTo>
                    <a:pt x="1050" y="241"/>
                  </a:lnTo>
                  <a:lnTo>
                    <a:pt x="1050" y="241"/>
                  </a:lnTo>
                  <a:lnTo>
                    <a:pt x="1052" y="241"/>
                  </a:lnTo>
                  <a:lnTo>
                    <a:pt x="1052" y="238"/>
                  </a:lnTo>
                  <a:lnTo>
                    <a:pt x="1052" y="238"/>
                  </a:lnTo>
                  <a:lnTo>
                    <a:pt x="1052" y="233"/>
                  </a:lnTo>
                  <a:lnTo>
                    <a:pt x="1052" y="233"/>
                  </a:lnTo>
                  <a:lnTo>
                    <a:pt x="1052" y="230"/>
                  </a:lnTo>
                  <a:lnTo>
                    <a:pt x="1052" y="228"/>
                  </a:lnTo>
                  <a:lnTo>
                    <a:pt x="1052" y="228"/>
                  </a:lnTo>
                  <a:lnTo>
                    <a:pt x="1050" y="225"/>
                  </a:lnTo>
                  <a:lnTo>
                    <a:pt x="1050" y="222"/>
                  </a:lnTo>
                  <a:lnTo>
                    <a:pt x="1050" y="222"/>
                  </a:lnTo>
                  <a:lnTo>
                    <a:pt x="1047" y="220"/>
                  </a:lnTo>
                  <a:lnTo>
                    <a:pt x="1044" y="220"/>
                  </a:lnTo>
                  <a:lnTo>
                    <a:pt x="1039" y="217"/>
                  </a:lnTo>
                  <a:lnTo>
                    <a:pt x="1039" y="217"/>
                  </a:lnTo>
                  <a:lnTo>
                    <a:pt x="1036" y="217"/>
                  </a:lnTo>
                  <a:lnTo>
                    <a:pt x="1034" y="217"/>
                  </a:lnTo>
                  <a:lnTo>
                    <a:pt x="1036" y="214"/>
                  </a:lnTo>
                  <a:lnTo>
                    <a:pt x="1036" y="214"/>
                  </a:lnTo>
                  <a:lnTo>
                    <a:pt x="1036" y="214"/>
                  </a:lnTo>
                  <a:lnTo>
                    <a:pt x="1039" y="214"/>
                  </a:lnTo>
                  <a:lnTo>
                    <a:pt x="1039" y="214"/>
                  </a:lnTo>
                  <a:lnTo>
                    <a:pt x="1039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2" y="214"/>
                  </a:lnTo>
                  <a:lnTo>
                    <a:pt x="1044" y="214"/>
                  </a:lnTo>
                  <a:lnTo>
                    <a:pt x="1044" y="217"/>
                  </a:lnTo>
                  <a:lnTo>
                    <a:pt x="1047" y="217"/>
                  </a:lnTo>
                  <a:lnTo>
                    <a:pt x="1047" y="217"/>
                  </a:lnTo>
                  <a:lnTo>
                    <a:pt x="1047" y="217"/>
                  </a:lnTo>
                  <a:lnTo>
                    <a:pt x="1050" y="220"/>
                  </a:lnTo>
                  <a:lnTo>
                    <a:pt x="1052" y="220"/>
                  </a:lnTo>
                  <a:lnTo>
                    <a:pt x="1052" y="220"/>
                  </a:lnTo>
                  <a:lnTo>
                    <a:pt x="1052" y="217"/>
                  </a:lnTo>
                  <a:lnTo>
                    <a:pt x="1052" y="217"/>
                  </a:lnTo>
                  <a:lnTo>
                    <a:pt x="1052" y="217"/>
                  </a:lnTo>
                  <a:lnTo>
                    <a:pt x="1052" y="220"/>
                  </a:lnTo>
                  <a:lnTo>
                    <a:pt x="1052" y="220"/>
                  </a:lnTo>
                  <a:lnTo>
                    <a:pt x="1055" y="220"/>
                  </a:lnTo>
                  <a:lnTo>
                    <a:pt x="1055" y="222"/>
                  </a:lnTo>
                  <a:lnTo>
                    <a:pt x="1052" y="222"/>
                  </a:lnTo>
                  <a:lnTo>
                    <a:pt x="1055" y="222"/>
                  </a:lnTo>
                  <a:lnTo>
                    <a:pt x="1055" y="225"/>
                  </a:lnTo>
                  <a:lnTo>
                    <a:pt x="1055" y="228"/>
                  </a:lnTo>
                  <a:lnTo>
                    <a:pt x="1058" y="230"/>
                  </a:lnTo>
                  <a:lnTo>
                    <a:pt x="1058" y="230"/>
                  </a:lnTo>
                  <a:lnTo>
                    <a:pt x="1060" y="230"/>
                  </a:lnTo>
                  <a:lnTo>
                    <a:pt x="1060" y="230"/>
                  </a:lnTo>
                  <a:lnTo>
                    <a:pt x="1063" y="230"/>
                  </a:lnTo>
                  <a:lnTo>
                    <a:pt x="1063" y="230"/>
                  </a:lnTo>
                  <a:lnTo>
                    <a:pt x="1066" y="230"/>
                  </a:lnTo>
                  <a:lnTo>
                    <a:pt x="1066" y="228"/>
                  </a:lnTo>
                  <a:lnTo>
                    <a:pt x="1068" y="228"/>
                  </a:lnTo>
                  <a:lnTo>
                    <a:pt x="1068" y="228"/>
                  </a:lnTo>
                  <a:lnTo>
                    <a:pt x="1071" y="225"/>
                  </a:lnTo>
                  <a:lnTo>
                    <a:pt x="1071" y="222"/>
                  </a:lnTo>
                  <a:lnTo>
                    <a:pt x="1071" y="222"/>
                  </a:lnTo>
                  <a:lnTo>
                    <a:pt x="1071" y="220"/>
                  </a:lnTo>
                  <a:lnTo>
                    <a:pt x="1074" y="220"/>
                  </a:lnTo>
                  <a:lnTo>
                    <a:pt x="1074" y="217"/>
                  </a:lnTo>
                  <a:lnTo>
                    <a:pt x="1074" y="217"/>
                  </a:lnTo>
                  <a:lnTo>
                    <a:pt x="1068" y="217"/>
                  </a:lnTo>
                  <a:lnTo>
                    <a:pt x="1066" y="214"/>
                  </a:lnTo>
                  <a:lnTo>
                    <a:pt x="1063" y="214"/>
                  </a:lnTo>
                  <a:lnTo>
                    <a:pt x="1063" y="212"/>
                  </a:lnTo>
                  <a:lnTo>
                    <a:pt x="1060" y="212"/>
                  </a:lnTo>
                  <a:lnTo>
                    <a:pt x="1060" y="209"/>
                  </a:lnTo>
                  <a:lnTo>
                    <a:pt x="1060" y="209"/>
                  </a:lnTo>
                  <a:lnTo>
                    <a:pt x="1060" y="209"/>
                  </a:lnTo>
                  <a:lnTo>
                    <a:pt x="1063" y="212"/>
                  </a:lnTo>
                  <a:lnTo>
                    <a:pt x="1063" y="212"/>
                  </a:lnTo>
                  <a:lnTo>
                    <a:pt x="1063" y="212"/>
                  </a:lnTo>
                  <a:lnTo>
                    <a:pt x="1066" y="212"/>
                  </a:lnTo>
                  <a:lnTo>
                    <a:pt x="1066" y="212"/>
                  </a:lnTo>
                  <a:lnTo>
                    <a:pt x="1066" y="214"/>
                  </a:lnTo>
                  <a:lnTo>
                    <a:pt x="1068" y="214"/>
                  </a:lnTo>
                  <a:lnTo>
                    <a:pt x="1068" y="214"/>
                  </a:lnTo>
                  <a:lnTo>
                    <a:pt x="1068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4"/>
                  </a:lnTo>
                  <a:lnTo>
                    <a:pt x="1071" y="212"/>
                  </a:lnTo>
                  <a:lnTo>
                    <a:pt x="1071" y="212"/>
                  </a:lnTo>
                  <a:lnTo>
                    <a:pt x="1071" y="209"/>
                  </a:lnTo>
                  <a:lnTo>
                    <a:pt x="1068" y="209"/>
                  </a:lnTo>
                  <a:lnTo>
                    <a:pt x="1068" y="209"/>
                  </a:lnTo>
                  <a:lnTo>
                    <a:pt x="1066" y="206"/>
                  </a:lnTo>
                  <a:lnTo>
                    <a:pt x="1063" y="206"/>
                  </a:lnTo>
                  <a:lnTo>
                    <a:pt x="1063" y="204"/>
                  </a:lnTo>
                  <a:lnTo>
                    <a:pt x="1060" y="204"/>
                  </a:lnTo>
                  <a:lnTo>
                    <a:pt x="1058" y="204"/>
                  </a:lnTo>
                  <a:lnTo>
                    <a:pt x="1058" y="204"/>
                  </a:lnTo>
                  <a:lnTo>
                    <a:pt x="1055" y="204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6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09"/>
                  </a:lnTo>
                  <a:lnTo>
                    <a:pt x="1055" y="212"/>
                  </a:lnTo>
                  <a:lnTo>
                    <a:pt x="1052" y="209"/>
                  </a:lnTo>
                  <a:lnTo>
                    <a:pt x="1052" y="206"/>
                  </a:lnTo>
                  <a:lnTo>
                    <a:pt x="1052" y="206"/>
                  </a:lnTo>
                  <a:lnTo>
                    <a:pt x="1052" y="204"/>
                  </a:lnTo>
                  <a:lnTo>
                    <a:pt x="1052" y="204"/>
                  </a:lnTo>
                  <a:lnTo>
                    <a:pt x="1052" y="204"/>
                  </a:lnTo>
                  <a:lnTo>
                    <a:pt x="1055" y="201"/>
                  </a:lnTo>
                  <a:lnTo>
                    <a:pt x="1055" y="198"/>
                  </a:lnTo>
                  <a:lnTo>
                    <a:pt x="1055" y="198"/>
                  </a:lnTo>
                  <a:lnTo>
                    <a:pt x="1058" y="198"/>
                  </a:lnTo>
                  <a:lnTo>
                    <a:pt x="1060" y="201"/>
                  </a:lnTo>
                  <a:lnTo>
                    <a:pt x="1060" y="201"/>
                  </a:lnTo>
                  <a:lnTo>
                    <a:pt x="1063" y="201"/>
                  </a:lnTo>
                  <a:lnTo>
                    <a:pt x="1063" y="201"/>
                  </a:lnTo>
                  <a:lnTo>
                    <a:pt x="1066" y="201"/>
                  </a:lnTo>
                  <a:lnTo>
                    <a:pt x="1066" y="201"/>
                  </a:lnTo>
                  <a:lnTo>
                    <a:pt x="1068" y="198"/>
                  </a:lnTo>
                  <a:lnTo>
                    <a:pt x="1068" y="198"/>
                  </a:lnTo>
                  <a:lnTo>
                    <a:pt x="1071" y="198"/>
                  </a:lnTo>
                  <a:lnTo>
                    <a:pt x="1071" y="196"/>
                  </a:lnTo>
                  <a:lnTo>
                    <a:pt x="1071" y="196"/>
                  </a:lnTo>
                  <a:lnTo>
                    <a:pt x="1071" y="193"/>
                  </a:lnTo>
                  <a:lnTo>
                    <a:pt x="1071" y="193"/>
                  </a:lnTo>
                  <a:lnTo>
                    <a:pt x="1071" y="190"/>
                  </a:lnTo>
                  <a:lnTo>
                    <a:pt x="1071" y="190"/>
                  </a:lnTo>
                  <a:lnTo>
                    <a:pt x="1071" y="188"/>
                  </a:lnTo>
                  <a:lnTo>
                    <a:pt x="1074" y="188"/>
                  </a:lnTo>
                  <a:lnTo>
                    <a:pt x="1074" y="185"/>
                  </a:lnTo>
                  <a:lnTo>
                    <a:pt x="1074" y="185"/>
                  </a:lnTo>
                  <a:lnTo>
                    <a:pt x="1074" y="185"/>
                  </a:lnTo>
                  <a:lnTo>
                    <a:pt x="1076" y="185"/>
                  </a:lnTo>
                  <a:lnTo>
                    <a:pt x="1071" y="182"/>
                  </a:lnTo>
                  <a:lnTo>
                    <a:pt x="1071" y="182"/>
                  </a:lnTo>
                  <a:lnTo>
                    <a:pt x="1071" y="185"/>
                  </a:lnTo>
                  <a:lnTo>
                    <a:pt x="1068" y="185"/>
                  </a:lnTo>
                  <a:lnTo>
                    <a:pt x="1066" y="185"/>
                  </a:lnTo>
                  <a:lnTo>
                    <a:pt x="1066" y="185"/>
                  </a:lnTo>
                  <a:lnTo>
                    <a:pt x="1063" y="185"/>
                  </a:lnTo>
                  <a:lnTo>
                    <a:pt x="1060" y="185"/>
                  </a:lnTo>
                  <a:lnTo>
                    <a:pt x="1060" y="185"/>
                  </a:lnTo>
                  <a:lnTo>
                    <a:pt x="1058" y="185"/>
                  </a:lnTo>
                  <a:lnTo>
                    <a:pt x="1058" y="188"/>
                  </a:lnTo>
                  <a:lnTo>
                    <a:pt x="1055" y="188"/>
                  </a:lnTo>
                  <a:lnTo>
                    <a:pt x="1055" y="188"/>
                  </a:lnTo>
                  <a:lnTo>
                    <a:pt x="1052" y="188"/>
                  </a:lnTo>
                  <a:lnTo>
                    <a:pt x="1052" y="188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50" y="190"/>
                  </a:lnTo>
                  <a:lnTo>
                    <a:pt x="1047" y="190"/>
                  </a:lnTo>
                  <a:lnTo>
                    <a:pt x="1047" y="193"/>
                  </a:lnTo>
                  <a:lnTo>
                    <a:pt x="1044" y="193"/>
                  </a:lnTo>
                  <a:lnTo>
                    <a:pt x="1044" y="193"/>
                  </a:lnTo>
                  <a:lnTo>
                    <a:pt x="1044" y="193"/>
                  </a:lnTo>
                  <a:lnTo>
                    <a:pt x="1044" y="196"/>
                  </a:lnTo>
                  <a:lnTo>
                    <a:pt x="1044" y="196"/>
                  </a:lnTo>
                  <a:lnTo>
                    <a:pt x="1044" y="196"/>
                  </a:lnTo>
                  <a:lnTo>
                    <a:pt x="1044" y="198"/>
                  </a:lnTo>
                  <a:lnTo>
                    <a:pt x="1044" y="198"/>
                  </a:lnTo>
                  <a:lnTo>
                    <a:pt x="1044" y="201"/>
                  </a:lnTo>
                  <a:lnTo>
                    <a:pt x="1044" y="201"/>
                  </a:lnTo>
                  <a:lnTo>
                    <a:pt x="1044" y="204"/>
                  </a:lnTo>
                  <a:lnTo>
                    <a:pt x="1044" y="201"/>
                  </a:lnTo>
                  <a:lnTo>
                    <a:pt x="1042" y="198"/>
                  </a:lnTo>
                  <a:lnTo>
                    <a:pt x="1042" y="198"/>
                  </a:lnTo>
                  <a:lnTo>
                    <a:pt x="1042" y="196"/>
                  </a:lnTo>
                  <a:lnTo>
                    <a:pt x="1042" y="196"/>
                  </a:lnTo>
                  <a:lnTo>
                    <a:pt x="1039" y="193"/>
                  </a:lnTo>
                  <a:lnTo>
                    <a:pt x="1039" y="193"/>
                  </a:lnTo>
                  <a:lnTo>
                    <a:pt x="1039" y="193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8"/>
                  </a:lnTo>
                  <a:lnTo>
                    <a:pt x="1036" y="198"/>
                  </a:lnTo>
                  <a:lnTo>
                    <a:pt x="1036" y="201"/>
                  </a:lnTo>
                  <a:lnTo>
                    <a:pt x="1036" y="201"/>
                  </a:lnTo>
                  <a:lnTo>
                    <a:pt x="1034" y="198"/>
                  </a:lnTo>
                  <a:lnTo>
                    <a:pt x="1034" y="196"/>
                  </a:lnTo>
                  <a:lnTo>
                    <a:pt x="1034" y="196"/>
                  </a:lnTo>
                  <a:lnTo>
                    <a:pt x="1036" y="193"/>
                  </a:lnTo>
                  <a:lnTo>
                    <a:pt x="1036" y="193"/>
                  </a:lnTo>
                  <a:lnTo>
                    <a:pt x="1036" y="190"/>
                  </a:lnTo>
                  <a:lnTo>
                    <a:pt x="1034" y="188"/>
                  </a:lnTo>
                  <a:lnTo>
                    <a:pt x="1034" y="188"/>
                  </a:lnTo>
                  <a:lnTo>
                    <a:pt x="1034" y="185"/>
                  </a:lnTo>
                  <a:lnTo>
                    <a:pt x="1034" y="185"/>
                  </a:lnTo>
                  <a:lnTo>
                    <a:pt x="1031" y="182"/>
                  </a:lnTo>
                  <a:lnTo>
                    <a:pt x="1028" y="182"/>
                  </a:lnTo>
                  <a:lnTo>
                    <a:pt x="1028" y="182"/>
                  </a:lnTo>
                  <a:lnTo>
                    <a:pt x="1026" y="185"/>
                  </a:lnTo>
                  <a:lnTo>
                    <a:pt x="1026" y="185"/>
                  </a:lnTo>
                  <a:lnTo>
                    <a:pt x="1023" y="185"/>
                  </a:lnTo>
                  <a:lnTo>
                    <a:pt x="1023" y="188"/>
                  </a:lnTo>
                  <a:lnTo>
                    <a:pt x="1023" y="190"/>
                  </a:lnTo>
                  <a:lnTo>
                    <a:pt x="1026" y="193"/>
                  </a:lnTo>
                  <a:lnTo>
                    <a:pt x="1026" y="196"/>
                  </a:lnTo>
                  <a:lnTo>
                    <a:pt x="1023" y="201"/>
                  </a:lnTo>
                  <a:lnTo>
                    <a:pt x="1023" y="198"/>
                  </a:lnTo>
                  <a:lnTo>
                    <a:pt x="1023" y="196"/>
                  </a:lnTo>
                  <a:lnTo>
                    <a:pt x="1023" y="196"/>
                  </a:lnTo>
                  <a:lnTo>
                    <a:pt x="1020" y="193"/>
                  </a:lnTo>
                  <a:lnTo>
                    <a:pt x="1020" y="193"/>
                  </a:lnTo>
                  <a:lnTo>
                    <a:pt x="1020" y="193"/>
                  </a:lnTo>
                  <a:lnTo>
                    <a:pt x="1018" y="193"/>
                  </a:lnTo>
                  <a:lnTo>
                    <a:pt x="1018" y="190"/>
                  </a:lnTo>
                  <a:lnTo>
                    <a:pt x="1018" y="190"/>
                  </a:lnTo>
                  <a:lnTo>
                    <a:pt x="1018" y="188"/>
                  </a:lnTo>
                  <a:lnTo>
                    <a:pt x="1018" y="188"/>
                  </a:lnTo>
                  <a:lnTo>
                    <a:pt x="1018" y="185"/>
                  </a:lnTo>
                  <a:lnTo>
                    <a:pt x="1020" y="185"/>
                  </a:lnTo>
                  <a:lnTo>
                    <a:pt x="1020" y="185"/>
                  </a:lnTo>
                  <a:lnTo>
                    <a:pt x="1020" y="182"/>
                  </a:lnTo>
                  <a:lnTo>
                    <a:pt x="1023" y="182"/>
                  </a:lnTo>
                  <a:lnTo>
                    <a:pt x="1023" y="182"/>
                  </a:lnTo>
                  <a:lnTo>
                    <a:pt x="1026" y="180"/>
                  </a:lnTo>
                  <a:lnTo>
                    <a:pt x="1023" y="177"/>
                  </a:lnTo>
                  <a:lnTo>
                    <a:pt x="1023" y="177"/>
                  </a:lnTo>
                  <a:lnTo>
                    <a:pt x="1023" y="174"/>
                  </a:lnTo>
                  <a:lnTo>
                    <a:pt x="1023" y="172"/>
                  </a:lnTo>
                  <a:lnTo>
                    <a:pt x="1023" y="169"/>
                  </a:lnTo>
                  <a:lnTo>
                    <a:pt x="1023" y="169"/>
                  </a:lnTo>
                  <a:lnTo>
                    <a:pt x="1020" y="169"/>
                  </a:lnTo>
                  <a:lnTo>
                    <a:pt x="1020" y="169"/>
                  </a:lnTo>
                  <a:lnTo>
                    <a:pt x="1023" y="166"/>
                  </a:lnTo>
                  <a:lnTo>
                    <a:pt x="1023" y="166"/>
                  </a:lnTo>
                  <a:lnTo>
                    <a:pt x="1023" y="164"/>
                  </a:lnTo>
                  <a:lnTo>
                    <a:pt x="1026" y="164"/>
                  </a:lnTo>
                  <a:lnTo>
                    <a:pt x="1023" y="161"/>
                  </a:lnTo>
                  <a:lnTo>
                    <a:pt x="1023" y="161"/>
                  </a:lnTo>
                  <a:lnTo>
                    <a:pt x="1023" y="158"/>
                  </a:lnTo>
                  <a:lnTo>
                    <a:pt x="1023" y="155"/>
                  </a:lnTo>
                  <a:lnTo>
                    <a:pt x="1023" y="153"/>
                  </a:lnTo>
                  <a:lnTo>
                    <a:pt x="1020" y="150"/>
                  </a:lnTo>
                  <a:lnTo>
                    <a:pt x="1020" y="147"/>
                  </a:lnTo>
                  <a:lnTo>
                    <a:pt x="1020" y="147"/>
                  </a:lnTo>
                  <a:lnTo>
                    <a:pt x="1020" y="145"/>
                  </a:lnTo>
                  <a:lnTo>
                    <a:pt x="1018" y="142"/>
                  </a:lnTo>
                  <a:lnTo>
                    <a:pt x="1018" y="142"/>
                  </a:lnTo>
                  <a:lnTo>
                    <a:pt x="1018" y="142"/>
                  </a:lnTo>
                  <a:lnTo>
                    <a:pt x="1018" y="145"/>
                  </a:lnTo>
                  <a:lnTo>
                    <a:pt x="1018" y="145"/>
                  </a:lnTo>
                  <a:lnTo>
                    <a:pt x="1018" y="145"/>
                  </a:lnTo>
                  <a:lnTo>
                    <a:pt x="1015" y="145"/>
                  </a:lnTo>
                  <a:lnTo>
                    <a:pt x="1012" y="145"/>
                  </a:lnTo>
                  <a:lnTo>
                    <a:pt x="1012" y="145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2" y="142"/>
                  </a:lnTo>
                  <a:lnTo>
                    <a:pt x="1010" y="142"/>
                  </a:lnTo>
                  <a:lnTo>
                    <a:pt x="1010" y="142"/>
                  </a:lnTo>
                  <a:lnTo>
                    <a:pt x="1010" y="142"/>
                  </a:lnTo>
                  <a:lnTo>
                    <a:pt x="1007" y="139"/>
                  </a:lnTo>
                  <a:lnTo>
                    <a:pt x="1004" y="139"/>
                  </a:lnTo>
                  <a:lnTo>
                    <a:pt x="1004" y="139"/>
                  </a:lnTo>
                  <a:lnTo>
                    <a:pt x="1002" y="139"/>
                  </a:lnTo>
                  <a:lnTo>
                    <a:pt x="1002" y="142"/>
                  </a:lnTo>
                  <a:lnTo>
                    <a:pt x="1002" y="142"/>
                  </a:lnTo>
                  <a:lnTo>
                    <a:pt x="1002" y="145"/>
                  </a:lnTo>
                  <a:lnTo>
                    <a:pt x="1002" y="145"/>
                  </a:lnTo>
                  <a:lnTo>
                    <a:pt x="999" y="147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0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5"/>
                  </a:lnTo>
                  <a:lnTo>
                    <a:pt x="994" y="158"/>
                  </a:lnTo>
                  <a:lnTo>
                    <a:pt x="991" y="158"/>
                  </a:lnTo>
                  <a:lnTo>
                    <a:pt x="991" y="155"/>
                  </a:lnTo>
                  <a:lnTo>
                    <a:pt x="991" y="153"/>
                  </a:lnTo>
                  <a:lnTo>
                    <a:pt x="991" y="153"/>
                  </a:lnTo>
                  <a:lnTo>
                    <a:pt x="991" y="153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50"/>
                  </a:lnTo>
                  <a:lnTo>
                    <a:pt x="994" y="147"/>
                  </a:lnTo>
                  <a:lnTo>
                    <a:pt x="994" y="147"/>
                  </a:lnTo>
                  <a:lnTo>
                    <a:pt x="994" y="147"/>
                  </a:lnTo>
                  <a:lnTo>
                    <a:pt x="994" y="145"/>
                  </a:lnTo>
                  <a:lnTo>
                    <a:pt x="994" y="145"/>
                  </a:lnTo>
                  <a:lnTo>
                    <a:pt x="996" y="145"/>
                  </a:lnTo>
                  <a:lnTo>
                    <a:pt x="996" y="142"/>
                  </a:lnTo>
                  <a:lnTo>
                    <a:pt x="996" y="142"/>
                  </a:lnTo>
                  <a:lnTo>
                    <a:pt x="996" y="139"/>
                  </a:lnTo>
                  <a:lnTo>
                    <a:pt x="999" y="139"/>
                  </a:lnTo>
                  <a:lnTo>
                    <a:pt x="999" y="139"/>
                  </a:lnTo>
                  <a:lnTo>
                    <a:pt x="999" y="139"/>
                  </a:lnTo>
                  <a:lnTo>
                    <a:pt x="1002" y="139"/>
                  </a:lnTo>
                  <a:lnTo>
                    <a:pt x="1002" y="139"/>
                  </a:lnTo>
                  <a:lnTo>
                    <a:pt x="999" y="137"/>
                  </a:lnTo>
                  <a:lnTo>
                    <a:pt x="999" y="137"/>
                  </a:lnTo>
                  <a:lnTo>
                    <a:pt x="999" y="137"/>
                  </a:lnTo>
                  <a:lnTo>
                    <a:pt x="996" y="134"/>
                  </a:lnTo>
                  <a:lnTo>
                    <a:pt x="996" y="134"/>
                  </a:lnTo>
                  <a:lnTo>
                    <a:pt x="994" y="134"/>
                  </a:lnTo>
                  <a:lnTo>
                    <a:pt x="994" y="134"/>
                  </a:lnTo>
                  <a:lnTo>
                    <a:pt x="994" y="134"/>
                  </a:lnTo>
                  <a:lnTo>
                    <a:pt x="991" y="131"/>
                  </a:lnTo>
                  <a:lnTo>
                    <a:pt x="986" y="129"/>
                  </a:lnTo>
                  <a:lnTo>
                    <a:pt x="986" y="126"/>
                  </a:lnTo>
                  <a:lnTo>
                    <a:pt x="986" y="126"/>
                  </a:lnTo>
                  <a:lnTo>
                    <a:pt x="983" y="123"/>
                  </a:lnTo>
                  <a:lnTo>
                    <a:pt x="983" y="121"/>
                  </a:lnTo>
                  <a:lnTo>
                    <a:pt x="980" y="121"/>
                  </a:lnTo>
                  <a:lnTo>
                    <a:pt x="980" y="123"/>
                  </a:lnTo>
                  <a:lnTo>
                    <a:pt x="983" y="123"/>
                  </a:lnTo>
                  <a:lnTo>
                    <a:pt x="983" y="123"/>
                  </a:lnTo>
                  <a:lnTo>
                    <a:pt x="983" y="126"/>
                  </a:lnTo>
                  <a:lnTo>
                    <a:pt x="983" y="126"/>
                  </a:lnTo>
                  <a:lnTo>
                    <a:pt x="983" y="126"/>
                  </a:lnTo>
                  <a:lnTo>
                    <a:pt x="983" y="129"/>
                  </a:lnTo>
                  <a:lnTo>
                    <a:pt x="983" y="129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3" y="131"/>
                  </a:lnTo>
                  <a:lnTo>
                    <a:pt x="983" y="134"/>
                  </a:lnTo>
                  <a:lnTo>
                    <a:pt x="983" y="134"/>
                  </a:lnTo>
                  <a:lnTo>
                    <a:pt x="980" y="134"/>
                  </a:lnTo>
                  <a:lnTo>
                    <a:pt x="978" y="134"/>
                  </a:lnTo>
                  <a:lnTo>
                    <a:pt x="978" y="137"/>
                  </a:lnTo>
                  <a:lnTo>
                    <a:pt x="975" y="134"/>
                  </a:lnTo>
                  <a:lnTo>
                    <a:pt x="975" y="131"/>
                  </a:lnTo>
                  <a:lnTo>
                    <a:pt x="978" y="131"/>
                  </a:lnTo>
                  <a:lnTo>
                    <a:pt x="978" y="131"/>
                  </a:lnTo>
                  <a:lnTo>
                    <a:pt x="980" y="129"/>
                  </a:lnTo>
                  <a:lnTo>
                    <a:pt x="978" y="129"/>
                  </a:lnTo>
                  <a:lnTo>
                    <a:pt x="978" y="129"/>
                  </a:lnTo>
                  <a:lnTo>
                    <a:pt x="975" y="129"/>
                  </a:lnTo>
                  <a:lnTo>
                    <a:pt x="975" y="129"/>
                  </a:lnTo>
                  <a:lnTo>
                    <a:pt x="972" y="129"/>
                  </a:lnTo>
                  <a:lnTo>
                    <a:pt x="969" y="129"/>
                  </a:lnTo>
                  <a:lnTo>
                    <a:pt x="969" y="129"/>
                  </a:lnTo>
                  <a:lnTo>
                    <a:pt x="967" y="129"/>
                  </a:lnTo>
                  <a:lnTo>
                    <a:pt x="967" y="126"/>
                  </a:lnTo>
                  <a:lnTo>
                    <a:pt x="967" y="126"/>
                  </a:lnTo>
                  <a:lnTo>
                    <a:pt x="964" y="129"/>
                  </a:lnTo>
                  <a:lnTo>
                    <a:pt x="961" y="129"/>
                  </a:lnTo>
                  <a:lnTo>
                    <a:pt x="961" y="129"/>
                  </a:lnTo>
                  <a:lnTo>
                    <a:pt x="961" y="131"/>
                  </a:lnTo>
                  <a:lnTo>
                    <a:pt x="959" y="131"/>
                  </a:lnTo>
                  <a:lnTo>
                    <a:pt x="959" y="131"/>
                  </a:lnTo>
                  <a:lnTo>
                    <a:pt x="959" y="131"/>
                  </a:lnTo>
                  <a:lnTo>
                    <a:pt x="959" y="134"/>
                  </a:lnTo>
                  <a:lnTo>
                    <a:pt x="956" y="134"/>
                  </a:lnTo>
                  <a:lnTo>
                    <a:pt x="956" y="134"/>
                  </a:lnTo>
                  <a:lnTo>
                    <a:pt x="956" y="134"/>
                  </a:lnTo>
                  <a:lnTo>
                    <a:pt x="953" y="134"/>
                  </a:lnTo>
                  <a:lnTo>
                    <a:pt x="953" y="134"/>
                  </a:lnTo>
                  <a:lnTo>
                    <a:pt x="951" y="134"/>
                  </a:lnTo>
                  <a:lnTo>
                    <a:pt x="951" y="134"/>
                  </a:lnTo>
                  <a:lnTo>
                    <a:pt x="951" y="137"/>
                  </a:lnTo>
                  <a:lnTo>
                    <a:pt x="951" y="137"/>
                  </a:lnTo>
                  <a:lnTo>
                    <a:pt x="951" y="139"/>
                  </a:lnTo>
                  <a:lnTo>
                    <a:pt x="948" y="139"/>
                  </a:lnTo>
                  <a:lnTo>
                    <a:pt x="948" y="139"/>
                  </a:lnTo>
                  <a:lnTo>
                    <a:pt x="948" y="137"/>
                  </a:lnTo>
                  <a:lnTo>
                    <a:pt x="948" y="137"/>
                  </a:lnTo>
                  <a:lnTo>
                    <a:pt x="948" y="137"/>
                  </a:lnTo>
                  <a:lnTo>
                    <a:pt x="951" y="134"/>
                  </a:lnTo>
                  <a:lnTo>
                    <a:pt x="951" y="131"/>
                  </a:lnTo>
                  <a:lnTo>
                    <a:pt x="951" y="131"/>
                  </a:lnTo>
                  <a:lnTo>
                    <a:pt x="951" y="129"/>
                  </a:lnTo>
                  <a:lnTo>
                    <a:pt x="951" y="129"/>
                  </a:lnTo>
                  <a:lnTo>
                    <a:pt x="953" y="129"/>
                  </a:lnTo>
                  <a:lnTo>
                    <a:pt x="953" y="129"/>
                  </a:lnTo>
                  <a:lnTo>
                    <a:pt x="953" y="126"/>
                  </a:lnTo>
                  <a:lnTo>
                    <a:pt x="953" y="126"/>
                  </a:lnTo>
                  <a:lnTo>
                    <a:pt x="956" y="123"/>
                  </a:lnTo>
                  <a:lnTo>
                    <a:pt x="956" y="123"/>
                  </a:lnTo>
                  <a:lnTo>
                    <a:pt x="956" y="123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59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1" y="121"/>
                  </a:lnTo>
                  <a:lnTo>
                    <a:pt x="964" y="121"/>
                  </a:lnTo>
                  <a:lnTo>
                    <a:pt x="964" y="121"/>
                  </a:lnTo>
                  <a:lnTo>
                    <a:pt x="964" y="121"/>
                  </a:lnTo>
                  <a:lnTo>
                    <a:pt x="967" y="121"/>
                  </a:lnTo>
                  <a:lnTo>
                    <a:pt x="967" y="121"/>
                  </a:lnTo>
                  <a:lnTo>
                    <a:pt x="967" y="121"/>
                  </a:lnTo>
                  <a:lnTo>
                    <a:pt x="969" y="121"/>
                  </a:lnTo>
                  <a:lnTo>
                    <a:pt x="969" y="121"/>
                  </a:lnTo>
                  <a:lnTo>
                    <a:pt x="969" y="121"/>
                  </a:lnTo>
                  <a:lnTo>
                    <a:pt x="969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2" y="123"/>
                  </a:lnTo>
                  <a:lnTo>
                    <a:pt x="975" y="121"/>
                  </a:lnTo>
                  <a:lnTo>
                    <a:pt x="975" y="123"/>
                  </a:lnTo>
                  <a:lnTo>
                    <a:pt x="975" y="121"/>
                  </a:lnTo>
                  <a:lnTo>
                    <a:pt x="975" y="121"/>
                  </a:lnTo>
                  <a:lnTo>
                    <a:pt x="975" y="118"/>
                  </a:lnTo>
                  <a:lnTo>
                    <a:pt x="975" y="118"/>
                  </a:lnTo>
                  <a:lnTo>
                    <a:pt x="975" y="118"/>
                  </a:lnTo>
                  <a:lnTo>
                    <a:pt x="975" y="115"/>
                  </a:lnTo>
                  <a:lnTo>
                    <a:pt x="978" y="115"/>
                  </a:lnTo>
                  <a:lnTo>
                    <a:pt x="978" y="115"/>
                  </a:lnTo>
                  <a:lnTo>
                    <a:pt x="978" y="115"/>
                  </a:lnTo>
                  <a:lnTo>
                    <a:pt x="980" y="115"/>
                  </a:lnTo>
                  <a:lnTo>
                    <a:pt x="980" y="115"/>
                  </a:lnTo>
                  <a:lnTo>
                    <a:pt x="980" y="113"/>
                  </a:lnTo>
                  <a:lnTo>
                    <a:pt x="983" y="113"/>
                  </a:lnTo>
                  <a:lnTo>
                    <a:pt x="983" y="110"/>
                  </a:lnTo>
                  <a:lnTo>
                    <a:pt x="983" y="110"/>
                  </a:lnTo>
                  <a:lnTo>
                    <a:pt x="986" y="107"/>
                  </a:lnTo>
                  <a:lnTo>
                    <a:pt x="986" y="107"/>
                  </a:lnTo>
                  <a:lnTo>
                    <a:pt x="986" y="107"/>
                  </a:lnTo>
                  <a:lnTo>
                    <a:pt x="986" y="110"/>
                  </a:lnTo>
                  <a:lnTo>
                    <a:pt x="986" y="110"/>
                  </a:lnTo>
                  <a:lnTo>
                    <a:pt x="986" y="113"/>
                  </a:lnTo>
                  <a:lnTo>
                    <a:pt x="986" y="113"/>
                  </a:lnTo>
                  <a:lnTo>
                    <a:pt x="986" y="113"/>
                  </a:lnTo>
                  <a:lnTo>
                    <a:pt x="986" y="115"/>
                  </a:lnTo>
                  <a:lnTo>
                    <a:pt x="983" y="115"/>
                  </a:lnTo>
                  <a:lnTo>
                    <a:pt x="983" y="115"/>
                  </a:lnTo>
                  <a:lnTo>
                    <a:pt x="986" y="115"/>
                  </a:lnTo>
                  <a:lnTo>
                    <a:pt x="983" y="118"/>
                  </a:lnTo>
                  <a:lnTo>
                    <a:pt x="983" y="118"/>
                  </a:lnTo>
                  <a:lnTo>
                    <a:pt x="983" y="118"/>
                  </a:lnTo>
                  <a:lnTo>
                    <a:pt x="986" y="118"/>
                  </a:lnTo>
                  <a:lnTo>
                    <a:pt x="986" y="115"/>
                  </a:lnTo>
                  <a:lnTo>
                    <a:pt x="986" y="115"/>
                  </a:lnTo>
                  <a:lnTo>
                    <a:pt x="986" y="115"/>
                  </a:lnTo>
                  <a:lnTo>
                    <a:pt x="986" y="113"/>
                  </a:lnTo>
                  <a:lnTo>
                    <a:pt x="986" y="110"/>
                  </a:lnTo>
                  <a:lnTo>
                    <a:pt x="988" y="107"/>
                  </a:lnTo>
                  <a:lnTo>
                    <a:pt x="986" y="110"/>
                  </a:lnTo>
                  <a:lnTo>
                    <a:pt x="988" y="105"/>
                  </a:lnTo>
                  <a:lnTo>
                    <a:pt x="988" y="105"/>
                  </a:lnTo>
                  <a:lnTo>
                    <a:pt x="988" y="102"/>
                  </a:lnTo>
                  <a:lnTo>
                    <a:pt x="991" y="99"/>
                  </a:lnTo>
                  <a:lnTo>
                    <a:pt x="991" y="97"/>
                  </a:lnTo>
                  <a:lnTo>
                    <a:pt x="991" y="94"/>
                  </a:lnTo>
                  <a:lnTo>
                    <a:pt x="994" y="91"/>
                  </a:lnTo>
                  <a:lnTo>
                    <a:pt x="994" y="89"/>
                  </a:lnTo>
                  <a:lnTo>
                    <a:pt x="996" y="89"/>
                  </a:lnTo>
                  <a:lnTo>
                    <a:pt x="996" y="86"/>
                  </a:lnTo>
                  <a:lnTo>
                    <a:pt x="999" y="89"/>
                  </a:lnTo>
                  <a:lnTo>
                    <a:pt x="999" y="86"/>
                  </a:lnTo>
                  <a:lnTo>
                    <a:pt x="1002" y="86"/>
                  </a:lnTo>
                  <a:lnTo>
                    <a:pt x="1002" y="86"/>
                  </a:lnTo>
                  <a:lnTo>
                    <a:pt x="1002" y="83"/>
                  </a:lnTo>
                  <a:lnTo>
                    <a:pt x="1004" y="81"/>
                  </a:lnTo>
                  <a:lnTo>
                    <a:pt x="1002" y="81"/>
                  </a:lnTo>
                  <a:lnTo>
                    <a:pt x="1002" y="78"/>
                  </a:lnTo>
                  <a:lnTo>
                    <a:pt x="1002" y="78"/>
                  </a:lnTo>
                  <a:lnTo>
                    <a:pt x="999" y="78"/>
                  </a:lnTo>
                  <a:lnTo>
                    <a:pt x="999" y="75"/>
                  </a:lnTo>
                  <a:lnTo>
                    <a:pt x="996" y="75"/>
                  </a:lnTo>
                  <a:lnTo>
                    <a:pt x="996" y="75"/>
                  </a:lnTo>
                  <a:lnTo>
                    <a:pt x="994" y="75"/>
                  </a:lnTo>
                  <a:lnTo>
                    <a:pt x="994" y="75"/>
                  </a:lnTo>
                  <a:lnTo>
                    <a:pt x="994" y="75"/>
                  </a:lnTo>
                  <a:lnTo>
                    <a:pt x="991" y="75"/>
                  </a:lnTo>
                  <a:lnTo>
                    <a:pt x="991" y="75"/>
                  </a:lnTo>
                  <a:lnTo>
                    <a:pt x="988" y="78"/>
                  </a:lnTo>
                  <a:lnTo>
                    <a:pt x="988" y="78"/>
                  </a:lnTo>
                  <a:lnTo>
                    <a:pt x="986" y="78"/>
                  </a:lnTo>
                  <a:lnTo>
                    <a:pt x="986" y="78"/>
                  </a:lnTo>
                  <a:lnTo>
                    <a:pt x="986" y="78"/>
                  </a:lnTo>
                  <a:lnTo>
                    <a:pt x="983" y="81"/>
                  </a:lnTo>
                  <a:lnTo>
                    <a:pt x="983" y="81"/>
                  </a:lnTo>
                  <a:lnTo>
                    <a:pt x="980" y="81"/>
                  </a:lnTo>
                  <a:lnTo>
                    <a:pt x="978" y="81"/>
                  </a:lnTo>
                  <a:lnTo>
                    <a:pt x="978" y="81"/>
                  </a:lnTo>
                  <a:lnTo>
                    <a:pt x="975" y="81"/>
                  </a:lnTo>
                  <a:lnTo>
                    <a:pt x="978" y="81"/>
                  </a:lnTo>
                  <a:lnTo>
                    <a:pt x="975" y="78"/>
                  </a:lnTo>
                  <a:lnTo>
                    <a:pt x="972" y="81"/>
                  </a:lnTo>
                  <a:lnTo>
                    <a:pt x="972" y="81"/>
                  </a:lnTo>
                  <a:lnTo>
                    <a:pt x="969" y="81"/>
                  </a:lnTo>
                  <a:lnTo>
                    <a:pt x="969" y="81"/>
                  </a:lnTo>
                  <a:lnTo>
                    <a:pt x="967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4" y="81"/>
                  </a:lnTo>
                  <a:lnTo>
                    <a:pt x="961" y="81"/>
                  </a:lnTo>
                  <a:lnTo>
                    <a:pt x="961" y="81"/>
                  </a:lnTo>
                  <a:lnTo>
                    <a:pt x="961" y="81"/>
                  </a:lnTo>
                  <a:lnTo>
                    <a:pt x="964" y="78"/>
                  </a:lnTo>
                  <a:lnTo>
                    <a:pt x="964" y="78"/>
                  </a:lnTo>
                  <a:lnTo>
                    <a:pt x="967" y="78"/>
                  </a:lnTo>
                  <a:lnTo>
                    <a:pt x="967" y="78"/>
                  </a:lnTo>
                  <a:lnTo>
                    <a:pt x="969" y="78"/>
                  </a:lnTo>
                  <a:lnTo>
                    <a:pt x="969" y="75"/>
                  </a:lnTo>
                  <a:lnTo>
                    <a:pt x="972" y="75"/>
                  </a:lnTo>
                  <a:lnTo>
                    <a:pt x="972" y="75"/>
                  </a:lnTo>
                  <a:lnTo>
                    <a:pt x="975" y="75"/>
                  </a:lnTo>
                  <a:lnTo>
                    <a:pt x="975" y="75"/>
                  </a:lnTo>
                  <a:lnTo>
                    <a:pt x="975" y="75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80" y="75"/>
                  </a:lnTo>
                  <a:lnTo>
                    <a:pt x="980" y="75"/>
                  </a:lnTo>
                  <a:lnTo>
                    <a:pt x="980" y="75"/>
                  </a:lnTo>
                  <a:lnTo>
                    <a:pt x="983" y="75"/>
                  </a:lnTo>
                  <a:lnTo>
                    <a:pt x="983" y="73"/>
                  </a:lnTo>
                  <a:lnTo>
                    <a:pt x="986" y="73"/>
                  </a:lnTo>
                  <a:lnTo>
                    <a:pt x="986" y="73"/>
                  </a:lnTo>
                  <a:lnTo>
                    <a:pt x="988" y="70"/>
                  </a:lnTo>
                  <a:lnTo>
                    <a:pt x="991" y="70"/>
                  </a:lnTo>
                  <a:lnTo>
                    <a:pt x="991" y="67"/>
                  </a:lnTo>
                  <a:lnTo>
                    <a:pt x="994" y="67"/>
                  </a:lnTo>
                  <a:lnTo>
                    <a:pt x="994" y="67"/>
                  </a:lnTo>
                  <a:lnTo>
                    <a:pt x="996" y="67"/>
                  </a:lnTo>
                  <a:lnTo>
                    <a:pt x="996" y="65"/>
                  </a:lnTo>
                  <a:lnTo>
                    <a:pt x="996" y="65"/>
                  </a:lnTo>
                  <a:lnTo>
                    <a:pt x="996" y="65"/>
                  </a:lnTo>
                  <a:lnTo>
                    <a:pt x="999" y="62"/>
                  </a:lnTo>
                  <a:lnTo>
                    <a:pt x="1002" y="62"/>
                  </a:lnTo>
                  <a:lnTo>
                    <a:pt x="1002" y="59"/>
                  </a:lnTo>
                  <a:lnTo>
                    <a:pt x="1002" y="57"/>
                  </a:lnTo>
                  <a:lnTo>
                    <a:pt x="999" y="54"/>
                  </a:lnTo>
                  <a:lnTo>
                    <a:pt x="999" y="54"/>
                  </a:lnTo>
                  <a:lnTo>
                    <a:pt x="996" y="51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91" y="49"/>
                  </a:lnTo>
                  <a:lnTo>
                    <a:pt x="988" y="49"/>
                  </a:lnTo>
                  <a:lnTo>
                    <a:pt x="988" y="49"/>
                  </a:lnTo>
                  <a:lnTo>
                    <a:pt x="986" y="46"/>
                  </a:lnTo>
                  <a:lnTo>
                    <a:pt x="986" y="46"/>
                  </a:lnTo>
                  <a:lnTo>
                    <a:pt x="983" y="43"/>
                  </a:lnTo>
                  <a:lnTo>
                    <a:pt x="983" y="43"/>
                  </a:lnTo>
                  <a:lnTo>
                    <a:pt x="980" y="43"/>
                  </a:lnTo>
                  <a:lnTo>
                    <a:pt x="980" y="43"/>
                  </a:lnTo>
                  <a:lnTo>
                    <a:pt x="980" y="46"/>
                  </a:lnTo>
                  <a:lnTo>
                    <a:pt x="980" y="46"/>
                  </a:lnTo>
                  <a:lnTo>
                    <a:pt x="980" y="49"/>
                  </a:lnTo>
                  <a:lnTo>
                    <a:pt x="980" y="46"/>
                  </a:lnTo>
                  <a:lnTo>
                    <a:pt x="980" y="46"/>
                  </a:lnTo>
                  <a:lnTo>
                    <a:pt x="980" y="43"/>
                  </a:lnTo>
                  <a:lnTo>
                    <a:pt x="978" y="43"/>
                  </a:lnTo>
                  <a:lnTo>
                    <a:pt x="978" y="41"/>
                  </a:lnTo>
                  <a:lnTo>
                    <a:pt x="978" y="41"/>
                  </a:lnTo>
                  <a:lnTo>
                    <a:pt x="978" y="41"/>
                  </a:lnTo>
                  <a:lnTo>
                    <a:pt x="978" y="38"/>
                  </a:lnTo>
                  <a:lnTo>
                    <a:pt x="978" y="35"/>
                  </a:lnTo>
                  <a:lnTo>
                    <a:pt x="978" y="35"/>
                  </a:lnTo>
                  <a:lnTo>
                    <a:pt x="978" y="33"/>
                  </a:lnTo>
                  <a:lnTo>
                    <a:pt x="978" y="30"/>
                  </a:lnTo>
                  <a:lnTo>
                    <a:pt x="978" y="30"/>
                  </a:lnTo>
                  <a:lnTo>
                    <a:pt x="975" y="30"/>
                  </a:lnTo>
                  <a:lnTo>
                    <a:pt x="975" y="27"/>
                  </a:lnTo>
                  <a:lnTo>
                    <a:pt x="975" y="27"/>
                  </a:lnTo>
                  <a:lnTo>
                    <a:pt x="975" y="25"/>
                  </a:lnTo>
                  <a:lnTo>
                    <a:pt x="975" y="25"/>
                  </a:lnTo>
                  <a:lnTo>
                    <a:pt x="975" y="22"/>
                  </a:lnTo>
                  <a:lnTo>
                    <a:pt x="972" y="22"/>
                  </a:lnTo>
                  <a:lnTo>
                    <a:pt x="972" y="22"/>
                  </a:lnTo>
                  <a:lnTo>
                    <a:pt x="972" y="19"/>
                  </a:lnTo>
                  <a:lnTo>
                    <a:pt x="972" y="17"/>
                  </a:lnTo>
                  <a:lnTo>
                    <a:pt x="975" y="17"/>
                  </a:lnTo>
                  <a:lnTo>
                    <a:pt x="972" y="17"/>
                  </a:lnTo>
                  <a:lnTo>
                    <a:pt x="975" y="14"/>
                  </a:lnTo>
                  <a:lnTo>
                    <a:pt x="975" y="11"/>
                  </a:lnTo>
                  <a:lnTo>
                    <a:pt x="978" y="11"/>
                  </a:lnTo>
                  <a:lnTo>
                    <a:pt x="978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11"/>
                  </a:lnTo>
                  <a:lnTo>
                    <a:pt x="980" y="9"/>
                  </a:lnTo>
                  <a:lnTo>
                    <a:pt x="983" y="9"/>
                  </a:lnTo>
                  <a:lnTo>
                    <a:pt x="983" y="9"/>
                  </a:lnTo>
                  <a:lnTo>
                    <a:pt x="983" y="9"/>
                  </a:lnTo>
                  <a:lnTo>
                    <a:pt x="980" y="6"/>
                  </a:lnTo>
                  <a:lnTo>
                    <a:pt x="980" y="6"/>
                  </a:lnTo>
                  <a:lnTo>
                    <a:pt x="980" y="3"/>
                  </a:lnTo>
                  <a:lnTo>
                    <a:pt x="980" y="3"/>
                  </a:lnTo>
                  <a:lnTo>
                    <a:pt x="978" y="0"/>
                  </a:lnTo>
                  <a:lnTo>
                    <a:pt x="978" y="0"/>
                  </a:lnTo>
                  <a:lnTo>
                    <a:pt x="975" y="0"/>
                  </a:lnTo>
                  <a:lnTo>
                    <a:pt x="972" y="0"/>
                  </a:lnTo>
                  <a:lnTo>
                    <a:pt x="972" y="0"/>
                  </a:lnTo>
                  <a:lnTo>
                    <a:pt x="969" y="0"/>
                  </a:lnTo>
                  <a:lnTo>
                    <a:pt x="969" y="0"/>
                  </a:lnTo>
                  <a:lnTo>
                    <a:pt x="967" y="0"/>
                  </a:lnTo>
                  <a:lnTo>
                    <a:pt x="964" y="3"/>
                  </a:lnTo>
                  <a:lnTo>
                    <a:pt x="964" y="6"/>
                  </a:lnTo>
                  <a:lnTo>
                    <a:pt x="961" y="6"/>
                  </a:lnTo>
                  <a:lnTo>
                    <a:pt x="961" y="9"/>
                  </a:lnTo>
                  <a:lnTo>
                    <a:pt x="961" y="9"/>
                  </a:lnTo>
                  <a:lnTo>
                    <a:pt x="961" y="9"/>
                  </a:lnTo>
                  <a:lnTo>
                    <a:pt x="961" y="6"/>
                  </a:lnTo>
                  <a:lnTo>
                    <a:pt x="964" y="6"/>
                  </a:lnTo>
                  <a:lnTo>
                    <a:pt x="964" y="3"/>
                  </a:lnTo>
                  <a:lnTo>
                    <a:pt x="964" y="3"/>
                  </a:lnTo>
                  <a:lnTo>
                    <a:pt x="964" y="3"/>
                  </a:lnTo>
                  <a:lnTo>
                    <a:pt x="964" y="6"/>
                  </a:lnTo>
                  <a:lnTo>
                    <a:pt x="961" y="9"/>
                  </a:lnTo>
                  <a:lnTo>
                    <a:pt x="961" y="11"/>
                  </a:lnTo>
                  <a:lnTo>
                    <a:pt x="961" y="11"/>
                  </a:lnTo>
                  <a:lnTo>
                    <a:pt x="959" y="11"/>
                  </a:lnTo>
                  <a:lnTo>
                    <a:pt x="959" y="11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4"/>
                  </a:lnTo>
                  <a:lnTo>
                    <a:pt x="961" y="17"/>
                  </a:lnTo>
                  <a:lnTo>
                    <a:pt x="961" y="17"/>
                  </a:lnTo>
                  <a:lnTo>
                    <a:pt x="961" y="17"/>
                  </a:lnTo>
                  <a:lnTo>
                    <a:pt x="959" y="17"/>
                  </a:lnTo>
                  <a:lnTo>
                    <a:pt x="959" y="17"/>
                  </a:lnTo>
                  <a:lnTo>
                    <a:pt x="956" y="17"/>
                  </a:lnTo>
                  <a:lnTo>
                    <a:pt x="956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9"/>
                  </a:lnTo>
                  <a:lnTo>
                    <a:pt x="953" y="17"/>
                  </a:lnTo>
                  <a:lnTo>
                    <a:pt x="956" y="17"/>
                  </a:lnTo>
                  <a:lnTo>
                    <a:pt x="956" y="17"/>
                  </a:lnTo>
                  <a:lnTo>
                    <a:pt x="956" y="17"/>
                  </a:lnTo>
                  <a:lnTo>
                    <a:pt x="956" y="14"/>
                  </a:lnTo>
                  <a:lnTo>
                    <a:pt x="959" y="14"/>
                  </a:lnTo>
                  <a:lnTo>
                    <a:pt x="959" y="14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6" y="11"/>
                  </a:lnTo>
                  <a:lnTo>
                    <a:pt x="953" y="11"/>
                  </a:lnTo>
                  <a:lnTo>
                    <a:pt x="953" y="11"/>
                  </a:lnTo>
                  <a:lnTo>
                    <a:pt x="951" y="11"/>
                  </a:lnTo>
                  <a:lnTo>
                    <a:pt x="951" y="11"/>
                  </a:lnTo>
                  <a:lnTo>
                    <a:pt x="948" y="11"/>
                  </a:lnTo>
                  <a:lnTo>
                    <a:pt x="948" y="11"/>
                  </a:lnTo>
                  <a:lnTo>
                    <a:pt x="945" y="11"/>
                  </a:lnTo>
                  <a:lnTo>
                    <a:pt x="945" y="11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4"/>
                  </a:lnTo>
                  <a:lnTo>
                    <a:pt x="943" y="17"/>
                  </a:lnTo>
                  <a:lnTo>
                    <a:pt x="943" y="17"/>
                  </a:lnTo>
                  <a:lnTo>
                    <a:pt x="943" y="17"/>
                  </a:lnTo>
                  <a:lnTo>
                    <a:pt x="943" y="19"/>
                  </a:lnTo>
                  <a:lnTo>
                    <a:pt x="943" y="22"/>
                  </a:lnTo>
                  <a:lnTo>
                    <a:pt x="945" y="22"/>
                  </a:lnTo>
                  <a:lnTo>
                    <a:pt x="945" y="25"/>
                  </a:lnTo>
                  <a:lnTo>
                    <a:pt x="945" y="25"/>
                  </a:lnTo>
                  <a:lnTo>
                    <a:pt x="945" y="27"/>
                  </a:lnTo>
                  <a:lnTo>
                    <a:pt x="945" y="27"/>
                  </a:lnTo>
                  <a:lnTo>
                    <a:pt x="945" y="30"/>
                  </a:lnTo>
                  <a:lnTo>
                    <a:pt x="943" y="27"/>
                  </a:lnTo>
                  <a:lnTo>
                    <a:pt x="943" y="27"/>
                  </a:lnTo>
                  <a:lnTo>
                    <a:pt x="943" y="25"/>
                  </a:lnTo>
                  <a:lnTo>
                    <a:pt x="943" y="25"/>
                  </a:lnTo>
                  <a:lnTo>
                    <a:pt x="943" y="25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3" y="19"/>
                  </a:lnTo>
                  <a:lnTo>
                    <a:pt x="940" y="19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40" y="17"/>
                  </a:lnTo>
                  <a:lnTo>
                    <a:pt x="937" y="17"/>
                  </a:lnTo>
                  <a:lnTo>
                    <a:pt x="937" y="19"/>
                  </a:lnTo>
                  <a:lnTo>
                    <a:pt x="935" y="19"/>
                  </a:lnTo>
                  <a:lnTo>
                    <a:pt x="932" y="19"/>
                  </a:lnTo>
                  <a:lnTo>
                    <a:pt x="929" y="19"/>
                  </a:lnTo>
                  <a:lnTo>
                    <a:pt x="927" y="19"/>
                  </a:lnTo>
                  <a:lnTo>
                    <a:pt x="924" y="19"/>
                  </a:lnTo>
                  <a:lnTo>
                    <a:pt x="924" y="22"/>
                  </a:lnTo>
                  <a:lnTo>
                    <a:pt x="921" y="22"/>
                  </a:lnTo>
                  <a:lnTo>
                    <a:pt x="919" y="22"/>
                  </a:lnTo>
                  <a:lnTo>
                    <a:pt x="919" y="22"/>
                  </a:lnTo>
                  <a:lnTo>
                    <a:pt x="916" y="22"/>
                  </a:lnTo>
                  <a:lnTo>
                    <a:pt x="913" y="22"/>
                  </a:lnTo>
                  <a:lnTo>
                    <a:pt x="911" y="25"/>
                  </a:lnTo>
                  <a:lnTo>
                    <a:pt x="908" y="27"/>
                  </a:lnTo>
                  <a:lnTo>
                    <a:pt x="908" y="27"/>
                  </a:lnTo>
                  <a:lnTo>
                    <a:pt x="905" y="27"/>
                  </a:lnTo>
                  <a:lnTo>
                    <a:pt x="903" y="30"/>
                  </a:lnTo>
                  <a:lnTo>
                    <a:pt x="900" y="30"/>
                  </a:lnTo>
                  <a:lnTo>
                    <a:pt x="897" y="30"/>
                  </a:lnTo>
                  <a:lnTo>
                    <a:pt x="895" y="33"/>
                  </a:lnTo>
                  <a:lnTo>
                    <a:pt x="892" y="33"/>
                  </a:lnTo>
                  <a:lnTo>
                    <a:pt x="889" y="33"/>
                  </a:lnTo>
                  <a:lnTo>
                    <a:pt x="887" y="33"/>
                  </a:lnTo>
                  <a:lnTo>
                    <a:pt x="887" y="33"/>
                  </a:lnTo>
                  <a:lnTo>
                    <a:pt x="884" y="33"/>
                  </a:lnTo>
                  <a:lnTo>
                    <a:pt x="884" y="33"/>
                  </a:lnTo>
                  <a:lnTo>
                    <a:pt x="881" y="30"/>
                  </a:lnTo>
                  <a:lnTo>
                    <a:pt x="881" y="30"/>
                  </a:lnTo>
                  <a:lnTo>
                    <a:pt x="879" y="30"/>
                  </a:lnTo>
                  <a:lnTo>
                    <a:pt x="876" y="30"/>
                  </a:lnTo>
                  <a:lnTo>
                    <a:pt x="876" y="30"/>
                  </a:lnTo>
                  <a:lnTo>
                    <a:pt x="876" y="33"/>
                  </a:lnTo>
                  <a:lnTo>
                    <a:pt x="873" y="33"/>
                  </a:lnTo>
                  <a:lnTo>
                    <a:pt x="871" y="33"/>
                  </a:lnTo>
                  <a:lnTo>
                    <a:pt x="868" y="35"/>
                  </a:lnTo>
                  <a:lnTo>
                    <a:pt x="865" y="35"/>
                  </a:lnTo>
                  <a:lnTo>
                    <a:pt x="863" y="35"/>
                  </a:lnTo>
                  <a:lnTo>
                    <a:pt x="863" y="35"/>
                  </a:lnTo>
                  <a:lnTo>
                    <a:pt x="863" y="33"/>
                  </a:lnTo>
                  <a:lnTo>
                    <a:pt x="860" y="33"/>
                  </a:lnTo>
                  <a:lnTo>
                    <a:pt x="857" y="33"/>
                  </a:lnTo>
                  <a:lnTo>
                    <a:pt x="855" y="33"/>
                  </a:lnTo>
                  <a:lnTo>
                    <a:pt x="852" y="35"/>
                  </a:lnTo>
                  <a:lnTo>
                    <a:pt x="852" y="38"/>
                  </a:lnTo>
                  <a:lnTo>
                    <a:pt x="852" y="38"/>
                  </a:lnTo>
                  <a:lnTo>
                    <a:pt x="849" y="38"/>
                  </a:lnTo>
                  <a:lnTo>
                    <a:pt x="849" y="38"/>
                  </a:lnTo>
                  <a:lnTo>
                    <a:pt x="847" y="41"/>
                  </a:lnTo>
                  <a:lnTo>
                    <a:pt x="847" y="41"/>
                  </a:lnTo>
                  <a:lnTo>
                    <a:pt x="849" y="41"/>
                  </a:lnTo>
                  <a:lnTo>
                    <a:pt x="849" y="43"/>
                  </a:lnTo>
                  <a:lnTo>
                    <a:pt x="849" y="43"/>
                  </a:lnTo>
                  <a:lnTo>
                    <a:pt x="849" y="46"/>
                  </a:lnTo>
                  <a:lnTo>
                    <a:pt x="849" y="46"/>
                  </a:lnTo>
                  <a:lnTo>
                    <a:pt x="849" y="46"/>
                  </a:lnTo>
                  <a:lnTo>
                    <a:pt x="847" y="49"/>
                  </a:lnTo>
                  <a:lnTo>
                    <a:pt x="847" y="49"/>
                  </a:lnTo>
                  <a:lnTo>
                    <a:pt x="844" y="49"/>
                  </a:lnTo>
                  <a:lnTo>
                    <a:pt x="844" y="51"/>
                  </a:lnTo>
                  <a:lnTo>
                    <a:pt x="844" y="51"/>
                  </a:lnTo>
                  <a:lnTo>
                    <a:pt x="841" y="51"/>
                  </a:lnTo>
                  <a:lnTo>
                    <a:pt x="841" y="54"/>
                  </a:lnTo>
                  <a:lnTo>
                    <a:pt x="841" y="54"/>
                  </a:lnTo>
                  <a:lnTo>
                    <a:pt x="839" y="54"/>
                  </a:lnTo>
                  <a:lnTo>
                    <a:pt x="839" y="57"/>
                  </a:lnTo>
                  <a:lnTo>
                    <a:pt x="839" y="57"/>
                  </a:lnTo>
                  <a:lnTo>
                    <a:pt x="836" y="57"/>
                  </a:lnTo>
                  <a:lnTo>
                    <a:pt x="836" y="59"/>
                  </a:lnTo>
                  <a:lnTo>
                    <a:pt x="833" y="59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3" y="62"/>
                  </a:lnTo>
                  <a:lnTo>
                    <a:pt x="833" y="62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6" y="59"/>
                  </a:lnTo>
                  <a:lnTo>
                    <a:pt x="836" y="59"/>
                  </a:lnTo>
                  <a:lnTo>
                    <a:pt x="836" y="57"/>
                  </a:lnTo>
                  <a:lnTo>
                    <a:pt x="836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3" y="59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31" y="62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28" y="65"/>
                  </a:lnTo>
                  <a:lnTo>
                    <a:pt x="825" y="67"/>
                  </a:lnTo>
                  <a:lnTo>
                    <a:pt x="825" y="67"/>
                  </a:lnTo>
                  <a:lnTo>
                    <a:pt x="825" y="67"/>
                  </a:lnTo>
                  <a:lnTo>
                    <a:pt x="823" y="70"/>
                  </a:lnTo>
                  <a:lnTo>
                    <a:pt x="823" y="73"/>
                  </a:lnTo>
                  <a:lnTo>
                    <a:pt x="823" y="73"/>
                  </a:lnTo>
                  <a:lnTo>
                    <a:pt x="823" y="73"/>
                  </a:lnTo>
                  <a:lnTo>
                    <a:pt x="820" y="75"/>
                  </a:lnTo>
                  <a:lnTo>
                    <a:pt x="820" y="75"/>
                  </a:lnTo>
                  <a:lnTo>
                    <a:pt x="820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5"/>
                  </a:lnTo>
                  <a:lnTo>
                    <a:pt x="823" y="73"/>
                  </a:lnTo>
                  <a:lnTo>
                    <a:pt x="825" y="73"/>
                  </a:lnTo>
                  <a:lnTo>
                    <a:pt x="825" y="73"/>
                  </a:lnTo>
                  <a:lnTo>
                    <a:pt x="825" y="70"/>
                  </a:lnTo>
                  <a:lnTo>
                    <a:pt x="825" y="70"/>
                  </a:lnTo>
                  <a:lnTo>
                    <a:pt x="828" y="70"/>
                  </a:lnTo>
                  <a:lnTo>
                    <a:pt x="828" y="70"/>
                  </a:lnTo>
                  <a:lnTo>
                    <a:pt x="828" y="70"/>
                  </a:lnTo>
                  <a:lnTo>
                    <a:pt x="831" y="67"/>
                  </a:lnTo>
                  <a:lnTo>
                    <a:pt x="831" y="67"/>
                  </a:lnTo>
                  <a:lnTo>
                    <a:pt x="831" y="67"/>
                  </a:lnTo>
                  <a:lnTo>
                    <a:pt x="831" y="65"/>
                  </a:lnTo>
                  <a:lnTo>
                    <a:pt x="831" y="65"/>
                  </a:lnTo>
                  <a:lnTo>
                    <a:pt x="833" y="65"/>
                  </a:lnTo>
                  <a:lnTo>
                    <a:pt x="833" y="62"/>
                  </a:lnTo>
                  <a:lnTo>
                    <a:pt x="836" y="62"/>
                  </a:lnTo>
                  <a:lnTo>
                    <a:pt x="836" y="62"/>
                  </a:lnTo>
                  <a:lnTo>
                    <a:pt x="836" y="59"/>
                  </a:lnTo>
                  <a:lnTo>
                    <a:pt x="839" y="59"/>
                  </a:lnTo>
                  <a:lnTo>
                    <a:pt x="841" y="59"/>
                  </a:lnTo>
                  <a:lnTo>
                    <a:pt x="841" y="57"/>
                  </a:lnTo>
                  <a:lnTo>
                    <a:pt x="841" y="57"/>
                  </a:lnTo>
                  <a:lnTo>
                    <a:pt x="841" y="57"/>
                  </a:lnTo>
                  <a:lnTo>
                    <a:pt x="844" y="59"/>
                  </a:lnTo>
                  <a:lnTo>
                    <a:pt x="844" y="59"/>
                  </a:lnTo>
                  <a:lnTo>
                    <a:pt x="844" y="59"/>
                  </a:lnTo>
                  <a:lnTo>
                    <a:pt x="844" y="62"/>
                  </a:lnTo>
                  <a:lnTo>
                    <a:pt x="844" y="65"/>
                  </a:lnTo>
                  <a:lnTo>
                    <a:pt x="841" y="65"/>
                  </a:lnTo>
                  <a:lnTo>
                    <a:pt x="841" y="67"/>
                  </a:lnTo>
                  <a:lnTo>
                    <a:pt x="839" y="67"/>
                  </a:lnTo>
                  <a:lnTo>
                    <a:pt x="841" y="67"/>
                  </a:lnTo>
                  <a:lnTo>
                    <a:pt x="841" y="67"/>
                  </a:lnTo>
                  <a:lnTo>
                    <a:pt x="841" y="70"/>
                  </a:lnTo>
                  <a:lnTo>
                    <a:pt x="841" y="70"/>
                  </a:lnTo>
                  <a:lnTo>
                    <a:pt x="841" y="70"/>
                  </a:lnTo>
                  <a:lnTo>
                    <a:pt x="839" y="73"/>
                  </a:lnTo>
                  <a:lnTo>
                    <a:pt x="839" y="73"/>
                  </a:lnTo>
                  <a:lnTo>
                    <a:pt x="839" y="75"/>
                  </a:lnTo>
                  <a:lnTo>
                    <a:pt x="836" y="75"/>
                  </a:lnTo>
                  <a:lnTo>
                    <a:pt x="836" y="78"/>
                  </a:lnTo>
                  <a:lnTo>
                    <a:pt x="833" y="78"/>
                  </a:lnTo>
                  <a:lnTo>
                    <a:pt x="833" y="78"/>
                  </a:lnTo>
                  <a:lnTo>
                    <a:pt x="833" y="78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31" y="81"/>
                  </a:lnTo>
                  <a:lnTo>
                    <a:pt x="828" y="81"/>
                  </a:lnTo>
                  <a:lnTo>
                    <a:pt x="825" y="81"/>
                  </a:lnTo>
                  <a:lnTo>
                    <a:pt x="825" y="81"/>
                  </a:lnTo>
                  <a:lnTo>
                    <a:pt x="823" y="81"/>
                  </a:lnTo>
                  <a:lnTo>
                    <a:pt x="823" y="81"/>
                  </a:lnTo>
                  <a:lnTo>
                    <a:pt x="825" y="83"/>
                  </a:lnTo>
                  <a:lnTo>
                    <a:pt x="825" y="83"/>
                  </a:lnTo>
                  <a:lnTo>
                    <a:pt x="825" y="86"/>
                  </a:lnTo>
                  <a:lnTo>
                    <a:pt x="825" y="86"/>
                  </a:lnTo>
                  <a:lnTo>
                    <a:pt x="828" y="86"/>
                  </a:lnTo>
                  <a:lnTo>
                    <a:pt x="828" y="89"/>
                  </a:lnTo>
                  <a:lnTo>
                    <a:pt x="828" y="91"/>
                  </a:lnTo>
                  <a:lnTo>
                    <a:pt x="828" y="89"/>
                  </a:lnTo>
                  <a:lnTo>
                    <a:pt x="831" y="89"/>
                  </a:lnTo>
                  <a:lnTo>
                    <a:pt x="831" y="89"/>
                  </a:lnTo>
                  <a:lnTo>
                    <a:pt x="831" y="89"/>
                  </a:lnTo>
                  <a:lnTo>
                    <a:pt x="833" y="89"/>
                  </a:lnTo>
                  <a:lnTo>
                    <a:pt x="833" y="89"/>
                  </a:lnTo>
                  <a:lnTo>
                    <a:pt x="833" y="89"/>
                  </a:lnTo>
                  <a:lnTo>
                    <a:pt x="836" y="89"/>
                  </a:lnTo>
                  <a:lnTo>
                    <a:pt x="836" y="89"/>
                  </a:lnTo>
                  <a:lnTo>
                    <a:pt x="836" y="89"/>
                  </a:lnTo>
                  <a:lnTo>
                    <a:pt x="836" y="91"/>
                  </a:lnTo>
                  <a:lnTo>
                    <a:pt x="836" y="94"/>
                  </a:lnTo>
                  <a:lnTo>
                    <a:pt x="833" y="94"/>
                  </a:lnTo>
                  <a:lnTo>
                    <a:pt x="833" y="97"/>
                  </a:lnTo>
                  <a:lnTo>
                    <a:pt x="831" y="97"/>
                  </a:lnTo>
                  <a:lnTo>
                    <a:pt x="831" y="94"/>
                  </a:lnTo>
                  <a:lnTo>
                    <a:pt x="831" y="94"/>
                  </a:lnTo>
                  <a:lnTo>
                    <a:pt x="831" y="94"/>
                  </a:lnTo>
                  <a:lnTo>
                    <a:pt x="831" y="91"/>
                  </a:lnTo>
                  <a:lnTo>
                    <a:pt x="828" y="94"/>
                  </a:lnTo>
                  <a:lnTo>
                    <a:pt x="828" y="94"/>
                  </a:lnTo>
                  <a:lnTo>
                    <a:pt x="828" y="94"/>
                  </a:lnTo>
                  <a:lnTo>
                    <a:pt x="825" y="91"/>
                  </a:lnTo>
                  <a:lnTo>
                    <a:pt x="828" y="91"/>
                  </a:lnTo>
                  <a:lnTo>
                    <a:pt x="825" y="91"/>
                  </a:lnTo>
                  <a:lnTo>
                    <a:pt x="825" y="91"/>
                  </a:lnTo>
                  <a:lnTo>
                    <a:pt x="823" y="89"/>
                  </a:lnTo>
                  <a:lnTo>
                    <a:pt x="823" y="89"/>
                  </a:lnTo>
                  <a:lnTo>
                    <a:pt x="820" y="89"/>
                  </a:lnTo>
                  <a:lnTo>
                    <a:pt x="820" y="89"/>
                  </a:lnTo>
                  <a:lnTo>
                    <a:pt x="820" y="86"/>
                  </a:lnTo>
                  <a:lnTo>
                    <a:pt x="820" y="86"/>
                  </a:lnTo>
                  <a:lnTo>
                    <a:pt x="820" y="83"/>
                  </a:lnTo>
                  <a:lnTo>
                    <a:pt x="823" y="83"/>
                  </a:lnTo>
                  <a:lnTo>
                    <a:pt x="823" y="83"/>
                  </a:lnTo>
                  <a:lnTo>
                    <a:pt x="820" y="81"/>
                  </a:lnTo>
                  <a:lnTo>
                    <a:pt x="820" y="83"/>
                  </a:lnTo>
                  <a:lnTo>
                    <a:pt x="817" y="83"/>
                  </a:lnTo>
                  <a:lnTo>
                    <a:pt x="817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5" y="83"/>
                  </a:lnTo>
                  <a:lnTo>
                    <a:pt x="817" y="83"/>
                  </a:lnTo>
                  <a:lnTo>
                    <a:pt x="817" y="81"/>
                  </a:lnTo>
                  <a:lnTo>
                    <a:pt x="817" y="81"/>
                  </a:lnTo>
                  <a:lnTo>
                    <a:pt x="817" y="81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7" y="78"/>
                  </a:lnTo>
                  <a:lnTo>
                    <a:pt x="815" y="78"/>
                  </a:lnTo>
                  <a:lnTo>
                    <a:pt x="815" y="81"/>
                  </a:lnTo>
                  <a:lnTo>
                    <a:pt x="815" y="81"/>
                  </a:lnTo>
                  <a:lnTo>
                    <a:pt x="812" y="81"/>
                  </a:lnTo>
                  <a:lnTo>
                    <a:pt x="812" y="83"/>
                  </a:lnTo>
                  <a:lnTo>
                    <a:pt x="809" y="86"/>
                  </a:lnTo>
                  <a:lnTo>
                    <a:pt x="809" y="86"/>
                  </a:lnTo>
                  <a:lnTo>
                    <a:pt x="809" y="89"/>
                  </a:lnTo>
                  <a:lnTo>
                    <a:pt x="809" y="89"/>
                  </a:lnTo>
                  <a:lnTo>
                    <a:pt x="809" y="89"/>
                  </a:lnTo>
                  <a:lnTo>
                    <a:pt x="812" y="89"/>
                  </a:lnTo>
                  <a:lnTo>
                    <a:pt x="812" y="89"/>
                  </a:lnTo>
                  <a:lnTo>
                    <a:pt x="812" y="89"/>
                  </a:lnTo>
                  <a:lnTo>
                    <a:pt x="812" y="91"/>
                  </a:lnTo>
                  <a:lnTo>
                    <a:pt x="812" y="91"/>
                  </a:lnTo>
                  <a:lnTo>
                    <a:pt x="812" y="91"/>
                  </a:lnTo>
                  <a:lnTo>
                    <a:pt x="809" y="91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7" y="89"/>
                  </a:lnTo>
                  <a:lnTo>
                    <a:pt x="804" y="91"/>
                  </a:lnTo>
                  <a:lnTo>
                    <a:pt x="804" y="91"/>
                  </a:lnTo>
                  <a:lnTo>
                    <a:pt x="801" y="91"/>
                  </a:lnTo>
                  <a:lnTo>
                    <a:pt x="801" y="94"/>
                  </a:lnTo>
                  <a:lnTo>
                    <a:pt x="801" y="94"/>
                  </a:lnTo>
                  <a:lnTo>
                    <a:pt x="801" y="94"/>
                  </a:lnTo>
                  <a:lnTo>
                    <a:pt x="801" y="97"/>
                  </a:lnTo>
                  <a:lnTo>
                    <a:pt x="801" y="97"/>
                  </a:lnTo>
                  <a:lnTo>
                    <a:pt x="801" y="97"/>
                  </a:lnTo>
                  <a:lnTo>
                    <a:pt x="801" y="99"/>
                  </a:lnTo>
                  <a:lnTo>
                    <a:pt x="801" y="99"/>
                  </a:lnTo>
                  <a:lnTo>
                    <a:pt x="801" y="102"/>
                  </a:lnTo>
                  <a:lnTo>
                    <a:pt x="801" y="102"/>
                  </a:lnTo>
                  <a:lnTo>
                    <a:pt x="799" y="102"/>
                  </a:lnTo>
                  <a:lnTo>
                    <a:pt x="799" y="105"/>
                  </a:lnTo>
                  <a:lnTo>
                    <a:pt x="799" y="105"/>
                  </a:lnTo>
                  <a:lnTo>
                    <a:pt x="796" y="105"/>
                  </a:lnTo>
                  <a:lnTo>
                    <a:pt x="796" y="107"/>
                  </a:lnTo>
                  <a:lnTo>
                    <a:pt x="796" y="107"/>
                  </a:lnTo>
                  <a:lnTo>
                    <a:pt x="796" y="107"/>
                  </a:lnTo>
                  <a:lnTo>
                    <a:pt x="793" y="110"/>
                  </a:lnTo>
                  <a:lnTo>
                    <a:pt x="793" y="110"/>
                  </a:lnTo>
                  <a:lnTo>
                    <a:pt x="793" y="110"/>
                  </a:lnTo>
                  <a:lnTo>
                    <a:pt x="793" y="113"/>
                  </a:lnTo>
                  <a:lnTo>
                    <a:pt x="793" y="113"/>
                  </a:lnTo>
                  <a:lnTo>
                    <a:pt x="791" y="115"/>
                  </a:lnTo>
                  <a:lnTo>
                    <a:pt x="791" y="115"/>
                  </a:lnTo>
                  <a:lnTo>
                    <a:pt x="788" y="118"/>
                  </a:lnTo>
                  <a:lnTo>
                    <a:pt x="788" y="118"/>
                  </a:lnTo>
                  <a:lnTo>
                    <a:pt x="788" y="118"/>
                  </a:lnTo>
                  <a:lnTo>
                    <a:pt x="785" y="123"/>
                  </a:lnTo>
                  <a:lnTo>
                    <a:pt x="785" y="123"/>
                  </a:lnTo>
                  <a:lnTo>
                    <a:pt x="785" y="126"/>
                  </a:lnTo>
                  <a:lnTo>
                    <a:pt x="785" y="126"/>
                  </a:lnTo>
                  <a:lnTo>
                    <a:pt x="785" y="126"/>
                  </a:lnTo>
                  <a:lnTo>
                    <a:pt x="785" y="129"/>
                  </a:lnTo>
                  <a:lnTo>
                    <a:pt x="785" y="131"/>
                  </a:lnTo>
                  <a:lnTo>
                    <a:pt x="785" y="131"/>
                  </a:lnTo>
                  <a:lnTo>
                    <a:pt x="788" y="131"/>
                  </a:lnTo>
                  <a:lnTo>
                    <a:pt x="788" y="131"/>
                  </a:lnTo>
                  <a:lnTo>
                    <a:pt x="788" y="129"/>
                  </a:lnTo>
                  <a:lnTo>
                    <a:pt x="788" y="126"/>
                  </a:lnTo>
                  <a:lnTo>
                    <a:pt x="788" y="123"/>
                  </a:lnTo>
                  <a:lnTo>
                    <a:pt x="788" y="123"/>
                  </a:lnTo>
                  <a:lnTo>
                    <a:pt x="788" y="123"/>
                  </a:lnTo>
                  <a:lnTo>
                    <a:pt x="788" y="121"/>
                  </a:lnTo>
                  <a:lnTo>
                    <a:pt x="791" y="121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15"/>
                  </a:lnTo>
                  <a:lnTo>
                    <a:pt x="791" y="115"/>
                  </a:lnTo>
                  <a:lnTo>
                    <a:pt x="791" y="118"/>
                  </a:lnTo>
                  <a:lnTo>
                    <a:pt x="791" y="118"/>
                  </a:lnTo>
                  <a:lnTo>
                    <a:pt x="791" y="121"/>
                  </a:lnTo>
                  <a:lnTo>
                    <a:pt x="791" y="123"/>
                  </a:lnTo>
                  <a:lnTo>
                    <a:pt x="791" y="123"/>
                  </a:lnTo>
                  <a:lnTo>
                    <a:pt x="791" y="123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91" y="129"/>
                  </a:lnTo>
                  <a:lnTo>
                    <a:pt x="791" y="129"/>
                  </a:lnTo>
                  <a:lnTo>
                    <a:pt x="791" y="129"/>
                  </a:lnTo>
                  <a:lnTo>
                    <a:pt x="791" y="126"/>
                  </a:lnTo>
                  <a:lnTo>
                    <a:pt x="793" y="123"/>
                  </a:lnTo>
                  <a:lnTo>
                    <a:pt x="793" y="123"/>
                  </a:lnTo>
                  <a:lnTo>
                    <a:pt x="793" y="121"/>
                  </a:lnTo>
                  <a:lnTo>
                    <a:pt x="793" y="118"/>
                  </a:lnTo>
                  <a:lnTo>
                    <a:pt x="793" y="118"/>
                  </a:lnTo>
                  <a:lnTo>
                    <a:pt x="793" y="118"/>
                  </a:lnTo>
                  <a:lnTo>
                    <a:pt x="793" y="115"/>
                  </a:lnTo>
                  <a:lnTo>
                    <a:pt x="793" y="115"/>
                  </a:lnTo>
                  <a:lnTo>
                    <a:pt x="796" y="115"/>
                  </a:lnTo>
                  <a:lnTo>
                    <a:pt x="796" y="118"/>
                  </a:lnTo>
                  <a:lnTo>
                    <a:pt x="796" y="118"/>
                  </a:lnTo>
                  <a:lnTo>
                    <a:pt x="796" y="118"/>
                  </a:lnTo>
                  <a:lnTo>
                    <a:pt x="799" y="118"/>
                  </a:lnTo>
                  <a:lnTo>
                    <a:pt x="799" y="118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1"/>
                  </a:lnTo>
                  <a:lnTo>
                    <a:pt x="799" y="123"/>
                  </a:lnTo>
                  <a:lnTo>
                    <a:pt x="801" y="121"/>
                  </a:lnTo>
                  <a:lnTo>
                    <a:pt x="801" y="121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8"/>
                  </a:lnTo>
                  <a:lnTo>
                    <a:pt x="801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4" y="115"/>
                  </a:lnTo>
                  <a:lnTo>
                    <a:pt x="807" y="115"/>
                  </a:lnTo>
                  <a:lnTo>
                    <a:pt x="809" y="115"/>
                  </a:lnTo>
                  <a:lnTo>
                    <a:pt x="809" y="118"/>
                  </a:lnTo>
                  <a:lnTo>
                    <a:pt x="812" y="118"/>
                  </a:lnTo>
                  <a:lnTo>
                    <a:pt x="815" y="118"/>
                  </a:lnTo>
                  <a:lnTo>
                    <a:pt x="815" y="118"/>
                  </a:lnTo>
                  <a:lnTo>
                    <a:pt x="817" y="118"/>
                  </a:lnTo>
                  <a:lnTo>
                    <a:pt x="820" y="121"/>
                  </a:lnTo>
                  <a:lnTo>
                    <a:pt x="823" y="121"/>
                  </a:lnTo>
                  <a:lnTo>
                    <a:pt x="823" y="121"/>
                  </a:lnTo>
                  <a:lnTo>
                    <a:pt x="825" y="123"/>
                  </a:lnTo>
                  <a:lnTo>
                    <a:pt x="828" y="123"/>
                  </a:lnTo>
                  <a:lnTo>
                    <a:pt x="828" y="123"/>
                  </a:lnTo>
                  <a:lnTo>
                    <a:pt x="828" y="123"/>
                  </a:lnTo>
                  <a:lnTo>
                    <a:pt x="831" y="126"/>
                  </a:lnTo>
                  <a:lnTo>
                    <a:pt x="833" y="126"/>
                  </a:lnTo>
                  <a:lnTo>
                    <a:pt x="833" y="126"/>
                  </a:lnTo>
                  <a:lnTo>
                    <a:pt x="836" y="129"/>
                  </a:lnTo>
                  <a:lnTo>
                    <a:pt x="836" y="129"/>
                  </a:lnTo>
                  <a:lnTo>
                    <a:pt x="836" y="131"/>
                  </a:lnTo>
                  <a:lnTo>
                    <a:pt x="836" y="131"/>
                  </a:lnTo>
                  <a:lnTo>
                    <a:pt x="836" y="134"/>
                  </a:lnTo>
                  <a:lnTo>
                    <a:pt x="836" y="137"/>
                  </a:lnTo>
                  <a:lnTo>
                    <a:pt x="836" y="137"/>
                  </a:lnTo>
                  <a:lnTo>
                    <a:pt x="836" y="139"/>
                  </a:lnTo>
                  <a:lnTo>
                    <a:pt x="836" y="139"/>
                  </a:lnTo>
                  <a:lnTo>
                    <a:pt x="836" y="142"/>
                  </a:lnTo>
                  <a:lnTo>
                    <a:pt x="836" y="142"/>
                  </a:lnTo>
                  <a:lnTo>
                    <a:pt x="836" y="142"/>
                  </a:lnTo>
                  <a:lnTo>
                    <a:pt x="836" y="145"/>
                  </a:lnTo>
                  <a:lnTo>
                    <a:pt x="839" y="142"/>
                  </a:lnTo>
                  <a:lnTo>
                    <a:pt x="839" y="142"/>
                  </a:lnTo>
                  <a:lnTo>
                    <a:pt x="841" y="142"/>
                  </a:lnTo>
                  <a:lnTo>
                    <a:pt x="841" y="142"/>
                  </a:lnTo>
                  <a:lnTo>
                    <a:pt x="841" y="142"/>
                  </a:lnTo>
                  <a:lnTo>
                    <a:pt x="841" y="139"/>
                  </a:lnTo>
                  <a:lnTo>
                    <a:pt x="844" y="139"/>
                  </a:lnTo>
                  <a:lnTo>
                    <a:pt x="844" y="139"/>
                  </a:lnTo>
                  <a:lnTo>
                    <a:pt x="847" y="137"/>
                  </a:lnTo>
                  <a:lnTo>
                    <a:pt x="847" y="137"/>
                  </a:lnTo>
                  <a:lnTo>
                    <a:pt x="849" y="134"/>
                  </a:lnTo>
                  <a:lnTo>
                    <a:pt x="849" y="134"/>
                  </a:lnTo>
                  <a:lnTo>
                    <a:pt x="849" y="134"/>
                  </a:lnTo>
                  <a:lnTo>
                    <a:pt x="852" y="131"/>
                  </a:lnTo>
                  <a:lnTo>
                    <a:pt x="855" y="131"/>
                  </a:lnTo>
                  <a:lnTo>
                    <a:pt x="855" y="131"/>
                  </a:lnTo>
                  <a:lnTo>
                    <a:pt x="857" y="131"/>
                  </a:lnTo>
                  <a:lnTo>
                    <a:pt x="857" y="131"/>
                  </a:lnTo>
                  <a:lnTo>
                    <a:pt x="860" y="131"/>
                  </a:lnTo>
                  <a:lnTo>
                    <a:pt x="860" y="131"/>
                  </a:lnTo>
                  <a:lnTo>
                    <a:pt x="863" y="131"/>
                  </a:lnTo>
                  <a:lnTo>
                    <a:pt x="863" y="134"/>
                  </a:lnTo>
                  <a:lnTo>
                    <a:pt x="865" y="134"/>
                  </a:lnTo>
                  <a:lnTo>
                    <a:pt x="865" y="134"/>
                  </a:lnTo>
                  <a:lnTo>
                    <a:pt x="865" y="137"/>
                  </a:lnTo>
                  <a:lnTo>
                    <a:pt x="868" y="137"/>
                  </a:lnTo>
                  <a:lnTo>
                    <a:pt x="868" y="137"/>
                  </a:lnTo>
                  <a:lnTo>
                    <a:pt x="868" y="139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65" y="142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68" y="142"/>
                  </a:lnTo>
                  <a:lnTo>
                    <a:pt x="871" y="142"/>
                  </a:lnTo>
                  <a:lnTo>
                    <a:pt x="871" y="142"/>
                  </a:lnTo>
                  <a:lnTo>
                    <a:pt x="871" y="145"/>
                  </a:lnTo>
                  <a:lnTo>
                    <a:pt x="871" y="145"/>
                  </a:lnTo>
                  <a:lnTo>
                    <a:pt x="871" y="145"/>
                  </a:lnTo>
                  <a:lnTo>
                    <a:pt x="871" y="147"/>
                  </a:lnTo>
                  <a:lnTo>
                    <a:pt x="871" y="147"/>
                  </a:lnTo>
                  <a:lnTo>
                    <a:pt x="871" y="147"/>
                  </a:lnTo>
                  <a:lnTo>
                    <a:pt x="871" y="150"/>
                  </a:lnTo>
                  <a:lnTo>
                    <a:pt x="871" y="150"/>
                  </a:lnTo>
                  <a:lnTo>
                    <a:pt x="871" y="150"/>
                  </a:lnTo>
                  <a:lnTo>
                    <a:pt x="873" y="150"/>
                  </a:lnTo>
                  <a:lnTo>
                    <a:pt x="873" y="150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6" y="153"/>
                  </a:lnTo>
                  <a:lnTo>
                    <a:pt x="876" y="153"/>
                  </a:lnTo>
                  <a:lnTo>
                    <a:pt x="873" y="153"/>
                  </a:lnTo>
                  <a:lnTo>
                    <a:pt x="873" y="153"/>
                  </a:lnTo>
                  <a:lnTo>
                    <a:pt x="871" y="153"/>
                  </a:lnTo>
                  <a:lnTo>
                    <a:pt x="871" y="153"/>
                  </a:lnTo>
                  <a:lnTo>
                    <a:pt x="868" y="153"/>
                  </a:lnTo>
                  <a:lnTo>
                    <a:pt x="868" y="153"/>
                  </a:lnTo>
                  <a:lnTo>
                    <a:pt x="865" y="147"/>
                  </a:lnTo>
                  <a:lnTo>
                    <a:pt x="865" y="145"/>
                  </a:lnTo>
                  <a:lnTo>
                    <a:pt x="865" y="145"/>
                  </a:lnTo>
                  <a:lnTo>
                    <a:pt x="865" y="145"/>
                  </a:lnTo>
                  <a:lnTo>
                    <a:pt x="863" y="142"/>
                  </a:lnTo>
                  <a:lnTo>
                    <a:pt x="863" y="142"/>
                  </a:lnTo>
                  <a:lnTo>
                    <a:pt x="860" y="142"/>
                  </a:lnTo>
                  <a:lnTo>
                    <a:pt x="860" y="142"/>
                  </a:lnTo>
                  <a:lnTo>
                    <a:pt x="857" y="142"/>
                  </a:lnTo>
                  <a:lnTo>
                    <a:pt x="855" y="142"/>
                  </a:lnTo>
                  <a:lnTo>
                    <a:pt x="855" y="139"/>
                  </a:lnTo>
                  <a:lnTo>
                    <a:pt x="855" y="139"/>
                  </a:lnTo>
                  <a:lnTo>
                    <a:pt x="852" y="139"/>
                  </a:lnTo>
                  <a:lnTo>
                    <a:pt x="849" y="142"/>
                  </a:lnTo>
                  <a:lnTo>
                    <a:pt x="849" y="142"/>
                  </a:lnTo>
                  <a:lnTo>
                    <a:pt x="849" y="145"/>
                  </a:lnTo>
                  <a:lnTo>
                    <a:pt x="849" y="145"/>
                  </a:lnTo>
                  <a:lnTo>
                    <a:pt x="849" y="147"/>
                  </a:lnTo>
                  <a:lnTo>
                    <a:pt x="849" y="147"/>
                  </a:lnTo>
                  <a:lnTo>
                    <a:pt x="847" y="147"/>
                  </a:lnTo>
                  <a:lnTo>
                    <a:pt x="847" y="147"/>
                  </a:lnTo>
                  <a:lnTo>
                    <a:pt x="849" y="147"/>
                  </a:lnTo>
                  <a:lnTo>
                    <a:pt x="852" y="147"/>
                  </a:lnTo>
                  <a:lnTo>
                    <a:pt x="852" y="147"/>
                  </a:lnTo>
                  <a:lnTo>
                    <a:pt x="852" y="150"/>
                  </a:lnTo>
                  <a:lnTo>
                    <a:pt x="855" y="153"/>
                  </a:lnTo>
                  <a:lnTo>
                    <a:pt x="855" y="153"/>
                  </a:lnTo>
                  <a:lnTo>
                    <a:pt x="852" y="153"/>
                  </a:lnTo>
                  <a:lnTo>
                    <a:pt x="855" y="155"/>
                  </a:lnTo>
                  <a:lnTo>
                    <a:pt x="855" y="155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5" y="158"/>
                  </a:lnTo>
                  <a:lnTo>
                    <a:pt x="857" y="158"/>
                  </a:lnTo>
                  <a:lnTo>
                    <a:pt x="860" y="161"/>
                  </a:lnTo>
                  <a:lnTo>
                    <a:pt x="860" y="161"/>
                  </a:lnTo>
                  <a:lnTo>
                    <a:pt x="860" y="164"/>
                  </a:lnTo>
                  <a:lnTo>
                    <a:pt x="860" y="164"/>
                  </a:lnTo>
                  <a:lnTo>
                    <a:pt x="857" y="166"/>
                  </a:lnTo>
                  <a:lnTo>
                    <a:pt x="857" y="166"/>
                  </a:lnTo>
                  <a:lnTo>
                    <a:pt x="857" y="166"/>
                  </a:lnTo>
                  <a:lnTo>
                    <a:pt x="855" y="166"/>
                  </a:lnTo>
                  <a:lnTo>
                    <a:pt x="855" y="164"/>
                  </a:lnTo>
                  <a:lnTo>
                    <a:pt x="855" y="164"/>
                  </a:lnTo>
                  <a:lnTo>
                    <a:pt x="855" y="161"/>
                  </a:lnTo>
                  <a:lnTo>
                    <a:pt x="852" y="161"/>
                  </a:lnTo>
                  <a:lnTo>
                    <a:pt x="852" y="161"/>
                  </a:lnTo>
                  <a:lnTo>
                    <a:pt x="852" y="161"/>
                  </a:lnTo>
                  <a:lnTo>
                    <a:pt x="849" y="161"/>
                  </a:lnTo>
                  <a:lnTo>
                    <a:pt x="849" y="161"/>
                  </a:lnTo>
                  <a:lnTo>
                    <a:pt x="847" y="161"/>
                  </a:lnTo>
                  <a:lnTo>
                    <a:pt x="847" y="161"/>
                  </a:lnTo>
                  <a:lnTo>
                    <a:pt x="844" y="158"/>
                  </a:lnTo>
                  <a:lnTo>
                    <a:pt x="844" y="158"/>
                  </a:lnTo>
                  <a:lnTo>
                    <a:pt x="841" y="155"/>
                  </a:lnTo>
                  <a:lnTo>
                    <a:pt x="844" y="155"/>
                  </a:lnTo>
                  <a:lnTo>
                    <a:pt x="844" y="155"/>
                  </a:lnTo>
                  <a:lnTo>
                    <a:pt x="847" y="155"/>
                  </a:lnTo>
                  <a:lnTo>
                    <a:pt x="844" y="155"/>
                  </a:lnTo>
                  <a:lnTo>
                    <a:pt x="841" y="155"/>
                  </a:lnTo>
                  <a:lnTo>
                    <a:pt x="841" y="155"/>
                  </a:lnTo>
                  <a:lnTo>
                    <a:pt x="839" y="153"/>
                  </a:lnTo>
                  <a:lnTo>
                    <a:pt x="836" y="153"/>
                  </a:lnTo>
                  <a:lnTo>
                    <a:pt x="836" y="153"/>
                  </a:lnTo>
                  <a:lnTo>
                    <a:pt x="833" y="153"/>
                  </a:lnTo>
                  <a:lnTo>
                    <a:pt x="833" y="155"/>
                  </a:lnTo>
                  <a:lnTo>
                    <a:pt x="833" y="155"/>
                  </a:lnTo>
                  <a:lnTo>
                    <a:pt x="831" y="155"/>
                  </a:lnTo>
                  <a:lnTo>
                    <a:pt x="831" y="155"/>
                  </a:lnTo>
                  <a:lnTo>
                    <a:pt x="831" y="155"/>
                  </a:lnTo>
                  <a:lnTo>
                    <a:pt x="828" y="158"/>
                  </a:lnTo>
                  <a:lnTo>
                    <a:pt x="825" y="158"/>
                  </a:lnTo>
                  <a:lnTo>
                    <a:pt x="825" y="158"/>
                  </a:lnTo>
                  <a:lnTo>
                    <a:pt x="825" y="158"/>
                  </a:lnTo>
                  <a:lnTo>
                    <a:pt x="823" y="161"/>
                  </a:lnTo>
                  <a:lnTo>
                    <a:pt x="823" y="161"/>
                  </a:lnTo>
                  <a:lnTo>
                    <a:pt x="820" y="161"/>
                  </a:lnTo>
                  <a:lnTo>
                    <a:pt x="820" y="164"/>
                  </a:lnTo>
                  <a:lnTo>
                    <a:pt x="820" y="164"/>
                  </a:lnTo>
                  <a:lnTo>
                    <a:pt x="817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2" y="164"/>
                  </a:lnTo>
                  <a:lnTo>
                    <a:pt x="812" y="164"/>
                  </a:lnTo>
                  <a:lnTo>
                    <a:pt x="812" y="161"/>
                  </a:lnTo>
                  <a:lnTo>
                    <a:pt x="812" y="158"/>
                  </a:lnTo>
                  <a:lnTo>
                    <a:pt x="812" y="158"/>
                  </a:lnTo>
                  <a:lnTo>
                    <a:pt x="812" y="158"/>
                  </a:lnTo>
                  <a:lnTo>
                    <a:pt x="809" y="155"/>
                  </a:lnTo>
                  <a:lnTo>
                    <a:pt x="809" y="155"/>
                  </a:lnTo>
                  <a:lnTo>
                    <a:pt x="809" y="153"/>
                  </a:lnTo>
                  <a:lnTo>
                    <a:pt x="812" y="153"/>
                  </a:lnTo>
                  <a:lnTo>
                    <a:pt x="812" y="150"/>
                  </a:lnTo>
                  <a:lnTo>
                    <a:pt x="812" y="153"/>
                  </a:lnTo>
                  <a:lnTo>
                    <a:pt x="815" y="153"/>
                  </a:lnTo>
                  <a:lnTo>
                    <a:pt x="812" y="150"/>
                  </a:lnTo>
                  <a:lnTo>
                    <a:pt x="809" y="150"/>
                  </a:lnTo>
                  <a:lnTo>
                    <a:pt x="809" y="150"/>
                  </a:lnTo>
                  <a:lnTo>
                    <a:pt x="807" y="147"/>
                  </a:lnTo>
                  <a:lnTo>
                    <a:pt x="807" y="147"/>
                  </a:lnTo>
                  <a:lnTo>
                    <a:pt x="804" y="147"/>
                  </a:lnTo>
                  <a:lnTo>
                    <a:pt x="804" y="147"/>
                  </a:lnTo>
                  <a:lnTo>
                    <a:pt x="801" y="147"/>
                  </a:lnTo>
                  <a:lnTo>
                    <a:pt x="801" y="147"/>
                  </a:lnTo>
                  <a:lnTo>
                    <a:pt x="801" y="145"/>
                  </a:lnTo>
                  <a:lnTo>
                    <a:pt x="799" y="145"/>
                  </a:lnTo>
                  <a:lnTo>
                    <a:pt x="796" y="145"/>
                  </a:lnTo>
                  <a:lnTo>
                    <a:pt x="796" y="145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6" y="142"/>
                  </a:lnTo>
                  <a:lnTo>
                    <a:pt x="793" y="142"/>
                  </a:lnTo>
                  <a:lnTo>
                    <a:pt x="793" y="142"/>
                  </a:lnTo>
                  <a:lnTo>
                    <a:pt x="791" y="142"/>
                  </a:lnTo>
                  <a:lnTo>
                    <a:pt x="791" y="142"/>
                  </a:lnTo>
                  <a:lnTo>
                    <a:pt x="788" y="142"/>
                  </a:lnTo>
                  <a:lnTo>
                    <a:pt x="788" y="142"/>
                  </a:lnTo>
                  <a:lnTo>
                    <a:pt x="785" y="142"/>
                  </a:lnTo>
                  <a:lnTo>
                    <a:pt x="785" y="142"/>
                  </a:lnTo>
                  <a:lnTo>
                    <a:pt x="783" y="142"/>
                  </a:lnTo>
                  <a:lnTo>
                    <a:pt x="783" y="142"/>
                  </a:lnTo>
                  <a:lnTo>
                    <a:pt x="780" y="139"/>
                  </a:lnTo>
                  <a:lnTo>
                    <a:pt x="777" y="139"/>
                  </a:lnTo>
                  <a:lnTo>
                    <a:pt x="777" y="139"/>
                  </a:lnTo>
                  <a:lnTo>
                    <a:pt x="775" y="137"/>
                  </a:lnTo>
                  <a:lnTo>
                    <a:pt x="775" y="137"/>
                  </a:lnTo>
                  <a:lnTo>
                    <a:pt x="772" y="134"/>
                  </a:lnTo>
                  <a:lnTo>
                    <a:pt x="769" y="134"/>
                  </a:lnTo>
                  <a:lnTo>
                    <a:pt x="767" y="131"/>
                  </a:lnTo>
                  <a:lnTo>
                    <a:pt x="767" y="131"/>
                  </a:lnTo>
                  <a:lnTo>
                    <a:pt x="764" y="129"/>
                  </a:lnTo>
                  <a:lnTo>
                    <a:pt x="761" y="129"/>
                  </a:lnTo>
                  <a:lnTo>
                    <a:pt x="761" y="126"/>
                  </a:lnTo>
                  <a:lnTo>
                    <a:pt x="759" y="126"/>
                  </a:lnTo>
                  <a:lnTo>
                    <a:pt x="759" y="123"/>
                  </a:lnTo>
                  <a:lnTo>
                    <a:pt x="761" y="123"/>
                  </a:lnTo>
                  <a:lnTo>
                    <a:pt x="761" y="123"/>
                  </a:lnTo>
                  <a:lnTo>
                    <a:pt x="761" y="123"/>
                  </a:lnTo>
                  <a:lnTo>
                    <a:pt x="764" y="123"/>
                  </a:lnTo>
                  <a:lnTo>
                    <a:pt x="764" y="123"/>
                  </a:lnTo>
                  <a:lnTo>
                    <a:pt x="764" y="123"/>
                  </a:lnTo>
                  <a:lnTo>
                    <a:pt x="761" y="121"/>
                  </a:lnTo>
                  <a:lnTo>
                    <a:pt x="761" y="121"/>
                  </a:lnTo>
                  <a:lnTo>
                    <a:pt x="759" y="121"/>
                  </a:lnTo>
                  <a:lnTo>
                    <a:pt x="759" y="121"/>
                  </a:lnTo>
                  <a:lnTo>
                    <a:pt x="756" y="121"/>
                  </a:lnTo>
                  <a:lnTo>
                    <a:pt x="756" y="121"/>
                  </a:lnTo>
                  <a:lnTo>
                    <a:pt x="753" y="121"/>
                  </a:lnTo>
                  <a:lnTo>
                    <a:pt x="753" y="121"/>
                  </a:lnTo>
                  <a:lnTo>
                    <a:pt x="751" y="121"/>
                  </a:lnTo>
                  <a:lnTo>
                    <a:pt x="748" y="121"/>
                  </a:lnTo>
                  <a:lnTo>
                    <a:pt x="748" y="121"/>
                  </a:lnTo>
                  <a:lnTo>
                    <a:pt x="745" y="121"/>
                  </a:lnTo>
                  <a:lnTo>
                    <a:pt x="743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0" y="121"/>
                  </a:lnTo>
                  <a:lnTo>
                    <a:pt x="743" y="121"/>
                  </a:lnTo>
                  <a:lnTo>
                    <a:pt x="743" y="123"/>
                  </a:lnTo>
                  <a:lnTo>
                    <a:pt x="745" y="123"/>
                  </a:lnTo>
                  <a:lnTo>
                    <a:pt x="745" y="126"/>
                  </a:lnTo>
                  <a:lnTo>
                    <a:pt x="748" y="126"/>
                  </a:lnTo>
                  <a:lnTo>
                    <a:pt x="748" y="129"/>
                  </a:lnTo>
                  <a:lnTo>
                    <a:pt x="748" y="129"/>
                  </a:lnTo>
                  <a:lnTo>
                    <a:pt x="748" y="129"/>
                  </a:lnTo>
                  <a:lnTo>
                    <a:pt x="748" y="131"/>
                  </a:lnTo>
                  <a:lnTo>
                    <a:pt x="748" y="131"/>
                  </a:lnTo>
                  <a:lnTo>
                    <a:pt x="748" y="134"/>
                  </a:lnTo>
                  <a:lnTo>
                    <a:pt x="745" y="134"/>
                  </a:lnTo>
                  <a:lnTo>
                    <a:pt x="745" y="137"/>
                  </a:lnTo>
                  <a:lnTo>
                    <a:pt x="745" y="137"/>
                  </a:lnTo>
                  <a:lnTo>
                    <a:pt x="745" y="139"/>
                  </a:lnTo>
                  <a:lnTo>
                    <a:pt x="745" y="139"/>
                  </a:lnTo>
                  <a:lnTo>
                    <a:pt x="743" y="139"/>
                  </a:lnTo>
                  <a:lnTo>
                    <a:pt x="743" y="137"/>
                  </a:lnTo>
                  <a:lnTo>
                    <a:pt x="743" y="134"/>
                  </a:lnTo>
                  <a:lnTo>
                    <a:pt x="740" y="134"/>
                  </a:lnTo>
                  <a:lnTo>
                    <a:pt x="740" y="131"/>
                  </a:lnTo>
                  <a:lnTo>
                    <a:pt x="740" y="131"/>
                  </a:lnTo>
                  <a:lnTo>
                    <a:pt x="740" y="129"/>
                  </a:lnTo>
                  <a:lnTo>
                    <a:pt x="737" y="129"/>
                  </a:lnTo>
                  <a:lnTo>
                    <a:pt x="735" y="126"/>
                  </a:lnTo>
                  <a:lnTo>
                    <a:pt x="732" y="126"/>
                  </a:lnTo>
                  <a:lnTo>
                    <a:pt x="732" y="126"/>
                  </a:lnTo>
                  <a:lnTo>
                    <a:pt x="732" y="126"/>
                  </a:lnTo>
                  <a:lnTo>
                    <a:pt x="732" y="123"/>
                  </a:lnTo>
                  <a:lnTo>
                    <a:pt x="732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5" y="123"/>
                  </a:lnTo>
                  <a:lnTo>
                    <a:pt x="737" y="123"/>
                  </a:lnTo>
                  <a:lnTo>
                    <a:pt x="737" y="123"/>
                  </a:lnTo>
                  <a:lnTo>
                    <a:pt x="735" y="123"/>
                  </a:lnTo>
                  <a:lnTo>
                    <a:pt x="732" y="123"/>
                  </a:lnTo>
                  <a:lnTo>
                    <a:pt x="732" y="123"/>
                  </a:lnTo>
                  <a:lnTo>
                    <a:pt x="729" y="123"/>
                  </a:lnTo>
                  <a:lnTo>
                    <a:pt x="729" y="123"/>
                  </a:lnTo>
                  <a:lnTo>
                    <a:pt x="726" y="123"/>
                  </a:lnTo>
                  <a:lnTo>
                    <a:pt x="726" y="123"/>
                  </a:lnTo>
                  <a:lnTo>
                    <a:pt x="726" y="123"/>
                  </a:lnTo>
                  <a:lnTo>
                    <a:pt x="724" y="123"/>
                  </a:lnTo>
                  <a:lnTo>
                    <a:pt x="721" y="123"/>
                  </a:lnTo>
                  <a:lnTo>
                    <a:pt x="721" y="123"/>
                  </a:lnTo>
                  <a:lnTo>
                    <a:pt x="718" y="123"/>
                  </a:lnTo>
                  <a:lnTo>
                    <a:pt x="718" y="121"/>
                  </a:lnTo>
                  <a:lnTo>
                    <a:pt x="716" y="121"/>
                  </a:lnTo>
                  <a:lnTo>
                    <a:pt x="716" y="121"/>
                  </a:lnTo>
                  <a:lnTo>
                    <a:pt x="718" y="121"/>
                  </a:lnTo>
                  <a:lnTo>
                    <a:pt x="716" y="121"/>
                  </a:lnTo>
                  <a:lnTo>
                    <a:pt x="713" y="121"/>
                  </a:lnTo>
                  <a:lnTo>
                    <a:pt x="713" y="123"/>
                  </a:lnTo>
                  <a:lnTo>
                    <a:pt x="710" y="123"/>
                  </a:lnTo>
                  <a:lnTo>
                    <a:pt x="710" y="123"/>
                  </a:lnTo>
                  <a:lnTo>
                    <a:pt x="710" y="123"/>
                  </a:lnTo>
                  <a:lnTo>
                    <a:pt x="708" y="123"/>
                  </a:lnTo>
                  <a:lnTo>
                    <a:pt x="708" y="123"/>
                  </a:lnTo>
                  <a:lnTo>
                    <a:pt x="705" y="126"/>
                  </a:lnTo>
                  <a:lnTo>
                    <a:pt x="702" y="126"/>
                  </a:lnTo>
                  <a:lnTo>
                    <a:pt x="700" y="129"/>
                  </a:lnTo>
                  <a:lnTo>
                    <a:pt x="697" y="129"/>
                  </a:lnTo>
                  <a:lnTo>
                    <a:pt x="694" y="129"/>
                  </a:lnTo>
                  <a:lnTo>
                    <a:pt x="694" y="129"/>
                  </a:lnTo>
                  <a:lnTo>
                    <a:pt x="692" y="129"/>
                  </a:lnTo>
                  <a:lnTo>
                    <a:pt x="692" y="129"/>
                  </a:lnTo>
                  <a:lnTo>
                    <a:pt x="689" y="129"/>
                  </a:lnTo>
                  <a:lnTo>
                    <a:pt x="689" y="129"/>
                  </a:lnTo>
                  <a:lnTo>
                    <a:pt x="686" y="129"/>
                  </a:lnTo>
                  <a:lnTo>
                    <a:pt x="686" y="131"/>
                  </a:lnTo>
                  <a:lnTo>
                    <a:pt x="686" y="131"/>
                  </a:lnTo>
                  <a:lnTo>
                    <a:pt x="684" y="131"/>
                  </a:lnTo>
                  <a:lnTo>
                    <a:pt x="684" y="131"/>
                  </a:lnTo>
                  <a:lnTo>
                    <a:pt x="681" y="134"/>
                  </a:lnTo>
                  <a:lnTo>
                    <a:pt x="681" y="134"/>
                  </a:lnTo>
                  <a:lnTo>
                    <a:pt x="681" y="134"/>
                  </a:lnTo>
                  <a:lnTo>
                    <a:pt x="678" y="134"/>
                  </a:lnTo>
                  <a:lnTo>
                    <a:pt x="673" y="137"/>
                  </a:lnTo>
                  <a:lnTo>
                    <a:pt x="670" y="139"/>
                  </a:lnTo>
                  <a:lnTo>
                    <a:pt x="670" y="139"/>
                  </a:lnTo>
                  <a:lnTo>
                    <a:pt x="668" y="139"/>
                  </a:lnTo>
                  <a:lnTo>
                    <a:pt x="668" y="139"/>
                  </a:lnTo>
                  <a:lnTo>
                    <a:pt x="665" y="142"/>
                  </a:lnTo>
                  <a:lnTo>
                    <a:pt x="665" y="142"/>
                  </a:lnTo>
                  <a:lnTo>
                    <a:pt x="665" y="142"/>
                  </a:lnTo>
                  <a:lnTo>
                    <a:pt x="662" y="142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7" y="145"/>
                  </a:lnTo>
                  <a:lnTo>
                    <a:pt x="654" y="147"/>
                  </a:lnTo>
                  <a:lnTo>
                    <a:pt x="652" y="147"/>
                  </a:lnTo>
                  <a:lnTo>
                    <a:pt x="649" y="147"/>
                  </a:lnTo>
                  <a:lnTo>
                    <a:pt x="649" y="147"/>
                  </a:lnTo>
                  <a:lnTo>
                    <a:pt x="646" y="147"/>
                  </a:lnTo>
                  <a:lnTo>
                    <a:pt x="644" y="147"/>
                  </a:lnTo>
                  <a:lnTo>
                    <a:pt x="641" y="150"/>
                  </a:lnTo>
                  <a:lnTo>
                    <a:pt x="641" y="150"/>
                  </a:lnTo>
                  <a:lnTo>
                    <a:pt x="638" y="150"/>
                  </a:lnTo>
                  <a:lnTo>
                    <a:pt x="636" y="150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5"/>
                  </a:lnTo>
                  <a:lnTo>
                    <a:pt x="636" y="158"/>
                  </a:lnTo>
                  <a:lnTo>
                    <a:pt x="633" y="158"/>
                  </a:lnTo>
                  <a:lnTo>
                    <a:pt x="633" y="158"/>
                  </a:lnTo>
                  <a:lnTo>
                    <a:pt x="630" y="158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28" y="155"/>
                  </a:lnTo>
                  <a:lnTo>
                    <a:pt x="628" y="155"/>
                  </a:lnTo>
                  <a:lnTo>
                    <a:pt x="625" y="155"/>
                  </a:lnTo>
                  <a:lnTo>
                    <a:pt x="625" y="155"/>
                  </a:lnTo>
                  <a:lnTo>
                    <a:pt x="622" y="155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20" y="158"/>
                  </a:lnTo>
                  <a:lnTo>
                    <a:pt x="617" y="161"/>
                  </a:lnTo>
                  <a:lnTo>
                    <a:pt x="620" y="164"/>
                  </a:lnTo>
                  <a:lnTo>
                    <a:pt x="620" y="164"/>
                  </a:lnTo>
                  <a:lnTo>
                    <a:pt x="617" y="164"/>
                  </a:lnTo>
                  <a:lnTo>
                    <a:pt x="620" y="164"/>
                  </a:lnTo>
                  <a:lnTo>
                    <a:pt x="620" y="166"/>
                  </a:lnTo>
                  <a:lnTo>
                    <a:pt x="620" y="166"/>
                  </a:lnTo>
                  <a:lnTo>
                    <a:pt x="620" y="166"/>
                  </a:lnTo>
                  <a:lnTo>
                    <a:pt x="620" y="169"/>
                  </a:lnTo>
                  <a:lnTo>
                    <a:pt x="620" y="169"/>
                  </a:lnTo>
                  <a:lnTo>
                    <a:pt x="620" y="169"/>
                  </a:lnTo>
                  <a:lnTo>
                    <a:pt x="617" y="166"/>
                  </a:lnTo>
                  <a:lnTo>
                    <a:pt x="614" y="166"/>
                  </a:lnTo>
                  <a:lnTo>
                    <a:pt x="614" y="169"/>
                  </a:lnTo>
                  <a:lnTo>
                    <a:pt x="614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9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2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6" y="164"/>
                  </a:lnTo>
                  <a:lnTo>
                    <a:pt x="604" y="164"/>
                  </a:lnTo>
                  <a:lnTo>
                    <a:pt x="604" y="166"/>
                  </a:lnTo>
                  <a:lnTo>
                    <a:pt x="604" y="169"/>
                  </a:lnTo>
                  <a:lnTo>
                    <a:pt x="604" y="169"/>
                  </a:lnTo>
                  <a:lnTo>
                    <a:pt x="604" y="172"/>
                  </a:lnTo>
                  <a:lnTo>
                    <a:pt x="604" y="172"/>
                  </a:lnTo>
                  <a:lnTo>
                    <a:pt x="604" y="174"/>
                  </a:lnTo>
                  <a:lnTo>
                    <a:pt x="604" y="174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77"/>
                  </a:lnTo>
                  <a:lnTo>
                    <a:pt x="606" y="180"/>
                  </a:lnTo>
                  <a:lnTo>
                    <a:pt x="604" y="180"/>
                  </a:lnTo>
                  <a:lnTo>
                    <a:pt x="604" y="177"/>
                  </a:lnTo>
                  <a:lnTo>
                    <a:pt x="604" y="177"/>
                  </a:lnTo>
                  <a:lnTo>
                    <a:pt x="601" y="174"/>
                  </a:lnTo>
                  <a:lnTo>
                    <a:pt x="601" y="172"/>
                  </a:lnTo>
                  <a:lnTo>
                    <a:pt x="601" y="172"/>
                  </a:lnTo>
                  <a:lnTo>
                    <a:pt x="598" y="172"/>
                  </a:lnTo>
                  <a:lnTo>
                    <a:pt x="598" y="172"/>
                  </a:lnTo>
                  <a:lnTo>
                    <a:pt x="598" y="172"/>
                  </a:lnTo>
                  <a:lnTo>
                    <a:pt x="596" y="172"/>
                  </a:lnTo>
                  <a:lnTo>
                    <a:pt x="596" y="172"/>
                  </a:lnTo>
                  <a:lnTo>
                    <a:pt x="593" y="172"/>
                  </a:lnTo>
                  <a:lnTo>
                    <a:pt x="593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88" y="169"/>
                  </a:lnTo>
                  <a:lnTo>
                    <a:pt x="588" y="172"/>
                  </a:lnTo>
                  <a:lnTo>
                    <a:pt x="585" y="172"/>
                  </a:lnTo>
                  <a:lnTo>
                    <a:pt x="585" y="172"/>
                  </a:lnTo>
                  <a:lnTo>
                    <a:pt x="582" y="172"/>
                  </a:lnTo>
                  <a:lnTo>
                    <a:pt x="580" y="172"/>
                  </a:lnTo>
                  <a:lnTo>
                    <a:pt x="580" y="174"/>
                  </a:lnTo>
                  <a:lnTo>
                    <a:pt x="580" y="177"/>
                  </a:lnTo>
                  <a:lnTo>
                    <a:pt x="577" y="177"/>
                  </a:lnTo>
                  <a:lnTo>
                    <a:pt x="577" y="177"/>
                  </a:lnTo>
                  <a:lnTo>
                    <a:pt x="577" y="177"/>
                  </a:lnTo>
                  <a:lnTo>
                    <a:pt x="574" y="177"/>
                  </a:lnTo>
                  <a:lnTo>
                    <a:pt x="574" y="177"/>
                  </a:lnTo>
                  <a:lnTo>
                    <a:pt x="574" y="177"/>
                  </a:lnTo>
                  <a:lnTo>
                    <a:pt x="574" y="180"/>
                  </a:lnTo>
                  <a:lnTo>
                    <a:pt x="572" y="180"/>
                  </a:lnTo>
                  <a:lnTo>
                    <a:pt x="572" y="180"/>
                  </a:lnTo>
                  <a:lnTo>
                    <a:pt x="569" y="182"/>
                  </a:lnTo>
                  <a:lnTo>
                    <a:pt x="566" y="182"/>
                  </a:lnTo>
                  <a:lnTo>
                    <a:pt x="566" y="185"/>
                  </a:lnTo>
                  <a:lnTo>
                    <a:pt x="566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4" y="185"/>
                  </a:lnTo>
                  <a:lnTo>
                    <a:pt x="561" y="185"/>
                  </a:lnTo>
                  <a:lnTo>
                    <a:pt x="561" y="185"/>
                  </a:lnTo>
                  <a:lnTo>
                    <a:pt x="561" y="185"/>
                  </a:lnTo>
                  <a:lnTo>
                    <a:pt x="561" y="182"/>
                  </a:lnTo>
                  <a:lnTo>
                    <a:pt x="561" y="182"/>
                  </a:lnTo>
                  <a:lnTo>
                    <a:pt x="558" y="182"/>
                  </a:lnTo>
                  <a:lnTo>
                    <a:pt x="558" y="180"/>
                  </a:lnTo>
                  <a:lnTo>
                    <a:pt x="556" y="180"/>
                  </a:lnTo>
                  <a:lnTo>
                    <a:pt x="556" y="180"/>
                  </a:lnTo>
                  <a:lnTo>
                    <a:pt x="553" y="180"/>
                  </a:lnTo>
                  <a:lnTo>
                    <a:pt x="553" y="180"/>
                  </a:lnTo>
                  <a:lnTo>
                    <a:pt x="553" y="177"/>
                  </a:lnTo>
                  <a:lnTo>
                    <a:pt x="550" y="177"/>
                  </a:lnTo>
                  <a:lnTo>
                    <a:pt x="548" y="177"/>
                  </a:lnTo>
                  <a:lnTo>
                    <a:pt x="545" y="177"/>
                  </a:lnTo>
                  <a:lnTo>
                    <a:pt x="542" y="177"/>
                  </a:lnTo>
                  <a:lnTo>
                    <a:pt x="540" y="177"/>
                  </a:lnTo>
                  <a:lnTo>
                    <a:pt x="540" y="180"/>
                  </a:lnTo>
                  <a:lnTo>
                    <a:pt x="537" y="180"/>
                  </a:lnTo>
                  <a:lnTo>
                    <a:pt x="540" y="180"/>
                  </a:lnTo>
                  <a:lnTo>
                    <a:pt x="537" y="180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4" y="182"/>
                  </a:lnTo>
                  <a:lnTo>
                    <a:pt x="532" y="185"/>
                  </a:lnTo>
                  <a:lnTo>
                    <a:pt x="532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9" y="185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6" y="188"/>
                  </a:lnTo>
                  <a:lnTo>
                    <a:pt x="524" y="188"/>
                  </a:lnTo>
                  <a:lnTo>
                    <a:pt x="524" y="188"/>
                  </a:lnTo>
                  <a:lnTo>
                    <a:pt x="521" y="188"/>
                  </a:lnTo>
                  <a:lnTo>
                    <a:pt x="521" y="188"/>
                  </a:lnTo>
                  <a:lnTo>
                    <a:pt x="521" y="185"/>
                  </a:lnTo>
                  <a:lnTo>
                    <a:pt x="521" y="185"/>
                  </a:lnTo>
                  <a:lnTo>
                    <a:pt x="518" y="188"/>
                  </a:lnTo>
                  <a:lnTo>
                    <a:pt x="516" y="188"/>
                  </a:lnTo>
                  <a:lnTo>
                    <a:pt x="516" y="185"/>
                  </a:lnTo>
                  <a:lnTo>
                    <a:pt x="513" y="185"/>
                  </a:lnTo>
                  <a:lnTo>
                    <a:pt x="513" y="188"/>
                  </a:lnTo>
                  <a:lnTo>
                    <a:pt x="513" y="190"/>
                  </a:lnTo>
                  <a:lnTo>
                    <a:pt x="513" y="190"/>
                  </a:lnTo>
                  <a:lnTo>
                    <a:pt x="513" y="193"/>
                  </a:lnTo>
                  <a:lnTo>
                    <a:pt x="510" y="193"/>
                  </a:lnTo>
                  <a:lnTo>
                    <a:pt x="510" y="196"/>
                  </a:lnTo>
                  <a:lnTo>
                    <a:pt x="510" y="196"/>
                  </a:lnTo>
                  <a:lnTo>
                    <a:pt x="508" y="196"/>
                  </a:lnTo>
                  <a:lnTo>
                    <a:pt x="508" y="198"/>
                  </a:lnTo>
                  <a:lnTo>
                    <a:pt x="505" y="198"/>
                  </a:lnTo>
                  <a:lnTo>
                    <a:pt x="505" y="198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500" y="201"/>
                  </a:lnTo>
                  <a:lnTo>
                    <a:pt x="497" y="201"/>
                  </a:lnTo>
                  <a:lnTo>
                    <a:pt x="497" y="201"/>
                  </a:lnTo>
                  <a:lnTo>
                    <a:pt x="494" y="204"/>
                  </a:lnTo>
                  <a:lnTo>
                    <a:pt x="494" y="204"/>
                  </a:lnTo>
                  <a:lnTo>
                    <a:pt x="494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6"/>
                  </a:lnTo>
                  <a:lnTo>
                    <a:pt x="486" y="209"/>
                  </a:lnTo>
                  <a:lnTo>
                    <a:pt x="486" y="209"/>
                  </a:lnTo>
                  <a:lnTo>
                    <a:pt x="483" y="209"/>
                  </a:lnTo>
                  <a:lnTo>
                    <a:pt x="481" y="209"/>
                  </a:lnTo>
                  <a:lnTo>
                    <a:pt x="481" y="206"/>
                  </a:lnTo>
                  <a:lnTo>
                    <a:pt x="478" y="209"/>
                  </a:lnTo>
                  <a:lnTo>
                    <a:pt x="478" y="206"/>
                  </a:lnTo>
                  <a:lnTo>
                    <a:pt x="475" y="206"/>
                  </a:lnTo>
                  <a:lnTo>
                    <a:pt x="475" y="206"/>
                  </a:lnTo>
                  <a:lnTo>
                    <a:pt x="475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78" y="206"/>
                  </a:lnTo>
                  <a:lnTo>
                    <a:pt x="481" y="206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81" y="206"/>
                  </a:lnTo>
                  <a:lnTo>
                    <a:pt x="483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91" y="204"/>
                  </a:lnTo>
                  <a:lnTo>
                    <a:pt x="491" y="201"/>
                  </a:lnTo>
                  <a:lnTo>
                    <a:pt x="489" y="201"/>
                  </a:lnTo>
                  <a:lnTo>
                    <a:pt x="489" y="204"/>
                  </a:lnTo>
                  <a:lnTo>
                    <a:pt x="489" y="204"/>
                  </a:lnTo>
                  <a:lnTo>
                    <a:pt x="486" y="204"/>
                  </a:lnTo>
                  <a:lnTo>
                    <a:pt x="486" y="204"/>
                  </a:lnTo>
                  <a:lnTo>
                    <a:pt x="483" y="204"/>
                  </a:lnTo>
                  <a:lnTo>
                    <a:pt x="481" y="204"/>
                  </a:lnTo>
                  <a:lnTo>
                    <a:pt x="481" y="204"/>
                  </a:lnTo>
                  <a:lnTo>
                    <a:pt x="478" y="204"/>
                  </a:lnTo>
                  <a:lnTo>
                    <a:pt x="478" y="204"/>
                  </a:lnTo>
                  <a:lnTo>
                    <a:pt x="475" y="204"/>
                  </a:lnTo>
                  <a:lnTo>
                    <a:pt x="475" y="204"/>
                  </a:lnTo>
                  <a:lnTo>
                    <a:pt x="475" y="204"/>
                  </a:lnTo>
                  <a:lnTo>
                    <a:pt x="473" y="204"/>
                  </a:lnTo>
                  <a:lnTo>
                    <a:pt x="473" y="204"/>
                  </a:lnTo>
                  <a:lnTo>
                    <a:pt x="470" y="204"/>
                  </a:lnTo>
                  <a:lnTo>
                    <a:pt x="470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2" y="204"/>
                  </a:lnTo>
                  <a:lnTo>
                    <a:pt x="459" y="206"/>
                  </a:lnTo>
                  <a:lnTo>
                    <a:pt x="459" y="206"/>
                  </a:lnTo>
                  <a:lnTo>
                    <a:pt x="457" y="206"/>
                  </a:lnTo>
                  <a:lnTo>
                    <a:pt x="454" y="206"/>
                  </a:lnTo>
                  <a:lnTo>
                    <a:pt x="454" y="206"/>
                  </a:lnTo>
                  <a:lnTo>
                    <a:pt x="454" y="209"/>
                  </a:lnTo>
                  <a:lnTo>
                    <a:pt x="451" y="209"/>
                  </a:lnTo>
                  <a:lnTo>
                    <a:pt x="451" y="209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43" y="214"/>
                  </a:lnTo>
                  <a:lnTo>
                    <a:pt x="443" y="214"/>
                  </a:lnTo>
                  <a:lnTo>
                    <a:pt x="443" y="212"/>
                  </a:lnTo>
                  <a:lnTo>
                    <a:pt x="443" y="212"/>
                  </a:lnTo>
                  <a:lnTo>
                    <a:pt x="443" y="212"/>
                  </a:lnTo>
                  <a:lnTo>
                    <a:pt x="446" y="212"/>
                  </a:lnTo>
                  <a:lnTo>
                    <a:pt x="446" y="209"/>
                  </a:lnTo>
                  <a:lnTo>
                    <a:pt x="443" y="209"/>
                  </a:lnTo>
                  <a:lnTo>
                    <a:pt x="443" y="209"/>
                  </a:lnTo>
                  <a:lnTo>
                    <a:pt x="441" y="209"/>
                  </a:lnTo>
                  <a:lnTo>
                    <a:pt x="438" y="212"/>
                  </a:lnTo>
                  <a:lnTo>
                    <a:pt x="438" y="212"/>
                  </a:lnTo>
                  <a:lnTo>
                    <a:pt x="435" y="212"/>
                  </a:lnTo>
                  <a:lnTo>
                    <a:pt x="435" y="212"/>
                  </a:lnTo>
                  <a:lnTo>
                    <a:pt x="435" y="212"/>
                  </a:lnTo>
                  <a:lnTo>
                    <a:pt x="433" y="212"/>
                  </a:lnTo>
                  <a:lnTo>
                    <a:pt x="430" y="212"/>
                  </a:lnTo>
                  <a:lnTo>
                    <a:pt x="430" y="214"/>
                  </a:lnTo>
                  <a:lnTo>
                    <a:pt x="430" y="214"/>
                  </a:lnTo>
                  <a:lnTo>
                    <a:pt x="427" y="214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7"/>
                  </a:lnTo>
                  <a:lnTo>
                    <a:pt x="422" y="217"/>
                  </a:lnTo>
                  <a:lnTo>
                    <a:pt x="419" y="220"/>
                  </a:lnTo>
                  <a:lnTo>
                    <a:pt x="417" y="220"/>
                  </a:lnTo>
                  <a:lnTo>
                    <a:pt x="417" y="222"/>
                  </a:lnTo>
                  <a:lnTo>
                    <a:pt x="417" y="222"/>
                  </a:lnTo>
                  <a:lnTo>
                    <a:pt x="417" y="225"/>
                  </a:lnTo>
                  <a:lnTo>
                    <a:pt x="417" y="225"/>
                  </a:lnTo>
                  <a:lnTo>
                    <a:pt x="417" y="228"/>
                  </a:lnTo>
                  <a:lnTo>
                    <a:pt x="417" y="228"/>
                  </a:lnTo>
                  <a:lnTo>
                    <a:pt x="417" y="228"/>
                  </a:lnTo>
                  <a:lnTo>
                    <a:pt x="414" y="228"/>
                  </a:lnTo>
                  <a:lnTo>
                    <a:pt x="414" y="228"/>
                  </a:lnTo>
                  <a:lnTo>
                    <a:pt x="411" y="228"/>
                  </a:lnTo>
                  <a:lnTo>
                    <a:pt x="411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6" y="233"/>
                  </a:lnTo>
                  <a:lnTo>
                    <a:pt x="406" y="233"/>
                  </a:lnTo>
                  <a:lnTo>
                    <a:pt x="403" y="233"/>
                  </a:lnTo>
                  <a:lnTo>
                    <a:pt x="403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401" y="236"/>
                  </a:lnTo>
                  <a:lnTo>
                    <a:pt x="398" y="236"/>
                  </a:lnTo>
                  <a:lnTo>
                    <a:pt x="398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3" y="238"/>
                  </a:lnTo>
                  <a:lnTo>
                    <a:pt x="390" y="238"/>
                  </a:lnTo>
                  <a:lnTo>
                    <a:pt x="390" y="241"/>
                  </a:lnTo>
                  <a:lnTo>
                    <a:pt x="390" y="241"/>
                  </a:lnTo>
                  <a:lnTo>
                    <a:pt x="387" y="241"/>
                  </a:lnTo>
                  <a:lnTo>
                    <a:pt x="385" y="241"/>
                  </a:lnTo>
                  <a:lnTo>
                    <a:pt x="385" y="241"/>
                  </a:lnTo>
                  <a:lnTo>
                    <a:pt x="382" y="244"/>
                  </a:lnTo>
                  <a:lnTo>
                    <a:pt x="379" y="244"/>
                  </a:lnTo>
                  <a:lnTo>
                    <a:pt x="379" y="246"/>
                  </a:lnTo>
                  <a:lnTo>
                    <a:pt x="379" y="246"/>
                  </a:lnTo>
                  <a:lnTo>
                    <a:pt x="377" y="246"/>
                  </a:lnTo>
                  <a:lnTo>
                    <a:pt x="377" y="249"/>
                  </a:lnTo>
                  <a:lnTo>
                    <a:pt x="377" y="249"/>
                  </a:lnTo>
                  <a:lnTo>
                    <a:pt x="374" y="249"/>
                  </a:lnTo>
                  <a:lnTo>
                    <a:pt x="374" y="252"/>
                  </a:lnTo>
                  <a:lnTo>
                    <a:pt x="374" y="252"/>
                  </a:lnTo>
                  <a:lnTo>
                    <a:pt x="374" y="252"/>
                  </a:lnTo>
                  <a:lnTo>
                    <a:pt x="371" y="252"/>
                  </a:lnTo>
                  <a:lnTo>
                    <a:pt x="371" y="254"/>
                  </a:lnTo>
                  <a:lnTo>
                    <a:pt x="369" y="254"/>
                  </a:lnTo>
                  <a:lnTo>
                    <a:pt x="369" y="254"/>
                  </a:lnTo>
                  <a:lnTo>
                    <a:pt x="366" y="257"/>
                  </a:lnTo>
                  <a:lnTo>
                    <a:pt x="363" y="257"/>
                  </a:lnTo>
                  <a:lnTo>
                    <a:pt x="363" y="260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58" y="260"/>
                  </a:lnTo>
                  <a:lnTo>
                    <a:pt x="355" y="260"/>
                  </a:lnTo>
                  <a:lnTo>
                    <a:pt x="355" y="262"/>
                  </a:lnTo>
                  <a:lnTo>
                    <a:pt x="353" y="262"/>
                  </a:lnTo>
                  <a:lnTo>
                    <a:pt x="350" y="262"/>
                  </a:lnTo>
                  <a:lnTo>
                    <a:pt x="350" y="262"/>
                  </a:lnTo>
                  <a:lnTo>
                    <a:pt x="347" y="262"/>
                  </a:lnTo>
                  <a:lnTo>
                    <a:pt x="347" y="262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5" y="265"/>
                  </a:lnTo>
                  <a:lnTo>
                    <a:pt x="342" y="265"/>
                  </a:lnTo>
                  <a:lnTo>
                    <a:pt x="342" y="268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42" y="265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7" y="265"/>
                  </a:lnTo>
                  <a:lnTo>
                    <a:pt x="334" y="265"/>
                  </a:lnTo>
                  <a:lnTo>
                    <a:pt x="334" y="262"/>
                  </a:lnTo>
                  <a:lnTo>
                    <a:pt x="331" y="262"/>
                  </a:lnTo>
                  <a:lnTo>
                    <a:pt x="329" y="265"/>
                  </a:lnTo>
                  <a:lnTo>
                    <a:pt x="329" y="268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3" y="270"/>
                  </a:lnTo>
                  <a:lnTo>
                    <a:pt x="323" y="273"/>
                  </a:lnTo>
                  <a:lnTo>
                    <a:pt x="323" y="273"/>
                  </a:lnTo>
                  <a:lnTo>
                    <a:pt x="323" y="276"/>
                  </a:lnTo>
                  <a:lnTo>
                    <a:pt x="323" y="276"/>
                  </a:lnTo>
                  <a:lnTo>
                    <a:pt x="323" y="276"/>
                  </a:lnTo>
                  <a:lnTo>
                    <a:pt x="321" y="278"/>
                  </a:lnTo>
                  <a:lnTo>
                    <a:pt x="321" y="278"/>
                  </a:lnTo>
                  <a:lnTo>
                    <a:pt x="318" y="278"/>
                  </a:lnTo>
                  <a:lnTo>
                    <a:pt x="318" y="281"/>
                  </a:lnTo>
                  <a:lnTo>
                    <a:pt x="318" y="281"/>
                  </a:lnTo>
                  <a:lnTo>
                    <a:pt x="318" y="284"/>
                  </a:lnTo>
                  <a:lnTo>
                    <a:pt x="318" y="284"/>
                  </a:lnTo>
                  <a:lnTo>
                    <a:pt x="318" y="286"/>
                  </a:lnTo>
                  <a:lnTo>
                    <a:pt x="318" y="289"/>
                  </a:lnTo>
                  <a:lnTo>
                    <a:pt x="315" y="289"/>
                  </a:lnTo>
                  <a:lnTo>
                    <a:pt x="315" y="289"/>
                  </a:lnTo>
                  <a:lnTo>
                    <a:pt x="315" y="292"/>
                  </a:lnTo>
                  <a:lnTo>
                    <a:pt x="313" y="292"/>
                  </a:lnTo>
                  <a:lnTo>
                    <a:pt x="313" y="292"/>
                  </a:lnTo>
                  <a:lnTo>
                    <a:pt x="313" y="294"/>
                  </a:lnTo>
                  <a:lnTo>
                    <a:pt x="310" y="294"/>
                  </a:lnTo>
                  <a:lnTo>
                    <a:pt x="310" y="294"/>
                  </a:lnTo>
                  <a:lnTo>
                    <a:pt x="310" y="297"/>
                  </a:lnTo>
                  <a:lnTo>
                    <a:pt x="307" y="297"/>
                  </a:lnTo>
                  <a:lnTo>
                    <a:pt x="307" y="297"/>
                  </a:lnTo>
                  <a:lnTo>
                    <a:pt x="307" y="300"/>
                  </a:lnTo>
                  <a:lnTo>
                    <a:pt x="305" y="300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2" y="302"/>
                  </a:lnTo>
                  <a:lnTo>
                    <a:pt x="302" y="305"/>
                  </a:lnTo>
                  <a:lnTo>
                    <a:pt x="302" y="305"/>
                  </a:lnTo>
                  <a:lnTo>
                    <a:pt x="299" y="305"/>
                  </a:lnTo>
                  <a:lnTo>
                    <a:pt x="299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10"/>
                  </a:lnTo>
                  <a:lnTo>
                    <a:pt x="297" y="310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4" y="316"/>
                  </a:lnTo>
                  <a:lnTo>
                    <a:pt x="291" y="316"/>
                  </a:lnTo>
                  <a:lnTo>
                    <a:pt x="291" y="316"/>
                  </a:lnTo>
                  <a:lnTo>
                    <a:pt x="289" y="316"/>
                  </a:lnTo>
                  <a:lnTo>
                    <a:pt x="289" y="316"/>
                  </a:lnTo>
                  <a:lnTo>
                    <a:pt x="289" y="318"/>
                  </a:lnTo>
                  <a:lnTo>
                    <a:pt x="286" y="318"/>
                  </a:lnTo>
                  <a:lnTo>
                    <a:pt x="286" y="318"/>
                  </a:lnTo>
                  <a:lnTo>
                    <a:pt x="286" y="321"/>
                  </a:lnTo>
                  <a:lnTo>
                    <a:pt x="286" y="321"/>
                  </a:lnTo>
                  <a:lnTo>
                    <a:pt x="283" y="321"/>
                  </a:lnTo>
                  <a:lnTo>
                    <a:pt x="283" y="321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7"/>
                  </a:lnTo>
                  <a:lnTo>
                    <a:pt x="283" y="327"/>
                  </a:lnTo>
                  <a:lnTo>
                    <a:pt x="283" y="327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29"/>
                  </a:lnTo>
                  <a:lnTo>
                    <a:pt x="283" y="332"/>
                  </a:lnTo>
                  <a:lnTo>
                    <a:pt x="283" y="332"/>
                  </a:lnTo>
                  <a:lnTo>
                    <a:pt x="281" y="332"/>
                  </a:lnTo>
                  <a:lnTo>
                    <a:pt x="281" y="332"/>
                  </a:lnTo>
                  <a:lnTo>
                    <a:pt x="281" y="335"/>
                  </a:lnTo>
                  <a:lnTo>
                    <a:pt x="278" y="335"/>
                  </a:lnTo>
                  <a:lnTo>
                    <a:pt x="278" y="335"/>
                  </a:lnTo>
                  <a:lnTo>
                    <a:pt x="278" y="335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37"/>
                  </a:lnTo>
                  <a:lnTo>
                    <a:pt x="278" y="340"/>
                  </a:lnTo>
                  <a:lnTo>
                    <a:pt x="275" y="337"/>
                  </a:lnTo>
                  <a:lnTo>
                    <a:pt x="273" y="337"/>
                  </a:lnTo>
                  <a:lnTo>
                    <a:pt x="273" y="337"/>
                  </a:lnTo>
                  <a:lnTo>
                    <a:pt x="270" y="337"/>
                  </a:lnTo>
                  <a:lnTo>
                    <a:pt x="270" y="337"/>
                  </a:lnTo>
                  <a:lnTo>
                    <a:pt x="267" y="337"/>
                  </a:lnTo>
                  <a:lnTo>
                    <a:pt x="265" y="340"/>
                  </a:lnTo>
                  <a:lnTo>
                    <a:pt x="262" y="340"/>
                  </a:lnTo>
                  <a:lnTo>
                    <a:pt x="262" y="343"/>
                  </a:lnTo>
                  <a:lnTo>
                    <a:pt x="262" y="343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5"/>
                  </a:lnTo>
                  <a:lnTo>
                    <a:pt x="259" y="348"/>
                  </a:lnTo>
                  <a:lnTo>
                    <a:pt x="259" y="351"/>
                  </a:lnTo>
                  <a:lnTo>
                    <a:pt x="262" y="351"/>
                  </a:lnTo>
                  <a:lnTo>
                    <a:pt x="262" y="351"/>
                  </a:lnTo>
                  <a:lnTo>
                    <a:pt x="262" y="351"/>
                  </a:lnTo>
                  <a:lnTo>
                    <a:pt x="262" y="348"/>
                  </a:lnTo>
                  <a:lnTo>
                    <a:pt x="262" y="348"/>
                  </a:lnTo>
                  <a:lnTo>
                    <a:pt x="262" y="345"/>
                  </a:lnTo>
                  <a:lnTo>
                    <a:pt x="265" y="345"/>
                  </a:lnTo>
                  <a:lnTo>
                    <a:pt x="265" y="345"/>
                  </a:lnTo>
                  <a:lnTo>
                    <a:pt x="267" y="345"/>
                  </a:lnTo>
                  <a:lnTo>
                    <a:pt x="267" y="345"/>
                  </a:lnTo>
                  <a:lnTo>
                    <a:pt x="270" y="345"/>
                  </a:lnTo>
                  <a:lnTo>
                    <a:pt x="270" y="345"/>
                  </a:lnTo>
                  <a:lnTo>
                    <a:pt x="273" y="345"/>
                  </a:lnTo>
                  <a:lnTo>
                    <a:pt x="273" y="345"/>
                  </a:lnTo>
                  <a:lnTo>
                    <a:pt x="273" y="348"/>
                  </a:lnTo>
                  <a:lnTo>
                    <a:pt x="275" y="348"/>
                  </a:lnTo>
                  <a:lnTo>
                    <a:pt x="275" y="351"/>
                  </a:lnTo>
                  <a:lnTo>
                    <a:pt x="275" y="351"/>
                  </a:lnTo>
                  <a:lnTo>
                    <a:pt x="273" y="353"/>
                  </a:lnTo>
                  <a:lnTo>
                    <a:pt x="273" y="353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6"/>
                  </a:lnTo>
                  <a:lnTo>
                    <a:pt x="270" y="353"/>
                  </a:lnTo>
                  <a:lnTo>
                    <a:pt x="265" y="353"/>
                  </a:lnTo>
                  <a:lnTo>
                    <a:pt x="265" y="356"/>
                  </a:lnTo>
                  <a:lnTo>
                    <a:pt x="262" y="356"/>
                  </a:lnTo>
                  <a:lnTo>
                    <a:pt x="259" y="359"/>
                  </a:lnTo>
                  <a:lnTo>
                    <a:pt x="257" y="359"/>
                  </a:lnTo>
                  <a:lnTo>
                    <a:pt x="254" y="359"/>
                  </a:lnTo>
                  <a:lnTo>
                    <a:pt x="251" y="359"/>
                  </a:lnTo>
                  <a:lnTo>
                    <a:pt x="248" y="359"/>
                  </a:lnTo>
                  <a:lnTo>
                    <a:pt x="246" y="359"/>
                  </a:lnTo>
                  <a:lnTo>
                    <a:pt x="243" y="359"/>
                  </a:lnTo>
                  <a:lnTo>
                    <a:pt x="243" y="361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38" y="367"/>
                  </a:lnTo>
                  <a:lnTo>
                    <a:pt x="235" y="367"/>
                  </a:lnTo>
                  <a:lnTo>
                    <a:pt x="232" y="369"/>
                  </a:lnTo>
                  <a:lnTo>
                    <a:pt x="232" y="369"/>
                  </a:lnTo>
                  <a:lnTo>
                    <a:pt x="230" y="372"/>
                  </a:lnTo>
                  <a:lnTo>
                    <a:pt x="227" y="375"/>
                  </a:lnTo>
                  <a:lnTo>
                    <a:pt x="224" y="377"/>
                  </a:lnTo>
                  <a:lnTo>
                    <a:pt x="222" y="380"/>
                  </a:lnTo>
                  <a:lnTo>
                    <a:pt x="219" y="380"/>
                  </a:lnTo>
                  <a:lnTo>
                    <a:pt x="216" y="383"/>
                  </a:lnTo>
                  <a:lnTo>
                    <a:pt x="214" y="385"/>
                  </a:lnTo>
                  <a:lnTo>
                    <a:pt x="211" y="385"/>
                  </a:lnTo>
                  <a:lnTo>
                    <a:pt x="208" y="388"/>
                  </a:lnTo>
                  <a:lnTo>
                    <a:pt x="206" y="388"/>
                  </a:lnTo>
                  <a:lnTo>
                    <a:pt x="203" y="391"/>
                  </a:lnTo>
                  <a:lnTo>
                    <a:pt x="200" y="393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195" y="399"/>
                  </a:lnTo>
                  <a:lnTo>
                    <a:pt x="192" y="399"/>
                  </a:lnTo>
                  <a:lnTo>
                    <a:pt x="187" y="404"/>
                  </a:lnTo>
                  <a:lnTo>
                    <a:pt x="187" y="404"/>
                  </a:lnTo>
                  <a:lnTo>
                    <a:pt x="184" y="407"/>
                  </a:lnTo>
                  <a:lnTo>
                    <a:pt x="182" y="407"/>
                  </a:lnTo>
                  <a:lnTo>
                    <a:pt x="182" y="409"/>
                  </a:lnTo>
                  <a:lnTo>
                    <a:pt x="176" y="412"/>
                  </a:lnTo>
                  <a:lnTo>
                    <a:pt x="174" y="412"/>
                  </a:lnTo>
                  <a:lnTo>
                    <a:pt x="174" y="412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9" y="415"/>
                  </a:lnTo>
                  <a:lnTo>
                    <a:pt x="179" y="412"/>
                  </a:lnTo>
                  <a:lnTo>
                    <a:pt x="182" y="412"/>
                  </a:lnTo>
                  <a:lnTo>
                    <a:pt x="184" y="415"/>
                  </a:lnTo>
                  <a:lnTo>
                    <a:pt x="184" y="415"/>
                  </a:lnTo>
                  <a:lnTo>
                    <a:pt x="184" y="417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90" y="423"/>
                  </a:lnTo>
                  <a:lnTo>
                    <a:pt x="190" y="423"/>
                  </a:lnTo>
                  <a:lnTo>
                    <a:pt x="190" y="423"/>
                  </a:lnTo>
                  <a:lnTo>
                    <a:pt x="192" y="423"/>
                  </a:lnTo>
                  <a:lnTo>
                    <a:pt x="195" y="425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0" y="431"/>
                  </a:lnTo>
                  <a:lnTo>
                    <a:pt x="203" y="433"/>
                  </a:lnTo>
                  <a:lnTo>
                    <a:pt x="203" y="433"/>
                  </a:lnTo>
                  <a:lnTo>
                    <a:pt x="206" y="433"/>
                  </a:lnTo>
                  <a:lnTo>
                    <a:pt x="208" y="436"/>
                  </a:lnTo>
                  <a:lnTo>
                    <a:pt x="208" y="436"/>
                  </a:lnTo>
                  <a:lnTo>
                    <a:pt x="208" y="439"/>
                  </a:lnTo>
                  <a:lnTo>
                    <a:pt x="206" y="439"/>
                  </a:lnTo>
                  <a:lnTo>
                    <a:pt x="206" y="441"/>
                  </a:lnTo>
                  <a:lnTo>
                    <a:pt x="206" y="444"/>
                  </a:lnTo>
                  <a:lnTo>
                    <a:pt x="203" y="447"/>
                  </a:lnTo>
                  <a:lnTo>
                    <a:pt x="203" y="447"/>
                  </a:lnTo>
                  <a:lnTo>
                    <a:pt x="206" y="449"/>
                  </a:lnTo>
                  <a:lnTo>
                    <a:pt x="206" y="452"/>
                  </a:lnTo>
                  <a:lnTo>
                    <a:pt x="206" y="455"/>
                  </a:lnTo>
                  <a:lnTo>
                    <a:pt x="208" y="455"/>
                  </a:lnTo>
                  <a:lnTo>
                    <a:pt x="208" y="457"/>
                  </a:lnTo>
                  <a:lnTo>
                    <a:pt x="208" y="457"/>
                  </a:lnTo>
                  <a:lnTo>
                    <a:pt x="211" y="457"/>
                  </a:lnTo>
                  <a:lnTo>
                    <a:pt x="214" y="457"/>
                  </a:lnTo>
                  <a:lnTo>
                    <a:pt x="214" y="457"/>
                  </a:lnTo>
                  <a:lnTo>
                    <a:pt x="216" y="455"/>
                  </a:lnTo>
                  <a:lnTo>
                    <a:pt x="216" y="452"/>
                  </a:lnTo>
                  <a:lnTo>
                    <a:pt x="216" y="449"/>
                  </a:lnTo>
                  <a:lnTo>
                    <a:pt x="216" y="449"/>
                  </a:lnTo>
                  <a:lnTo>
                    <a:pt x="219" y="447"/>
                  </a:lnTo>
                  <a:lnTo>
                    <a:pt x="219" y="447"/>
                  </a:lnTo>
                  <a:lnTo>
                    <a:pt x="222" y="447"/>
                  </a:lnTo>
                  <a:lnTo>
                    <a:pt x="224" y="447"/>
                  </a:lnTo>
                  <a:lnTo>
                    <a:pt x="227" y="447"/>
                  </a:lnTo>
                  <a:lnTo>
                    <a:pt x="230" y="449"/>
                  </a:lnTo>
                  <a:lnTo>
                    <a:pt x="230" y="452"/>
                  </a:lnTo>
                  <a:lnTo>
                    <a:pt x="232" y="452"/>
                  </a:lnTo>
                  <a:lnTo>
                    <a:pt x="235" y="452"/>
                  </a:lnTo>
                  <a:lnTo>
                    <a:pt x="235" y="452"/>
                  </a:lnTo>
                  <a:lnTo>
                    <a:pt x="238" y="452"/>
                  </a:lnTo>
                  <a:lnTo>
                    <a:pt x="238" y="452"/>
                  </a:lnTo>
                  <a:lnTo>
                    <a:pt x="240" y="455"/>
                  </a:lnTo>
                  <a:lnTo>
                    <a:pt x="240" y="455"/>
                  </a:lnTo>
                  <a:lnTo>
                    <a:pt x="243" y="457"/>
                  </a:lnTo>
                  <a:lnTo>
                    <a:pt x="243" y="457"/>
                  </a:lnTo>
                  <a:lnTo>
                    <a:pt x="246" y="457"/>
                  </a:lnTo>
                  <a:lnTo>
                    <a:pt x="248" y="457"/>
                  </a:lnTo>
                  <a:lnTo>
                    <a:pt x="251" y="457"/>
                  </a:lnTo>
                  <a:lnTo>
                    <a:pt x="254" y="460"/>
                  </a:lnTo>
                  <a:lnTo>
                    <a:pt x="257" y="460"/>
                  </a:lnTo>
                  <a:lnTo>
                    <a:pt x="259" y="460"/>
                  </a:lnTo>
                  <a:lnTo>
                    <a:pt x="259" y="463"/>
                  </a:lnTo>
                  <a:lnTo>
                    <a:pt x="259" y="465"/>
                  </a:lnTo>
                  <a:lnTo>
                    <a:pt x="262" y="468"/>
                  </a:lnTo>
                  <a:lnTo>
                    <a:pt x="265" y="468"/>
                  </a:lnTo>
                  <a:lnTo>
                    <a:pt x="265" y="468"/>
                  </a:lnTo>
                  <a:lnTo>
                    <a:pt x="267" y="468"/>
                  </a:lnTo>
                  <a:lnTo>
                    <a:pt x="270" y="468"/>
                  </a:lnTo>
                  <a:lnTo>
                    <a:pt x="270" y="468"/>
                  </a:lnTo>
                  <a:lnTo>
                    <a:pt x="273" y="468"/>
                  </a:lnTo>
                  <a:lnTo>
                    <a:pt x="273" y="471"/>
                  </a:lnTo>
                  <a:lnTo>
                    <a:pt x="275" y="471"/>
                  </a:lnTo>
                  <a:lnTo>
                    <a:pt x="275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81" y="471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8" y="473"/>
                  </a:lnTo>
                  <a:lnTo>
                    <a:pt x="275" y="473"/>
                  </a:lnTo>
                  <a:lnTo>
                    <a:pt x="278" y="476"/>
                  </a:lnTo>
                  <a:lnTo>
                    <a:pt x="278" y="479"/>
                  </a:lnTo>
                  <a:lnTo>
                    <a:pt x="278" y="479"/>
                  </a:lnTo>
                  <a:lnTo>
                    <a:pt x="278" y="481"/>
                  </a:lnTo>
                  <a:lnTo>
                    <a:pt x="278" y="481"/>
                  </a:lnTo>
                  <a:lnTo>
                    <a:pt x="278" y="484"/>
                  </a:lnTo>
                  <a:lnTo>
                    <a:pt x="278" y="490"/>
                  </a:lnTo>
                  <a:lnTo>
                    <a:pt x="278" y="490"/>
                  </a:lnTo>
                  <a:lnTo>
                    <a:pt x="278" y="492"/>
                  </a:lnTo>
                  <a:lnTo>
                    <a:pt x="278" y="492"/>
                  </a:lnTo>
                  <a:lnTo>
                    <a:pt x="281" y="492"/>
                  </a:lnTo>
                  <a:lnTo>
                    <a:pt x="281" y="492"/>
                  </a:lnTo>
                  <a:lnTo>
                    <a:pt x="283" y="495"/>
                  </a:lnTo>
                  <a:lnTo>
                    <a:pt x="283" y="495"/>
                  </a:lnTo>
                  <a:lnTo>
                    <a:pt x="286" y="495"/>
                  </a:lnTo>
                  <a:lnTo>
                    <a:pt x="286" y="498"/>
                  </a:lnTo>
                  <a:lnTo>
                    <a:pt x="289" y="498"/>
                  </a:lnTo>
                  <a:lnTo>
                    <a:pt x="286" y="498"/>
                  </a:lnTo>
                  <a:lnTo>
                    <a:pt x="286" y="498"/>
                  </a:lnTo>
                  <a:lnTo>
                    <a:pt x="283" y="498"/>
                  </a:lnTo>
                  <a:lnTo>
                    <a:pt x="281" y="495"/>
                  </a:lnTo>
                  <a:lnTo>
                    <a:pt x="281" y="495"/>
                  </a:lnTo>
                  <a:lnTo>
                    <a:pt x="278" y="495"/>
                  </a:lnTo>
                  <a:lnTo>
                    <a:pt x="278" y="498"/>
                  </a:lnTo>
                  <a:lnTo>
                    <a:pt x="278" y="498"/>
                  </a:lnTo>
                  <a:lnTo>
                    <a:pt x="278" y="500"/>
                  </a:lnTo>
                  <a:lnTo>
                    <a:pt x="278" y="500"/>
                  </a:lnTo>
                  <a:lnTo>
                    <a:pt x="278" y="503"/>
                  </a:lnTo>
                  <a:lnTo>
                    <a:pt x="278" y="503"/>
                  </a:lnTo>
                  <a:lnTo>
                    <a:pt x="278" y="503"/>
                  </a:lnTo>
                  <a:lnTo>
                    <a:pt x="278" y="506"/>
                  </a:lnTo>
                  <a:lnTo>
                    <a:pt x="281" y="506"/>
                  </a:lnTo>
                  <a:lnTo>
                    <a:pt x="283" y="506"/>
                  </a:lnTo>
                  <a:lnTo>
                    <a:pt x="283" y="503"/>
                  </a:lnTo>
                  <a:lnTo>
                    <a:pt x="283" y="503"/>
                  </a:lnTo>
                  <a:lnTo>
                    <a:pt x="286" y="503"/>
                  </a:lnTo>
                  <a:lnTo>
                    <a:pt x="286" y="506"/>
                  </a:lnTo>
                  <a:lnTo>
                    <a:pt x="286" y="506"/>
                  </a:lnTo>
                  <a:lnTo>
                    <a:pt x="289" y="506"/>
                  </a:lnTo>
                  <a:lnTo>
                    <a:pt x="289" y="506"/>
                  </a:lnTo>
                  <a:lnTo>
                    <a:pt x="289" y="506"/>
                  </a:lnTo>
                  <a:lnTo>
                    <a:pt x="289" y="508"/>
                  </a:lnTo>
                  <a:lnTo>
                    <a:pt x="286" y="508"/>
                  </a:lnTo>
                  <a:lnTo>
                    <a:pt x="286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3" y="508"/>
                  </a:lnTo>
                  <a:lnTo>
                    <a:pt x="281" y="508"/>
                  </a:lnTo>
                  <a:lnTo>
                    <a:pt x="281" y="508"/>
                  </a:lnTo>
                  <a:lnTo>
                    <a:pt x="278" y="511"/>
                  </a:lnTo>
                  <a:lnTo>
                    <a:pt x="275" y="514"/>
                  </a:lnTo>
                  <a:lnTo>
                    <a:pt x="275" y="516"/>
                  </a:lnTo>
                  <a:lnTo>
                    <a:pt x="275" y="516"/>
                  </a:lnTo>
                  <a:lnTo>
                    <a:pt x="275" y="516"/>
                  </a:lnTo>
                  <a:lnTo>
                    <a:pt x="273" y="519"/>
                  </a:lnTo>
                  <a:lnTo>
                    <a:pt x="273" y="519"/>
                  </a:lnTo>
                  <a:lnTo>
                    <a:pt x="273" y="522"/>
                  </a:lnTo>
                  <a:lnTo>
                    <a:pt x="270" y="522"/>
                  </a:lnTo>
                  <a:lnTo>
                    <a:pt x="270" y="524"/>
                  </a:lnTo>
                  <a:lnTo>
                    <a:pt x="270" y="524"/>
                  </a:lnTo>
                  <a:lnTo>
                    <a:pt x="270" y="527"/>
                  </a:lnTo>
                  <a:lnTo>
                    <a:pt x="270" y="527"/>
                  </a:lnTo>
                  <a:lnTo>
                    <a:pt x="267" y="527"/>
                  </a:lnTo>
                  <a:lnTo>
                    <a:pt x="267" y="530"/>
                  </a:lnTo>
                  <a:lnTo>
                    <a:pt x="267" y="530"/>
                  </a:lnTo>
                  <a:lnTo>
                    <a:pt x="267" y="530"/>
                  </a:lnTo>
                  <a:lnTo>
                    <a:pt x="265" y="532"/>
                  </a:lnTo>
                  <a:lnTo>
                    <a:pt x="265" y="532"/>
                  </a:lnTo>
                  <a:lnTo>
                    <a:pt x="265" y="532"/>
                  </a:lnTo>
                  <a:lnTo>
                    <a:pt x="262" y="535"/>
                  </a:lnTo>
                  <a:lnTo>
                    <a:pt x="259" y="535"/>
                  </a:lnTo>
                  <a:lnTo>
                    <a:pt x="259" y="535"/>
                  </a:lnTo>
                  <a:lnTo>
                    <a:pt x="257" y="535"/>
                  </a:lnTo>
                  <a:lnTo>
                    <a:pt x="254" y="535"/>
                  </a:lnTo>
                  <a:lnTo>
                    <a:pt x="251" y="532"/>
                  </a:lnTo>
                  <a:lnTo>
                    <a:pt x="251" y="532"/>
                  </a:lnTo>
                  <a:lnTo>
                    <a:pt x="248" y="530"/>
                  </a:lnTo>
                  <a:lnTo>
                    <a:pt x="246" y="530"/>
                  </a:lnTo>
                  <a:lnTo>
                    <a:pt x="246" y="527"/>
                  </a:lnTo>
                  <a:lnTo>
                    <a:pt x="243" y="527"/>
                  </a:lnTo>
                  <a:lnTo>
                    <a:pt x="243" y="524"/>
                  </a:lnTo>
                  <a:lnTo>
                    <a:pt x="240" y="524"/>
                  </a:lnTo>
                  <a:lnTo>
                    <a:pt x="238" y="524"/>
                  </a:lnTo>
                  <a:lnTo>
                    <a:pt x="238" y="522"/>
                  </a:lnTo>
                  <a:lnTo>
                    <a:pt x="235" y="522"/>
                  </a:lnTo>
                  <a:lnTo>
                    <a:pt x="232" y="522"/>
                  </a:lnTo>
                  <a:lnTo>
                    <a:pt x="230" y="522"/>
                  </a:lnTo>
                  <a:lnTo>
                    <a:pt x="230" y="522"/>
                  </a:lnTo>
                  <a:lnTo>
                    <a:pt x="230" y="522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7" y="524"/>
                  </a:lnTo>
                  <a:lnTo>
                    <a:pt x="224" y="524"/>
                  </a:lnTo>
                  <a:lnTo>
                    <a:pt x="224" y="524"/>
                  </a:lnTo>
                  <a:lnTo>
                    <a:pt x="222" y="524"/>
                  </a:lnTo>
                  <a:lnTo>
                    <a:pt x="219" y="527"/>
                  </a:lnTo>
                  <a:lnTo>
                    <a:pt x="219" y="527"/>
                  </a:lnTo>
                  <a:lnTo>
                    <a:pt x="216" y="527"/>
                  </a:lnTo>
                  <a:lnTo>
                    <a:pt x="216" y="527"/>
                  </a:lnTo>
                  <a:lnTo>
                    <a:pt x="214" y="527"/>
                  </a:lnTo>
                  <a:lnTo>
                    <a:pt x="211" y="527"/>
                  </a:lnTo>
                  <a:lnTo>
                    <a:pt x="211" y="527"/>
                  </a:lnTo>
                  <a:lnTo>
                    <a:pt x="208" y="530"/>
                  </a:lnTo>
                  <a:lnTo>
                    <a:pt x="208" y="530"/>
                  </a:lnTo>
                  <a:lnTo>
                    <a:pt x="206" y="530"/>
                  </a:lnTo>
                  <a:lnTo>
                    <a:pt x="203" y="530"/>
                  </a:lnTo>
                  <a:lnTo>
                    <a:pt x="203" y="532"/>
                  </a:lnTo>
                  <a:lnTo>
                    <a:pt x="200" y="535"/>
                  </a:lnTo>
                  <a:lnTo>
                    <a:pt x="200" y="535"/>
                  </a:lnTo>
                  <a:lnTo>
                    <a:pt x="198" y="538"/>
                  </a:lnTo>
                  <a:lnTo>
                    <a:pt x="198" y="538"/>
                  </a:lnTo>
                  <a:lnTo>
                    <a:pt x="195" y="538"/>
                  </a:lnTo>
                  <a:lnTo>
                    <a:pt x="195" y="538"/>
                  </a:lnTo>
                  <a:lnTo>
                    <a:pt x="192" y="540"/>
                  </a:lnTo>
                  <a:lnTo>
                    <a:pt x="190" y="538"/>
                  </a:lnTo>
                  <a:lnTo>
                    <a:pt x="190" y="538"/>
                  </a:lnTo>
                  <a:lnTo>
                    <a:pt x="187" y="538"/>
                  </a:lnTo>
                  <a:lnTo>
                    <a:pt x="187" y="538"/>
                  </a:lnTo>
                  <a:lnTo>
                    <a:pt x="184" y="535"/>
                  </a:lnTo>
                  <a:lnTo>
                    <a:pt x="182" y="535"/>
                  </a:lnTo>
                  <a:lnTo>
                    <a:pt x="182" y="532"/>
                  </a:lnTo>
                  <a:lnTo>
                    <a:pt x="179" y="532"/>
                  </a:lnTo>
                  <a:lnTo>
                    <a:pt x="176" y="530"/>
                  </a:lnTo>
                  <a:lnTo>
                    <a:pt x="176" y="527"/>
                  </a:lnTo>
                  <a:lnTo>
                    <a:pt x="174" y="527"/>
                  </a:lnTo>
                  <a:lnTo>
                    <a:pt x="174" y="524"/>
                  </a:lnTo>
                  <a:lnTo>
                    <a:pt x="171" y="522"/>
                  </a:lnTo>
                  <a:lnTo>
                    <a:pt x="171" y="522"/>
                  </a:lnTo>
                  <a:lnTo>
                    <a:pt x="171" y="519"/>
                  </a:lnTo>
                  <a:lnTo>
                    <a:pt x="168" y="519"/>
                  </a:lnTo>
                  <a:lnTo>
                    <a:pt x="168" y="519"/>
                  </a:lnTo>
                  <a:lnTo>
                    <a:pt x="166" y="516"/>
                  </a:lnTo>
                  <a:lnTo>
                    <a:pt x="166" y="516"/>
                  </a:lnTo>
                  <a:lnTo>
                    <a:pt x="163" y="516"/>
                  </a:lnTo>
                  <a:lnTo>
                    <a:pt x="163" y="519"/>
                  </a:lnTo>
                  <a:lnTo>
                    <a:pt x="163" y="519"/>
                  </a:lnTo>
                  <a:lnTo>
                    <a:pt x="160" y="519"/>
                  </a:lnTo>
                  <a:lnTo>
                    <a:pt x="158" y="519"/>
                  </a:lnTo>
                  <a:lnTo>
                    <a:pt x="158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5" y="519"/>
                  </a:lnTo>
                  <a:lnTo>
                    <a:pt x="152" y="519"/>
                  </a:lnTo>
                  <a:lnTo>
                    <a:pt x="152" y="519"/>
                  </a:lnTo>
                  <a:lnTo>
                    <a:pt x="152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47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6"/>
                  </a:lnTo>
                  <a:lnTo>
                    <a:pt x="150" y="516"/>
                  </a:lnTo>
                  <a:lnTo>
                    <a:pt x="150" y="516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4"/>
                  </a:lnTo>
                  <a:lnTo>
                    <a:pt x="150" y="511"/>
                  </a:lnTo>
                  <a:lnTo>
                    <a:pt x="150" y="511"/>
                  </a:lnTo>
                  <a:lnTo>
                    <a:pt x="147" y="511"/>
                  </a:lnTo>
                  <a:lnTo>
                    <a:pt x="147" y="511"/>
                  </a:lnTo>
                  <a:lnTo>
                    <a:pt x="147" y="511"/>
                  </a:lnTo>
                  <a:lnTo>
                    <a:pt x="147" y="514"/>
                  </a:lnTo>
                  <a:lnTo>
                    <a:pt x="147" y="514"/>
                  </a:lnTo>
                  <a:lnTo>
                    <a:pt x="144" y="514"/>
                  </a:lnTo>
                  <a:lnTo>
                    <a:pt x="144" y="514"/>
                  </a:lnTo>
                  <a:lnTo>
                    <a:pt x="144" y="514"/>
                  </a:lnTo>
                  <a:lnTo>
                    <a:pt x="142" y="514"/>
                  </a:lnTo>
                  <a:lnTo>
                    <a:pt x="142" y="514"/>
                  </a:lnTo>
                  <a:lnTo>
                    <a:pt x="142" y="514"/>
                  </a:lnTo>
                  <a:lnTo>
                    <a:pt x="139" y="514"/>
                  </a:lnTo>
                  <a:lnTo>
                    <a:pt x="139" y="514"/>
                  </a:lnTo>
                  <a:lnTo>
                    <a:pt x="136" y="514"/>
                  </a:lnTo>
                  <a:lnTo>
                    <a:pt x="136" y="514"/>
                  </a:lnTo>
                  <a:lnTo>
                    <a:pt x="136" y="514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6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19"/>
                  </a:lnTo>
                  <a:lnTo>
                    <a:pt x="134" y="522"/>
                  </a:lnTo>
                  <a:lnTo>
                    <a:pt x="134" y="522"/>
                  </a:lnTo>
                  <a:lnTo>
                    <a:pt x="134" y="524"/>
                  </a:lnTo>
                  <a:lnTo>
                    <a:pt x="134" y="524"/>
                  </a:lnTo>
                  <a:lnTo>
                    <a:pt x="134" y="524"/>
                  </a:lnTo>
                  <a:lnTo>
                    <a:pt x="136" y="527"/>
                  </a:lnTo>
                  <a:lnTo>
                    <a:pt x="136" y="527"/>
                  </a:lnTo>
                  <a:lnTo>
                    <a:pt x="136" y="527"/>
                  </a:lnTo>
                  <a:lnTo>
                    <a:pt x="136" y="530"/>
                  </a:lnTo>
                  <a:lnTo>
                    <a:pt x="136" y="530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2"/>
                  </a:lnTo>
                  <a:lnTo>
                    <a:pt x="136" y="535"/>
                  </a:lnTo>
                  <a:lnTo>
                    <a:pt x="136" y="535"/>
                  </a:lnTo>
                  <a:lnTo>
                    <a:pt x="136" y="535"/>
                  </a:lnTo>
                  <a:lnTo>
                    <a:pt x="136" y="538"/>
                  </a:lnTo>
                  <a:lnTo>
                    <a:pt x="136" y="538"/>
                  </a:lnTo>
                  <a:lnTo>
                    <a:pt x="136" y="540"/>
                  </a:lnTo>
                  <a:lnTo>
                    <a:pt x="136" y="543"/>
                  </a:lnTo>
                  <a:lnTo>
                    <a:pt x="136" y="543"/>
                  </a:lnTo>
                  <a:lnTo>
                    <a:pt x="136" y="546"/>
                  </a:lnTo>
                  <a:lnTo>
                    <a:pt x="136" y="548"/>
                  </a:lnTo>
                  <a:lnTo>
                    <a:pt x="136" y="548"/>
                  </a:lnTo>
                  <a:lnTo>
                    <a:pt x="136" y="551"/>
                  </a:lnTo>
                  <a:lnTo>
                    <a:pt x="136" y="551"/>
                  </a:lnTo>
                  <a:lnTo>
                    <a:pt x="136" y="554"/>
                  </a:lnTo>
                  <a:lnTo>
                    <a:pt x="136" y="554"/>
                  </a:lnTo>
                  <a:lnTo>
                    <a:pt x="136" y="556"/>
                  </a:lnTo>
                  <a:lnTo>
                    <a:pt x="136" y="556"/>
                  </a:lnTo>
                  <a:lnTo>
                    <a:pt x="136" y="559"/>
                  </a:lnTo>
                  <a:lnTo>
                    <a:pt x="136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4" y="562"/>
                  </a:lnTo>
                  <a:lnTo>
                    <a:pt x="131" y="564"/>
                  </a:lnTo>
                  <a:lnTo>
                    <a:pt x="131" y="564"/>
                  </a:lnTo>
                  <a:lnTo>
                    <a:pt x="131" y="564"/>
                  </a:lnTo>
                  <a:lnTo>
                    <a:pt x="128" y="564"/>
                  </a:lnTo>
                  <a:lnTo>
                    <a:pt x="128" y="564"/>
                  </a:lnTo>
                  <a:lnTo>
                    <a:pt x="128" y="564"/>
                  </a:lnTo>
                  <a:lnTo>
                    <a:pt x="126" y="564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6" y="567"/>
                  </a:lnTo>
                  <a:lnTo>
                    <a:pt x="123" y="570"/>
                  </a:lnTo>
                  <a:lnTo>
                    <a:pt x="123" y="570"/>
                  </a:lnTo>
                  <a:lnTo>
                    <a:pt x="123" y="572"/>
                  </a:lnTo>
                  <a:lnTo>
                    <a:pt x="120" y="572"/>
                  </a:lnTo>
                  <a:lnTo>
                    <a:pt x="120" y="572"/>
                  </a:lnTo>
                  <a:lnTo>
                    <a:pt x="118" y="575"/>
                  </a:lnTo>
                  <a:lnTo>
                    <a:pt x="118" y="575"/>
                  </a:lnTo>
                  <a:lnTo>
                    <a:pt x="115" y="575"/>
                  </a:lnTo>
                  <a:lnTo>
                    <a:pt x="115" y="578"/>
                  </a:lnTo>
                  <a:lnTo>
                    <a:pt x="115" y="578"/>
                  </a:lnTo>
                  <a:lnTo>
                    <a:pt x="112" y="578"/>
                  </a:lnTo>
                  <a:lnTo>
                    <a:pt x="112" y="580"/>
                  </a:lnTo>
                  <a:lnTo>
                    <a:pt x="110" y="580"/>
                  </a:lnTo>
                  <a:lnTo>
                    <a:pt x="110" y="580"/>
                  </a:lnTo>
                  <a:lnTo>
                    <a:pt x="110" y="580"/>
                  </a:lnTo>
                  <a:lnTo>
                    <a:pt x="107" y="580"/>
                  </a:lnTo>
                  <a:lnTo>
                    <a:pt x="107" y="580"/>
                  </a:lnTo>
                  <a:lnTo>
                    <a:pt x="104" y="583"/>
                  </a:lnTo>
                  <a:lnTo>
                    <a:pt x="104" y="583"/>
                  </a:lnTo>
                  <a:lnTo>
                    <a:pt x="102" y="583"/>
                  </a:lnTo>
                  <a:lnTo>
                    <a:pt x="102" y="583"/>
                  </a:lnTo>
                  <a:lnTo>
                    <a:pt x="99" y="586"/>
                  </a:lnTo>
                  <a:lnTo>
                    <a:pt x="99" y="586"/>
                  </a:lnTo>
                  <a:lnTo>
                    <a:pt x="96" y="586"/>
                  </a:lnTo>
                  <a:lnTo>
                    <a:pt x="96" y="588"/>
                  </a:lnTo>
                  <a:lnTo>
                    <a:pt x="94" y="588"/>
                  </a:lnTo>
                  <a:lnTo>
                    <a:pt x="94" y="591"/>
                  </a:lnTo>
                  <a:lnTo>
                    <a:pt x="91" y="591"/>
                  </a:lnTo>
                  <a:lnTo>
                    <a:pt x="91" y="594"/>
                  </a:lnTo>
                  <a:lnTo>
                    <a:pt x="88" y="594"/>
                  </a:lnTo>
                  <a:lnTo>
                    <a:pt x="88" y="594"/>
                  </a:lnTo>
                  <a:lnTo>
                    <a:pt x="88" y="596"/>
                  </a:lnTo>
                  <a:lnTo>
                    <a:pt x="86" y="596"/>
                  </a:lnTo>
                  <a:lnTo>
                    <a:pt x="86" y="596"/>
                  </a:lnTo>
                  <a:lnTo>
                    <a:pt x="83" y="596"/>
                  </a:lnTo>
                  <a:lnTo>
                    <a:pt x="83" y="599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4"/>
                  </a:lnTo>
                  <a:lnTo>
                    <a:pt x="78" y="604"/>
                  </a:lnTo>
                  <a:lnTo>
                    <a:pt x="78" y="607"/>
                  </a:lnTo>
                  <a:lnTo>
                    <a:pt x="78" y="607"/>
                  </a:lnTo>
                  <a:lnTo>
                    <a:pt x="78" y="607"/>
                  </a:lnTo>
                  <a:lnTo>
                    <a:pt x="75" y="610"/>
                  </a:lnTo>
                  <a:lnTo>
                    <a:pt x="75" y="610"/>
                  </a:lnTo>
                  <a:lnTo>
                    <a:pt x="72" y="610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0" y="612"/>
                  </a:lnTo>
                  <a:lnTo>
                    <a:pt x="70" y="615"/>
                  </a:lnTo>
                  <a:lnTo>
                    <a:pt x="67" y="615"/>
                  </a:lnTo>
                  <a:lnTo>
                    <a:pt x="67" y="615"/>
                  </a:lnTo>
                  <a:lnTo>
                    <a:pt x="67" y="615"/>
                  </a:lnTo>
                  <a:lnTo>
                    <a:pt x="64" y="615"/>
                  </a:lnTo>
                  <a:lnTo>
                    <a:pt x="64" y="618"/>
                  </a:lnTo>
                  <a:lnTo>
                    <a:pt x="64" y="618"/>
                  </a:lnTo>
                  <a:lnTo>
                    <a:pt x="62" y="618"/>
                  </a:lnTo>
                  <a:lnTo>
                    <a:pt x="59" y="618"/>
                  </a:lnTo>
                  <a:lnTo>
                    <a:pt x="59" y="618"/>
                  </a:lnTo>
                  <a:lnTo>
                    <a:pt x="56" y="618"/>
                  </a:lnTo>
                  <a:lnTo>
                    <a:pt x="56" y="618"/>
                  </a:lnTo>
                  <a:lnTo>
                    <a:pt x="54" y="618"/>
                  </a:lnTo>
                  <a:lnTo>
                    <a:pt x="54" y="618"/>
                  </a:lnTo>
                  <a:lnTo>
                    <a:pt x="51" y="618"/>
                  </a:lnTo>
                  <a:lnTo>
                    <a:pt x="51" y="618"/>
                  </a:lnTo>
                  <a:lnTo>
                    <a:pt x="48" y="618"/>
                  </a:lnTo>
                  <a:lnTo>
                    <a:pt x="48" y="618"/>
                  </a:lnTo>
                  <a:lnTo>
                    <a:pt x="46" y="618"/>
                  </a:lnTo>
                  <a:lnTo>
                    <a:pt x="46" y="618"/>
                  </a:lnTo>
                  <a:lnTo>
                    <a:pt x="46" y="618"/>
                  </a:lnTo>
                  <a:lnTo>
                    <a:pt x="43" y="618"/>
                  </a:lnTo>
                  <a:lnTo>
                    <a:pt x="43" y="618"/>
                  </a:lnTo>
                  <a:lnTo>
                    <a:pt x="43" y="618"/>
                  </a:lnTo>
                  <a:lnTo>
                    <a:pt x="40" y="615"/>
                  </a:lnTo>
                  <a:lnTo>
                    <a:pt x="40" y="615"/>
                  </a:lnTo>
                  <a:lnTo>
                    <a:pt x="40" y="618"/>
                  </a:lnTo>
                  <a:lnTo>
                    <a:pt x="38" y="618"/>
                  </a:lnTo>
                  <a:lnTo>
                    <a:pt x="38" y="618"/>
                  </a:lnTo>
                  <a:lnTo>
                    <a:pt x="38" y="618"/>
                  </a:lnTo>
                  <a:lnTo>
                    <a:pt x="35" y="620"/>
                  </a:lnTo>
                  <a:lnTo>
                    <a:pt x="35" y="620"/>
                  </a:lnTo>
                  <a:lnTo>
                    <a:pt x="38" y="620"/>
                  </a:lnTo>
                  <a:lnTo>
                    <a:pt x="38" y="623"/>
                  </a:lnTo>
                  <a:lnTo>
                    <a:pt x="38" y="623"/>
                  </a:lnTo>
                  <a:lnTo>
                    <a:pt x="38" y="626"/>
                  </a:lnTo>
                  <a:lnTo>
                    <a:pt x="38" y="626"/>
                  </a:lnTo>
                  <a:lnTo>
                    <a:pt x="38" y="626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28"/>
                  </a:lnTo>
                  <a:lnTo>
                    <a:pt x="38" y="631"/>
                  </a:lnTo>
                  <a:lnTo>
                    <a:pt x="35" y="631"/>
                  </a:lnTo>
                  <a:lnTo>
                    <a:pt x="35" y="631"/>
                  </a:lnTo>
                  <a:lnTo>
                    <a:pt x="35" y="634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2" y="636"/>
                  </a:lnTo>
                  <a:lnTo>
                    <a:pt x="30" y="639"/>
                  </a:lnTo>
                  <a:lnTo>
                    <a:pt x="30" y="639"/>
                  </a:lnTo>
                  <a:lnTo>
                    <a:pt x="27" y="639"/>
                  </a:lnTo>
                  <a:lnTo>
                    <a:pt x="27" y="639"/>
                  </a:lnTo>
                  <a:lnTo>
                    <a:pt x="24" y="639"/>
                  </a:lnTo>
                  <a:lnTo>
                    <a:pt x="24" y="642"/>
                  </a:lnTo>
                  <a:lnTo>
                    <a:pt x="24" y="642"/>
                  </a:lnTo>
                  <a:lnTo>
                    <a:pt x="22" y="642"/>
                  </a:lnTo>
                  <a:lnTo>
                    <a:pt x="22" y="642"/>
                  </a:lnTo>
                  <a:lnTo>
                    <a:pt x="22" y="642"/>
                  </a:lnTo>
                  <a:lnTo>
                    <a:pt x="19" y="645"/>
                  </a:lnTo>
                  <a:lnTo>
                    <a:pt x="19" y="645"/>
                  </a:lnTo>
                  <a:lnTo>
                    <a:pt x="19" y="645"/>
                  </a:lnTo>
                  <a:lnTo>
                    <a:pt x="19" y="647"/>
                  </a:lnTo>
                  <a:lnTo>
                    <a:pt x="19" y="647"/>
                  </a:lnTo>
                  <a:lnTo>
                    <a:pt x="19" y="650"/>
                  </a:lnTo>
                  <a:lnTo>
                    <a:pt x="16" y="653"/>
                  </a:lnTo>
                  <a:lnTo>
                    <a:pt x="16" y="653"/>
                  </a:lnTo>
                  <a:lnTo>
                    <a:pt x="16" y="655"/>
                  </a:lnTo>
                  <a:lnTo>
                    <a:pt x="16" y="655"/>
                  </a:lnTo>
                  <a:lnTo>
                    <a:pt x="16" y="658"/>
                  </a:lnTo>
                  <a:lnTo>
                    <a:pt x="13" y="658"/>
                  </a:lnTo>
                  <a:lnTo>
                    <a:pt x="13" y="658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3" y="661"/>
                  </a:lnTo>
                  <a:lnTo>
                    <a:pt x="11" y="661"/>
                  </a:lnTo>
                  <a:lnTo>
                    <a:pt x="11" y="663"/>
                  </a:lnTo>
                  <a:lnTo>
                    <a:pt x="8" y="663"/>
                  </a:lnTo>
                  <a:lnTo>
                    <a:pt x="8" y="663"/>
                  </a:lnTo>
                  <a:lnTo>
                    <a:pt x="5" y="663"/>
                  </a:lnTo>
                  <a:lnTo>
                    <a:pt x="5" y="663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9"/>
                  </a:lnTo>
                  <a:lnTo>
                    <a:pt x="3" y="669"/>
                  </a:lnTo>
                  <a:lnTo>
                    <a:pt x="3" y="669"/>
                  </a:lnTo>
                  <a:lnTo>
                    <a:pt x="5" y="671"/>
                  </a:lnTo>
                  <a:lnTo>
                    <a:pt x="5" y="671"/>
                  </a:lnTo>
                  <a:lnTo>
                    <a:pt x="5" y="671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4"/>
                  </a:lnTo>
                  <a:lnTo>
                    <a:pt x="5" y="677"/>
                  </a:lnTo>
                  <a:lnTo>
                    <a:pt x="5" y="677"/>
                  </a:lnTo>
                  <a:lnTo>
                    <a:pt x="8" y="677"/>
                  </a:lnTo>
                  <a:lnTo>
                    <a:pt x="8" y="677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79"/>
                  </a:lnTo>
                  <a:lnTo>
                    <a:pt x="8" y="682"/>
                  </a:lnTo>
                  <a:lnTo>
                    <a:pt x="8" y="682"/>
                  </a:lnTo>
                  <a:lnTo>
                    <a:pt x="11" y="682"/>
                  </a:lnTo>
                  <a:lnTo>
                    <a:pt x="11" y="685"/>
                  </a:lnTo>
                  <a:lnTo>
                    <a:pt x="13" y="685"/>
                  </a:lnTo>
                  <a:lnTo>
                    <a:pt x="13" y="685"/>
                  </a:lnTo>
                  <a:lnTo>
                    <a:pt x="16" y="685"/>
                  </a:lnTo>
                  <a:lnTo>
                    <a:pt x="16" y="685"/>
                  </a:lnTo>
                  <a:lnTo>
                    <a:pt x="16" y="687"/>
                  </a:lnTo>
                  <a:lnTo>
                    <a:pt x="19" y="687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19" y="690"/>
                  </a:lnTo>
                  <a:lnTo>
                    <a:pt x="22" y="690"/>
                  </a:lnTo>
                  <a:lnTo>
                    <a:pt x="22" y="690"/>
                  </a:lnTo>
                  <a:lnTo>
                    <a:pt x="24" y="690"/>
                  </a:lnTo>
                  <a:lnTo>
                    <a:pt x="24" y="690"/>
                  </a:lnTo>
                  <a:lnTo>
                    <a:pt x="27" y="690"/>
                  </a:lnTo>
                  <a:lnTo>
                    <a:pt x="27" y="690"/>
                  </a:lnTo>
                  <a:lnTo>
                    <a:pt x="27" y="690"/>
                  </a:lnTo>
                  <a:lnTo>
                    <a:pt x="30" y="693"/>
                  </a:lnTo>
                  <a:lnTo>
                    <a:pt x="30" y="693"/>
                  </a:lnTo>
                  <a:lnTo>
                    <a:pt x="32" y="693"/>
                  </a:lnTo>
                  <a:lnTo>
                    <a:pt x="32" y="693"/>
                  </a:lnTo>
                  <a:lnTo>
                    <a:pt x="35" y="695"/>
                  </a:lnTo>
                  <a:lnTo>
                    <a:pt x="35" y="695"/>
                  </a:lnTo>
                  <a:lnTo>
                    <a:pt x="35" y="695"/>
                  </a:lnTo>
                  <a:lnTo>
                    <a:pt x="38" y="693"/>
                  </a:lnTo>
                  <a:lnTo>
                    <a:pt x="38" y="693"/>
                  </a:lnTo>
                  <a:lnTo>
                    <a:pt x="40" y="693"/>
                  </a:lnTo>
                  <a:lnTo>
                    <a:pt x="40" y="693"/>
                  </a:lnTo>
                  <a:lnTo>
                    <a:pt x="40" y="695"/>
                  </a:lnTo>
                  <a:lnTo>
                    <a:pt x="43" y="695"/>
                  </a:lnTo>
                  <a:lnTo>
                    <a:pt x="43" y="695"/>
                  </a:lnTo>
                  <a:lnTo>
                    <a:pt x="46" y="695"/>
                  </a:lnTo>
                  <a:lnTo>
                    <a:pt x="46" y="695"/>
                  </a:lnTo>
                  <a:lnTo>
                    <a:pt x="48" y="698"/>
                  </a:lnTo>
                  <a:lnTo>
                    <a:pt x="48" y="698"/>
                  </a:lnTo>
                  <a:lnTo>
                    <a:pt x="48" y="701"/>
                  </a:lnTo>
                  <a:lnTo>
                    <a:pt x="48" y="701"/>
                  </a:lnTo>
                  <a:lnTo>
                    <a:pt x="48" y="701"/>
                  </a:lnTo>
                  <a:lnTo>
                    <a:pt x="48" y="703"/>
                  </a:lnTo>
                  <a:lnTo>
                    <a:pt x="48" y="703"/>
                  </a:lnTo>
                  <a:lnTo>
                    <a:pt x="48" y="703"/>
                  </a:lnTo>
                  <a:lnTo>
                    <a:pt x="46" y="703"/>
                  </a:lnTo>
                  <a:lnTo>
                    <a:pt x="46" y="706"/>
                  </a:lnTo>
                  <a:lnTo>
                    <a:pt x="46" y="706"/>
                  </a:lnTo>
                  <a:lnTo>
                    <a:pt x="46" y="706"/>
                  </a:lnTo>
                  <a:lnTo>
                    <a:pt x="46" y="709"/>
                  </a:lnTo>
                  <a:lnTo>
                    <a:pt x="46" y="709"/>
                  </a:lnTo>
                  <a:lnTo>
                    <a:pt x="46" y="709"/>
                  </a:lnTo>
                  <a:lnTo>
                    <a:pt x="46" y="711"/>
                  </a:lnTo>
                  <a:lnTo>
                    <a:pt x="46" y="711"/>
                  </a:lnTo>
                  <a:lnTo>
                    <a:pt x="46" y="711"/>
                  </a:lnTo>
                  <a:lnTo>
                    <a:pt x="48" y="711"/>
                  </a:lnTo>
                  <a:lnTo>
                    <a:pt x="48" y="711"/>
                  </a:lnTo>
                  <a:lnTo>
                    <a:pt x="48" y="714"/>
                  </a:lnTo>
                  <a:lnTo>
                    <a:pt x="48" y="714"/>
                  </a:lnTo>
                  <a:lnTo>
                    <a:pt x="51" y="714"/>
                  </a:lnTo>
                  <a:lnTo>
                    <a:pt x="51" y="714"/>
                  </a:lnTo>
                  <a:lnTo>
                    <a:pt x="54" y="714"/>
                  </a:lnTo>
                  <a:lnTo>
                    <a:pt x="54" y="717"/>
                  </a:lnTo>
                  <a:lnTo>
                    <a:pt x="54" y="717"/>
                  </a:lnTo>
                  <a:lnTo>
                    <a:pt x="54" y="717"/>
                  </a:lnTo>
                  <a:lnTo>
                    <a:pt x="56" y="719"/>
                  </a:lnTo>
                  <a:lnTo>
                    <a:pt x="56" y="719"/>
                  </a:lnTo>
                  <a:lnTo>
                    <a:pt x="59" y="719"/>
                  </a:lnTo>
                  <a:lnTo>
                    <a:pt x="62" y="719"/>
                  </a:lnTo>
                  <a:lnTo>
                    <a:pt x="62" y="719"/>
                  </a:lnTo>
                  <a:lnTo>
                    <a:pt x="64" y="717"/>
                  </a:lnTo>
                  <a:lnTo>
                    <a:pt x="67" y="719"/>
                  </a:lnTo>
                  <a:lnTo>
                    <a:pt x="70" y="719"/>
                  </a:lnTo>
                  <a:lnTo>
                    <a:pt x="70" y="719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5" y="722"/>
                  </a:lnTo>
                  <a:lnTo>
                    <a:pt x="75" y="722"/>
                  </a:lnTo>
                  <a:lnTo>
                    <a:pt x="75" y="725"/>
                  </a:lnTo>
                  <a:lnTo>
                    <a:pt x="75" y="727"/>
                  </a:lnTo>
                  <a:lnTo>
                    <a:pt x="75" y="727"/>
                  </a:lnTo>
                  <a:lnTo>
                    <a:pt x="75" y="730"/>
                  </a:lnTo>
                  <a:lnTo>
                    <a:pt x="75" y="730"/>
                  </a:lnTo>
                  <a:lnTo>
                    <a:pt x="75" y="730"/>
                  </a:lnTo>
                  <a:lnTo>
                    <a:pt x="75" y="733"/>
                  </a:lnTo>
                  <a:lnTo>
                    <a:pt x="75" y="733"/>
                  </a:lnTo>
                  <a:lnTo>
                    <a:pt x="75" y="733"/>
                  </a:lnTo>
                  <a:lnTo>
                    <a:pt x="72" y="733"/>
                  </a:lnTo>
                  <a:lnTo>
                    <a:pt x="72" y="733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5" y="735"/>
                  </a:lnTo>
                  <a:lnTo>
                    <a:pt x="75" y="735"/>
                  </a:lnTo>
                  <a:lnTo>
                    <a:pt x="75" y="735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80" y="738"/>
                  </a:lnTo>
                  <a:lnTo>
                    <a:pt x="80" y="738"/>
                  </a:lnTo>
                  <a:lnTo>
                    <a:pt x="80" y="738"/>
                  </a:lnTo>
                  <a:lnTo>
                    <a:pt x="83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38"/>
                  </a:lnTo>
                  <a:lnTo>
                    <a:pt x="86" y="741"/>
                  </a:lnTo>
                  <a:lnTo>
                    <a:pt x="88" y="741"/>
                  </a:lnTo>
                  <a:lnTo>
                    <a:pt x="88" y="743"/>
                  </a:lnTo>
                  <a:lnTo>
                    <a:pt x="91" y="743"/>
                  </a:lnTo>
                  <a:lnTo>
                    <a:pt x="91" y="746"/>
                  </a:lnTo>
                  <a:lnTo>
                    <a:pt x="91" y="746"/>
                  </a:lnTo>
                  <a:lnTo>
                    <a:pt x="91" y="746"/>
                  </a:lnTo>
                  <a:lnTo>
                    <a:pt x="91" y="749"/>
                  </a:lnTo>
                  <a:lnTo>
                    <a:pt x="91" y="749"/>
                  </a:lnTo>
                  <a:lnTo>
                    <a:pt x="91" y="749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1"/>
                  </a:lnTo>
                  <a:lnTo>
                    <a:pt x="91" y="754"/>
                  </a:lnTo>
                  <a:lnTo>
                    <a:pt x="94" y="754"/>
                  </a:lnTo>
                  <a:lnTo>
                    <a:pt x="94" y="754"/>
                  </a:lnTo>
                  <a:lnTo>
                    <a:pt x="94" y="757"/>
                  </a:lnTo>
                  <a:lnTo>
                    <a:pt x="96" y="757"/>
                  </a:lnTo>
                  <a:lnTo>
                    <a:pt x="96" y="759"/>
                  </a:lnTo>
                  <a:lnTo>
                    <a:pt x="96" y="759"/>
                  </a:lnTo>
                  <a:lnTo>
                    <a:pt x="99" y="759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5"/>
                  </a:lnTo>
                  <a:lnTo>
                    <a:pt x="99" y="765"/>
                  </a:lnTo>
                  <a:lnTo>
                    <a:pt x="102" y="767"/>
                  </a:lnTo>
                  <a:lnTo>
                    <a:pt x="102" y="767"/>
                  </a:lnTo>
                  <a:lnTo>
                    <a:pt x="102" y="767"/>
                  </a:lnTo>
                  <a:lnTo>
                    <a:pt x="104" y="767"/>
                  </a:lnTo>
                  <a:lnTo>
                    <a:pt x="104" y="770"/>
                  </a:lnTo>
                  <a:lnTo>
                    <a:pt x="104" y="770"/>
                  </a:lnTo>
                  <a:lnTo>
                    <a:pt x="104" y="770"/>
                  </a:lnTo>
                  <a:lnTo>
                    <a:pt x="104" y="773"/>
                  </a:lnTo>
                  <a:lnTo>
                    <a:pt x="104" y="773"/>
                  </a:lnTo>
                  <a:lnTo>
                    <a:pt x="104" y="773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5"/>
                  </a:lnTo>
                  <a:lnTo>
                    <a:pt x="104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102" y="778"/>
                  </a:lnTo>
                  <a:lnTo>
                    <a:pt x="99" y="778"/>
                  </a:lnTo>
                  <a:lnTo>
                    <a:pt x="99" y="778"/>
                  </a:lnTo>
                  <a:lnTo>
                    <a:pt x="96" y="778"/>
                  </a:lnTo>
                  <a:lnTo>
                    <a:pt x="96" y="778"/>
                  </a:lnTo>
                  <a:lnTo>
                    <a:pt x="94" y="781"/>
                  </a:lnTo>
                  <a:lnTo>
                    <a:pt x="94" y="781"/>
                  </a:lnTo>
                  <a:lnTo>
                    <a:pt x="91" y="781"/>
                  </a:lnTo>
                  <a:lnTo>
                    <a:pt x="91" y="781"/>
                  </a:lnTo>
                  <a:lnTo>
                    <a:pt x="88" y="781"/>
                  </a:lnTo>
                  <a:lnTo>
                    <a:pt x="88" y="781"/>
                  </a:lnTo>
                  <a:lnTo>
                    <a:pt x="86" y="783"/>
                  </a:lnTo>
                  <a:lnTo>
                    <a:pt x="86" y="783"/>
                  </a:lnTo>
                  <a:lnTo>
                    <a:pt x="83" y="783"/>
                  </a:lnTo>
                  <a:lnTo>
                    <a:pt x="83" y="786"/>
                  </a:lnTo>
                  <a:lnTo>
                    <a:pt x="80" y="786"/>
                  </a:lnTo>
                  <a:lnTo>
                    <a:pt x="80" y="789"/>
                  </a:lnTo>
                  <a:lnTo>
                    <a:pt x="78" y="789"/>
                  </a:lnTo>
                  <a:lnTo>
                    <a:pt x="78" y="791"/>
                  </a:lnTo>
                  <a:lnTo>
                    <a:pt x="75" y="791"/>
                  </a:lnTo>
                  <a:lnTo>
                    <a:pt x="75" y="791"/>
                  </a:lnTo>
                  <a:lnTo>
                    <a:pt x="72" y="791"/>
                  </a:lnTo>
                  <a:lnTo>
                    <a:pt x="70" y="794"/>
                  </a:lnTo>
                  <a:lnTo>
                    <a:pt x="70" y="794"/>
                  </a:lnTo>
                  <a:lnTo>
                    <a:pt x="67" y="797"/>
                  </a:lnTo>
                  <a:lnTo>
                    <a:pt x="67" y="797"/>
                  </a:lnTo>
                  <a:lnTo>
                    <a:pt x="64" y="799"/>
                  </a:lnTo>
                  <a:lnTo>
                    <a:pt x="64" y="799"/>
                  </a:lnTo>
                  <a:lnTo>
                    <a:pt x="62" y="805"/>
                  </a:lnTo>
                  <a:lnTo>
                    <a:pt x="62" y="805"/>
                  </a:lnTo>
                  <a:lnTo>
                    <a:pt x="62" y="808"/>
                  </a:lnTo>
                  <a:lnTo>
                    <a:pt x="62" y="810"/>
                  </a:lnTo>
                  <a:lnTo>
                    <a:pt x="62" y="810"/>
                  </a:lnTo>
                  <a:lnTo>
                    <a:pt x="62" y="813"/>
                  </a:lnTo>
                  <a:lnTo>
                    <a:pt x="62" y="816"/>
                  </a:lnTo>
                  <a:lnTo>
                    <a:pt x="62" y="818"/>
                  </a:lnTo>
                  <a:lnTo>
                    <a:pt x="59" y="821"/>
                  </a:lnTo>
                  <a:lnTo>
                    <a:pt x="56" y="824"/>
                  </a:lnTo>
                  <a:lnTo>
                    <a:pt x="56" y="824"/>
                  </a:lnTo>
                  <a:lnTo>
                    <a:pt x="56" y="826"/>
                  </a:lnTo>
                  <a:lnTo>
                    <a:pt x="54" y="829"/>
                  </a:lnTo>
                  <a:lnTo>
                    <a:pt x="54" y="829"/>
                  </a:lnTo>
                  <a:lnTo>
                    <a:pt x="51" y="832"/>
                  </a:lnTo>
                  <a:lnTo>
                    <a:pt x="48" y="832"/>
                  </a:lnTo>
                  <a:lnTo>
                    <a:pt x="48" y="834"/>
                  </a:lnTo>
                  <a:lnTo>
                    <a:pt x="46" y="837"/>
                  </a:lnTo>
                  <a:lnTo>
                    <a:pt x="43" y="837"/>
                  </a:lnTo>
                  <a:lnTo>
                    <a:pt x="43" y="837"/>
                  </a:lnTo>
                  <a:lnTo>
                    <a:pt x="40" y="840"/>
                  </a:lnTo>
                  <a:lnTo>
                    <a:pt x="40" y="840"/>
                  </a:lnTo>
                  <a:lnTo>
                    <a:pt x="38" y="840"/>
                  </a:lnTo>
                  <a:lnTo>
                    <a:pt x="38" y="842"/>
                  </a:lnTo>
                  <a:lnTo>
                    <a:pt x="35" y="842"/>
                  </a:lnTo>
                  <a:lnTo>
                    <a:pt x="32" y="845"/>
                  </a:lnTo>
                  <a:lnTo>
                    <a:pt x="30" y="845"/>
                  </a:lnTo>
                  <a:lnTo>
                    <a:pt x="30" y="848"/>
                  </a:lnTo>
                  <a:lnTo>
                    <a:pt x="30" y="850"/>
                  </a:lnTo>
                  <a:lnTo>
                    <a:pt x="30" y="850"/>
                  </a:lnTo>
                  <a:lnTo>
                    <a:pt x="32" y="853"/>
                  </a:lnTo>
                  <a:lnTo>
                    <a:pt x="32" y="853"/>
                  </a:lnTo>
                  <a:lnTo>
                    <a:pt x="32" y="853"/>
                  </a:lnTo>
                  <a:lnTo>
                    <a:pt x="32" y="856"/>
                  </a:lnTo>
                  <a:lnTo>
                    <a:pt x="35" y="856"/>
                  </a:lnTo>
                  <a:lnTo>
                    <a:pt x="32" y="858"/>
                  </a:lnTo>
                  <a:lnTo>
                    <a:pt x="30" y="858"/>
                  </a:lnTo>
                  <a:lnTo>
                    <a:pt x="30" y="858"/>
                  </a:lnTo>
                  <a:lnTo>
                    <a:pt x="27" y="858"/>
                  </a:lnTo>
                  <a:lnTo>
                    <a:pt x="27" y="858"/>
                  </a:lnTo>
                  <a:lnTo>
                    <a:pt x="24" y="861"/>
                  </a:lnTo>
                  <a:lnTo>
                    <a:pt x="24" y="861"/>
                  </a:lnTo>
                  <a:lnTo>
                    <a:pt x="24" y="864"/>
                  </a:lnTo>
                  <a:lnTo>
                    <a:pt x="24" y="864"/>
                  </a:lnTo>
                  <a:lnTo>
                    <a:pt x="22" y="864"/>
                  </a:lnTo>
                  <a:lnTo>
                    <a:pt x="22" y="864"/>
                  </a:lnTo>
                  <a:lnTo>
                    <a:pt x="19" y="866"/>
                  </a:lnTo>
                  <a:lnTo>
                    <a:pt x="19" y="866"/>
                  </a:lnTo>
                  <a:lnTo>
                    <a:pt x="19" y="866"/>
                  </a:lnTo>
                  <a:lnTo>
                    <a:pt x="16" y="869"/>
                  </a:lnTo>
                  <a:lnTo>
                    <a:pt x="19" y="869"/>
                  </a:lnTo>
                  <a:lnTo>
                    <a:pt x="19" y="869"/>
                  </a:lnTo>
                  <a:lnTo>
                    <a:pt x="19" y="872"/>
                  </a:lnTo>
                  <a:lnTo>
                    <a:pt x="16" y="872"/>
                  </a:lnTo>
                  <a:lnTo>
                    <a:pt x="16" y="874"/>
                  </a:lnTo>
                  <a:lnTo>
                    <a:pt x="13" y="874"/>
                  </a:lnTo>
                  <a:lnTo>
                    <a:pt x="13" y="877"/>
                  </a:lnTo>
                  <a:lnTo>
                    <a:pt x="13" y="877"/>
                  </a:lnTo>
                  <a:lnTo>
                    <a:pt x="13" y="877"/>
                  </a:lnTo>
                  <a:lnTo>
                    <a:pt x="13" y="880"/>
                  </a:lnTo>
                  <a:lnTo>
                    <a:pt x="13" y="882"/>
                  </a:lnTo>
                  <a:lnTo>
                    <a:pt x="13" y="882"/>
                  </a:lnTo>
                  <a:lnTo>
                    <a:pt x="13" y="885"/>
                  </a:lnTo>
                  <a:lnTo>
                    <a:pt x="11" y="885"/>
                  </a:lnTo>
                  <a:lnTo>
                    <a:pt x="11" y="885"/>
                  </a:lnTo>
                  <a:lnTo>
                    <a:pt x="11" y="888"/>
                  </a:lnTo>
                  <a:lnTo>
                    <a:pt x="8" y="888"/>
                  </a:lnTo>
                  <a:lnTo>
                    <a:pt x="8" y="890"/>
                  </a:lnTo>
                  <a:lnTo>
                    <a:pt x="5" y="890"/>
                  </a:lnTo>
                  <a:lnTo>
                    <a:pt x="5" y="893"/>
                  </a:lnTo>
                  <a:lnTo>
                    <a:pt x="3" y="896"/>
                  </a:lnTo>
                  <a:lnTo>
                    <a:pt x="3" y="896"/>
                  </a:lnTo>
                  <a:lnTo>
                    <a:pt x="0" y="898"/>
                  </a:lnTo>
                  <a:lnTo>
                    <a:pt x="0" y="901"/>
                  </a:lnTo>
                  <a:lnTo>
                    <a:pt x="0" y="901"/>
                  </a:lnTo>
                  <a:lnTo>
                    <a:pt x="0" y="904"/>
                  </a:lnTo>
                  <a:lnTo>
                    <a:pt x="0" y="906"/>
                  </a:lnTo>
                  <a:lnTo>
                    <a:pt x="0" y="909"/>
                  </a:lnTo>
                  <a:lnTo>
                    <a:pt x="3" y="909"/>
                  </a:lnTo>
                  <a:lnTo>
                    <a:pt x="5" y="912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5" y="914"/>
                  </a:lnTo>
                  <a:lnTo>
                    <a:pt x="5" y="917"/>
                  </a:lnTo>
                  <a:lnTo>
                    <a:pt x="5" y="920"/>
                  </a:lnTo>
                  <a:lnTo>
                    <a:pt x="3" y="922"/>
                  </a:lnTo>
                  <a:lnTo>
                    <a:pt x="5" y="925"/>
                  </a:lnTo>
                  <a:lnTo>
                    <a:pt x="5" y="925"/>
                  </a:lnTo>
                  <a:lnTo>
                    <a:pt x="8" y="928"/>
                  </a:lnTo>
                  <a:lnTo>
                    <a:pt x="11" y="928"/>
                  </a:lnTo>
                  <a:lnTo>
                    <a:pt x="11" y="930"/>
                  </a:lnTo>
                  <a:lnTo>
                    <a:pt x="11" y="928"/>
                  </a:lnTo>
                  <a:lnTo>
                    <a:pt x="13" y="928"/>
                  </a:lnTo>
                  <a:lnTo>
                    <a:pt x="16" y="925"/>
                  </a:lnTo>
                  <a:lnTo>
                    <a:pt x="16" y="925"/>
                  </a:lnTo>
                  <a:lnTo>
                    <a:pt x="19" y="928"/>
                  </a:lnTo>
                  <a:lnTo>
                    <a:pt x="22" y="930"/>
                  </a:lnTo>
                  <a:lnTo>
                    <a:pt x="24" y="930"/>
                  </a:lnTo>
                  <a:lnTo>
                    <a:pt x="24" y="933"/>
                  </a:lnTo>
                  <a:lnTo>
                    <a:pt x="22" y="933"/>
                  </a:lnTo>
                  <a:lnTo>
                    <a:pt x="22" y="933"/>
                  </a:lnTo>
                  <a:lnTo>
                    <a:pt x="22" y="936"/>
                  </a:lnTo>
                  <a:lnTo>
                    <a:pt x="22" y="936"/>
                  </a:lnTo>
                  <a:lnTo>
                    <a:pt x="19" y="938"/>
                  </a:lnTo>
                  <a:lnTo>
                    <a:pt x="19" y="938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3" y="941"/>
                  </a:lnTo>
                  <a:lnTo>
                    <a:pt x="13" y="941"/>
                  </a:lnTo>
                  <a:lnTo>
                    <a:pt x="13" y="941"/>
                  </a:lnTo>
                  <a:lnTo>
                    <a:pt x="11" y="946"/>
                  </a:lnTo>
                  <a:lnTo>
                    <a:pt x="11" y="946"/>
                  </a:lnTo>
                  <a:lnTo>
                    <a:pt x="13" y="952"/>
                  </a:lnTo>
                  <a:lnTo>
                    <a:pt x="13" y="952"/>
                  </a:lnTo>
                  <a:lnTo>
                    <a:pt x="13" y="954"/>
                  </a:lnTo>
                  <a:lnTo>
                    <a:pt x="13" y="954"/>
                  </a:lnTo>
                  <a:lnTo>
                    <a:pt x="16" y="957"/>
                  </a:lnTo>
                  <a:lnTo>
                    <a:pt x="16" y="957"/>
                  </a:lnTo>
                  <a:lnTo>
                    <a:pt x="16" y="957"/>
                  </a:lnTo>
                  <a:lnTo>
                    <a:pt x="16" y="960"/>
                  </a:lnTo>
                  <a:lnTo>
                    <a:pt x="19" y="960"/>
                  </a:lnTo>
                  <a:lnTo>
                    <a:pt x="19" y="963"/>
                  </a:lnTo>
                  <a:lnTo>
                    <a:pt x="19" y="963"/>
                  </a:lnTo>
                  <a:lnTo>
                    <a:pt x="22" y="965"/>
                  </a:lnTo>
                  <a:lnTo>
                    <a:pt x="22" y="965"/>
                  </a:lnTo>
                  <a:lnTo>
                    <a:pt x="24" y="965"/>
                  </a:lnTo>
                  <a:lnTo>
                    <a:pt x="24" y="968"/>
                  </a:lnTo>
                  <a:lnTo>
                    <a:pt x="27" y="968"/>
                  </a:lnTo>
                  <a:lnTo>
                    <a:pt x="27" y="968"/>
                  </a:lnTo>
                  <a:lnTo>
                    <a:pt x="30" y="968"/>
                  </a:lnTo>
                  <a:lnTo>
                    <a:pt x="32" y="968"/>
                  </a:lnTo>
                  <a:lnTo>
                    <a:pt x="32" y="968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2" y="971"/>
                  </a:lnTo>
                  <a:lnTo>
                    <a:pt x="35" y="973"/>
                  </a:lnTo>
                  <a:lnTo>
                    <a:pt x="35" y="976"/>
                  </a:lnTo>
                  <a:lnTo>
                    <a:pt x="35" y="976"/>
                  </a:lnTo>
                  <a:lnTo>
                    <a:pt x="38" y="979"/>
                  </a:lnTo>
                  <a:lnTo>
                    <a:pt x="38" y="979"/>
                  </a:lnTo>
                  <a:lnTo>
                    <a:pt x="40" y="981"/>
                  </a:lnTo>
                  <a:lnTo>
                    <a:pt x="40" y="981"/>
                  </a:lnTo>
                  <a:lnTo>
                    <a:pt x="43" y="981"/>
                  </a:lnTo>
                  <a:lnTo>
                    <a:pt x="43" y="981"/>
                  </a:lnTo>
                  <a:lnTo>
                    <a:pt x="46" y="981"/>
                  </a:lnTo>
                  <a:lnTo>
                    <a:pt x="46" y="981"/>
                  </a:lnTo>
                  <a:lnTo>
                    <a:pt x="46" y="979"/>
                  </a:lnTo>
                  <a:lnTo>
                    <a:pt x="48" y="979"/>
                  </a:lnTo>
                  <a:lnTo>
                    <a:pt x="48" y="979"/>
                  </a:lnTo>
                  <a:lnTo>
                    <a:pt x="51" y="979"/>
                  </a:lnTo>
                  <a:lnTo>
                    <a:pt x="54" y="979"/>
                  </a:lnTo>
                  <a:lnTo>
                    <a:pt x="56" y="979"/>
                  </a:lnTo>
                  <a:lnTo>
                    <a:pt x="59" y="979"/>
                  </a:lnTo>
                  <a:lnTo>
                    <a:pt x="62" y="979"/>
                  </a:lnTo>
                  <a:lnTo>
                    <a:pt x="64" y="979"/>
                  </a:lnTo>
                  <a:lnTo>
                    <a:pt x="67" y="979"/>
                  </a:lnTo>
                  <a:lnTo>
                    <a:pt x="67" y="979"/>
                  </a:lnTo>
                  <a:lnTo>
                    <a:pt x="70" y="979"/>
                  </a:lnTo>
                  <a:lnTo>
                    <a:pt x="72" y="979"/>
                  </a:lnTo>
                  <a:lnTo>
                    <a:pt x="72" y="979"/>
                  </a:lnTo>
                  <a:lnTo>
                    <a:pt x="75" y="976"/>
                  </a:lnTo>
                  <a:lnTo>
                    <a:pt x="75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78" y="976"/>
                  </a:lnTo>
                  <a:lnTo>
                    <a:pt x="80" y="976"/>
                  </a:lnTo>
                  <a:lnTo>
                    <a:pt x="80" y="976"/>
                  </a:lnTo>
                  <a:lnTo>
                    <a:pt x="80" y="976"/>
                  </a:lnTo>
                  <a:lnTo>
                    <a:pt x="83" y="976"/>
                  </a:lnTo>
                  <a:lnTo>
                    <a:pt x="83" y="976"/>
                  </a:lnTo>
                  <a:lnTo>
                    <a:pt x="86" y="976"/>
                  </a:lnTo>
                  <a:lnTo>
                    <a:pt x="86" y="976"/>
                  </a:lnTo>
                  <a:lnTo>
                    <a:pt x="88" y="979"/>
                  </a:lnTo>
                  <a:lnTo>
                    <a:pt x="88" y="979"/>
                  </a:lnTo>
                  <a:lnTo>
                    <a:pt x="91" y="979"/>
                  </a:lnTo>
                  <a:lnTo>
                    <a:pt x="91" y="979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1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9" y="987"/>
                  </a:lnTo>
                  <a:lnTo>
                    <a:pt x="102" y="989"/>
                  </a:lnTo>
                  <a:lnTo>
                    <a:pt x="104" y="989"/>
                  </a:lnTo>
                  <a:lnTo>
                    <a:pt x="107" y="989"/>
                  </a:lnTo>
                  <a:lnTo>
                    <a:pt x="107" y="989"/>
                  </a:lnTo>
                  <a:lnTo>
                    <a:pt x="110" y="992"/>
                  </a:lnTo>
                  <a:lnTo>
                    <a:pt x="110" y="992"/>
                  </a:lnTo>
                  <a:lnTo>
                    <a:pt x="110" y="992"/>
                  </a:lnTo>
                  <a:lnTo>
                    <a:pt x="107" y="995"/>
                  </a:lnTo>
                  <a:lnTo>
                    <a:pt x="107" y="997"/>
                  </a:lnTo>
                  <a:lnTo>
                    <a:pt x="107" y="1000"/>
                  </a:lnTo>
                  <a:lnTo>
                    <a:pt x="107" y="1003"/>
                  </a:lnTo>
                  <a:lnTo>
                    <a:pt x="107" y="1003"/>
                  </a:lnTo>
                  <a:lnTo>
                    <a:pt x="110" y="1005"/>
                  </a:lnTo>
                  <a:lnTo>
                    <a:pt x="110" y="1008"/>
                  </a:lnTo>
                  <a:lnTo>
                    <a:pt x="112" y="1011"/>
                  </a:lnTo>
                  <a:lnTo>
                    <a:pt x="112" y="1013"/>
                  </a:lnTo>
                  <a:lnTo>
                    <a:pt x="112" y="1016"/>
                  </a:lnTo>
                  <a:lnTo>
                    <a:pt x="112" y="1019"/>
                  </a:lnTo>
                  <a:lnTo>
                    <a:pt x="112" y="1021"/>
                  </a:lnTo>
                  <a:lnTo>
                    <a:pt x="112" y="1024"/>
                  </a:lnTo>
                  <a:lnTo>
                    <a:pt x="115" y="1024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7"/>
                  </a:lnTo>
                  <a:lnTo>
                    <a:pt x="115" y="1029"/>
                  </a:lnTo>
                  <a:lnTo>
                    <a:pt x="115" y="1032"/>
                  </a:lnTo>
                  <a:lnTo>
                    <a:pt x="115" y="1032"/>
                  </a:lnTo>
                  <a:lnTo>
                    <a:pt x="118" y="1035"/>
                  </a:lnTo>
                  <a:lnTo>
                    <a:pt x="118" y="1035"/>
                  </a:lnTo>
                  <a:lnTo>
                    <a:pt x="120" y="1035"/>
                  </a:lnTo>
                  <a:lnTo>
                    <a:pt x="123" y="1035"/>
                  </a:lnTo>
                  <a:lnTo>
                    <a:pt x="126" y="1035"/>
                  </a:lnTo>
                  <a:lnTo>
                    <a:pt x="126" y="1037"/>
                  </a:lnTo>
                  <a:lnTo>
                    <a:pt x="126" y="1035"/>
                  </a:lnTo>
                  <a:lnTo>
                    <a:pt x="126" y="1035"/>
                  </a:lnTo>
                  <a:lnTo>
                    <a:pt x="128" y="1035"/>
                  </a:lnTo>
                  <a:lnTo>
                    <a:pt x="131" y="1032"/>
                  </a:lnTo>
                  <a:lnTo>
                    <a:pt x="134" y="1032"/>
                  </a:lnTo>
                  <a:lnTo>
                    <a:pt x="136" y="1035"/>
                  </a:lnTo>
                  <a:lnTo>
                    <a:pt x="136" y="1035"/>
                  </a:lnTo>
                  <a:lnTo>
                    <a:pt x="139" y="1035"/>
                  </a:lnTo>
                  <a:lnTo>
                    <a:pt x="142" y="1032"/>
                  </a:lnTo>
                  <a:lnTo>
                    <a:pt x="144" y="1032"/>
                  </a:lnTo>
                  <a:lnTo>
                    <a:pt x="147" y="1032"/>
                  </a:lnTo>
                  <a:lnTo>
                    <a:pt x="147" y="1029"/>
                  </a:lnTo>
                  <a:lnTo>
                    <a:pt x="150" y="1029"/>
                  </a:lnTo>
                  <a:lnTo>
                    <a:pt x="152" y="1029"/>
                  </a:lnTo>
                  <a:lnTo>
                    <a:pt x="152" y="1027"/>
                  </a:lnTo>
                  <a:lnTo>
                    <a:pt x="155" y="1027"/>
                  </a:lnTo>
                  <a:lnTo>
                    <a:pt x="155" y="1027"/>
                  </a:lnTo>
                  <a:lnTo>
                    <a:pt x="155" y="1027"/>
                  </a:lnTo>
                  <a:lnTo>
                    <a:pt x="158" y="1027"/>
                  </a:lnTo>
                  <a:lnTo>
                    <a:pt x="160" y="1029"/>
                  </a:lnTo>
                  <a:lnTo>
                    <a:pt x="163" y="1029"/>
                  </a:lnTo>
                  <a:lnTo>
                    <a:pt x="163" y="1032"/>
                  </a:lnTo>
                  <a:lnTo>
                    <a:pt x="163" y="1035"/>
                  </a:lnTo>
                  <a:lnTo>
                    <a:pt x="163" y="1037"/>
                  </a:lnTo>
                  <a:lnTo>
                    <a:pt x="166" y="1037"/>
                  </a:lnTo>
                  <a:lnTo>
                    <a:pt x="166" y="1040"/>
                  </a:lnTo>
                  <a:lnTo>
                    <a:pt x="166" y="1043"/>
                  </a:lnTo>
                  <a:lnTo>
                    <a:pt x="166" y="1043"/>
                  </a:lnTo>
                  <a:lnTo>
                    <a:pt x="166" y="1045"/>
                  </a:lnTo>
                  <a:lnTo>
                    <a:pt x="168" y="1048"/>
                  </a:lnTo>
                  <a:lnTo>
                    <a:pt x="168" y="1051"/>
                  </a:lnTo>
                  <a:lnTo>
                    <a:pt x="168" y="1051"/>
                  </a:lnTo>
                  <a:lnTo>
                    <a:pt x="168" y="1051"/>
                  </a:lnTo>
                  <a:lnTo>
                    <a:pt x="168" y="1053"/>
                  </a:lnTo>
                  <a:lnTo>
                    <a:pt x="168" y="1056"/>
                  </a:lnTo>
                  <a:lnTo>
                    <a:pt x="168" y="1056"/>
                  </a:lnTo>
                  <a:lnTo>
                    <a:pt x="168" y="1059"/>
                  </a:lnTo>
                  <a:lnTo>
                    <a:pt x="168" y="1059"/>
                  </a:lnTo>
                  <a:lnTo>
                    <a:pt x="168" y="1061"/>
                  </a:lnTo>
                  <a:lnTo>
                    <a:pt x="171" y="1061"/>
                  </a:lnTo>
                  <a:lnTo>
                    <a:pt x="171" y="1064"/>
                  </a:lnTo>
                  <a:lnTo>
                    <a:pt x="171" y="1064"/>
                  </a:lnTo>
                  <a:lnTo>
                    <a:pt x="174" y="1064"/>
                  </a:lnTo>
                  <a:lnTo>
                    <a:pt x="176" y="1067"/>
                  </a:lnTo>
                  <a:lnTo>
                    <a:pt x="174" y="1067"/>
                  </a:lnTo>
                  <a:lnTo>
                    <a:pt x="176" y="1067"/>
                  </a:lnTo>
                  <a:lnTo>
                    <a:pt x="176" y="1069"/>
                  </a:lnTo>
                  <a:lnTo>
                    <a:pt x="179" y="1072"/>
                  </a:lnTo>
                  <a:lnTo>
                    <a:pt x="179" y="1072"/>
                  </a:lnTo>
                  <a:lnTo>
                    <a:pt x="182" y="1072"/>
                  </a:lnTo>
                  <a:lnTo>
                    <a:pt x="182" y="1072"/>
                  </a:lnTo>
                  <a:lnTo>
                    <a:pt x="184" y="1072"/>
                  </a:lnTo>
                  <a:lnTo>
                    <a:pt x="187" y="1069"/>
                  </a:lnTo>
                  <a:lnTo>
                    <a:pt x="190" y="1069"/>
                  </a:lnTo>
                  <a:lnTo>
                    <a:pt x="192" y="1069"/>
                  </a:lnTo>
                  <a:lnTo>
                    <a:pt x="195" y="1069"/>
                  </a:lnTo>
                  <a:lnTo>
                    <a:pt x="198" y="1067"/>
                  </a:lnTo>
                  <a:lnTo>
                    <a:pt x="200" y="1067"/>
                  </a:lnTo>
                  <a:lnTo>
                    <a:pt x="203" y="1064"/>
                  </a:lnTo>
                  <a:lnTo>
                    <a:pt x="206" y="1064"/>
                  </a:lnTo>
                  <a:lnTo>
                    <a:pt x="211" y="1064"/>
                  </a:lnTo>
                  <a:lnTo>
                    <a:pt x="214" y="1061"/>
                  </a:lnTo>
                  <a:lnTo>
                    <a:pt x="214" y="1061"/>
                  </a:lnTo>
                  <a:lnTo>
                    <a:pt x="216" y="1061"/>
                  </a:lnTo>
                  <a:lnTo>
                    <a:pt x="219" y="1061"/>
                  </a:lnTo>
                  <a:lnTo>
                    <a:pt x="222" y="1064"/>
                  </a:lnTo>
                  <a:lnTo>
                    <a:pt x="224" y="1064"/>
                  </a:lnTo>
                  <a:lnTo>
                    <a:pt x="227" y="1061"/>
                  </a:lnTo>
                  <a:lnTo>
                    <a:pt x="227" y="1061"/>
                  </a:lnTo>
                  <a:lnTo>
                    <a:pt x="230" y="1059"/>
                  </a:lnTo>
                  <a:lnTo>
                    <a:pt x="230" y="1059"/>
                  </a:lnTo>
                  <a:lnTo>
                    <a:pt x="232" y="1059"/>
                  </a:lnTo>
                  <a:lnTo>
                    <a:pt x="235" y="1059"/>
                  </a:lnTo>
                  <a:lnTo>
                    <a:pt x="238" y="1059"/>
                  </a:lnTo>
                  <a:lnTo>
                    <a:pt x="240" y="1059"/>
                  </a:lnTo>
                  <a:lnTo>
                    <a:pt x="240" y="1059"/>
                  </a:lnTo>
                  <a:lnTo>
                    <a:pt x="243" y="1059"/>
                  </a:lnTo>
                  <a:lnTo>
                    <a:pt x="243" y="1061"/>
                  </a:lnTo>
                  <a:lnTo>
                    <a:pt x="243" y="1061"/>
                  </a:lnTo>
                  <a:lnTo>
                    <a:pt x="246" y="1061"/>
                  </a:lnTo>
                  <a:lnTo>
                    <a:pt x="246" y="1064"/>
                  </a:lnTo>
                  <a:lnTo>
                    <a:pt x="248" y="1064"/>
                  </a:lnTo>
                  <a:lnTo>
                    <a:pt x="248" y="1064"/>
                  </a:lnTo>
                  <a:lnTo>
                    <a:pt x="251" y="1064"/>
                  </a:lnTo>
                  <a:lnTo>
                    <a:pt x="254" y="1064"/>
                  </a:lnTo>
                  <a:lnTo>
                    <a:pt x="257" y="1064"/>
                  </a:lnTo>
                  <a:lnTo>
                    <a:pt x="257" y="1067"/>
                  </a:lnTo>
                  <a:lnTo>
                    <a:pt x="259" y="1067"/>
                  </a:lnTo>
                  <a:lnTo>
                    <a:pt x="259" y="1067"/>
                  </a:lnTo>
                  <a:lnTo>
                    <a:pt x="262" y="1067"/>
                  </a:lnTo>
                  <a:lnTo>
                    <a:pt x="265" y="1067"/>
                  </a:lnTo>
                  <a:lnTo>
                    <a:pt x="267" y="1067"/>
                  </a:lnTo>
                  <a:lnTo>
                    <a:pt x="267" y="1067"/>
                  </a:lnTo>
                  <a:lnTo>
                    <a:pt x="270" y="1069"/>
                  </a:lnTo>
                  <a:lnTo>
                    <a:pt x="270" y="1069"/>
                  </a:lnTo>
                  <a:lnTo>
                    <a:pt x="273" y="1069"/>
                  </a:lnTo>
                  <a:lnTo>
                    <a:pt x="275" y="1069"/>
                  </a:lnTo>
                  <a:lnTo>
                    <a:pt x="278" y="1067"/>
                  </a:lnTo>
                  <a:lnTo>
                    <a:pt x="281" y="1067"/>
                  </a:lnTo>
                  <a:lnTo>
                    <a:pt x="281" y="1067"/>
                  </a:lnTo>
                  <a:lnTo>
                    <a:pt x="283" y="1064"/>
                  </a:lnTo>
                  <a:lnTo>
                    <a:pt x="283" y="1064"/>
                  </a:lnTo>
                  <a:lnTo>
                    <a:pt x="286" y="1061"/>
                  </a:lnTo>
                  <a:lnTo>
                    <a:pt x="286" y="1061"/>
                  </a:lnTo>
                  <a:lnTo>
                    <a:pt x="286" y="1059"/>
                  </a:lnTo>
                  <a:lnTo>
                    <a:pt x="286" y="1056"/>
                  </a:lnTo>
                  <a:lnTo>
                    <a:pt x="289" y="1056"/>
                  </a:lnTo>
                  <a:lnTo>
                    <a:pt x="289" y="1056"/>
                  </a:lnTo>
                  <a:lnTo>
                    <a:pt x="291" y="1053"/>
                  </a:lnTo>
                  <a:lnTo>
                    <a:pt x="291" y="1053"/>
                  </a:lnTo>
                  <a:lnTo>
                    <a:pt x="294" y="1053"/>
                  </a:lnTo>
                  <a:lnTo>
                    <a:pt x="294" y="1053"/>
                  </a:lnTo>
                  <a:lnTo>
                    <a:pt x="297" y="1051"/>
                  </a:lnTo>
                  <a:lnTo>
                    <a:pt x="299" y="1048"/>
                  </a:lnTo>
                  <a:lnTo>
                    <a:pt x="299" y="1048"/>
                  </a:lnTo>
                  <a:lnTo>
                    <a:pt x="302" y="1048"/>
                  </a:lnTo>
                  <a:lnTo>
                    <a:pt x="305" y="1048"/>
                  </a:lnTo>
                  <a:lnTo>
                    <a:pt x="305" y="1048"/>
                  </a:lnTo>
                  <a:lnTo>
                    <a:pt x="307" y="1048"/>
                  </a:lnTo>
                  <a:lnTo>
                    <a:pt x="310" y="1048"/>
                  </a:lnTo>
                  <a:lnTo>
                    <a:pt x="313" y="1048"/>
                  </a:lnTo>
                  <a:lnTo>
                    <a:pt x="315" y="1048"/>
                  </a:lnTo>
                  <a:lnTo>
                    <a:pt x="318" y="1048"/>
                  </a:lnTo>
                  <a:lnTo>
                    <a:pt x="321" y="1048"/>
                  </a:lnTo>
                  <a:lnTo>
                    <a:pt x="323" y="1048"/>
                  </a:lnTo>
                  <a:lnTo>
                    <a:pt x="323" y="1048"/>
                  </a:lnTo>
                  <a:lnTo>
                    <a:pt x="326" y="1048"/>
                  </a:lnTo>
                  <a:lnTo>
                    <a:pt x="326" y="1051"/>
                  </a:lnTo>
                  <a:lnTo>
                    <a:pt x="329" y="1051"/>
                  </a:lnTo>
                  <a:lnTo>
                    <a:pt x="331" y="1051"/>
                  </a:lnTo>
                  <a:lnTo>
                    <a:pt x="331" y="1051"/>
                  </a:lnTo>
                  <a:lnTo>
                    <a:pt x="331" y="1051"/>
                  </a:lnTo>
                  <a:lnTo>
                    <a:pt x="334" y="1053"/>
                  </a:lnTo>
                  <a:lnTo>
                    <a:pt x="334" y="1053"/>
                  </a:lnTo>
                  <a:lnTo>
                    <a:pt x="337" y="1053"/>
                  </a:lnTo>
                  <a:lnTo>
                    <a:pt x="337" y="1056"/>
                  </a:lnTo>
                  <a:lnTo>
                    <a:pt x="339" y="1056"/>
                  </a:lnTo>
                  <a:lnTo>
                    <a:pt x="342" y="1053"/>
                  </a:lnTo>
                  <a:lnTo>
                    <a:pt x="342" y="1053"/>
                  </a:lnTo>
                  <a:lnTo>
                    <a:pt x="345" y="1053"/>
                  </a:lnTo>
                  <a:lnTo>
                    <a:pt x="345" y="1051"/>
                  </a:lnTo>
                  <a:lnTo>
                    <a:pt x="347" y="1051"/>
                  </a:lnTo>
                  <a:lnTo>
                    <a:pt x="350" y="1051"/>
                  </a:lnTo>
                  <a:lnTo>
                    <a:pt x="350" y="1051"/>
                  </a:lnTo>
                  <a:lnTo>
                    <a:pt x="353" y="1051"/>
                  </a:lnTo>
                  <a:lnTo>
                    <a:pt x="355" y="1048"/>
                  </a:lnTo>
                  <a:lnTo>
                    <a:pt x="358" y="1048"/>
                  </a:lnTo>
                  <a:lnTo>
                    <a:pt x="358" y="1048"/>
                  </a:lnTo>
                  <a:lnTo>
                    <a:pt x="361" y="1048"/>
                  </a:lnTo>
                  <a:lnTo>
                    <a:pt x="363" y="1045"/>
                  </a:lnTo>
                  <a:lnTo>
                    <a:pt x="366" y="1043"/>
                  </a:lnTo>
                  <a:lnTo>
                    <a:pt x="366" y="1043"/>
                  </a:lnTo>
                  <a:lnTo>
                    <a:pt x="369" y="1040"/>
                  </a:lnTo>
                  <a:lnTo>
                    <a:pt x="371" y="1040"/>
                  </a:lnTo>
                  <a:lnTo>
                    <a:pt x="371" y="1040"/>
                  </a:lnTo>
                  <a:lnTo>
                    <a:pt x="374" y="1040"/>
                  </a:lnTo>
                  <a:lnTo>
                    <a:pt x="374" y="1040"/>
                  </a:lnTo>
                  <a:lnTo>
                    <a:pt x="377" y="1040"/>
                  </a:lnTo>
                  <a:lnTo>
                    <a:pt x="379" y="1040"/>
                  </a:lnTo>
                  <a:lnTo>
                    <a:pt x="379" y="1037"/>
                  </a:lnTo>
                  <a:lnTo>
                    <a:pt x="382" y="1037"/>
                  </a:lnTo>
                  <a:lnTo>
                    <a:pt x="385" y="1035"/>
                  </a:lnTo>
                  <a:lnTo>
                    <a:pt x="385" y="1035"/>
                  </a:lnTo>
                  <a:lnTo>
                    <a:pt x="387" y="1035"/>
                  </a:lnTo>
                  <a:lnTo>
                    <a:pt x="387" y="1032"/>
                  </a:lnTo>
                  <a:lnTo>
                    <a:pt x="387" y="1032"/>
                  </a:lnTo>
                  <a:lnTo>
                    <a:pt x="387" y="1032"/>
                  </a:lnTo>
                  <a:lnTo>
                    <a:pt x="387" y="1029"/>
                  </a:lnTo>
                  <a:lnTo>
                    <a:pt x="387" y="1029"/>
                  </a:lnTo>
                  <a:lnTo>
                    <a:pt x="390" y="1029"/>
                  </a:lnTo>
                  <a:lnTo>
                    <a:pt x="395" y="1027"/>
                  </a:lnTo>
                  <a:lnTo>
                    <a:pt x="395" y="1027"/>
                  </a:lnTo>
                  <a:lnTo>
                    <a:pt x="393" y="1027"/>
                  </a:lnTo>
                  <a:lnTo>
                    <a:pt x="393" y="1024"/>
                  </a:lnTo>
                  <a:lnTo>
                    <a:pt x="393" y="1024"/>
                  </a:lnTo>
                  <a:lnTo>
                    <a:pt x="390" y="1021"/>
                  </a:lnTo>
                  <a:lnTo>
                    <a:pt x="390" y="1021"/>
                  </a:lnTo>
                  <a:lnTo>
                    <a:pt x="387" y="1021"/>
                  </a:lnTo>
                  <a:lnTo>
                    <a:pt x="387" y="1021"/>
                  </a:lnTo>
                  <a:lnTo>
                    <a:pt x="385" y="1021"/>
                  </a:lnTo>
                  <a:lnTo>
                    <a:pt x="385" y="1021"/>
                  </a:lnTo>
                  <a:lnTo>
                    <a:pt x="385" y="1021"/>
                  </a:lnTo>
                  <a:lnTo>
                    <a:pt x="382" y="1019"/>
                  </a:lnTo>
                  <a:lnTo>
                    <a:pt x="382" y="1019"/>
                  </a:lnTo>
                  <a:lnTo>
                    <a:pt x="382" y="1016"/>
                  </a:lnTo>
                  <a:lnTo>
                    <a:pt x="382" y="1013"/>
                  </a:lnTo>
                  <a:lnTo>
                    <a:pt x="385" y="1013"/>
                  </a:lnTo>
                  <a:lnTo>
                    <a:pt x="385" y="1013"/>
                  </a:lnTo>
                  <a:lnTo>
                    <a:pt x="387" y="1013"/>
                  </a:lnTo>
                  <a:lnTo>
                    <a:pt x="387" y="1011"/>
                  </a:lnTo>
                  <a:lnTo>
                    <a:pt x="387" y="1011"/>
                  </a:lnTo>
                  <a:lnTo>
                    <a:pt x="387" y="1008"/>
                  </a:lnTo>
                  <a:lnTo>
                    <a:pt x="387" y="1008"/>
                  </a:lnTo>
                  <a:lnTo>
                    <a:pt x="387" y="1005"/>
                  </a:lnTo>
                  <a:lnTo>
                    <a:pt x="387" y="1005"/>
                  </a:lnTo>
                  <a:lnTo>
                    <a:pt x="387" y="1003"/>
                  </a:lnTo>
                  <a:lnTo>
                    <a:pt x="387" y="1003"/>
                  </a:lnTo>
                  <a:lnTo>
                    <a:pt x="385" y="1000"/>
                  </a:lnTo>
                  <a:lnTo>
                    <a:pt x="385" y="1000"/>
                  </a:lnTo>
                  <a:lnTo>
                    <a:pt x="385" y="1000"/>
                  </a:lnTo>
                  <a:lnTo>
                    <a:pt x="385" y="997"/>
                  </a:lnTo>
                  <a:lnTo>
                    <a:pt x="385" y="997"/>
                  </a:lnTo>
                  <a:lnTo>
                    <a:pt x="387" y="997"/>
                  </a:lnTo>
                  <a:lnTo>
                    <a:pt x="387" y="995"/>
                  </a:lnTo>
                  <a:lnTo>
                    <a:pt x="387" y="995"/>
                  </a:lnTo>
                  <a:lnTo>
                    <a:pt x="390" y="997"/>
                  </a:lnTo>
                  <a:lnTo>
                    <a:pt x="390" y="997"/>
                  </a:lnTo>
                  <a:lnTo>
                    <a:pt x="393" y="995"/>
                  </a:lnTo>
                  <a:lnTo>
                    <a:pt x="393" y="995"/>
                  </a:lnTo>
                  <a:lnTo>
                    <a:pt x="393" y="995"/>
                  </a:lnTo>
                  <a:lnTo>
                    <a:pt x="393" y="992"/>
                  </a:lnTo>
                  <a:lnTo>
                    <a:pt x="393" y="992"/>
                  </a:lnTo>
                  <a:lnTo>
                    <a:pt x="395" y="992"/>
                  </a:lnTo>
                  <a:lnTo>
                    <a:pt x="395" y="992"/>
                  </a:lnTo>
                  <a:lnTo>
                    <a:pt x="398" y="992"/>
                  </a:lnTo>
                  <a:lnTo>
                    <a:pt x="398" y="992"/>
                  </a:lnTo>
                  <a:lnTo>
                    <a:pt x="398" y="992"/>
                  </a:lnTo>
                  <a:lnTo>
                    <a:pt x="401" y="989"/>
                  </a:lnTo>
                  <a:lnTo>
                    <a:pt x="401" y="989"/>
                  </a:lnTo>
                  <a:lnTo>
                    <a:pt x="401" y="987"/>
                  </a:lnTo>
                  <a:lnTo>
                    <a:pt x="403" y="987"/>
                  </a:lnTo>
                  <a:lnTo>
                    <a:pt x="403" y="987"/>
                  </a:lnTo>
                  <a:lnTo>
                    <a:pt x="403" y="984"/>
                  </a:lnTo>
                  <a:lnTo>
                    <a:pt x="403" y="984"/>
                  </a:lnTo>
                  <a:lnTo>
                    <a:pt x="403" y="981"/>
                  </a:lnTo>
                  <a:lnTo>
                    <a:pt x="403" y="981"/>
                  </a:lnTo>
                  <a:lnTo>
                    <a:pt x="403" y="979"/>
                  </a:lnTo>
                  <a:lnTo>
                    <a:pt x="403" y="979"/>
                  </a:lnTo>
                  <a:lnTo>
                    <a:pt x="403" y="976"/>
                  </a:lnTo>
                  <a:lnTo>
                    <a:pt x="406" y="976"/>
                  </a:lnTo>
                  <a:lnTo>
                    <a:pt x="409" y="976"/>
                  </a:lnTo>
                  <a:lnTo>
                    <a:pt x="409" y="976"/>
                  </a:lnTo>
                  <a:lnTo>
                    <a:pt x="409" y="976"/>
                  </a:lnTo>
                  <a:lnTo>
                    <a:pt x="414" y="973"/>
                  </a:lnTo>
                  <a:lnTo>
                    <a:pt x="417" y="973"/>
                  </a:lnTo>
                  <a:lnTo>
                    <a:pt x="419" y="973"/>
                  </a:lnTo>
                  <a:lnTo>
                    <a:pt x="419" y="973"/>
                  </a:lnTo>
                  <a:lnTo>
                    <a:pt x="422" y="973"/>
                  </a:lnTo>
                  <a:lnTo>
                    <a:pt x="425" y="973"/>
                  </a:lnTo>
                  <a:lnTo>
                    <a:pt x="425" y="973"/>
                  </a:lnTo>
                  <a:lnTo>
                    <a:pt x="427" y="973"/>
                  </a:lnTo>
                  <a:lnTo>
                    <a:pt x="427" y="971"/>
                  </a:lnTo>
                  <a:lnTo>
                    <a:pt x="430" y="971"/>
                  </a:lnTo>
                  <a:lnTo>
                    <a:pt x="433" y="971"/>
                  </a:lnTo>
                  <a:lnTo>
                    <a:pt x="435" y="971"/>
                  </a:lnTo>
                  <a:lnTo>
                    <a:pt x="435" y="971"/>
                  </a:lnTo>
                  <a:lnTo>
                    <a:pt x="438" y="971"/>
                  </a:lnTo>
                  <a:lnTo>
                    <a:pt x="441" y="971"/>
                  </a:lnTo>
                  <a:lnTo>
                    <a:pt x="443" y="973"/>
                  </a:lnTo>
                  <a:lnTo>
                    <a:pt x="443" y="973"/>
                  </a:lnTo>
                  <a:lnTo>
                    <a:pt x="446" y="971"/>
                  </a:lnTo>
                  <a:lnTo>
                    <a:pt x="446" y="971"/>
                  </a:lnTo>
                  <a:lnTo>
                    <a:pt x="446" y="971"/>
                  </a:lnTo>
                  <a:lnTo>
                    <a:pt x="449" y="968"/>
                  </a:lnTo>
                  <a:lnTo>
                    <a:pt x="446" y="968"/>
                  </a:lnTo>
                  <a:lnTo>
                    <a:pt x="446" y="968"/>
                  </a:lnTo>
                  <a:lnTo>
                    <a:pt x="446" y="965"/>
                  </a:lnTo>
                  <a:lnTo>
                    <a:pt x="443" y="965"/>
                  </a:lnTo>
                  <a:lnTo>
                    <a:pt x="443" y="965"/>
                  </a:lnTo>
                  <a:lnTo>
                    <a:pt x="441" y="965"/>
                  </a:lnTo>
                  <a:lnTo>
                    <a:pt x="441" y="963"/>
                  </a:lnTo>
                  <a:lnTo>
                    <a:pt x="441" y="963"/>
                  </a:lnTo>
                  <a:lnTo>
                    <a:pt x="438" y="963"/>
                  </a:lnTo>
                  <a:lnTo>
                    <a:pt x="438" y="960"/>
                  </a:lnTo>
                  <a:lnTo>
                    <a:pt x="438" y="957"/>
                  </a:lnTo>
                  <a:lnTo>
                    <a:pt x="438" y="957"/>
                  </a:lnTo>
                  <a:lnTo>
                    <a:pt x="438" y="954"/>
                  </a:lnTo>
                  <a:lnTo>
                    <a:pt x="441" y="952"/>
                  </a:lnTo>
                  <a:lnTo>
                    <a:pt x="441" y="952"/>
                  </a:lnTo>
                  <a:lnTo>
                    <a:pt x="441" y="952"/>
                  </a:lnTo>
                  <a:lnTo>
                    <a:pt x="443" y="952"/>
                  </a:lnTo>
                  <a:lnTo>
                    <a:pt x="446" y="949"/>
                  </a:lnTo>
                  <a:lnTo>
                    <a:pt x="446" y="949"/>
                  </a:lnTo>
                  <a:lnTo>
                    <a:pt x="446" y="949"/>
                  </a:lnTo>
                  <a:lnTo>
                    <a:pt x="449" y="949"/>
                  </a:lnTo>
                  <a:lnTo>
                    <a:pt x="451" y="952"/>
                  </a:lnTo>
                  <a:lnTo>
                    <a:pt x="451" y="952"/>
                  </a:lnTo>
                  <a:lnTo>
                    <a:pt x="451" y="952"/>
                  </a:lnTo>
                  <a:lnTo>
                    <a:pt x="454" y="952"/>
                  </a:lnTo>
                  <a:lnTo>
                    <a:pt x="454" y="952"/>
                  </a:lnTo>
                  <a:lnTo>
                    <a:pt x="457" y="952"/>
                  </a:lnTo>
                  <a:lnTo>
                    <a:pt x="457" y="952"/>
                  </a:lnTo>
                  <a:lnTo>
                    <a:pt x="457" y="949"/>
                  </a:lnTo>
                  <a:lnTo>
                    <a:pt x="457" y="946"/>
                  </a:lnTo>
                  <a:lnTo>
                    <a:pt x="459" y="946"/>
                  </a:lnTo>
                  <a:lnTo>
                    <a:pt x="459" y="946"/>
                  </a:lnTo>
                  <a:lnTo>
                    <a:pt x="462" y="944"/>
                  </a:lnTo>
                  <a:lnTo>
                    <a:pt x="462" y="944"/>
                  </a:lnTo>
                  <a:lnTo>
                    <a:pt x="462" y="941"/>
                  </a:lnTo>
                  <a:lnTo>
                    <a:pt x="465" y="941"/>
                  </a:lnTo>
                  <a:lnTo>
                    <a:pt x="465" y="944"/>
                  </a:lnTo>
                  <a:lnTo>
                    <a:pt x="467" y="944"/>
                  </a:lnTo>
                  <a:lnTo>
                    <a:pt x="467" y="944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70" y="946"/>
                  </a:lnTo>
                  <a:lnTo>
                    <a:pt x="473" y="946"/>
                  </a:lnTo>
                  <a:lnTo>
                    <a:pt x="473" y="946"/>
                  </a:lnTo>
                  <a:lnTo>
                    <a:pt x="473" y="946"/>
                  </a:lnTo>
                  <a:lnTo>
                    <a:pt x="475" y="946"/>
                  </a:lnTo>
                  <a:lnTo>
                    <a:pt x="475" y="946"/>
                  </a:lnTo>
                  <a:lnTo>
                    <a:pt x="478" y="946"/>
                  </a:lnTo>
                  <a:lnTo>
                    <a:pt x="478" y="946"/>
                  </a:lnTo>
                  <a:lnTo>
                    <a:pt x="478" y="946"/>
                  </a:lnTo>
                  <a:lnTo>
                    <a:pt x="481" y="949"/>
                  </a:lnTo>
                  <a:lnTo>
                    <a:pt x="481" y="949"/>
                  </a:lnTo>
                  <a:lnTo>
                    <a:pt x="481" y="952"/>
                  </a:lnTo>
                  <a:lnTo>
                    <a:pt x="481" y="952"/>
                  </a:lnTo>
                  <a:lnTo>
                    <a:pt x="481" y="952"/>
                  </a:lnTo>
                  <a:lnTo>
                    <a:pt x="483" y="952"/>
                  </a:lnTo>
                  <a:lnTo>
                    <a:pt x="483" y="952"/>
                  </a:lnTo>
                  <a:lnTo>
                    <a:pt x="486" y="949"/>
                  </a:lnTo>
                  <a:lnTo>
                    <a:pt x="486" y="949"/>
                  </a:lnTo>
                  <a:lnTo>
                    <a:pt x="486" y="946"/>
                  </a:lnTo>
                  <a:lnTo>
                    <a:pt x="489" y="946"/>
                  </a:lnTo>
                  <a:lnTo>
                    <a:pt x="489" y="944"/>
                  </a:lnTo>
                  <a:lnTo>
                    <a:pt x="489" y="944"/>
                  </a:lnTo>
                  <a:lnTo>
                    <a:pt x="489" y="941"/>
                  </a:lnTo>
                  <a:lnTo>
                    <a:pt x="489" y="941"/>
                  </a:lnTo>
                  <a:lnTo>
                    <a:pt x="489" y="938"/>
                  </a:lnTo>
                  <a:lnTo>
                    <a:pt x="489" y="938"/>
                  </a:lnTo>
                  <a:lnTo>
                    <a:pt x="489" y="938"/>
                  </a:lnTo>
                  <a:lnTo>
                    <a:pt x="489" y="936"/>
                  </a:lnTo>
                  <a:lnTo>
                    <a:pt x="489" y="936"/>
                  </a:lnTo>
                  <a:lnTo>
                    <a:pt x="491" y="936"/>
                  </a:lnTo>
                  <a:lnTo>
                    <a:pt x="491" y="936"/>
                  </a:lnTo>
                  <a:lnTo>
                    <a:pt x="494" y="936"/>
                  </a:lnTo>
                  <a:lnTo>
                    <a:pt x="494" y="933"/>
                  </a:lnTo>
                  <a:lnTo>
                    <a:pt x="494" y="933"/>
                  </a:lnTo>
                  <a:lnTo>
                    <a:pt x="497" y="930"/>
                  </a:lnTo>
                  <a:lnTo>
                    <a:pt x="497" y="930"/>
                  </a:lnTo>
                  <a:lnTo>
                    <a:pt x="500" y="930"/>
                  </a:lnTo>
                  <a:lnTo>
                    <a:pt x="505" y="930"/>
                  </a:lnTo>
                  <a:lnTo>
                    <a:pt x="508" y="930"/>
                  </a:lnTo>
                  <a:lnTo>
                    <a:pt x="508" y="928"/>
                  </a:lnTo>
                  <a:lnTo>
                    <a:pt x="510" y="928"/>
                  </a:lnTo>
                  <a:lnTo>
                    <a:pt x="510" y="928"/>
                  </a:lnTo>
                  <a:lnTo>
                    <a:pt x="510" y="925"/>
                  </a:lnTo>
                  <a:lnTo>
                    <a:pt x="510" y="925"/>
                  </a:lnTo>
                  <a:lnTo>
                    <a:pt x="510" y="925"/>
                  </a:lnTo>
                  <a:lnTo>
                    <a:pt x="513" y="922"/>
                  </a:lnTo>
                  <a:lnTo>
                    <a:pt x="513" y="922"/>
                  </a:lnTo>
                  <a:lnTo>
                    <a:pt x="516" y="922"/>
                  </a:lnTo>
                  <a:lnTo>
                    <a:pt x="516" y="922"/>
                  </a:lnTo>
                  <a:lnTo>
                    <a:pt x="516" y="920"/>
                  </a:lnTo>
                  <a:lnTo>
                    <a:pt x="516" y="917"/>
                  </a:lnTo>
                  <a:lnTo>
                    <a:pt x="518" y="917"/>
                  </a:lnTo>
                  <a:lnTo>
                    <a:pt x="518" y="917"/>
                  </a:lnTo>
                  <a:lnTo>
                    <a:pt x="518" y="914"/>
                  </a:lnTo>
                  <a:lnTo>
                    <a:pt x="518" y="914"/>
                  </a:lnTo>
                  <a:lnTo>
                    <a:pt x="518" y="912"/>
                  </a:lnTo>
                  <a:lnTo>
                    <a:pt x="518" y="912"/>
                  </a:lnTo>
                  <a:lnTo>
                    <a:pt x="518" y="909"/>
                  </a:lnTo>
                  <a:lnTo>
                    <a:pt x="518" y="906"/>
                  </a:lnTo>
                  <a:lnTo>
                    <a:pt x="518" y="904"/>
                  </a:lnTo>
                  <a:lnTo>
                    <a:pt x="518" y="904"/>
                  </a:lnTo>
                  <a:lnTo>
                    <a:pt x="518" y="904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1" y="901"/>
                  </a:lnTo>
                  <a:lnTo>
                    <a:pt x="524" y="904"/>
                  </a:lnTo>
                  <a:lnTo>
                    <a:pt x="524" y="904"/>
                  </a:lnTo>
                  <a:lnTo>
                    <a:pt x="524" y="904"/>
                  </a:lnTo>
                  <a:lnTo>
                    <a:pt x="529" y="904"/>
                  </a:lnTo>
                  <a:lnTo>
                    <a:pt x="529" y="904"/>
                  </a:lnTo>
                  <a:lnTo>
                    <a:pt x="532" y="906"/>
                  </a:lnTo>
                  <a:lnTo>
                    <a:pt x="534" y="906"/>
                  </a:lnTo>
                  <a:lnTo>
                    <a:pt x="534" y="906"/>
                  </a:lnTo>
                  <a:lnTo>
                    <a:pt x="534" y="906"/>
                  </a:lnTo>
                  <a:lnTo>
                    <a:pt x="537" y="906"/>
                  </a:lnTo>
                  <a:lnTo>
                    <a:pt x="537" y="906"/>
                  </a:lnTo>
                  <a:lnTo>
                    <a:pt x="540" y="904"/>
                  </a:lnTo>
                  <a:lnTo>
                    <a:pt x="540" y="904"/>
                  </a:lnTo>
                  <a:lnTo>
                    <a:pt x="540" y="904"/>
                  </a:lnTo>
                  <a:lnTo>
                    <a:pt x="542" y="906"/>
                  </a:lnTo>
                  <a:lnTo>
                    <a:pt x="542" y="906"/>
                  </a:lnTo>
                  <a:lnTo>
                    <a:pt x="545" y="906"/>
                  </a:lnTo>
                  <a:lnTo>
                    <a:pt x="545" y="904"/>
                  </a:lnTo>
                  <a:lnTo>
                    <a:pt x="548" y="904"/>
                  </a:lnTo>
                  <a:lnTo>
                    <a:pt x="548" y="906"/>
                  </a:lnTo>
                  <a:lnTo>
                    <a:pt x="548" y="906"/>
                  </a:lnTo>
                  <a:lnTo>
                    <a:pt x="550" y="906"/>
                  </a:lnTo>
                  <a:lnTo>
                    <a:pt x="550" y="909"/>
                  </a:lnTo>
                  <a:lnTo>
                    <a:pt x="553" y="909"/>
                  </a:lnTo>
                  <a:lnTo>
                    <a:pt x="553" y="909"/>
                  </a:lnTo>
                  <a:lnTo>
                    <a:pt x="556" y="906"/>
                  </a:lnTo>
                  <a:lnTo>
                    <a:pt x="556" y="906"/>
                  </a:lnTo>
                  <a:lnTo>
                    <a:pt x="556" y="906"/>
                  </a:lnTo>
                  <a:lnTo>
                    <a:pt x="558" y="906"/>
                  </a:lnTo>
                  <a:lnTo>
                    <a:pt x="558" y="904"/>
                  </a:lnTo>
                  <a:lnTo>
                    <a:pt x="558" y="904"/>
                  </a:lnTo>
                  <a:lnTo>
                    <a:pt x="561" y="901"/>
                  </a:lnTo>
                  <a:lnTo>
                    <a:pt x="561" y="904"/>
                  </a:lnTo>
                  <a:lnTo>
                    <a:pt x="561" y="904"/>
                  </a:lnTo>
                  <a:lnTo>
                    <a:pt x="561" y="904"/>
                  </a:lnTo>
                  <a:lnTo>
                    <a:pt x="564" y="904"/>
                  </a:lnTo>
                  <a:lnTo>
                    <a:pt x="564" y="904"/>
                  </a:lnTo>
                  <a:lnTo>
                    <a:pt x="564" y="904"/>
                  </a:lnTo>
                  <a:lnTo>
                    <a:pt x="566" y="904"/>
                  </a:lnTo>
                  <a:lnTo>
                    <a:pt x="566" y="901"/>
                  </a:lnTo>
                  <a:lnTo>
                    <a:pt x="566" y="901"/>
                  </a:lnTo>
                  <a:lnTo>
                    <a:pt x="569" y="901"/>
                  </a:lnTo>
                  <a:lnTo>
                    <a:pt x="569" y="901"/>
                  </a:lnTo>
                  <a:lnTo>
                    <a:pt x="569" y="901"/>
                  </a:lnTo>
                  <a:lnTo>
                    <a:pt x="572" y="898"/>
                  </a:lnTo>
                  <a:lnTo>
                    <a:pt x="572" y="896"/>
                  </a:lnTo>
                  <a:lnTo>
                    <a:pt x="574" y="896"/>
                  </a:lnTo>
                  <a:lnTo>
                    <a:pt x="572" y="893"/>
                  </a:lnTo>
                  <a:lnTo>
                    <a:pt x="572" y="890"/>
                  </a:lnTo>
                  <a:lnTo>
                    <a:pt x="574" y="890"/>
                  </a:lnTo>
                  <a:lnTo>
                    <a:pt x="574" y="890"/>
                  </a:lnTo>
                  <a:lnTo>
                    <a:pt x="580" y="885"/>
                  </a:lnTo>
                  <a:lnTo>
                    <a:pt x="580" y="885"/>
                  </a:lnTo>
                  <a:lnTo>
                    <a:pt x="582" y="885"/>
                  </a:lnTo>
                  <a:lnTo>
                    <a:pt x="582" y="882"/>
                  </a:lnTo>
                  <a:lnTo>
                    <a:pt x="585" y="882"/>
                  </a:lnTo>
                  <a:lnTo>
                    <a:pt x="588" y="885"/>
                  </a:lnTo>
                  <a:lnTo>
                    <a:pt x="590" y="885"/>
                  </a:lnTo>
                  <a:lnTo>
                    <a:pt x="596" y="885"/>
                  </a:lnTo>
                  <a:lnTo>
                    <a:pt x="598" y="882"/>
                  </a:lnTo>
                  <a:lnTo>
                    <a:pt x="598" y="882"/>
                  </a:lnTo>
                  <a:lnTo>
                    <a:pt x="601" y="882"/>
                  </a:lnTo>
                  <a:lnTo>
                    <a:pt x="601" y="885"/>
                  </a:lnTo>
                  <a:lnTo>
                    <a:pt x="604" y="885"/>
                  </a:lnTo>
                  <a:lnTo>
                    <a:pt x="604" y="885"/>
                  </a:lnTo>
                  <a:lnTo>
                    <a:pt x="606" y="885"/>
                  </a:lnTo>
                  <a:lnTo>
                    <a:pt x="609" y="888"/>
                  </a:lnTo>
                  <a:lnTo>
                    <a:pt x="609" y="888"/>
                  </a:lnTo>
                  <a:lnTo>
                    <a:pt x="609" y="888"/>
                  </a:lnTo>
                  <a:lnTo>
                    <a:pt x="612" y="888"/>
                  </a:lnTo>
                  <a:lnTo>
                    <a:pt x="612" y="890"/>
                  </a:lnTo>
                  <a:lnTo>
                    <a:pt x="614" y="890"/>
                  </a:lnTo>
                  <a:lnTo>
                    <a:pt x="614" y="890"/>
                  </a:lnTo>
                  <a:lnTo>
                    <a:pt x="614" y="890"/>
                  </a:lnTo>
                  <a:lnTo>
                    <a:pt x="614" y="893"/>
                  </a:lnTo>
                  <a:lnTo>
                    <a:pt x="617" y="893"/>
                  </a:lnTo>
                  <a:lnTo>
                    <a:pt x="620" y="890"/>
                  </a:lnTo>
                  <a:lnTo>
                    <a:pt x="620" y="890"/>
                  </a:lnTo>
                  <a:lnTo>
                    <a:pt x="622" y="890"/>
                  </a:lnTo>
                  <a:lnTo>
                    <a:pt x="625" y="890"/>
                  </a:lnTo>
                  <a:lnTo>
                    <a:pt x="625" y="890"/>
                  </a:lnTo>
                  <a:lnTo>
                    <a:pt x="628" y="888"/>
                  </a:lnTo>
                  <a:lnTo>
                    <a:pt x="630" y="885"/>
                  </a:lnTo>
                  <a:lnTo>
                    <a:pt x="630" y="885"/>
                  </a:lnTo>
                  <a:lnTo>
                    <a:pt x="630" y="882"/>
                  </a:lnTo>
                  <a:lnTo>
                    <a:pt x="633" y="882"/>
                  </a:lnTo>
                  <a:lnTo>
                    <a:pt x="633" y="880"/>
                  </a:lnTo>
                  <a:lnTo>
                    <a:pt x="636" y="880"/>
                  </a:lnTo>
                  <a:lnTo>
                    <a:pt x="636" y="880"/>
                  </a:lnTo>
                  <a:lnTo>
                    <a:pt x="636" y="880"/>
                  </a:lnTo>
                  <a:lnTo>
                    <a:pt x="636" y="882"/>
                  </a:lnTo>
                  <a:lnTo>
                    <a:pt x="638" y="882"/>
                  </a:lnTo>
                  <a:lnTo>
                    <a:pt x="638" y="882"/>
                  </a:lnTo>
                  <a:lnTo>
                    <a:pt x="638" y="882"/>
                  </a:lnTo>
                  <a:lnTo>
                    <a:pt x="641" y="885"/>
                  </a:lnTo>
                  <a:lnTo>
                    <a:pt x="641" y="885"/>
                  </a:lnTo>
                  <a:lnTo>
                    <a:pt x="644" y="885"/>
                  </a:lnTo>
                  <a:lnTo>
                    <a:pt x="644" y="885"/>
                  </a:lnTo>
                  <a:lnTo>
                    <a:pt x="646" y="882"/>
                  </a:lnTo>
                  <a:lnTo>
                    <a:pt x="646" y="882"/>
                  </a:lnTo>
                  <a:lnTo>
                    <a:pt x="649" y="882"/>
                  </a:lnTo>
                  <a:lnTo>
                    <a:pt x="649" y="882"/>
                  </a:lnTo>
                  <a:lnTo>
                    <a:pt x="649" y="882"/>
                  </a:lnTo>
                  <a:lnTo>
                    <a:pt x="654" y="885"/>
                  </a:lnTo>
                  <a:lnTo>
                    <a:pt x="654" y="885"/>
                  </a:lnTo>
                  <a:lnTo>
                    <a:pt x="657" y="888"/>
                  </a:lnTo>
                  <a:lnTo>
                    <a:pt x="657" y="888"/>
                  </a:lnTo>
                  <a:lnTo>
                    <a:pt x="657" y="888"/>
                  </a:lnTo>
                  <a:lnTo>
                    <a:pt x="660" y="890"/>
                  </a:lnTo>
                  <a:lnTo>
                    <a:pt x="660" y="890"/>
                  </a:lnTo>
                  <a:lnTo>
                    <a:pt x="660" y="890"/>
                  </a:lnTo>
                  <a:lnTo>
                    <a:pt x="662" y="890"/>
                  </a:lnTo>
                  <a:lnTo>
                    <a:pt x="662" y="890"/>
                  </a:lnTo>
                  <a:lnTo>
                    <a:pt x="665" y="893"/>
                  </a:lnTo>
                  <a:lnTo>
                    <a:pt x="665" y="893"/>
                  </a:lnTo>
                  <a:lnTo>
                    <a:pt x="665" y="896"/>
                  </a:lnTo>
                  <a:lnTo>
                    <a:pt x="665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898"/>
                  </a:lnTo>
                  <a:lnTo>
                    <a:pt x="668" y="901"/>
                  </a:lnTo>
                  <a:lnTo>
                    <a:pt x="668" y="901"/>
                  </a:lnTo>
                  <a:lnTo>
                    <a:pt x="668" y="904"/>
                  </a:lnTo>
                  <a:lnTo>
                    <a:pt x="668" y="904"/>
                  </a:lnTo>
                  <a:lnTo>
                    <a:pt x="668" y="906"/>
                  </a:lnTo>
                  <a:lnTo>
                    <a:pt x="668" y="909"/>
                  </a:lnTo>
                  <a:lnTo>
                    <a:pt x="665" y="909"/>
                  </a:lnTo>
                  <a:lnTo>
                    <a:pt x="665" y="912"/>
                  </a:lnTo>
                  <a:lnTo>
                    <a:pt x="665" y="914"/>
                  </a:lnTo>
                  <a:lnTo>
                    <a:pt x="665" y="914"/>
                  </a:lnTo>
                  <a:lnTo>
                    <a:pt x="665" y="917"/>
                  </a:lnTo>
                  <a:lnTo>
                    <a:pt x="665" y="920"/>
                  </a:lnTo>
                  <a:lnTo>
                    <a:pt x="665" y="920"/>
                  </a:lnTo>
                  <a:lnTo>
                    <a:pt x="665" y="922"/>
                  </a:lnTo>
                  <a:lnTo>
                    <a:pt x="665" y="922"/>
                  </a:lnTo>
                  <a:lnTo>
                    <a:pt x="668" y="925"/>
                  </a:lnTo>
                  <a:lnTo>
                    <a:pt x="668" y="925"/>
                  </a:lnTo>
                  <a:lnTo>
                    <a:pt x="668" y="928"/>
                  </a:lnTo>
                  <a:lnTo>
                    <a:pt x="668" y="930"/>
                  </a:lnTo>
                  <a:lnTo>
                    <a:pt x="668" y="933"/>
                  </a:lnTo>
                  <a:lnTo>
                    <a:pt x="668" y="933"/>
                  </a:lnTo>
                  <a:lnTo>
                    <a:pt x="668" y="936"/>
                  </a:lnTo>
                  <a:lnTo>
                    <a:pt x="668" y="936"/>
                  </a:lnTo>
                  <a:lnTo>
                    <a:pt x="668" y="938"/>
                  </a:lnTo>
                  <a:lnTo>
                    <a:pt x="668" y="938"/>
                  </a:lnTo>
                  <a:lnTo>
                    <a:pt x="668" y="941"/>
                  </a:lnTo>
                  <a:lnTo>
                    <a:pt x="668" y="941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68" y="944"/>
                  </a:lnTo>
                  <a:lnTo>
                    <a:pt x="670" y="944"/>
                  </a:lnTo>
                  <a:lnTo>
                    <a:pt x="670" y="946"/>
                  </a:lnTo>
                  <a:lnTo>
                    <a:pt x="673" y="946"/>
                  </a:lnTo>
                  <a:lnTo>
                    <a:pt x="673" y="949"/>
                  </a:lnTo>
                  <a:lnTo>
                    <a:pt x="670" y="949"/>
                  </a:lnTo>
                  <a:lnTo>
                    <a:pt x="670" y="949"/>
                  </a:lnTo>
                  <a:lnTo>
                    <a:pt x="670" y="952"/>
                  </a:lnTo>
                  <a:lnTo>
                    <a:pt x="670" y="952"/>
                  </a:lnTo>
                  <a:lnTo>
                    <a:pt x="673" y="952"/>
                  </a:lnTo>
                  <a:lnTo>
                    <a:pt x="673" y="952"/>
                  </a:lnTo>
                  <a:lnTo>
                    <a:pt x="676" y="952"/>
                  </a:lnTo>
                  <a:lnTo>
                    <a:pt x="673" y="954"/>
                  </a:lnTo>
                  <a:lnTo>
                    <a:pt x="673" y="954"/>
                  </a:lnTo>
                  <a:lnTo>
                    <a:pt x="670" y="954"/>
                  </a:lnTo>
                  <a:lnTo>
                    <a:pt x="670" y="957"/>
                  </a:lnTo>
                  <a:lnTo>
                    <a:pt x="670" y="957"/>
                  </a:lnTo>
                  <a:lnTo>
                    <a:pt x="673" y="960"/>
                  </a:lnTo>
                  <a:lnTo>
                    <a:pt x="673" y="960"/>
                  </a:lnTo>
                  <a:lnTo>
                    <a:pt x="673" y="963"/>
                  </a:lnTo>
                  <a:lnTo>
                    <a:pt x="673" y="963"/>
                  </a:lnTo>
                  <a:lnTo>
                    <a:pt x="673" y="965"/>
                  </a:lnTo>
                  <a:lnTo>
                    <a:pt x="673" y="968"/>
                  </a:lnTo>
                  <a:lnTo>
                    <a:pt x="673" y="971"/>
                  </a:lnTo>
                  <a:lnTo>
                    <a:pt x="673" y="971"/>
                  </a:lnTo>
                  <a:lnTo>
                    <a:pt x="676" y="971"/>
                  </a:lnTo>
                  <a:lnTo>
                    <a:pt x="676" y="971"/>
                  </a:lnTo>
                  <a:lnTo>
                    <a:pt x="678" y="971"/>
                  </a:lnTo>
                  <a:lnTo>
                    <a:pt x="678" y="971"/>
                  </a:lnTo>
                  <a:lnTo>
                    <a:pt x="681" y="968"/>
                  </a:lnTo>
                  <a:lnTo>
                    <a:pt x="681" y="968"/>
                  </a:lnTo>
                  <a:lnTo>
                    <a:pt x="684" y="968"/>
                  </a:lnTo>
                  <a:lnTo>
                    <a:pt x="686" y="965"/>
                  </a:lnTo>
                  <a:lnTo>
                    <a:pt x="686" y="965"/>
                  </a:lnTo>
                  <a:lnTo>
                    <a:pt x="686" y="965"/>
                  </a:lnTo>
                  <a:lnTo>
                    <a:pt x="689" y="965"/>
                  </a:lnTo>
                  <a:lnTo>
                    <a:pt x="689" y="965"/>
                  </a:lnTo>
                  <a:lnTo>
                    <a:pt x="689" y="965"/>
                  </a:lnTo>
                  <a:lnTo>
                    <a:pt x="692" y="965"/>
                  </a:lnTo>
                  <a:lnTo>
                    <a:pt x="692" y="965"/>
                  </a:lnTo>
                  <a:lnTo>
                    <a:pt x="692" y="965"/>
                  </a:lnTo>
                  <a:lnTo>
                    <a:pt x="694" y="965"/>
                  </a:lnTo>
                  <a:lnTo>
                    <a:pt x="694" y="963"/>
                  </a:lnTo>
                  <a:lnTo>
                    <a:pt x="697" y="963"/>
                  </a:lnTo>
                  <a:lnTo>
                    <a:pt x="697" y="963"/>
                  </a:lnTo>
                  <a:lnTo>
                    <a:pt x="700" y="963"/>
                  </a:lnTo>
                  <a:lnTo>
                    <a:pt x="700" y="960"/>
                  </a:lnTo>
                  <a:lnTo>
                    <a:pt x="702" y="957"/>
                  </a:lnTo>
                  <a:lnTo>
                    <a:pt x="702" y="957"/>
                  </a:lnTo>
                  <a:lnTo>
                    <a:pt x="702" y="954"/>
                  </a:lnTo>
                  <a:lnTo>
                    <a:pt x="702" y="954"/>
                  </a:lnTo>
                  <a:lnTo>
                    <a:pt x="705" y="954"/>
                  </a:lnTo>
                  <a:lnTo>
                    <a:pt x="708" y="954"/>
                  </a:lnTo>
                  <a:lnTo>
                    <a:pt x="708" y="954"/>
                  </a:lnTo>
                  <a:lnTo>
                    <a:pt x="710" y="954"/>
                  </a:lnTo>
                  <a:lnTo>
                    <a:pt x="710" y="954"/>
                  </a:lnTo>
                  <a:lnTo>
                    <a:pt x="713" y="952"/>
                  </a:lnTo>
                  <a:lnTo>
                    <a:pt x="713" y="952"/>
                  </a:lnTo>
                  <a:lnTo>
                    <a:pt x="716" y="952"/>
                  </a:lnTo>
                  <a:lnTo>
                    <a:pt x="718" y="952"/>
                  </a:lnTo>
                  <a:lnTo>
                    <a:pt x="718" y="952"/>
                  </a:lnTo>
                  <a:lnTo>
                    <a:pt x="718" y="952"/>
                  </a:lnTo>
                  <a:lnTo>
                    <a:pt x="721" y="952"/>
                  </a:lnTo>
                  <a:lnTo>
                    <a:pt x="721" y="952"/>
                  </a:lnTo>
                  <a:lnTo>
                    <a:pt x="724" y="952"/>
                  </a:lnTo>
                  <a:lnTo>
                    <a:pt x="724" y="952"/>
                  </a:lnTo>
                  <a:lnTo>
                    <a:pt x="726" y="952"/>
                  </a:lnTo>
                  <a:lnTo>
                    <a:pt x="726" y="952"/>
                  </a:lnTo>
                  <a:lnTo>
                    <a:pt x="729" y="952"/>
                  </a:lnTo>
                  <a:lnTo>
                    <a:pt x="729" y="952"/>
                  </a:lnTo>
                  <a:lnTo>
                    <a:pt x="732" y="952"/>
                  </a:lnTo>
                  <a:lnTo>
                    <a:pt x="732" y="952"/>
                  </a:lnTo>
                  <a:lnTo>
                    <a:pt x="735" y="952"/>
                  </a:lnTo>
                  <a:lnTo>
                    <a:pt x="735" y="952"/>
                  </a:lnTo>
                  <a:lnTo>
                    <a:pt x="737" y="954"/>
                  </a:lnTo>
                  <a:lnTo>
                    <a:pt x="740" y="952"/>
                  </a:lnTo>
                  <a:lnTo>
                    <a:pt x="740" y="952"/>
                  </a:lnTo>
                  <a:lnTo>
                    <a:pt x="743" y="952"/>
                  </a:lnTo>
                  <a:lnTo>
                    <a:pt x="743" y="952"/>
                  </a:lnTo>
                  <a:lnTo>
                    <a:pt x="743" y="952"/>
                  </a:lnTo>
                  <a:lnTo>
                    <a:pt x="745" y="952"/>
                  </a:lnTo>
                  <a:lnTo>
                    <a:pt x="745" y="949"/>
                  </a:lnTo>
                  <a:lnTo>
                    <a:pt x="748" y="949"/>
                  </a:lnTo>
                  <a:lnTo>
                    <a:pt x="748" y="949"/>
                  </a:lnTo>
                  <a:lnTo>
                    <a:pt x="748" y="949"/>
                  </a:lnTo>
                  <a:lnTo>
                    <a:pt x="751" y="949"/>
                  </a:lnTo>
                  <a:lnTo>
                    <a:pt x="751" y="946"/>
                  </a:lnTo>
                  <a:lnTo>
                    <a:pt x="751" y="946"/>
                  </a:lnTo>
                  <a:lnTo>
                    <a:pt x="751" y="944"/>
                  </a:lnTo>
                  <a:lnTo>
                    <a:pt x="753" y="941"/>
                  </a:lnTo>
                  <a:lnTo>
                    <a:pt x="756" y="944"/>
                  </a:lnTo>
                  <a:lnTo>
                    <a:pt x="756" y="944"/>
                  </a:lnTo>
                  <a:lnTo>
                    <a:pt x="759" y="946"/>
                  </a:lnTo>
                  <a:lnTo>
                    <a:pt x="759" y="946"/>
                  </a:lnTo>
                  <a:lnTo>
                    <a:pt x="759" y="946"/>
                  </a:lnTo>
                  <a:lnTo>
                    <a:pt x="761" y="949"/>
                  </a:lnTo>
                  <a:lnTo>
                    <a:pt x="761" y="952"/>
                  </a:lnTo>
                  <a:lnTo>
                    <a:pt x="764" y="954"/>
                  </a:lnTo>
                  <a:lnTo>
                    <a:pt x="764" y="954"/>
                  </a:lnTo>
                  <a:lnTo>
                    <a:pt x="767" y="952"/>
                  </a:lnTo>
                  <a:lnTo>
                    <a:pt x="769" y="952"/>
                  </a:lnTo>
                  <a:lnTo>
                    <a:pt x="769" y="954"/>
                  </a:lnTo>
                  <a:lnTo>
                    <a:pt x="772" y="954"/>
                  </a:lnTo>
                  <a:lnTo>
                    <a:pt x="772" y="957"/>
                  </a:lnTo>
                  <a:lnTo>
                    <a:pt x="772" y="957"/>
                  </a:lnTo>
                  <a:lnTo>
                    <a:pt x="775" y="957"/>
                  </a:lnTo>
                  <a:lnTo>
                    <a:pt x="775" y="954"/>
                  </a:lnTo>
                  <a:lnTo>
                    <a:pt x="777" y="957"/>
                  </a:lnTo>
                  <a:lnTo>
                    <a:pt x="777" y="957"/>
                  </a:lnTo>
                  <a:lnTo>
                    <a:pt x="777" y="960"/>
                  </a:lnTo>
                  <a:lnTo>
                    <a:pt x="780" y="960"/>
                  </a:lnTo>
                  <a:lnTo>
                    <a:pt x="780" y="960"/>
                  </a:lnTo>
                  <a:lnTo>
                    <a:pt x="783" y="960"/>
                  </a:lnTo>
                  <a:lnTo>
                    <a:pt x="783" y="960"/>
                  </a:lnTo>
                  <a:lnTo>
                    <a:pt x="785" y="960"/>
                  </a:lnTo>
                  <a:lnTo>
                    <a:pt x="785" y="963"/>
                  </a:lnTo>
                  <a:lnTo>
                    <a:pt x="785" y="963"/>
                  </a:lnTo>
                  <a:lnTo>
                    <a:pt x="785" y="963"/>
                  </a:lnTo>
                  <a:lnTo>
                    <a:pt x="788" y="963"/>
                  </a:lnTo>
                  <a:lnTo>
                    <a:pt x="788" y="963"/>
                  </a:lnTo>
                  <a:lnTo>
                    <a:pt x="788" y="960"/>
                  </a:lnTo>
                  <a:lnTo>
                    <a:pt x="791" y="960"/>
                  </a:lnTo>
                  <a:lnTo>
                    <a:pt x="791" y="960"/>
                  </a:lnTo>
                  <a:lnTo>
                    <a:pt x="791" y="960"/>
                  </a:lnTo>
                  <a:lnTo>
                    <a:pt x="791" y="957"/>
                  </a:lnTo>
                  <a:lnTo>
                    <a:pt x="791" y="957"/>
                  </a:lnTo>
                  <a:lnTo>
                    <a:pt x="791" y="954"/>
                  </a:lnTo>
                  <a:lnTo>
                    <a:pt x="791" y="954"/>
                  </a:lnTo>
                  <a:lnTo>
                    <a:pt x="793" y="954"/>
                  </a:lnTo>
                  <a:lnTo>
                    <a:pt x="793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49"/>
                  </a:lnTo>
                  <a:lnTo>
                    <a:pt x="799" y="949"/>
                  </a:lnTo>
                  <a:lnTo>
                    <a:pt x="799" y="949"/>
                  </a:lnTo>
                  <a:lnTo>
                    <a:pt x="799" y="949"/>
                  </a:lnTo>
                  <a:lnTo>
                    <a:pt x="801" y="949"/>
                  </a:lnTo>
                  <a:lnTo>
                    <a:pt x="801" y="946"/>
                  </a:lnTo>
                  <a:lnTo>
                    <a:pt x="801" y="946"/>
                  </a:lnTo>
                  <a:lnTo>
                    <a:pt x="804" y="946"/>
                  </a:lnTo>
                  <a:lnTo>
                    <a:pt x="804" y="946"/>
                  </a:lnTo>
                  <a:lnTo>
                    <a:pt x="804" y="946"/>
                  </a:lnTo>
                  <a:lnTo>
                    <a:pt x="804" y="944"/>
                  </a:lnTo>
                  <a:lnTo>
                    <a:pt x="807" y="944"/>
                  </a:lnTo>
                  <a:lnTo>
                    <a:pt x="807" y="944"/>
                  </a:lnTo>
                  <a:lnTo>
                    <a:pt x="809" y="941"/>
                  </a:lnTo>
                  <a:lnTo>
                    <a:pt x="809" y="941"/>
                  </a:lnTo>
                  <a:lnTo>
                    <a:pt x="809" y="941"/>
                  </a:lnTo>
                  <a:lnTo>
                    <a:pt x="809" y="938"/>
                  </a:lnTo>
                  <a:lnTo>
                    <a:pt x="807" y="938"/>
                  </a:lnTo>
                  <a:lnTo>
                    <a:pt x="809" y="936"/>
                  </a:lnTo>
                  <a:lnTo>
                    <a:pt x="809" y="936"/>
                  </a:lnTo>
                  <a:lnTo>
                    <a:pt x="812" y="936"/>
                  </a:lnTo>
                  <a:lnTo>
                    <a:pt x="812" y="933"/>
                  </a:lnTo>
                  <a:lnTo>
                    <a:pt x="812" y="933"/>
                  </a:lnTo>
                  <a:lnTo>
                    <a:pt x="812" y="930"/>
                  </a:lnTo>
                  <a:lnTo>
                    <a:pt x="812" y="930"/>
                  </a:lnTo>
                  <a:lnTo>
                    <a:pt x="809" y="930"/>
                  </a:lnTo>
                  <a:lnTo>
                    <a:pt x="809" y="928"/>
                  </a:lnTo>
                  <a:lnTo>
                    <a:pt x="812" y="928"/>
                  </a:lnTo>
                  <a:lnTo>
                    <a:pt x="812" y="925"/>
                  </a:lnTo>
                  <a:lnTo>
                    <a:pt x="812" y="925"/>
                  </a:lnTo>
                  <a:lnTo>
                    <a:pt x="812" y="922"/>
                  </a:lnTo>
                  <a:lnTo>
                    <a:pt x="812" y="922"/>
                  </a:lnTo>
                  <a:lnTo>
                    <a:pt x="812" y="920"/>
                  </a:lnTo>
                  <a:lnTo>
                    <a:pt x="812" y="920"/>
                  </a:lnTo>
                  <a:lnTo>
                    <a:pt x="812" y="920"/>
                  </a:lnTo>
                  <a:lnTo>
                    <a:pt x="815" y="917"/>
                  </a:lnTo>
                  <a:lnTo>
                    <a:pt x="815" y="920"/>
                  </a:lnTo>
                  <a:lnTo>
                    <a:pt x="815" y="920"/>
                  </a:lnTo>
                  <a:lnTo>
                    <a:pt x="817" y="922"/>
                  </a:lnTo>
                  <a:lnTo>
                    <a:pt x="817" y="922"/>
                  </a:lnTo>
                  <a:lnTo>
                    <a:pt x="817" y="920"/>
                  </a:lnTo>
                  <a:lnTo>
                    <a:pt x="817" y="920"/>
                  </a:lnTo>
                  <a:lnTo>
                    <a:pt x="817" y="917"/>
                  </a:lnTo>
                  <a:lnTo>
                    <a:pt x="817" y="914"/>
                  </a:lnTo>
                  <a:lnTo>
                    <a:pt x="820" y="914"/>
                  </a:lnTo>
                  <a:lnTo>
                    <a:pt x="820" y="917"/>
                  </a:lnTo>
                  <a:lnTo>
                    <a:pt x="820" y="917"/>
                  </a:lnTo>
                  <a:lnTo>
                    <a:pt x="820" y="920"/>
                  </a:lnTo>
                  <a:lnTo>
                    <a:pt x="823" y="920"/>
                  </a:lnTo>
                  <a:lnTo>
                    <a:pt x="825" y="914"/>
                  </a:lnTo>
                  <a:lnTo>
                    <a:pt x="825" y="912"/>
                  </a:lnTo>
                  <a:lnTo>
                    <a:pt x="828" y="909"/>
                  </a:lnTo>
                  <a:lnTo>
                    <a:pt x="828" y="909"/>
                  </a:lnTo>
                  <a:lnTo>
                    <a:pt x="825" y="906"/>
                  </a:lnTo>
                  <a:lnTo>
                    <a:pt x="825" y="906"/>
                  </a:lnTo>
                  <a:lnTo>
                    <a:pt x="825" y="906"/>
                  </a:lnTo>
                  <a:lnTo>
                    <a:pt x="828" y="904"/>
                  </a:lnTo>
                  <a:lnTo>
                    <a:pt x="828" y="904"/>
                  </a:lnTo>
                  <a:lnTo>
                    <a:pt x="828" y="901"/>
                  </a:lnTo>
                  <a:lnTo>
                    <a:pt x="831" y="901"/>
                  </a:lnTo>
                  <a:lnTo>
                    <a:pt x="831" y="898"/>
                  </a:lnTo>
                  <a:lnTo>
                    <a:pt x="831" y="898"/>
                  </a:lnTo>
                  <a:lnTo>
                    <a:pt x="831" y="896"/>
                  </a:lnTo>
                  <a:lnTo>
                    <a:pt x="831" y="896"/>
                  </a:lnTo>
                  <a:lnTo>
                    <a:pt x="828" y="896"/>
                  </a:lnTo>
                  <a:lnTo>
                    <a:pt x="828" y="896"/>
                  </a:lnTo>
                  <a:lnTo>
                    <a:pt x="831" y="893"/>
                  </a:lnTo>
                  <a:lnTo>
                    <a:pt x="831" y="890"/>
                  </a:lnTo>
                  <a:lnTo>
                    <a:pt x="831" y="890"/>
                  </a:lnTo>
                  <a:lnTo>
                    <a:pt x="831" y="888"/>
                  </a:lnTo>
                  <a:lnTo>
                    <a:pt x="831" y="888"/>
                  </a:lnTo>
                  <a:lnTo>
                    <a:pt x="831" y="888"/>
                  </a:lnTo>
                  <a:lnTo>
                    <a:pt x="831" y="885"/>
                  </a:lnTo>
                  <a:lnTo>
                    <a:pt x="831" y="885"/>
                  </a:lnTo>
                  <a:lnTo>
                    <a:pt x="833" y="882"/>
                  </a:lnTo>
                  <a:lnTo>
                    <a:pt x="833" y="882"/>
                  </a:lnTo>
                  <a:lnTo>
                    <a:pt x="833" y="882"/>
                  </a:lnTo>
                  <a:lnTo>
                    <a:pt x="836" y="880"/>
                  </a:lnTo>
                  <a:lnTo>
                    <a:pt x="836" y="880"/>
                  </a:lnTo>
                  <a:lnTo>
                    <a:pt x="839" y="880"/>
                  </a:lnTo>
                  <a:lnTo>
                    <a:pt x="839" y="880"/>
                  </a:lnTo>
                  <a:lnTo>
                    <a:pt x="841" y="882"/>
                  </a:lnTo>
                  <a:lnTo>
                    <a:pt x="841" y="882"/>
                  </a:lnTo>
                  <a:lnTo>
                    <a:pt x="841" y="882"/>
                  </a:lnTo>
                  <a:lnTo>
                    <a:pt x="844" y="880"/>
                  </a:lnTo>
                  <a:lnTo>
                    <a:pt x="844" y="880"/>
                  </a:lnTo>
                  <a:lnTo>
                    <a:pt x="844" y="880"/>
                  </a:lnTo>
                  <a:lnTo>
                    <a:pt x="847" y="877"/>
                  </a:lnTo>
                  <a:lnTo>
                    <a:pt x="844" y="877"/>
                  </a:lnTo>
                  <a:lnTo>
                    <a:pt x="844" y="874"/>
                  </a:lnTo>
                  <a:lnTo>
                    <a:pt x="844" y="874"/>
                  </a:lnTo>
                  <a:lnTo>
                    <a:pt x="844" y="872"/>
                  </a:lnTo>
                  <a:lnTo>
                    <a:pt x="847" y="869"/>
                  </a:lnTo>
                  <a:lnTo>
                    <a:pt x="847" y="866"/>
                  </a:lnTo>
                  <a:lnTo>
                    <a:pt x="849" y="866"/>
                  </a:lnTo>
                  <a:lnTo>
                    <a:pt x="849" y="866"/>
                  </a:lnTo>
                  <a:lnTo>
                    <a:pt x="852" y="864"/>
                  </a:lnTo>
                  <a:lnTo>
                    <a:pt x="855" y="864"/>
                  </a:lnTo>
                  <a:lnTo>
                    <a:pt x="855" y="864"/>
                  </a:lnTo>
                  <a:lnTo>
                    <a:pt x="857" y="864"/>
                  </a:lnTo>
                  <a:lnTo>
                    <a:pt x="860" y="864"/>
                  </a:lnTo>
                  <a:lnTo>
                    <a:pt x="863" y="864"/>
                  </a:lnTo>
                  <a:lnTo>
                    <a:pt x="863" y="864"/>
                  </a:lnTo>
                  <a:lnTo>
                    <a:pt x="863" y="864"/>
                  </a:lnTo>
                  <a:lnTo>
                    <a:pt x="863" y="861"/>
                  </a:lnTo>
                  <a:lnTo>
                    <a:pt x="863" y="861"/>
                  </a:lnTo>
                  <a:lnTo>
                    <a:pt x="860" y="856"/>
                  </a:lnTo>
                  <a:lnTo>
                    <a:pt x="863" y="856"/>
                  </a:lnTo>
                  <a:lnTo>
                    <a:pt x="863" y="856"/>
                  </a:lnTo>
                  <a:lnTo>
                    <a:pt x="865" y="856"/>
                  </a:lnTo>
                  <a:lnTo>
                    <a:pt x="865" y="853"/>
                  </a:lnTo>
                  <a:lnTo>
                    <a:pt x="865" y="853"/>
                  </a:lnTo>
                  <a:lnTo>
                    <a:pt x="865" y="850"/>
                  </a:lnTo>
                  <a:lnTo>
                    <a:pt x="865" y="848"/>
                  </a:lnTo>
                  <a:lnTo>
                    <a:pt x="865" y="848"/>
                  </a:lnTo>
                  <a:lnTo>
                    <a:pt x="865" y="845"/>
                  </a:lnTo>
                  <a:lnTo>
                    <a:pt x="863" y="845"/>
                  </a:lnTo>
                  <a:lnTo>
                    <a:pt x="865" y="845"/>
                  </a:lnTo>
                  <a:lnTo>
                    <a:pt x="865" y="842"/>
                  </a:lnTo>
                  <a:lnTo>
                    <a:pt x="868" y="842"/>
                  </a:lnTo>
                  <a:lnTo>
                    <a:pt x="868" y="840"/>
                  </a:lnTo>
                  <a:lnTo>
                    <a:pt x="868" y="837"/>
                  </a:lnTo>
                  <a:lnTo>
                    <a:pt x="868" y="837"/>
                  </a:lnTo>
                  <a:lnTo>
                    <a:pt x="868" y="834"/>
                  </a:lnTo>
                  <a:lnTo>
                    <a:pt x="868" y="834"/>
                  </a:lnTo>
                  <a:lnTo>
                    <a:pt x="868" y="832"/>
                  </a:lnTo>
                  <a:lnTo>
                    <a:pt x="871" y="829"/>
                  </a:lnTo>
                  <a:lnTo>
                    <a:pt x="868" y="829"/>
                  </a:lnTo>
                  <a:lnTo>
                    <a:pt x="868" y="826"/>
                  </a:lnTo>
                  <a:lnTo>
                    <a:pt x="868" y="826"/>
                  </a:lnTo>
                  <a:lnTo>
                    <a:pt x="868" y="824"/>
                  </a:lnTo>
                  <a:lnTo>
                    <a:pt x="871" y="826"/>
                  </a:lnTo>
                  <a:lnTo>
                    <a:pt x="871" y="826"/>
                  </a:lnTo>
                  <a:lnTo>
                    <a:pt x="873" y="824"/>
                  </a:lnTo>
                  <a:lnTo>
                    <a:pt x="873" y="821"/>
                  </a:lnTo>
                  <a:lnTo>
                    <a:pt x="876" y="821"/>
                  </a:lnTo>
                  <a:lnTo>
                    <a:pt x="876" y="818"/>
                  </a:lnTo>
                  <a:lnTo>
                    <a:pt x="879" y="818"/>
                  </a:lnTo>
                  <a:lnTo>
                    <a:pt x="879" y="816"/>
                  </a:lnTo>
                  <a:lnTo>
                    <a:pt x="879" y="816"/>
                  </a:lnTo>
                  <a:lnTo>
                    <a:pt x="881" y="818"/>
                  </a:lnTo>
                  <a:lnTo>
                    <a:pt x="884" y="818"/>
                  </a:lnTo>
                  <a:lnTo>
                    <a:pt x="884" y="818"/>
                  </a:lnTo>
                  <a:lnTo>
                    <a:pt x="884" y="818"/>
                  </a:lnTo>
                  <a:lnTo>
                    <a:pt x="887" y="818"/>
                  </a:lnTo>
                  <a:lnTo>
                    <a:pt x="887" y="818"/>
                  </a:lnTo>
                  <a:lnTo>
                    <a:pt x="887" y="818"/>
                  </a:lnTo>
                  <a:lnTo>
                    <a:pt x="887" y="816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92" y="813"/>
                  </a:lnTo>
                  <a:lnTo>
                    <a:pt x="892" y="813"/>
                  </a:lnTo>
                  <a:lnTo>
                    <a:pt x="895" y="813"/>
                  </a:lnTo>
                  <a:lnTo>
                    <a:pt x="897" y="813"/>
                  </a:lnTo>
                  <a:lnTo>
                    <a:pt x="897" y="816"/>
                  </a:lnTo>
                  <a:lnTo>
                    <a:pt x="900" y="816"/>
                  </a:lnTo>
                  <a:lnTo>
                    <a:pt x="900" y="816"/>
                  </a:lnTo>
                  <a:lnTo>
                    <a:pt x="900" y="818"/>
                  </a:lnTo>
                  <a:lnTo>
                    <a:pt x="900" y="818"/>
                  </a:lnTo>
                  <a:lnTo>
                    <a:pt x="900" y="821"/>
                  </a:lnTo>
                  <a:lnTo>
                    <a:pt x="900" y="821"/>
                  </a:lnTo>
                  <a:lnTo>
                    <a:pt x="900" y="821"/>
                  </a:lnTo>
                  <a:lnTo>
                    <a:pt x="900" y="824"/>
                  </a:lnTo>
                  <a:lnTo>
                    <a:pt x="900" y="824"/>
                  </a:lnTo>
                  <a:lnTo>
                    <a:pt x="900" y="826"/>
                  </a:lnTo>
                  <a:lnTo>
                    <a:pt x="900" y="826"/>
                  </a:lnTo>
                  <a:lnTo>
                    <a:pt x="900" y="829"/>
                  </a:lnTo>
                  <a:lnTo>
                    <a:pt x="903" y="829"/>
                  </a:lnTo>
                  <a:lnTo>
                    <a:pt x="905" y="829"/>
                  </a:lnTo>
                  <a:lnTo>
                    <a:pt x="905" y="826"/>
                  </a:lnTo>
                  <a:lnTo>
                    <a:pt x="905" y="826"/>
                  </a:lnTo>
                  <a:lnTo>
                    <a:pt x="908" y="826"/>
                  </a:lnTo>
                  <a:lnTo>
                    <a:pt x="908" y="826"/>
                  </a:lnTo>
                  <a:lnTo>
                    <a:pt x="911" y="826"/>
                  </a:lnTo>
                  <a:lnTo>
                    <a:pt x="913" y="826"/>
                  </a:lnTo>
                  <a:lnTo>
                    <a:pt x="913" y="826"/>
                  </a:lnTo>
                  <a:lnTo>
                    <a:pt x="913" y="829"/>
                  </a:lnTo>
                  <a:lnTo>
                    <a:pt x="913" y="829"/>
                  </a:lnTo>
                  <a:lnTo>
                    <a:pt x="916" y="829"/>
                  </a:lnTo>
                  <a:lnTo>
                    <a:pt x="916" y="832"/>
                  </a:lnTo>
                  <a:lnTo>
                    <a:pt x="919" y="832"/>
                  </a:lnTo>
                  <a:lnTo>
                    <a:pt x="919" y="832"/>
                  </a:lnTo>
                  <a:lnTo>
                    <a:pt x="921" y="832"/>
                  </a:lnTo>
                  <a:lnTo>
                    <a:pt x="921" y="832"/>
                  </a:lnTo>
                  <a:lnTo>
                    <a:pt x="924" y="832"/>
                  </a:lnTo>
                  <a:lnTo>
                    <a:pt x="924" y="829"/>
                  </a:lnTo>
                  <a:lnTo>
                    <a:pt x="927" y="826"/>
                  </a:lnTo>
                  <a:lnTo>
                    <a:pt x="927" y="826"/>
                  </a:lnTo>
                  <a:lnTo>
                    <a:pt x="929" y="826"/>
                  </a:lnTo>
                  <a:lnTo>
                    <a:pt x="929" y="826"/>
                  </a:lnTo>
                  <a:lnTo>
                    <a:pt x="929" y="826"/>
                  </a:lnTo>
                  <a:lnTo>
                    <a:pt x="932" y="829"/>
                  </a:lnTo>
                  <a:lnTo>
                    <a:pt x="932" y="829"/>
                  </a:lnTo>
                  <a:lnTo>
                    <a:pt x="935" y="829"/>
                  </a:lnTo>
                  <a:lnTo>
                    <a:pt x="935" y="829"/>
                  </a:lnTo>
                  <a:lnTo>
                    <a:pt x="937" y="829"/>
                  </a:lnTo>
                  <a:lnTo>
                    <a:pt x="937" y="829"/>
                  </a:lnTo>
                  <a:lnTo>
                    <a:pt x="940" y="829"/>
                  </a:lnTo>
                  <a:lnTo>
                    <a:pt x="940" y="829"/>
                  </a:lnTo>
                  <a:lnTo>
                    <a:pt x="940" y="829"/>
                  </a:lnTo>
                  <a:lnTo>
                    <a:pt x="943" y="832"/>
                  </a:lnTo>
                  <a:lnTo>
                    <a:pt x="943" y="832"/>
                  </a:lnTo>
                  <a:lnTo>
                    <a:pt x="943" y="832"/>
                  </a:lnTo>
                  <a:lnTo>
                    <a:pt x="945" y="832"/>
                  </a:lnTo>
                  <a:lnTo>
                    <a:pt x="945" y="832"/>
                  </a:lnTo>
                  <a:lnTo>
                    <a:pt x="945" y="832"/>
                  </a:lnTo>
                  <a:lnTo>
                    <a:pt x="948" y="832"/>
                  </a:lnTo>
                  <a:lnTo>
                    <a:pt x="948" y="832"/>
                  </a:lnTo>
                  <a:lnTo>
                    <a:pt x="948" y="834"/>
                  </a:lnTo>
                  <a:lnTo>
                    <a:pt x="951" y="834"/>
                  </a:lnTo>
                  <a:lnTo>
                    <a:pt x="951" y="834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1" y="837"/>
                  </a:lnTo>
                  <a:lnTo>
                    <a:pt x="953" y="837"/>
                  </a:lnTo>
                  <a:lnTo>
                    <a:pt x="953" y="837"/>
                  </a:lnTo>
                  <a:lnTo>
                    <a:pt x="953" y="837"/>
                  </a:lnTo>
                  <a:lnTo>
                    <a:pt x="956" y="837"/>
                  </a:lnTo>
                  <a:lnTo>
                    <a:pt x="956" y="8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2" name="Freeform 8888">
              <a:extLst>
                <a:ext uri="{FF2B5EF4-FFF2-40B4-BE49-F238E27FC236}">
                  <a16:creationId xmlns:a16="http://schemas.microsoft.com/office/drawing/2014/main" id="{639276DC-00D7-674E-8F4A-A9A82E16D5D6}"/>
                </a:ext>
              </a:extLst>
            </p:cNvPr>
            <p:cNvSpPr/>
            <p:nvPr/>
          </p:nvSpPr>
          <p:spPr bwMode="auto">
            <a:xfrm>
              <a:off x="5932484" y="2916238"/>
              <a:ext cx="1395413" cy="1828800"/>
            </a:xfrm>
            <a:custGeom>
              <a:avLst/>
              <a:gdLst>
                <a:gd name="T0" fmla="*/ 823 w 879"/>
                <a:gd name="T1" fmla="*/ 561 h 1152"/>
                <a:gd name="T2" fmla="*/ 772 w 879"/>
                <a:gd name="T3" fmla="*/ 553 h 1152"/>
                <a:gd name="T4" fmla="*/ 759 w 879"/>
                <a:gd name="T5" fmla="*/ 510 h 1152"/>
                <a:gd name="T6" fmla="*/ 775 w 879"/>
                <a:gd name="T7" fmla="*/ 470 h 1152"/>
                <a:gd name="T8" fmla="*/ 769 w 879"/>
                <a:gd name="T9" fmla="*/ 430 h 1152"/>
                <a:gd name="T10" fmla="*/ 748 w 879"/>
                <a:gd name="T11" fmla="*/ 371 h 1152"/>
                <a:gd name="T12" fmla="*/ 737 w 879"/>
                <a:gd name="T13" fmla="*/ 315 h 1152"/>
                <a:gd name="T14" fmla="*/ 737 w 879"/>
                <a:gd name="T15" fmla="*/ 272 h 1152"/>
                <a:gd name="T16" fmla="*/ 694 w 879"/>
                <a:gd name="T17" fmla="*/ 26 h 1152"/>
                <a:gd name="T18" fmla="*/ 665 w 879"/>
                <a:gd name="T19" fmla="*/ 37 h 1152"/>
                <a:gd name="T20" fmla="*/ 628 w 879"/>
                <a:gd name="T21" fmla="*/ 51 h 1152"/>
                <a:gd name="T22" fmla="*/ 585 w 879"/>
                <a:gd name="T23" fmla="*/ 56 h 1152"/>
                <a:gd name="T24" fmla="*/ 521 w 879"/>
                <a:gd name="T25" fmla="*/ 35 h 1152"/>
                <a:gd name="T26" fmla="*/ 484 w 879"/>
                <a:gd name="T27" fmla="*/ 32 h 1152"/>
                <a:gd name="T28" fmla="*/ 443 w 879"/>
                <a:gd name="T29" fmla="*/ 5 h 1152"/>
                <a:gd name="T30" fmla="*/ 409 w 879"/>
                <a:gd name="T31" fmla="*/ 18 h 1152"/>
                <a:gd name="T32" fmla="*/ 358 w 879"/>
                <a:gd name="T33" fmla="*/ 43 h 1152"/>
                <a:gd name="T34" fmla="*/ 310 w 879"/>
                <a:gd name="T35" fmla="*/ 69 h 1152"/>
                <a:gd name="T36" fmla="*/ 275 w 879"/>
                <a:gd name="T37" fmla="*/ 112 h 1152"/>
                <a:gd name="T38" fmla="*/ 249 w 879"/>
                <a:gd name="T39" fmla="*/ 157 h 1152"/>
                <a:gd name="T40" fmla="*/ 174 w 879"/>
                <a:gd name="T41" fmla="*/ 208 h 1152"/>
                <a:gd name="T42" fmla="*/ 112 w 879"/>
                <a:gd name="T43" fmla="*/ 283 h 1152"/>
                <a:gd name="T44" fmla="*/ 24 w 879"/>
                <a:gd name="T45" fmla="*/ 401 h 1152"/>
                <a:gd name="T46" fmla="*/ 3 w 879"/>
                <a:gd name="T47" fmla="*/ 465 h 1152"/>
                <a:gd name="T48" fmla="*/ 24 w 879"/>
                <a:gd name="T49" fmla="*/ 529 h 1152"/>
                <a:gd name="T50" fmla="*/ 64 w 879"/>
                <a:gd name="T51" fmla="*/ 564 h 1152"/>
                <a:gd name="T52" fmla="*/ 120 w 879"/>
                <a:gd name="T53" fmla="*/ 593 h 1152"/>
                <a:gd name="T54" fmla="*/ 150 w 879"/>
                <a:gd name="T55" fmla="*/ 662 h 1152"/>
                <a:gd name="T56" fmla="*/ 128 w 879"/>
                <a:gd name="T57" fmla="*/ 721 h 1152"/>
                <a:gd name="T58" fmla="*/ 67 w 879"/>
                <a:gd name="T59" fmla="*/ 788 h 1152"/>
                <a:gd name="T60" fmla="*/ 83 w 879"/>
                <a:gd name="T61" fmla="*/ 842 h 1152"/>
                <a:gd name="T62" fmla="*/ 78 w 879"/>
                <a:gd name="T63" fmla="*/ 898 h 1152"/>
                <a:gd name="T64" fmla="*/ 128 w 879"/>
                <a:gd name="T65" fmla="*/ 962 h 1152"/>
                <a:gd name="T66" fmla="*/ 155 w 879"/>
                <a:gd name="T67" fmla="*/ 919 h 1152"/>
                <a:gd name="T68" fmla="*/ 166 w 879"/>
                <a:gd name="T69" fmla="*/ 906 h 1152"/>
                <a:gd name="T70" fmla="*/ 206 w 879"/>
                <a:gd name="T71" fmla="*/ 930 h 1152"/>
                <a:gd name="T72" fmla="*/ 275 w 879"/>
                <a:gd name="T73" fmla="*/ 927 h 1152"/>
                <a:gd name="T74" fmla="*/ 294 w 879"/>
                <a:gd name="T75" fmla="*/ 994 h 1152"/>
                <a:gd name="T76" fmla="*/ 286 w 879"/>
                <a:gd name="T77" fmla="*/ 1063 h 1152"/>
                <a:gd name="T78" fmla="*/ 342 w 879"/>
                <a:gd name="T79" fmla="*/ 1077 h 1152"/>
                <a:gd name="T80" fmla="*/ 387 w 879"/>
                <a:gd name="T81" fmla="*/ 1085 h 1152"/>
                <a:gd name="T82" fmla="*/ 433 w 879"/>
                <a:gd name="T83" fmla="*/ 1063 h 1152"/>
                <a:gd name="T84" fmla="*/ 481 w 879"/>
                <a:gd name="T85" fmla="*/ 1055 h 1152"/>
                <a:gd name="T86" fmla="*/ 521 w 879"/>
                <a:gd name="T87" fmla="*/ 1029 h 1152"/>
                <a:gd name="T88" fmla="*/ 558 w 879"/>
                <a:gd name="T89" fmla="*/ 1050 h 1152"/>
                <a:gd name="T90" fmla="*/ 620 w 879"/>
                <a:gd name="T91" fmla="*/ 1058 h 1152"/>
                <a:gd name="T92" fmla="*/ 662 w 879"/>
                <a:gd name="T93" fmla="*/ 1079 h 1152"/>
                <a:gd name="T94" fmla="*/ 678 w 879"/>
                <a:gd name="T95" fmla="*/ 1095 h 1152"/>
                <a:gd name="T96" fmla="*/ 705 w 879"/>
                <a:gd name="T97" fmla="*/ 1117 h 1152"/>
                <a:gd name="T98" fmla="*/ 761 w 879"/>
                <a:gd name="T99" fmla="*/ 1152 h 1152"/>
                <a:gd name="T100" fmla="*/ 793 w 879"/>
                <a:gd name="T101" fmla="*/ 1106 h 1152"/>
                <a:gd name="T102" fmla="*/ 775 w 879"/>
                <a:gd name="T103" fmla="*/ 1061 h 1152"/>
                <a:gd name="T104" fmla="*/ 793 w 879"/>
                <a:gd name="T105" fmla="*/ 1026 h 1152"/>
                <a:gd name="T106" fmla="*/ 772 w 879"/>
                <a:gd name="T107" fmla="*/ 983 h 1152"/>
                <a:gd name="T108" fmla="*/ 740 w 879"/>
                <a:gd name="T109" fmla="*/ 932 h 1152"/>
                <a:gd name="T110" fmla="*/ 751 w 879"/>
                <a:gd name="T111" fmla="*/ 879 h 1152"/>
                <a:gd name="T112" fmla="*/ 788 w 879"/>
                <a:gd name="T113" fmla="*/ 844 h 1152"/>
                <a:gd name="T114" fmla="*/ 815 w 879"/>
                <a:gd name="T115" fmla="*/ 777 h 1152"/>
                <a:gd name="T116" fmla="*/ 815 w 879"/>
                <a:gd name="T117" fmla="*/ 732 h 1152"/>
                <a:gd name="T118" fmla="*/ 801 w 879"/>
                <a:gd name="T119" fmla="*/ 679 h 1152"/>
                <a:gd name="T120" fmla="*/ 804 w 879"/>
                <a:gd name="T121" fmla="*/ 644 h 1152"/>
                <a:gd name="T122" fmla="*/ 823 w 879"/>
                <a:gd name="T123" fmla="*/ 604 h 1152"/>
                <a:gd name="T124" fmla="*/ 876 w 879"/>
                <a:gd name="T125" fmla="*/ 574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79" h="1152" extrusionOk="0">
                  <a:moveTo>
                    <a:pt x="879" y="556"/>
                  </a:moveTo>
                  <a:lnTo>
                    <a:pt x="876" y="556"/>
                  </a:lnTo>
                  <a:lnTo>
                    <a:pt x="876" y="556"/>
                  </a:lnTo>
                  <a:lnTo>
                    <a:pt x="876" y="556"/>
                  </a:lnTo>
                  <a:lnTo>
                    <a:pt x="873" y="556"/>
                  </a:lnTo>
                  <a:lnTo>
                    <a:pt x="873" y="556"/>
                  </a:lnTo>
                  <a:lnTo>
                    <a:pt x="873" y="558"/>
                  </a:lnTo>
                  <a:lnTo>
                    <a:pt x="873" y="558"/>
                  </a:lnTo>
                  <a:lnTo>
                    <a:pt x="873" y="561"/>
                  </a:lnTo>
                  <a:lnTo>
                    <a:pt x="873" y="561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68" y="561"/>
                  </a:lnTo>
                  <a:lnTo>
                    <a:pt x="868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5" y="561"/>
                  </a:lnTo>
                  <a:lnTo>
                    <a:pt x="863" y="564"/>
                  </a:lnTo>
                  <a:lnTo>
                    <a:pt x="863" y="564"/>
                  </a:lnTo>
                  <a:lnTo>
                    <a:pt x="863" y="564"/>
                  </a:lnTo>
                  <a:lnTo>
                    <a:pt x="860" y="566"/>
                  </a:lnTo>
                  <a:lnTo>
                    <a:pt x="860" y="566"/>
                  </a:lnTo>
                  <a:lnTo>
                    <a:pt x="860" y="572"/>
                  </a:lnTo>
                  <a:lnTo>
                    <a:pt x="857" y="574"/>
                  </a:lnTo>
                  <a:lnTo>
                    <a:pt x="855" y="572"/>
                  </a:lnTo>
                  <a:lnTo>
                    <a:pt x="855" y="572"/>
                  </a:lnTo>
                  <a:lnTo>
                    <a:pt x="855" y="572"/>
                  </a:lnTo>
                  <a:lnTo>
                    <a:pt x="852" y="572"/>
                  </a:lnTo>
                  <a:lnTo>
                    <a:pt x="852" y="569"/>
                  </a:lnTo>
                  <a:lnTo>
                    <a:pt x="849" y="569"/>
                  </a:lnTo>
                  <a:lnTo>
                    <a:pt x="849" y="569"/>
                  </a:lnTo>
                  <a:lnTo>
                    <a:pt x="847" y="569"/>
                  </a:lnTo>
                  <a:lnTo>
                    <a:pt x="847" y="566"/>
                  </a:lnTo>
                  <a:lnTo>
                    <a:pt x="844" y="566"/>
                  </a:lnTo>
                  <a:lnTo>
                    <a:pt x="844" y="566"/>
                  </a:lnTo>
                  <a:lnTo>
                    <a:pt x="841" y="564"/>
                  </a:lnTo>
                  <a:lnTo>
                    <a:pt x="841" y="564"/>
                  </a:lnTo>
                  <a:lnTo>
                    <a:pt x="839" y="564"/>
                  </a:lnTo>
                  <a:lnTo>
                    <a:pt x="839" y="564"/>
                  </a:lnTo>
                  <a:lnTo>
                    <a:pt x="836" y="564"/>
                  </a:lnTo>
                  <a:lnTo>
                    <a:pt x="833" y="564"/>
                  </a:lnTo>
                  <a:lnTo>
                    <a:pt x="833" y="566"/>
                  </a:lnTo>
                  <a:lnTo>
                    <a:pt x="833" y="566"/>
                  </a:lnTo>
                  <a:lnTo>
                    <a:pt x="831" y="566"/>
                  </a:lnTo>
                  <a:lnTo>
                    <a:pt x="828" y="569"/>
                  </a:lnTo>
                  <a:lnTo>
                    <a:pt x="823" y="564"/>
                  </a:lnTo>
                  <a:lnTo>
                    <a:pt x="823" y="564"/>
                  </a:lnTo>
                  <a:lnTo>
                    <a:pt x="823" y="561"/>
                  </a:lnTo>
                  <a:lnTo>
                    <a:pt x="820" y="561"/>
                  </a:lnTo>
                  <a:lnTo>
                    <a:pt x="817" y="561"/>
                  </a:lnTo>
                  <a:lnTo>
                    <a:pt x="815" y="561"/>
                  </a:lnTo>
                  <a:lnTo>
                    <a:pt x="815" y="558"/>
                  </a:lnTo>
                  <a:lnTo>
                    <a:pt x="812" y="558"/>
                  </a:lnTo>
                  <a:lnTo>
                    <a:pt x="809" y="558"/>
                  </a:lnTo>
                  <a:lnTo>
                    <a:pt x="807" y="556"/>
                  </a:lnTo>
                  <a:lnTo>
                    <a:pt x="804" y="553"/>
                  </a:lnTo>
                  <a:lnTo>
                    <a:pt x="804" y="556"/>
                  </a:lnTo>
                  <a:lnTo>
                    <a:pt x="804" y="556"/>
                  </a:lnTo>
                  <a:lnTo>
                    <a:pt x="801" y="556"/>
                  </a:lnTo>
                  <a:lnTo>
                    <a:pt x="799" y="556"/>
                  </a:lnTo>
                  <a:lnTo>
                    <a:pt x="799" y="556"/>
                  </a:lnTo>
                  <a:lnTo>
                    <a:pt x="799" y="553"/>
                  </a:lnTo>
                  <a:lnTo>
                    <a:pt x="796" y="553"/>
                  </a:lnTo>
                  <a:lnTo>
                    <a:pt x="796" y="550"/>
                  </a:lnTo>
                  <a:lnTo>
                    <a:pt x="796" y="550"/>
                  </a:lnTo>
                  <a:lnTo>
                    <a:pt x="796" y="548"/>
                  </a:lnTo>
                  <a:lnTo>
                    <a:pt x="793" y="548"/>
                  </a:lnTo>
                  <a:lnTo>
                    <a:pt x="793" y="548"/>
                  </a:lnTo>
                  <a:lnTo>
                    <a:pt x="793" y="545"/>
                  </a:lnTo>
                  <a:lnTo>
                    <a:pt x="791" y="545"/>
                  </a:lnTo>
                  <a:lnTo>
                    <a:pt x="791" y="545"/>
                  </a:lnTo>
                  <a:lnTo>
                    <a:pt x="791" y="548"/>
                  </a:lnTo>
                  <a:lnTo>
                    <a:pt x="791" y="548"/>
                  </a:lnTo>
                  <a:lnTo>
                    <a:pt x="791" y="550"/>
                  </a:lnTo>
                  <a:lnTo>
                    <a:pt x="791" y="550"/>
                  </a:lnTo>
                  <a:lnTo>
                    <a:pt x="791" y="553"/>
                  </a:lnTo>
                  <a:lnTo>
                    <a:pt x="791" y="556"/>
                  </a:lnTo>
                  <a:lnTo>
                    <a:pt x="788" y="556"/>
                  </a:lnTo>
                  <a:lnTo>
                    <a:pt x="788" y="556"/>
                  </a:lnTo>
                  <a:lnTo>
                    <a:pt x="785" y="556"/>
                  </a:lnTo>
                  <a:lnTo>
                    <a:pt x="783" y="556"/>
                  </a:lnTo>
                  <a:lnTo>
                    <a:pt x="783" y="556"/>
                  </a:lnTo>
                  <a:lnTo>
                    <a:pt x="780" y="556"/>
                  </a:lnTo>
                  <a:lnTo>
                    <a:pt x="780" y="558"/>
                  </a:lnTo>
                  <a:lnTo>
                    <a:pt x="780" y="558"/>
                  </a:lnTo>
                  <a:lnTo>
                    <a:pt x="780" y="556"/>
                  </a:lnTo>
                  <a:lnTo>
                    <a:pt x="777" y="556"/>
                  </a:lnTo>
                  <a:lnTo>
                    <a:pt x="777" y="558"/>
                  </a:lnTo>
                  <a:lnTo>
                    <a:pt x="777" y="558"/>
                  </a:lnTo>
                  <a:lnTo>
                    <a:pt x="775" y="561"/>
                  </a:lnTo>
                  <a:lnTo>
                    <a:pt x="772" y="561"/>
                  </a:lnTo>
                  <a:lnTo>
                    <a:pt x="772" y="561"/>
                  </a:lnTo>
                  <a:lnTo>
                    <a:pt x="772" y="558"/>
                  </a:lnTo>
                  <a:lnTo>
                    <a:pt x="769" y="558"/>
                  </a:lnTo>
                  <a:lnTo>
                    <a:pt x="769" y="556"/>
                  </a:lnTo>
                  <a:lnTo>
                    <a:pt x="772" y="556"/>
                  </a:lnTo>
                  <a:lnTo>
                    <a:pt x="772" y="556"/>
                  </a:lnTo>
                  <a:lnTo>
                    <a:pt x="772" y="553"/>
                  </a:lnTo>
                  <a:lnTo>
                    <a:pt x="772" y="553"/>
                  </a:lnTo>
                  <a:lnTo>
                    <a:pt x="769" y="553"/>
                  </a:lnTo>
                  <a:lnTo>
                    <a:pt x="769" y="550"/>
                  </a:lnTo>
                  <a:lnTo>
                    <a:pt x="767" y="550"/>
                  </a:lnTo>
                  <a:lnTo>
                    <a:pt x="767" y="550"/>
                  </a:lnTo>
                  <a:lnTo>
                    <a:pt x="764" y="548"/>
                  </a:lnTo>
                  <a:lnTo>
                    <a:pt x="764" y="550"/>
                  </a:lnTo>
                  <a:lnTo>
                    <a:pt x="764" y="553"/>
                  </a:lnTo>
                  <a:lnTo>
                    <a:pt x="764" y="553"/>
                  </a:lnTo>
                  <a:lnTo>
                    <a:pt x="761" y="553"/>
                  </a:lnTo>
                  <a:lnTo>
                    <a:pt x="761" y="553"/>
                  </a:lnTo>
                  <a:lnTo>
                    <a:pt x="759" y="553"/>
                  </a:lnTo>
                  <a:lnTo>
                    <a:pt x="759" y="553"/>
                  </a:lnTo>
                  <a:lnTo>
                    <a:pt x="756" y="556"/>
                  </a:lnTo>
                  <a:lnTo>
                    <a:pt x="756" y="553"/>
                  </a:lnTo>
                  <a:lnTo>
                    <a:pt x="756" y="550"/>
                  </a:lnTo>
                  <a:lnTo>
                    <a:pt x="756" y="550"/>
                  </a:lnTo>
                  <a:lnTo>
                    <a:pt x="756" y="548"/>
                  </a:lnTo>
                  <a:lnTo>
                    <a:pt x="753" y="548"/>
                  </a:lnTo>
                  <a:lnTo>
                    <a:pt x="753" y="545"/>
                  </a:lnTo>
                  <a:lnTo>
                    <a:pt x="751" y="545"/>
                  </a:lnTo>
                  <a:lnTo>
                    <a:pt x="753" y="542"/>
                  </a:lnTo>
                  <a:lnTo>
                    <a:pt x="753" y="540"/>
                  </a:lnTo>
                  <a:lnTo>
                    <a:pt x="751" y="540"/>
                  </a:lnTo>
                  <a:lnTo>
                    <a:pt x="751" y="537"/>
                  </a:lnTo>
                  <a:lnTo>
                    <a:pt x="751" y="534"/>
                  </a:lnTo>
                  <a:lnTo>
                    <a:pt x="753" y="537"/>
                  </a:lnTo>
                  <a:lnTo>
                    <a:pt x="753" y="537"/>
                  </a:lnTo>
                  <a:lnTo>
                    <a:pt x="756" y="537"/>
                  </a:lnTo>
                  <a:lnTo>
                    <a:pt x="756" y="537"/>
                  </a:lnTo>
                  <a:lnTo>
                    <a:pt x="756" y="534"/>
                  </a:lnTo>
                  <a:lnTo>
                    <a:pt x="756" y="532"/>
                  </a:lnTo>
                  <a:lnTo>
                    <a:pt x="756" y="532"/>
                  </a:lnTo>
                  <a:lnTo>
                    <a:pt x="756" y="529"/>
                  </a:lnTo>
                  <a:lnTo>
                    <a:pt x="756" y="526"/>
                  </a:lnTo>
                  <a:lnTo>
                    <a:pt x="756" y="524"/>
                  </a:lnTo>
                  <a:lnTo>
                    <a:pt x="756" y="524"/>
                  </a:lnTo>
                  <a:lnTo>
                    <a:pt x="756" y="521"/>
                  </a:lnTo>
                  <a:lnTo>
                    <a:pt x="756" y="518"/>
                  </a:lnTo>
                  <a:lnTo>
                    <a:pt x="756" y="518"/>
                  </a:lnTo>
                  <a:lnTo>
                    <a:pt x="756" y="518"/>
                  </a:lnTo>
                  <a:lnTo>
                    <a:pt x="759" y="521"/>
                  </a:lnTo>
                  <a:lnTo>
                    <a:pt x="761" y="521"/>
                  </a:lnTo>
                  <a:lnTo>
                    <a:pt x="761" y="521"/>
                  </a:lnTo>
                  <a:lnTo>
                    <a:pt x="761" y="518"/>
                  </a:lnTo>
                  <a:lnTo>
                    <a:pt x="759" y="518"/>
                  </a:lnTo>
                  <a:lnTo>
                    <a:pt x="759" y="516"/>
                  </a:lnTo>
                  <a:lnTo>
                    <a:pt x="759" y="513"/>
                  </a:lnTo>
                  <a:lnTo>
                    <a:pt x="756" y="510"/>
                  </a:lnTo>
                  <a:lnTo>
                    <a:pt x="759" y="510"/>
                  </a:lnTo>
                  <a:lnTo>
                    <a:pt x="761" y="507"/>
                  </a:lnTo>
                  <a:lnTo>
                    <a:pt x="761" y="510"/>
                  </a:lnTo>
                  <a:lnTo>
                    <a:pt x="761" y="510"/>
                  </a:lnTo>
                  <a:lnTo>
                    <a:pt x="764" y="513"/>
                  </a:lnTo>
                  <a:lnTo>
                    <a:pt x="764" y="513"/>
                  </a:lnTo>
                  <a:lnTo>
                    <a:pt x="764" y="513"/>
                  </a:lnTo>
                  <a:lnTo>
                    <a:pt x="767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9" y="513"/>
                  </a:lnTo>
                  <a:lnTo>
                    <a:pt x="767" y="510"/>
                  </a:lnTo>
                  <a:lnTo>
                    <a:pt x="767" y="510"/>
                  </a:lnTo>
                  <a:lnTo>
                    <a:pt x="764" y="507"/>
                  </a:lnTo>
                  <a:lnTo>
                    <a:pt x="764" y="505"/>
                  </a:lnTo>
                  <a:lnTo>
                    <a:pt x="764" y="502"/>
                  </a:lnTo>
                  <a:lnTo>
                    <a:pt x="764" y="502"/>
                  </a:lnTo>
                  <a:lnTo>
                    <a:pt x="761" y="502"/>
                  </a:lnTo>
                  <a:lnTo>
                    <a:pt x="761" y="502"/>
                  </a:lnTo>
                  <a:lnTo>
                    <a:pt x="759" y="499"/>
                  </a:lnTo>
                  <a:lnTo>
                    <a:pt x="759" y="499"/>
                  </a:lnTo>
                  <a:lnTo>
                    <a:pt x="756" y="497"/>
                  </a:lnTo>
                  <a:lnTo>
                    <a:pt x="756" y="497"/>
                  </a:lnTo>
                  <a:lnTo>
                    <a:pt x="759" y="494"/>
                  </a:lnTo>
                  <a:lnTo>
                    <a:pt x="761" y="494"/>
                  </a:lnTo>
                  <a:lnTo>
                    <a:pt x="761" y="491"/>
                  </a:lnTo>
                  <a:lnTo>
                    <a:pt x="764" y="491"/>
                  </a:lnTo>
                  <a:lnTo>
                    <a:pt x="764" y="491"/>
                  </a:lnTo>
                  <a:lnTo>
                    <a:pt x="764" y="489"/>
                  </a:lnTo>
                  <a:lnTo>
                    <a:pt x="767" y="486"/>
                  </a:lnTo>
                  <a:lnTo>
                    <a:pt x="767" y="486"/>
                  </a:lnTo>
                  <a:lnTo>
                    <a:pt x="769" y="483"/>
                  </a:lnTo>
                  <a:lnTo>
                    <a:pt x="769" y="483"/>
                  </a:lnTo>
                  <a:lnTo>
                    <a:pt x="772" y="483"/>
                  </a:lnTo>
                  <a:lnTo>
                    <a:pt x="769" y="483"/>
                  </a:lnTo>
                  <a:lnTo>
                    <a:pt x="769" y="481"/>
                  </a:lnTo>
                  <a:lnTo>
                    <a:pt x="772" y="478"/>
                  </a:lnTo>
                  <a:lnTo>
                    <a:pt x="772" y="475"/>
                  </a:lnTo>
                  <a:lnTo>
                    <a:pt x="772" y="475"/>
                  </a:lnTo>
                  <a:lnTo>
                    <a:pt x="775" y="475"/>
                  </a:lnTo>
                  <a:lnTo>
                    <a:pt x="775" y="475"/>
                  </a:lnTo>
                  <a:lnTo>
                    <a:pt x="777" y="475"/>
                  </a:lnTo>
                  <a:lnTo>
                    <a:pt x="777" y="475"/>
                  </a:lnTo>
                  <a:lnTo>
                    <a:pt x="780" y="475"/>
                  </a:lnTo>
                  <a:lnTo>
                    <a:pt x="780" y="475"/>
                  </a:lnTo>
                  <a:lnTo>
                    <a:pt x="777" y="475"/>
                  </a:lnTo>
                  <a:lnTo>
                    <a:pt x="777" y="473"/>
                  </a:lnTo>
                  <a:lnTo>
                    <a:pt x="775" y="473"/>
                  </a:lnTo>
                  <a:lnTo>
                    <a:pt x="775" y="470"/>
                  </a:lnTo>
                  <a:lnTo>
                    <a:pt x="775" y="470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77" y="459"/>
                  </a:lnTo>
                  <a:lnTo>
                    <a:pt x="777" y="459"/>
                  </a:lnTo>
                  <a:lnTo>
                    <a:pt x="777" y="457"/>
                  </a:lnTo>
                  <a:lnTo>
                    <a:pt x="780" y="457"/>
                  </a:lnTo>
                  <a:lnTo>
                    <a:pt x="780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5" y="457"/>
                  </a:lnTo>
                  <a:lnTo>
                    <a:pt x="785" y="457"/>
                  </a:lnTo>
                  <a:lnTo>
                    <a:pt x="788" y="457"/>
                  </a:lnTo>
                  <a:lnTo>
                    <a:pt x="788" y="457"/>
                  </a:lnTo>
                  <a:lnTo>
                    <a:pt x="791" y="457"/>
                  </a:lnTo>
                  <a:lnTo>
                    <a:pt x="791" y="454"/>
                  </a:lnTo>
                  <a:lnTo>
                    <a:pt x="791" y="451"/>
                  </a:lnTo>
                  <a:lnTo>
                    <a:pt x="791" y="451"/>
                  </a:lnTo>
                  <a:lnTo>
                    <a:pt x="791" y="449"/>
                  </a:lnTo>
                  <a:lnTo>
                    <a:pt x="791" y="446"/>
                  </a:lnTo>
                  <a:lnTo>
                    <a:pt x="793" y="446"/>
                  </a:lnTo>
                  <a:lnTo>
                    <a:pt x="793" y="443"/>
                  </a:lnTo>
                  <a:lnTo>
                    <a:pt x="793" y="443"/>
                  </a:lnTo>
                  <a:lnTo>
                    <a:pt x="793" y="443"/>
                  </a:lnTo>
                  <a:lnTo>
                    <a:pt x="793" y="441"/>
                  </a:lnTo>
                  <a:lnTo>
                    <a:pt x="793" y="441"/>
                  </a:lnTo>
                  <a:lnTo>
                    <a:pt x="791" y="441"/>
                  </a:lnTo>
                  <a:lnTo>
                    <a:pt x="791" y="441"/>
                  </a:lnTo>
                  <a:lnTo>
                    <a:pt x="788" y="441"/>
                  </a:lnTo>
                  <a:lnTo>
                    <a:pt x="788" y="441"/>
                  </a:lnTo>
                  <a:lnTo>
                    <a:pt x="788" y="441"/>
                  </a:lnTo>
                  <a:lnTo>
                    <a:pt x="785" y="441"/>
                  </a:lnTo>
                  <a:lnTo>
                    <a:pt x="783" y="441"/>
                  </a:lnTo>
                  <a:lnTo>
                    <a:pt x="783" y="441"/>
                  </a:lnTo>
                  <a:lnTo>
                    <a:pt x="783" y="441"/>
                  </a:lnTo>
                  <a:lnTo>
                    <a:pt x="783" y="438"/>
                  </a:lnTo>
                  <a:lnTo>
                    <a:pt x="783" y="438"/>
                  </a:lnTo>
                  <a:lnTo>
                    <a:pt x="783" y="435"/>
                  </a:lnTo>
                  <a:lnTo>
                    <a:pt x="783" y="435"/>
                  </a:lnTo>
                  <a:lnTo>
                    <a:pt x="780" y="433"/>
                  </a:lnTo>
                  <a:lnTo>
                    <a:pt x="780" y="433"/>
                  </a:lnTo>
                  <a:lnTo>
                    <a:pt x="777" y="433"/>
                  </a:lnTo>
                  <a:lnTo>
                    <a:pt x="780" y="433"/>
                  </a:lnTo>
                  <a:lnTo>
                    <a:pt x="777" y="430"/>
                  </a:lnTo>
                  <a:lnTo>
                    <a:pt x="777" y="430"/>
                  </a:lnTo>
                  <a:lnTo>
                    <a:pt x="775" y="430"/>
                  </a:lnTo>
                  <a:lnTo>
                    <a:pt x="775" y="430"/>
                  </a:lnTo>
                  <a:lnTo>
                    <a:pt x="772" y="430"/>
                  </a:lnTo>
                  <a:lnTo>
                    <a:pt x="769" y="430"/>
                  </a:lnTo>
                  <a:lnTo>
                    <a:pt x="769" y="427"/>
                  </a:lnTo>
                  <a:lnTo>
                    <a:pt x="767" y="427"/>
                  </a:lnTo>
                  <a:lnTo>
                    <a:pt x="767" y="425"/>
                  </a:lnTo>
                  <a:lnTo>
                    <a:pt x="767" y="425"/>
                  </a:lnTo>
                  <a:lnTo>
                    <a:pt x="769" y="422"/>
                  </a:lnTo>
                  <a:lnTo>
                    <a:pt x="769" y="422"/>
                  </a:lnTo>
                  <a:lnTo>
                    <a:pt x="769" y="419"/>
                  </a:lnTo>
                  <a:lnTo>
                    <a:pt x="767" y="419"/>
                  </a:lnTo>
                  <a:lnTo>
                    <a:pt x="767" y="417"/>
                  </a:lnTo>
                  <a:lnTo>
                    <a:pt x="767" y="417"/>
                  </a:lnTo>
                  <a:lnTo>
                    <a:pt x="769" y="414"/>
                  </a:lnTo>
                  <a:lnTo>
                    <a:pt x="769" y="414"/>
                  </a:lnTo>
                  <a:lnTo>
                    <a:pt x="769" y="414"/>
                  </a:lnTo>
                  <a:lnTo>
                    <a:pt x="767" y="414"/>
                  </a:lnTo>
                  <a:lnTo>
                    <a:pt x="767" y="411"/>
                  </a:lnTo>
                  <a:lnTo>
                    <a:pt x="767" y="411"/>
                  </a:lnTo>
                  <a:lnTo>
                    <a:pt x="769" y="409"/>
                  </a:lnTo>
                  <a:lnTo>
                    <a:pt x="769" y="409"/>
                  </a:lnTo>
                  <a:lnTo>
                    <a:pt x="769" y="406"/>
                  </a:lnTo>
                  <a:lnTo>
                    <a:pt x="769" y="406"/>
                  </a:lnTo>
                  <a:lnTo>
                    <a:pt x="769" y="406"/>
                  </a:lnTo>
                  <a:lnTo>
                    <a:pt x="769" y="403"/>
                  </a:lnTo>
                  <a:lnTo>
                    <a:pt x="767" y="401"/>
                  </a:lnTo>
                  <a:lnTo>
                    <a:pt x="767" y="401"/>
                  </a:lnTo>
                  <a:lnTo>
                    <a:pt x="767" y="398"/>
                  </a:lnTo>
                  <a:lnTo>
                    <a:pt x="767" y="398"/>
                  </a:lnTo>
                  <a:lnTo>
                    <a:pt x="767" y="395"/>
                  </a:lnTo>
                  <a:lnTo>
                    <a:pt x="767" y="395"/>
                  </a:lnTo>
                  <a:lnTo>
                    <a:pt x="767" y="393"/>
                  </a:lnTo>
                  <a:lnTo>
                    <a:pt x="767" y="393"/>
                  </a:lnTo>
                  <a:lnTo>
                    <a:pt x="767" y="390"/>
                  </a:lnTo>
                  <a:lnTo>
                    <a:pt x="764" y="387"/>
                  </a:lnTo>
                  <a:lnTo>
                    <a:pt x="764" y="387"/>
                  </a:lnTo>
                  <a:lnTo>
                    <a:pt x="761" y="387"/>
                  </a:lnTo>
                  <a:lnTo>
                    <a:pt x="761" y="387"/>
                  </a:lnTo>
                  <a:lnTo>
                    <a:pt x="761" y="385"/>
                  </a:lnTo>
                  <a:lnTo>
                    <a:pt x="761" y="385"/>
                  </a:lnTo>
                  <a:lnTo>
                    <a:pt x="759" y="382"/>
                  </a:lnTo>
                  <a:lnTo>
                    <a:pt x="759" y="382"/>
                  </a:lnTo>
                  <a:lnTo>
                    <a:pt x="759" y="379"/>
                  </a:lnTo>
                  <a:lnTo>
                    <a:pt x="759" y="379"/>
                  </a:lnTo>
                  <a:lnTo>
                    <a:pt x="756" y="379"/>
                  </a:lnTo>
                  <a:lnTo>
                    <a:pt x="753" y="379"/>
                  </a:lnTo>
                  <a:lnTo>
                    <a:pt x="753" y="379"/>
                  </a:lnTo>
                  <a:lnTo>
                    <a:pt x="751" y="379"/>
                  </a:lnTo>
                  <a:lnTo>
                    <a:pt x="748" y="377"/>
                  </a:lnTo>
                  <a:lnTo>
                    <a:pt x="748" y="377"/>
                  </a:lnTo>
                  <a:lnTo>
                    <a:pt x="748" y="374"/>
                  </a:lnTo>
                  <a:lnTo>
                    <a:pt x="748" y="374"/>
                  </a:lnTo>
                  <a:lnTo>
                    <a:pt x="748" y="371"/>
                  </a:lnTo>
                  <a:lnTo>
                    <a:pt x="748" y="369"/>
                  </a:lnTo>
                  <a:lnTo>
                    <a:pt x="748" y="369"/>
                  </a:lnTo>
                  <a:lnTo>
                    <a:pt x="748" y="366"/>
                  </a:lnTo>
                  <a:lnTo>
                    <a:pt x="748" y="366"/>
                  </a:lnTo>
                  <a:lnTo>
                    <a:pt x="748" y="363"/>
                  </a:lnTo>
                  <a:lnTo>
                    <a:pt x="748" y="363"/>
                  </a:lnTo>
                  <a:lnTo>
                    <a:pt x="745" y="361"/>
                  </a:lnTo>
                  <a:lnTo>
                    <a:pt x="745" y="361"/>
                  </a:lnTo>
                  <a:lnTo>
                    <a:pt x="745" y="358"/>
                  </a:lnTo>
                  <a:lnTo>
                    <a:pt x="745" y="355"/>
                  </a:lnTo>
                  <a:lnTo>
                    <a:pt x="745" y="355"/>
                  </a:lnTo>
                  <a:lnTo>
                    <a:pt x="748" y="353"/>
                  </a:lnTo>
                  <a:lnTo>
                    <a:pt x="748" y="353"/>
                  </a:lnTo>
                  <a:lnTo>
                    <a:pt x="748" y="350"/>
                  </a:lnTo>
                  <a:lnTo>
                    <a:pt x="751" y="350"/>
                  </a:lnTo>
                  <a:lnTo>
                    <a:pt x="751" y="350"/>
                  </a:lnTo>
                  <a:lnTo>
                    <a:pt x="751" y="347"/>
                  </a:lnTo>
                  <a:lnTo>
                    <a:pt x="753" y="347"/>
                  </a:lnTo>
                  <a:lnTo>
                    <a:pt x="753" y="344"/>
                  </a:lnTo>
                  <a:lnTo>
                    <a:pt x="753" y="344"/>
                  </a:lnTo>
                  <a:lnTo>
                    <a:pt x="753" y="342"/>
                  </a:lnTo>
                  <a:lnTo>
                    <a:pt x="751" y="342"/>
                  </a:lnTo>
                  <a:lnTo>
                    <a:pt x="753" y="339"/>
                  </a:lnTo>
                  <a:lnTo>
                    <a:pt x="753" y="339"/>
                  </a:lnTo>
                  <a:lnTo>
                    <a:pt x="751" y="336"/>
                  </a:lnTo>
                  <a:lnTo>
                    <a:pt x="751" y="336"/>
                  </a:lnTo>
                  <a:lnTo>
                    <a:pt x="748" y="334"/>
                  </a:lnTo>
                  <a:lnTo>
                    <a:pt x="745" y="336"/>
                  </a:lnTo>
                  <a:lnTo>
                    <a:pt x="748" y="331"/>
                  </a:lnTo>
                  <a:lnTo>
                    <a:pt x="745" y="328"/>
                  </a:lnTo>
                  <a:lnTo>
                    <a:pt x="745" y="326"/>
                  </a:lnTo>
                  <a:lnTo>
                    <a:pt x="745" y="326"/>
                  </a:lnTo>
                  <a:lnTo>
                    <a:pt x="748" y="323"/>
                  </a:lnTo>
                  <a:lnTo>
                    <a:pt x="748" y="323"/>
                  </a:lnTo>
                  <a:lnTo>
                    <a:pt x="745" y="323"/>
                  </a:lnTo>
                  <a:lnTo>
                    <a:pt x="745" y="320"/>
                  </a:lnTo>
                  <a:lnTo>
                    <a:pt x="743" y="320"/>
                  </a:lnTo>
                  <a:lnTo>
                    <a:pt x="743" y="320"/>
                  </a:lnTo>
                  <a:lnTo>
                    <a:pt x="743" y="318"/>
                  </a:lnTo>
                  <a:lnTo>
                    <a:pt x="743" y="318"/>
                  </a:lnTo>
                  <a:lnTo>
                    <a:pt x="743" y="318"/>
                  </a:lnTo>
                  <a:lnTo>
                    <a:pt x="743" y="315"/>
                  </a:lnTo>
                  <a:lnTo>
                    <a:pt x="743" y="315"/>
                  </a:lnTo>
                  <a:lnTo>
                    <a:pt x="743" y="312"/>
                  </a:lnTo>
                  <a:lnTo>
                    <a:pt x="743" y="312"/>
                  </a:lnTo>
                  <a:lnTo>
                    <a:pt x="743" y="312"/>
                  </a:lnTo>
                  <a:lnTo>
                    <a:pt x="740" y="312"/>
                  </a:lnTo>
                  <a:lnTo>
                    <a:pt x="740" y="312"/>
                  </a:lnTo>
                  <a:lnTo>
                    <a:pt x="737" y="315"/>
                  </a:lnTo>
                  <a:lnTo>
                    <a:pt x="737" y="315"/>
                  </a:lnTo>
                  <a:lnTo>
                    <a:pt x="737" y="315"/>
                  </a:lnTo>
                  <a:lnTo>
                    <a:pt x="735" y="315"/>
                  </a:lnTo>
                  <a:lnTo>
                    <a:pt x="735" y="312"/>
                  </a:lnTo>
                  <a:lnTo>
                    <a:pt x="735" y="310"/>
                  </a:lnTo>
                  <a:lnTo>
                    <a:pt x="737" y="307"/>
                  </a:lnTo>
                  <a:lnTo>
                    <a:pt x="737" y="307"/>
                  </a:lnTo>
                  <a:lnTo>
                    <a:pt x="737" y="304"/>
                  </a:lnTo>
                  <a:lnTo>
                    <a:pt x="735" y="302"/>
                  </a:lnTo>
                  <a:lnTo>
                    <a:pt x="735" y="302"/>
                  </a:lnTo>
                  <a:lnTo>
                    <a:pt x="735" y="302"/>
                  </a:lnTo>
                  <a:lnTo>
                    <a:pt x="732" y="302"/>
                  </a:lnTo>
                  <a:lnTo>
                    <a:pt x="732" y="302"/>
                  </a:lnTo>
                  <a:lnTo>
                    <a:pt x="729" y="302"/>
                  </a:lnTo>
                  <a:lnTo>
                    <a:pt x="727" y="299"/>
                  </a:lnTo>
                  <a:lnTo>
                    <a:pt x="727" y="299"/>
                  </a:lnTo>
                  <a:lnTo>
                    <a:pt x="727" y="299"/>
                  </a:lnTo>
                  <a:lnTo>
                    <a:pt x="724" y="299"/>
                  </a:lnTo>
                  <a:lnTo>
                    <a:pt x="724" y="299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19" y="299"/>
                  </a:lnTo>
                  <a:lnTo>
                    <a:pt x="716" y="299"/>
                  </a:lnTo>
                  <a:lnTo>
                    <a:pt x="716" y="296"/>
                  </a:lnTo>
                  <a:lnTo>
                    <a:pt x="716" y="296"/>
                  </a:lnTo>
                  <a:lnTo>
                    <a:pt x="716" y="296"/>
                  </a:lnTo>
                  <a:lnTo>
                    <a:pt x="711" y="294"/>
                  </a:lnTo>
                  <a:lnTo>
                    <a:pt x="711" y="291"/>
                  </a:lnTo>
                  <a:lnTo>
                    <a:pt x="713" y="291"/>
                  </a:lnTo>
                  <a:lnTo>
                    <a:pt x="716" y="291"/>
                  </a:lnTo>
                  <a:lnTo>
                    <a:pt x="716" y="291"/>
                  </a:lnTo>
                  <a:lnTo>
                    <a:pt x="719" y="291"/>
                  </a:lnTo>
                  <a:lnTo>
                    <a:pt x="721" y="291"/>
                  </a:lnTo>
                  <a:lnTo>
                    <a:pt x="721" y="291"/>
                  </a:lnTo>
                  <a:lnTo>
                    <a:pt x="721" y="288"/>
                  </a:lnTo>
                  <a:lnTo>
                    <a:pt x="724" y="288"/>
                  </a:lnTo>
                  <a:lnTo>
                    <a:pt x="727" y="288"/>
                  </a:lnTo>
                  <a:lnTo>
                    <a:pt x="727" y="288"/>
                  </a:lnTo>
                  <a:lnTo>
                    <a:pt x="727" y="288"/>
                  </a:lnTo>
                  <a:lnTo>
                    <a:pt x="729" y="288"/>
                  </a:lnTo>
                  <a:lnTo>
                    <a:pt x="729" y="286"/>
                  </a:lnTo>
                  <a:lnTo>
                    <a:pt x="729" y="283"/>
                  </a:lnTo>
                  <a:lnTo>
                    <a:pt x="732" y="280"/>
                  </a:lnTo>
                  <a:lnTo>
                    <a:pt x="732" y="280"/>
                  </a:lnTo>
                  <a:lnTo>
                    <a:pt x="732" y="278"/>
                  </a:lnTo>
                  <a:lnTo>
                    <a:pt x="732" y="278"/>
                  </a:lnTo>
                  <a:lnTo>
                    <a:pt x="732" y="275"/>
                  </a:lnTo>
                  <a:lnTo>
                    <a:pt x="732" y="275"/>
                  </a:lnTo>
                  <a:lnTo>
                    <a:pt x="735" y="272"/>
                  </a:lnTo>
                  <a:lnTo>
                    <a:pt x="735" y="272"/>
                  </a:lnTo>
                  <a:lnTo>
                    <a:pt x="737" y="272"/>
                  </a:lnTo>
                  <a:lnTo>
                    <a:pt x="740" y="272"/>
                  </a:lnTo>
                  <a:lnTo>
                    <a:pt x="740" y="270"/>
                  </a:lnTo>
                  <a:lnTo>
                    <a:pt x="743" y="267"/>
                  </a:lnTo>
                  <a:lnTo>
                    <a:pt x="745" y="267"/>
                  </a:lnTo>
                  <a:lnTo>
                    <a:pt x="745" y="264"/>
                  </a:lnTo>
                  <a:lnTo>
                    <a:pt x="745" y="262"/>
                  </a:lnTo>
                  <a:lnTo>
                    <a:pt x="748" y="262"/>
                  </a:lnTo>
                  <a:lnTo>
                    <a:pt x="748" y="262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3" y="259"/>
                  </a:lnTo>
                  <a:lnTo>
                    <a:pt x="753" y="262"/>
                  </a:lnTo>
                  <a:lnTo>
                    <a:pt x="753" y="262"/>
                  </a:lnTo>
                  <a:lnTo>
                    <a:pt x="756" y="262"/>
                  </a:lnTo>
                  <a:lnTo>
                    <a:pt x="756" y="262"/>
                  </a:lnTo>
                  <a:lnTo>
                    <a:pt x="759" y="256"/>
                  </a:lnTo>
                  <a:lnTo>
                    <a:pt x="761" y="251"/>
                  </a:lnTo>
                  <a:lnTo>
                    <a:pt x="756" y="198"/>
                  </a:lnTo>
                  <a:lnTo>
                    <a:pt x="756" y="176"/>
                  </a:lnTo>
                  <a:lnTo>
                    <a:pt x="745" y="112"/>
                  </a:lnTo>
                  <a:lnTo>
                    <a:pt x="745" y="107"/>
                  </a:lnTo>
                  <a:lnTo>
                    <a:pt x="743" y="93"/>
                  </a:lnTo>
                  <a:lnTo>
                    <a:pt x="743" y="91"/>
                  </a:lnTo>
                  <a:lnTo>
                    <a:pt x="705" y="35"/>
                  </a:lnTo>
                  <a:lnTo>
                    <a:pt x="705" y="32"/>
                  </a:lnTo>
                  <a:lnTo>
                    <a:pt x="708" y="32"/>
                  </a:lnTo>
                  <a:lnTo>
                    <a:pt x="708" y="32"/>
                  </a:lnTo>
                  <a:lnTo>
                    <a:pt x="711" y="29"/>
                  </a:lnTo>
                  <a:lnTo>
                    <a:pt x="711" y="26"/>
                  </a:lnTo>
                  <a:lnTo>
                    <a:pt x="711" y="24"/>
                  </a:lnTo>
                  <a:lnTo>
                    <a:pt x="711" y="24"/>
                  </a:lnTo>
                  <a:lnTo>
                    <a:pt x="713" y="21"/>
                  </a:lnTo>
                  <a:lnTo>
                    <a:pt x="713" y="21"/>
                  </a:lnTo>
                  <a:lnTo>
                    <a:pt x="711" y="21"/>
                  </a:lnTo>
                  <a:lnTo>
                    <a:pt x="708" y="21"/>
                  </a:lnTo>
                  <a:lnTo>
                    <a:pt x="708" y="21"/>
                  </a:lnTo>
                  <a:lnTo>
                    <a:pt x="705" y="21"/>
                  </a:lnTo>
                  <a:lnTo>
                    <a:pt x="705" y="21"/>
                  </a:lnTo>
                  <a:lnTo>
                    <a:pt x="702" y="21"/>
                  </a:lnTo>
                  <a:lnTo>
                    <a:pt x="702" y="21"/>
                  </a:lnTo>
                  <a:lnTo>
                    <a:pt x="700" y="21"/>
                  </a:lnTo>
                  <a:lnTo>
                    <a:pt x="700" y="24"/>
                  </a:lnTo>
                  <a:lnTo>
                    <a:pt x="700" y="24"/>
                  </a:lnTo>
                  <a:lnTo>
                    <a:pt x="700" y="26"/>
                  </a:lnTo>
                  <a:lnTo>
                    <a:pt x="700" y="26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4" y="26"/>
                  </a:lnTo>
                  <a:lnTo>
                    <a:pt x="694" y="26"/>
                  </a:lnTo>
                  <a:lnTo>
                    <a:pt x="692" y="26"/>
                  </a:lnTo>
                  <a:lnTo>
                    <a:pt x="692" y="26"/>
                  </a:lnTo>
                  <a:lnTo>
                    <a:pt x="692" y="26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2" y="29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2"/>
                  </a:lnTo>
                  <a:lnTo>
                    <a:pt x="694" y="35"/>
                  </a:lnTo>
                  <a:lnTo>
                    <a:pt x="694" y="35"/>
                  </a:lnTo>
                  <a:lnTo>
                    <a:pt x="694" y="35"/>
                  </a:lnTo>
                  <a:lnTo>
                    <a:pt x="694" y="37"/>
                  </a:lnTo>
                  <a:lnTo>
                    <a:pt x="692" y="37"/>
                  </a:lnTo>
                  <a:lnTo>
                    <a:pt x="692" y="37"/>
                  </a:lnTo>
                  <a:lnTo>
                    <a:pt x="692" y="40"/>
                  </a:lnTo>
                  <a:lnTo>
                    <a:pt x="689" y="40"/>
                  </a:lnTo>
                  <a:lnTo>
                    <a:pt x="689" y="40"/>
                  </a:lnTo>
                  <a:lnTo>
                    <a:pt x="686" y="43"/>
                  </a:lnTo>
                  <a:lnTo>
                    <a:pt x="686" y="43"/>
                  </a:lnTo>
                  <a:lnTo>
                    <a:pt x="686" y="43"/>
                  </a:lnTo>
                  <a:lnTo>
                    <a:pt x="684" y="43"/>
                  </a:lnTo>
                  <a:lnTo>
                    <a:pt x="684" y="45"/>
                  </a:lnTo>
                  <a:lnTo>
                    <a:pt x="681" y="45"/>
                  </a:lnTo>
                  <a:lnTo>
                    <a:pt x="681" y="43"/>
                  </a:lnTo>
                  <a:lnTo>
                    <a:pt x="681" y="43"/>
                  </a:lnTo>
                  <a:lnTo>
                    <a:pt x="678" y="45"/>
                  </a:lnTo>
                  <a:lnTo>
                    <a:pt x="678" y="45"/>
                  </a:lnTo>
                  <a:lnTo>
                    <a:pt x="678" y="45"/>
                  </a:lnTo>
                  <a:lnTo>
                    <a:pt x="676" y="45"/>
                  </a:lnTo>
                  <a:lnTo>
                    <a:pt x="676" y="48"/>
                  </a:lnTo>
                  <a:lnTo>
                    <a:pt x="676" y="48"/>
                  </a:lnTo>
                  <a:lnTo>
                    <a:pt x="673" y="45"/>
                  </a:lnTo>
                  <a:lnTo>
                    <a:pt x="673" y="45"/>
                  </a:lnTo>
                  <a:lnTo>
                    <a:pt x="673" y="45"/>
                  </a:lnTo>
                  <a:lnTo>
                    <a:pt x="670" y="43"/>
                  </a:lnTo>
                  <a:lnTo>
                    <a:pt x="673" y="43"/>
                  </a:lnTo>
                  <a:lnTo>
                    <a:pt x="673" y="40"/>
                  </a:lnTo>
                  <a:lnTo>
                    <a:pt x="673" y="40"/>
                  </a:lnTo>
                  <a:lnTo>
                    <a:pt x="670" y="37"/>
                  </a:lnTo>
                  <a:lnTo>
                    <a:pt x="670" y="37"/>
                  </a:lnTo>
                  <a:lnTo>
                    <a:pt x="670" y="37"/>
                  </a:lnTo>
                  <a:lnTo>
                    <a:pt x="668" y="37"/>
                  </a:lnTo>
                  <a:lnTo>
                    <a:pt x="668" y="37"/>
                  </a:lnTo>
                  <a:lnTo>
                    <a:pt x="665" y="37"/>
                  </a:lnTo>
                  <a:lnTo>
                    <a:pt x="665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7"/>
                  </a:lnTo>
                  <a:lnTo>
                    <a:pt x="662" y="35"/>
                  </a:lnTo>
                  <a:lnTo>
                    <a:pt x="660" y="35"/>
                  </a:lnTo>
                  <a:lnTo>
                    <a:pt x="660" y="35"/>
                  </a:lnTo>
                  <a:lnTo>
                    <a:pt x="657" y="35"/>
                  </a:lnTo>
                  <a:lnTo>
                    <a:pt x="657" y="35"/>
                  </a:lnTo>
                  <a:lnTo>
                    <a:pt x="657" y="35"/>
                  </a:lnTo>
                  <a:lnTo>
                    <a:pt x="654" y="35"/>
                  </a:lnTo>
                  <a:lnTo>
                    <a:pt x="654" y="35"/>
                  </a:lnTo>
                  <a:lnTo>
                    <a:pt x="654" y="35"/>
                  </a:lnTo>
                  <a:lnTo>
                    <a:pt x="652" y="37"/>
                  </a:lnTo>
                  <a:lnTo>
                    <a:pt x="649" y="37"/>
                  </a:lnTo>
                  <a:lnTo>
                    <a:pt x="649" y="37"/>
                  </a:lnTo>
                  <a:lnTo>
                    <a:pt x="646" y="37"/>
                  </a:lnTo>
                  <a:lnTo>
                    <a:pt x="644" y="37"/>
                  </a:lnTo>
                  <a:lnTo>
                    <a:pt x="644" y="37"/>
                  </a:lnTo>
                  <a:lnTo>
                    <a:pt x="641" y="37"/>
                  </a:lnTo>
                  <a:lnTo>
                    <a:pt x="641" y="37"/>
                  </a:lnTo>
                  <a:lnTo>
                    <a:pt x="641" y="37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8" y="43"/>
                  </a:lnTo>
                  <a:lnTo>
                    <a:pt x="638" y="43"/>
                  </a:lnTo>
                  <a:lnTo>
                    <a:pt x="638" y="43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5"/>
                  </a:lnTo>
                  <a:lnTo>
                    <a:pt x="638" y="48"/>
                  </a:lnTo>
                  <a:lnTo>
                    <a:pt x="638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6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3" y="51"/>
                  </a:lnTo>
                  <a:lnTo>
                    <a:pt x="630" y="51"/>
                  </a:lnTo>
                  <a:lnTo>
                    <a:pt x="630" y="51"/>
                  </a:lnTo>
                  <a:lnTo>
                    <a:pt x="630" y="48"/>
                  </a:lnTo>
                  <a:lnTo>
                    <a:pt x="630" y="48"/>
                  </a:lnTo>
                  <a:lnTo>
                    <a:pt x="628" y="48"/>
                  </a:lnTo>
                  <a:lnTo>
                    <a:pt x="628" y="48"/>
                  </a:lnTo>
                  <a:lnTo>
                    <a:pt x="628" y="51"/>
                  </a:lnTo>
                  <a:lnTo>
                    <a:pt x="628" y="51"/>
                  </a:lnTo>
                  <a:lnTo>
                    <a:pt x="625" y="51"/>
                  </a:lnTo>
                  <a:lnTo>
                    <a:pt x="625" y="51"/>
                  </a:lnTo>
                  <a:lnTo>
                    <a:pt x="625" y="53"/>
                  </a:lnTo>
                  <a:lnTo>
                    <a:pt x="625" y="53"/>
                  </a:lnTo>
                  <a:lnTo>
                    <a:pt x="625" y="53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2" y="59"/>
                  </a:lnTo>
                  <a:lnTo>
                    <a:pt x="622" y="59"/>
                  </a:lnTo>
                  <a:lnTo>
                    <a:pt x="622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20" y="59"/>
                  </a:lnTo>
                  <a:lnTo>
                    <a:pt x="617" y="59"/>
                  </a:lnTo>
                  <a:lnTo>
                    <a:pt x="617" y="59"/>
                  </a:lnTo>
                  <a:lnTo>
                    <a:pt x="614" y="59"/>
                  </a:lnTo>
                  <a:lnTo>
                    <a:pt x="614" y="56"/>
                  </a:lnTo>
                  <a:lnTo>
                    <a:pt x="612" y="56"/>
                  </a:lnTo>
                  <a:lnTo>
                    <a:pt x="612" y="53"/>
                  </a:lnTo>
                  <a:lnTo>
                    <a:pt x="609" y="53"/>
                  </a:lnTo>
                  <a:lnTo>
                    <a:pt x="606" y="53"/>
                  </a:lnTo>
                  <a:lnTo>
                    <a:pt x="606" y="51"/>
                  </a:lnTo>
                  <a:lnTo>
                    <a:pt x="606" y="51"/>
                  </a:lnTo>
                  <a:lnTo>
                    <a:pt x="606" y="48"/>
                  </a:lnTo>
                  <a:lnTo>
                    <a:pt x="606" y="45"/>
                  </a:lnTo>
                  <a:lnTo>
                    <a:pt x="604" y="45"/>
                  </a:lnTo>
                  <a:lnTo>
                    <a:pt x="604" y="48"/>
                  </a:lnTo>
                  <a:lnTo>
                    <a:pt x="604" y="48"/>
                  </a:lnTo>
                  <a:lnTo>
                    <a:pt x="601" y="48"/>
                  </a:lnTo>
                  <a:lnTo>
                    <a:pt x="601" y="48"/>
                  </a:lnTo>
                  <a:lnTo>
                    <a:pt x="598" y="48"/>
                  </a:lnTo>
                  <a:lnTo>
                    <a:pt x="598" y="48"/>
                  </a:lnTo>
                  <a:lnTo>
                    <a:pt x="598" y="48"/>
                  </a:lnTo>
                  <a:lnTo>
                    <a:pt x="596" y="48"/>
                  </a:lnTo>
                  <a:lnTo>
                    <a:pt x="596" y="48"/>
                  </a:lnTo>
                  <a:lnTo>
                    <a:pt x="596" y="48"/>
                  </a:lnTo>
                  <a:lnTo>
                    <a:pt x="593" y="48"/>
                  </a:lnTo>
                  <a:lnTo>
                    <a:pt x="593" y="48"/>
                  </a:lnTo>
                  <a:lnTo>
                    <a:pt x="590" y="48"/>
                  </a:lnTo>
                  <a:lnTo>
                    <a:pt x="590" y="51"/>
                  </a:lnTo>
                  <a:lnTo>
                    <a:pt x="588" y="51"/>
                  </a:lnTo>
                  <a:lnTo>
                    <a:pt x="588" y="53"/>
                  </a:lnTo>
                  <a:lnTo>
                    <a:pt x="585" y="53"/>
                  </a:lnTo>
                  <a:lnTo>
                    <a:pt x="585" y="53"/>
                  </a:lnTo>
                  <a:lnTo>
                    <a:pt x="585" y="56"/>
                  </a:lnTo>
                  <a:lnTo>
                    <a:pt x="585" y="56"/>
                  </a:lnTo>
                  <a:lnTo>
                    <a:pt x="582" y="56"/>
                  </a:lnTo>
                  <a:lnTo>
                    <a:pt x="582" y="56"/>
                  </a:lnTo>
                  <a:lnTo>
                    <a:pt x="582" y="56"/>
                  </a:lnTo>
                  <a:lnTo>
                    <a:pt x="580" y="56"/>
                  </a:lnTo>
                  <a:lnTo>
                    <a:pt x="580" y="56"/>
                  </a:lnTo>
                  <a:lnTo>
                    <a:pt x="577" y="56"/>
                  </a:lnTo>
                  <a:lnTo>
                    <a:pt x="574" y="53"/>
                  </a:lnTo>
                  <a:lnTo>
                    <a:pt x="574" y="53"/>
                  </a:lnTo>
                  <a:lnTo>
                    <a:pt x="574" y="53"/>
                  </a:lnTo>
                  <a:lnTo>
                    <a:pt x="572" y="53"/>
                  </a:lnTo>
                  <a:lnTo>
                    <a:pt x="569" y="51"/>
                  </a:lnTo>
                  <a:lnTo>
                    <a:pt x="566" y="51"/>
                  </a:lnTo>
                  <a:lnTo>
                    <a:pt x="564" y="48"/>
                  </a:lnTo>
                  <a:lnTo>
                    <a:pt x="561" y="48"/>
                  </a:lnTo>
                  <a:lnTo>
                    <a:pt x="558" y="48"/>
                  </a:lnTo>
                  <a:lnTo>
                    <a:pt x="558" y="45"/>
                  </a:lnTo>
                  <a:lnTo>
                    <a:pt x="553" y="43"/>
                  </a:lnTo>
                  <a:lnTo>
                    <a:pt x="553" y="43"/>
                  </a:lnTo>
                  <a:lnTo>
                    <a:pt x="556" y="43"/>
                  </a:lnTo>
                  <a:lnTo>
                    <a:pt x="556" y="40"/>
                  </a:lnTo>
                  <a:lnTo>
                    <a:pt x="556" y="40"/>
                  </a:lnTo>
                  <a:lnTo>
                    <a:pt x="553" y="37"/>
                  </a:lnTo>
                  <a:lnTo>
                    <a:pt x="553" y="40"/>
                  </a:lnTo>
                  <a:lnTo>
                    <a:pt x="553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5" y="35"/>
                  </a:lnTo>
                  <a:lnTo>
                    <a:pt x="545" y="32"/>
                  </a:lnTo>
                  <a:lnTo>
                    <a:pt x="542" y="32"/>
                  </a:lnTo>
                  <a:lnTo>
                    <a:pt x="540" y="32"/>
                  </a:lnTo>
                  <a:lnTo>
                    <a:pt x="537" y="29"/>
                  </a:lnTo>
                  <a:lnTo>
                    <a:pt x="537" y="29"/>
                  </a:lnTo>
                  <a:lnTo>
                    <a:pt x="534" y="29"/>
                  </a:lnTo>
                  <a:lnTo>
                    <a:pt x="534" y="32"/>
                  </a:lnTo>
                  <a:lnTo>
                    <a:pt x="534" y="32"/>
                  </a:lnTo>
                  <a:lnTo>
                    <a:pt x="532" y="35"/>
                  </a:lnTo>
                  <a:lnTo>
                    <a:pt x="532" y="35"/>
                  </a:lnTo>
                  <a:lnTo>
                    <a:pt x="529" y="35"/>
                  </a:lnTo>
                  <a:lnTo>
                    <a:pt x="529" y="35"/>
                  </a:lnTo>
                  <a:lnTo>
                    <a:pt x="529" y="35"/>
                  </a:lnTo>
                  <a:lnTo>
                    <a:pt x="526" y="35"/>
                  </a:lnTo>
                  <a:lnTo>
                    <a:pt x="524" y="35"/>
                  </a:lnTo>
                  <a:lnTo>
                    <a:pt x="524" y="35"/>
                  </a:lnTo>
                  <a:lnTo>
                    <a:pt x="524" y="35"/>
                  </a:lnTo>
                  <a:lnTo>
                    <a:pt x="521" y="35"/>
                  </a:lnTo>
                  <a:lnTo>
                    <a:pt x="521" y="35"/>
                  </a:lnTo>
                  <a:lnTo>
                    <a:pt x="521" y="35"/>
                  </a:lnTo>
                  <a:lnTo>
                    <a:pt x="518" y="32"/>
                  </a:lnTo>
                  <a:lnTo>
                    <a:pt x="518" y="32"/>
                  </a:lnTo>
                  <a:lnTo>
                    <a:pt x="516" y="32"/>
                  </a:lnTo>
                  <a:lnTo>
                    <a:pt x="516" y="32"/>
                  </a:lnTo>
                  <a:lnTo>
                    <a:pt x="516" y="32"/>
                  </a:lnTo>
                  <a:lnTo>
                    <a:pt x="513" y="32"/>
                  </a:lnTo>
                  <a:lnTo>
                    <a:pt x="513" y="32"/>
                  </a:lnTo>
                  <a:lnTo>
                    <a:pt x="510" y="32"/>
                  </a:lnTo>
                  <a:lnTo>
                    <a:pt x="510" y="32"/>
                  </a:lnTo>
                  <a:lnTo>
                    <a:pt x="510" y="29"/>
                  </a:lnTo>
                  <a:lnTo>
                    <a:pt x="508" y="29"/>
                  </a:lnTo>
                  <a:lnTo>
                    <a:pt x="508" y="32"/>
                  </a:lnTo>
                  <a:lnTo>
                    <a:pt x="505" y="32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5" y="29"/>
                  </a:lnTo>
                  <a:lnTo>
                    <a:pt x="502" y="29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500" y="26"/>
                  </a:lnTo>
                  <a:lnTo>
                    <a:pt x="497" y="26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29"/>
                  </a:lnTo>
                  <a:lnTo>
                    <a:pt x="497" y="32"/>
                  </a:lnTo>
                  <a:lnTo>
                    <a:pt x="497" y="32"/>
                  </a:lnTo>
                  <a:lnTo>
                    <a:pt x="497" y="32"/>
                  </a:lnTo>
                  <a:lnTo>
                    <a:pt x="494" y="32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2" y="35"/>
                  </a:lnTo>
                  <a:lnTo>
                    <a:pt x="492" y="37"/>
                  </a:lnTo>
                  <a:lnTo>
                    <a:pt x="492" y="37"/>
                  </a:lnTo>
                  <a:lnTo>
                    <a:pt x="492" y="40"/>
                  </a:lnTo>
                  <a:lnTo>
                    <a:pt x="492" y="40"/>
                  </a:lnTo>
                  <a:lnTo>
                    <a:pt x="489" y="40"/>
                  </a:lnTo>
                  <a:lnTo>
                    <a:pt x="489" y="37"/>
                  </a:lnTo>
                  <a:lnTo>
                    <a:pt x="489" y="37"/>
                  </a:lnTo>
                  <a:lnTo>
                    <a:pt x="486" y="37"/>
                  </a:lnTo>
                  <a:lnTo>
                    <a:pt x="486" y="37"/>
                  </a:lnTo>
                  <a:lnTo>
                    <a:pt x="486" y="35"/>
                  </a:lnTo>
                  <a:lnTo>
                    <a:pt x="486" y="35"/>
                  </a:lnTo>
                  <a:lnTo>
                    <a:pt x="486" y="35"/>
                  </a:lnTo>
                  <a:lnTo>
                    <a:pt x="484" y="32"/>
                  </a:lnTo>
                  <a:lnTo>
                    <a:pt x="484" y="32"/>
                  </a:lnTo>
                  <a:lnTo>
                    <a:pt x="484" y="29"/>
                  </a:lnTo>
                  <a:lnTo>
                    <a:pt x="484" y="29"/>
                  </a:lnTo>
                  <a:lnTo>
                    <a:pt x="484" y="29"/>
                  </a:lnTo>
                  <a:lnTo>
                    <a:pt x="484" y="26"/>
                  </a:lnTo>
                  <a:lnTo>
                    <a:pt x="486" y="26"/>
                  </a:lnTo>
                  <a:lnTo>
                    <a:pt x="486" y="26"/>
                  </a:lnTo>
                  <a:lnTo>
                    <a:pt x="486" y="24"/>
                  </a:lnTo>
                  <a:lnTo>
                    <a:pt x="486" y="24"/>
                  </a:lnTo>
                  <a:lnTo>
                    <a:pt x="486" y="21"/>
                  </a:lnTo>
                  <a:lnTo>
                    <a:pt x="484" y="21"/>
                  </a:lnTo>
                  <a:lnTo>
                    <a:pt x="484" y="18"/>
                  </a:lnTo>
                  <a:lnTo>
                    <a:pt x="484" y="18"/>
                  </a:lnTo>
                  <a:lnTo>
                    <a:pt x="484" y="18"/>
                  </a:lnTo>
                  <a:lnTo>
                    <a:pt x="481" y="18"/>
                  </a:lnTo>
                  <a:lnTo>
                    <a:pt x="481" y="16"/>
                  </a:lnTo>
                  <a:lnTo>
                    <a:pt x="481" y="16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1" y="13"/>
                  </a:lnTo>
                  <a:lnTo>
                    <a:pt x="481" y="10"/>
                  </a:lnTo>
                  <a:lnTo>
                    <a:pt x="478" y="8"/>
                  </a:lnTo>
                  <a:lnTo>
                    <a:pt x="476" y="8"/>
                  </a:lnTo>
                  <a:lnTo>
                    <a:pt x="473" y="8"/>
                  </a:lnTo>
                  <a:lnTo>
                    <a:pt x="470" y="8"/>
                  </a:lnTo>
                  <a:lnTo>
                    <a:pt x="467" y="5"/>
                  </a:lnTo>
                  <a:lnTo>
                    <a:pt x="465" y="2"/>
                  </a:lnTo>
                  <a:lnTo>
                    <a:pt x="465" y="5"/>
                  </a:lnTo>
                  <a:lnTo>
                    <a:pt x="462" y="5"/>
                  </a:lnTo>
                  <a:lnTo>
                    <a:pt x="462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5"/>
                  </a:lnTo>
                  <a:lnTo>
                    <a:pt x="459" y="2"/>
                  </a:lnTo>
                  <a:lnTo>
                    <a:pt x="457" y="2"/>
                  </a:lnTo>
                  <a:lnTo>
                    <a:pt x="457" y="2"/>
                  </a:lnTo>
                  <a:lnTo>
                    <a:pt x="457" y="2"/>
                  </a:lnTo>
                  <a:lnTo>
                    <a:pt x="454" y="2"/>
                  </a:lnTo>
                  <a:lnTo>
                    <a:pt x="454" y="2"/>
                  </a:lnTo>
                  <a:lnTo>
                    <a:pt x="451" y="2"/>
                  </a:lnTo>
                  <a:lnTo>
                    <a:pt x="449" y="2"/>
                  </a:lnTo>
                  <a:lnTo>
                    <a:pt x="449" y="0"/>
                  </a:lnTo>
                  <a:lnTo>
                    <a:pt x="446" y="0"/>
                  </a:lnTo>
                  <a:lnTo>
                    <a:pt x="446" y="2"/>
                  </a:lnTo>
                  <a:lnTo>
                    <a:pt x="446" y="2"/>
                  </a:lnTo>
                  <a:lnTo>
                    <a:pt x="443" y="2"/>
                  </a:lnTo>
                  <a:lnTo>
                    <a:pt x="443" y="2"/>
                  </a:lnTo>
                  <a:lnTo>
                    <a:pt x="443" y="5"/>
                  </a:lnTo>
                  <a:lnTo>
                    <a:pt x="443" y="5"/>
                  </a:lnTo>
                  <a:lnTo>
                    <a:pt x="443" y="5"/>
                  </a:lnTo>
                  <a:lnTo>
                    <a:pt x="443" y="8"/>
                  </a:lnTo>
                  <a:lnTo>
                    <a:pt x="441" y="8"/>
                  </a:lnTo>
                  <a:lnTo>
                    <a:pt x="443" y="8"/>
                  </a:lnTo>
                  <a:lnTo>
                    <a:pt x="443" y="8"/>
                  </a:lnTo>
                  <a:lnTo>
                    <a:pt x="446" y="8"/>
                  </a:lnTo>
                  <a:lnTo>
                    <a:pt x="443" y="10"/>
                  </a:lnTo>
                  <a:lnTo>
                    <a:pt x="443" y="13"/>
                  </a:lnTo>
                  <a:lnTo>
                    <a:pt x="443" y="13"/>
                  </a:lnTo>
                  <a:lnTo>
                    <a:pt x="441" y="13"/>
                  </a:lnTo>
                  <a:lnTo>
                    <a:pt x="441" y="16"/>
                  </a:lnTo>
                  <a:lnTo>
                    <a:pt x="441" y="16"/>
                  </a:lnTo>
                  <a:lnTo>
                    <a:pt x="443" y="16"/>
                  </a:lnTo>
                  <a:lnTo>
                    <a:pt x="443" y="16"/>
                  </a:lnTo>
                  <a:lnTo>
                    <a:pt x="443" y="18"/>
                  </a:lnTo>
                  <a:lnTo>
                    <a:pt x="443" y="18"/>
                  </a:lnTo>
                  <a:lnTo>
                    <a:pt x="443" y="21"/>
                  </a:lnTo>
                  <a:lnTo>
                    <a:pt x="443" y="21"/>
                  </a:lnTo>
                  <a:lnTo>
                    <a:pt x="441" y="24"/>
                  </a:lnTo>
                  <a:lnTo>
                    <a:pt x="441" y="24"/>
                  </a:lnTo>
                  <a:lnTo>
                    <a:pt x="438" y="24"/>
                  </a:lnTo>
                  <a:lnTo>
                    <a:pt x="438" y="21"/>
                  </a:lnTo>
                  <a:lnTo>
                    <a:pt x="438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5" y="21"/>
                  </a:lnTo>
                  <a:lnTo>
                    <a:pt x="433" y="21"/>
                  </a:lnTo>
                  <a:lnTo>
                    <a:pt x="433" y="18"/>
                  </a:lnTo>
                  <a:lnTo>
                    <a:pt x="430" y="21"/>
                  </a:lnTo>
                  <a:lnTo>
                    <a:pt x="430" y="21"/>
                  </a:lnTo>
                  <a:lnTo>
                    <a:pt x="430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5" y="21"/>
                  </a:lnTo>
                  <a:lnTo>
                    <a:pt x="425" y="21"/>
                  </a:lnTo>
                  <a:lnTo>
                    <a:pt x="422" y="21"/>
                  </a:lnTo>
                  <a:lnTo>
                    <a:pt x="419" y="21"/>
                  </a:lnTo>
                  <a:lnTo>
                    <a:pt x="419" y="21"/>
                  </a:lnTo>
                  <a:lnTo>
                    <a:pt x="419" y="18"/>
                  </a:lnTo>
                  <a:lnTo>
                    <a:pt x="419" y="21"/>
                  </a:lnTo>
                  <a:lnTo>
                    <a:pt x="417" y="21"/>
                  </a:lnTo>
                  <a:lnTo>
                    <a:pt x="417" y="24"/>
                  </a:lnTo>
                  <a:lnTo>
                    <a:pt x="414" y="24"/>
                  </a:lnTo>
                  <a:lnTo>
                    <a:pt x="414" y="24"/>
                  </a:lnTo>
                  <a:lnTo>
                    <a:pt x="411" y="24"/>
                  </a:lnTo>
                  <a:lnTo>
                    <a:pt x="411" y="21"/>
                  </a:lnTo>
                  <a:lnTo>
                    <a:pt x="411" y="21"/>
                  </a:lnTo>
                  <a:lnTo>
                    <a:pt x="411" y="18"/>
                  </a:lnTo>
                  <a:lnTo>
                    <a:pt x="409" y="18"/>
                  </a:lnTo>
                  <a:lnTo>
                    <a:pt x="409" y="18"/>
                  </a:lnTo>
                  <a:lnTo>
                    <a:pt x="409" y="18"/>
                  </a:lnTo>
                  <a:lnTo>
                    <a:pt x="406" y="18"/>
                  </a:lnTo>
                  <a:lnTo>
                    <a:pt x="403" y="18"/>
                  </a:lnTo>
                  <a:lnTo>
                    <a:pt x="403" y="16"/>
                  </a:lnTo>
                  <a:lnTo>
                    <a:pt x="401" y="16"/>
                  </a:lnTo>
                  <a:lnTo>
                    <a:pt x="398" y="16"/>
                  </a:lnTo>
                  <a:lnTo>
                    <a:pt x="395" y="18"/>
                  </a:lnTo>
                  <a:lnTo>
                    <a:pt x="395" y="16"/>
                  </a:lnTo>
                  <a:lnTo>
                    <a:pt x="393" y="16"/>
                  </a:lnTo>
                  <a:lnTo>
                    <a:pt x="393" y="16"/>
                  </a:lnTo>
                  <a:lnTo>
                    <a:pt x="393" y="18"/>
                  </a:lnTo>
                  <a:lnTo>
                    <a:pt x="390" y="18"/>
                  </a:lnTo>
                  <a:lnTo>
                    <a:pt x="390" y="21"/>
                  </a:lnTo>
                  <a:lnTo>
                    <a:pt x="390" y="21"/>
                  </a:lnTo>
                  <a:lnTo>
                    <a:pt x="390" y="24"/>
                  </a:lnTo>
                  <a:lnTo>
                    <a:pt x="387" y="24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5" y="29"/>
                  </a:lnTo>
                  <a:lnTo>
                    <a:pt x="385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79" y="32"/>
                  </a:lnTo>
                  <a:lnTo>
                    <a:pt x="379" y="32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4" y="29"/>
                  </a:lnTo>
                  <a:lnTo>
                    <a:pt x="374" y="29"/>
                  </a:lnTo>
                  <a:lnTo>
                    <a:pt x="371" y="29"/>
                  </a:lnTo>
                  <a:lnTo>
                    <a:pt x="371" y="29"/>
                  </a:lnTo>
                  <a:lnTo>
                    <a:pt x="371" y="29"/>
                  </a:lnTo>
                  <a:lnTo>
                    <a:pt x="369" y="32"/>
                  </a:lnTo>
                  <a:lnTo>
                    <a:pt x="369" y="32"/>
                  </a:lnTo>
                  <a:lnTo>
                    <a:pt x="369" y="32"/>
                  </a:lnTo>
                  <a:lnTo>
                    <a:pt x="363" y="32"/>
                  </a:lnTo>
                  <a:lnTo>
                    <a:pt x="363" y="35"/>
                  </a:lnTo>
                  <a:lnTo>
                    <a:pt x="363" y="35"/>
                  </a:lnTo>
                  <a:lnTo>
                    <a:pt x="363" y="37"/>
                  </a:lnTo>
                  <a:lnTo>
                    <a:pt x="363" y="37"/>
                  </a:lnTo>
                  <a:lnTo>
                    <a:pt x="363" y="40"/>
                  </a:lnTo>
                  <a:lnTo>
                    <a:pt x="363" y="40"/>
                  </a:lnTo>
                  <a:lnTo>
                    <a:pt x="361" y="40"/>
                  </a:lnTo>
                  <a:lnTo>
                    <a:pt x="361" y="40"/>
                  </a:lnTo>
                  <a:lnTo>
                    <a:pt x="361" y="43"/>
                  </a:lnTo>
                  <a:lnTo>
                    <a:pt x="358" y="43"/>
                  </a:lnTo>
                  <a:lnTo>
                    <a:pt x="358" y="43"/>
                  </a:lnTo>
                  <a:lnTo>
                    <a:pt x="355" y="45"/>
                  </a:lnTo>
                  <a:lnTo>
                    <a:pt x="355" y="45"/>
                  </a:lnTo>
                  <a:lnTo>
                    <a:pt x="353" y="45"/>
                  </a:lnTo>
                  <a:lnTo>
                    <a:pt x="353" y="45"/>
                  </a:lnTo>
                  <a:lnTo>
                    <a:pt x="353" y="45"/>
                  </a:lnTo>
                  <a:lnTo>
                    <a:pt x="350" y="45"/>
                  </a:lnTo>
                  <a:lnTo>
                    <a:pt x="350" y="43"/>
                  </a:lnTo>
                  <a:lnTo>
                    <a:pt x="347" y="43"/>
                  </a:lnTo>
                  <a:lnTo>
                    <a:pt x="345" y="43"/>
                  </a:lnTo>
                  <a:lnTo>
                    <a:pt x="345" y="43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42" y="45"/>
                  </a:lnTo>
                  <a:lnTo>
                    <a:pt x="342" y="48"/>
                  </a:lnTo>
                  <a:lnTo>
                    <a:pt x="342" y="48"/>
                  </a:lnTo>
                  <a:lnTo>
                    <a:pt x="342" y="51"/>
                  </a:lnTo>
                  <a:lnTo>
                    <a:pt x="339" y="51"/>
                  </a:lnTo>
                  <a:lnTo>
                    <a:pt x="339" y="51"/>
                  </a:lnTo>
                  <a:lnTo>
                    <a:pt x="339" y="53"/>
                  </a:lnTo>
                  <a:lnTo>
                    <a:pt x="339" y="53"/>
                  </a:lnTo>
                  <a:lnTo>
                    <a:pt x="337" y="56"/>
                  </a:lnTo>
                  <a:lnTo>
                    <a:pt x="337" y="56"/>
                  </a:lnTo>
                  <a:lnTo>
                    <a:pt x="337" y="56"/>
                  </a:lnTo>
                  <a:lnTo>
                    <a:pt x="334" y="56"/>
                  </a:lnTo>
                  <a:lnTo>
                    <a:pt x="334" y="56"/>
                  </a:lnTo>
                  <a:lnTo>
                    <a:pt x="331" y="56"/>
                  </a:lnTo>
                  <a:lnTo>
                    <a:pt x="331" y="56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59"/>
                  </a:lnTo>
                  <a:lnTo>
                    <a:pt x="329" y="61"/>
                  </a:lnTo>
                  <a:lnTo>
                    <a:pt x="326" y="61"/>
                  </a:lnTo>
                  <a:lnTo>
                    <a:pt x="326" y="64"/>
                  </a:lnTo>
                  <a:lnTo>
                    <a:pt x="326" y="64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3" y="64"/>
                  </a:lnTo>
                  <a:lnTo>
                    <a:pt x="321" y="64"/>
                  </a:lnTo>
                  <a:lnTo>
                    <a:pt x="321" y="67"/>
                  </a:lnTo>
                  <a:lnTo>
                    <a:pt x="318" y="67"/>
                  </a:lnTo>
                  <a:lnTo>
                    <a:pt x="318" y="67"/>
                  </a:lnTo>
                  <a:lnTo>
                    <a:pt x="318" y="67"/>
                  </a:lnTo>
                  <a:lnTo>
                    <a:pt x="315" y="69"/>
                  </a:lnTo>
                  <a:lnTo>
                    <a:pt x="315" y="69"/>
                  </a:lnTo>
                  <a:lnTo>
                    <a:pt x="313" y="69"/>
                  </a:lnTo>
                  <a:lnTo>
                    <a:pt x="313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07" y="72"/>
                  </a:lnTo>
                  <a:lnTo>
                    <a:pt x="307" y="72"/>
                  </a:lnTo>
                  <a:lnTo>
                    <a:pt x="305" y="72"/>
                  </a:lnTo>
                  <a:lnTo>
                    <a:pt x="302" y="72"/>
                  </a:lnTo>
                  <a:lnTo>
                    <a:pt x="302" y="72"/>
                  </a:lnTo>
                  <a:lnTo>
                    <a:pt x="299" y="72"/>
                  </a:lnTo>
                  <a:lnTo>
                    <a:pt x="299" y="72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89" y="77"/>
                  </a:lnTo>
                  <a:lnTo>
                    <a:pt x="289" y="77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6" y="80"/>
                  </a:lnTo>
                  <a:lnTo>
                    <a:pt x="286" y="80"/>
                  </a:lnTo>
                  <a:lnTo>
                    <a:pt x="283" y="83"/>
                  </a:lnTo>
                  <a:lnTo>
                    <a:pt x="283" y="83"/>
                  </a:lnTo>
                  <a:lnTo>
                    <a:pt x="281" y="85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78" y="91"/>
                  </a:lnTo>
                  <a:lnTo>
                    <a:pt x="278" y="93"/>
                  </a:lnTo>
                  <a:lnTo>
                    <a:pt x="275" y="96"/>
                  </a:lnTo>
                  <a:lnTo>
                    <a:pt x="270" y="99"/>
                  </a:lnTo>
                  <a:lnTo>
                    <a:pt x="270" y="99"/>
                  </a:lnTo>
                  <a:lnTo>
                    <a:pt x="270" y="101"/>
                  </a:lnTo>
                  <a:lnTo>
                    <a:pt x="273" y="101"/>
                  </a:lnTo>
                  <a:lnTo>
                    <a:pt x="273" y="101"/>
                  </a:lnTo>
                  <a:lnTo>
                    <a:pt x="273" y="101"/>
                  </a:lnTo>
                  <a:lnTo>
                    <a:pt x="273" y="104"/>
                  </a:lnTo>
                  <a:lnTo>
                    <a:pt x="273" y="104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8" y="107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8" y="109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5" y="112"/>
                  </a:lnTo>
                  <a:lnTo>
                    <a:pt x="273" y="112"/>
                  </a:lnTo>
                  <a:lnTo>
                    <a:pt x="270" y="115"/>
                  </a:lnTo>
                  <a:lnTo>
                    <a:pt x="270" y="115"/>
                  </a:lnTo>
                  <a:lnTo>
                    <a:pt x="267" y="115"/>
                  </a:lnTo>
                  <a:lnTo>
                    <a:pt x="267" y="115"/>
                  </a:lnTo>
                  <a:lnTo>
                    <a:pt x="267" y="115"/>
                  </a:lnTo>
                  <a:lnTo>
                    <a:pt x="265" y="115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5" y="120"/>
                  </a:lnTo>
                  <a:lnTo>
                    <a:pt x="262" y="120"/>
                  </a:lnTo>
                  <a:lnTo>
                    <a:pt x="262" y="123"/>
                  </a:lnTo>
                  <a:lnTo>
                    <a:pt x="262" y="123"/>
                  </a:lnTo>
                  <a:lnTo>
                    <a:pt x="262" y="123"/>
                  </a:lnTo>
                  <a:lnTo>
                    <a:pt x="262" y="125"/>
                  </a:lnTo>
                  <a:lnTo>
                    <a:pt x="262" y="125"/>
                  </a:lnTo>
                  <a:lnTo>
                    <a:pt x="262" y="125"/>
                  </a:lnTo>
                  <a:lnTo>
                    <a:pt x="262" y="128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59" y="128"/>
                  </a:lnTo>
                  <a:lnTo>
                    <a:pt x="257" y="128"/>
                  </a:lnTo>
                  <a:lnTo>
                    <a:pt x="257" y="131"/>
                  </a:lnTo>
                  <a:lnTo>
                    <a:pt x="257" y="131"/>
                  </a:lnTo>
                  <a:lnTo>
                    <a:pt x="257" y="131"/>
                  </a:lnTo>
                  <a:lnTo>
                    <a:pt x="257" y="133"/>
                  </a:lnTo>
                  <a:lnTo>
                    <a:pt x="254" y="133"/>
                  </a:lnTo>
                  <a:lnTo>
                    <a:pt x="254" y="136"/>
                  </a:lnTo>
                  <a:lnTo>
                    <a:pt x="254" y="136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1" y="139"/>
                  </a:lnTo>
                  <a:lnTo>
                    <a:pt x="251" y="141"/>
                  </a:lnTo>
                  <a:lnTo>
                    <a:pt x="251" y="141"/>
                  </a:lnTo>
                  <a:lnTo>
                    <a:pt x="251" y="141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49" y="147"/>
                  </a:lnTo>
                  <a:lnTo>
                    <a:pt x="249" y="147"/>
                  </a:lnTo>
                  <a:lnTo>
                    <a:pt x="243" y="152"/>
                  </a:lnTo>
                  <a:lnTo>
                    <a:pt x="246" y="155"/>
                  </a:lnTo>
                  <a:lnTo>
                    <a:pt x="249" y="157"/>
                  </a:lnTo>
                  <a:lnTo>
                    <a:pt x="249" y="160"/>
                  </a:lnTo>
                  <a:lnTo>
                    <a:pt x="249" y="163"/>
                  </a:lnTo>
                  <a:lnTo>
                    <a:pt x="249" y="163"/>
                  </a:lnTo>
                  <a:lnTo>
                    <a:pt x="249" y="165"/>
                  </a:lnTo>
                  <a:lnTo>
                    <a:pt x="246" y="168"/>
                  </a:lnTo>
                  <a:lnTo>
                    <a:pt x="246" y="168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3" y="173"/>
                  </a:lnTo>
                  <a:lnTo>
                    <a:pt x="243" y="173"/>
                  </a:lnTo>
                  <a:lnTo>
                    <a:pt x="241" y="173"/>
                  </a:lnTo>
                  <a:lnTo>
                    <a:pt x="238" y="173"/>
                  </a:lnTo>
                  <a:lnTo>
                    <a:pt x="238" y="173"/>
                  </a:lnTo>
                  <a:lnTo>
                    <a:pt x="235" y="171"/>
                  </a:lnTo>
                  <a:lnTo>
                    <a:pt x="233" y="171"/>
                  </a:lnTo>
                  <a:lnTo>
                    <a:pt x="230" y="168"/>
                  </a:lnTo>
                  <a:lnTo>
                    <a:pt x="230" y="168"/>
                  </a:lnTo>
                  <a:lnTo>
                    <a:pt x="227" y="168"/>
                  </a:lnTo>
                  <a:lnTo>
                    <a:pt x="224" y="168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19" y="165"/>
                  </a:lnTo>
                  <a:lnTo>
                    <a:pt x="216" y="165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06" y="163"/>
                  </a:lnTo>
                  <a:lnTo>
                    <a:pt x="206" y="165"/>
                  </a:lnTo>
                  <a:lnTo>
                    <a:pt x="203" y="165"/>
                  </a:lnTo>
                  <a:lnTo>
                    <a:pt x="200" y="165"/>
                  </a:lnTo>
                  <a:lnTo>
                    <a:pt x="198" y="168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2" y="179"/>
                  </a:lnTo>
                  <a:lnTo>
                    <a:pt x="192" y="179"/>
                  </a:lnTo>
                  <a:lnTo>
                    <a:pt x="190" y="184"/>
                  </a:lnTo>
                  <a:lnTo>
                    <a:pt x="190" y="187"/>
                  </a:lnTo>
                  <a:lnTo>
                    <a:pt x="190" y="190"/>
                  </a:lnTo>
                  <a:lnTo>
                    <a:pt x="190" y="192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4" y="198"/>
                  </a:lnTo>
                  <a:lnTo>
                    <a:pt x="184" y="200"/>
                  </a:lnTo>
                  <a:lnTo>
                    <a:pt x="182" y="203"/>
                  </a:lnTo>
                  <a:lnTo>
                    <a:pt x="179" y="206"/>
                  </a:lnTo>
                  <a:lnTo>
                    <a:pt x="176" y="208"/>
                  </a:lnTo>
                  <a:lnTo>
                    <a:pt x="174" y="208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68" y="214"/>
                  </a:lnTo>
                  <a:lnTo>
                    <a:pt x="168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3" y="222"/>
                  </a:lnTo>
                  <a:lnTo>
                    <a:pt x="160" y="222"/>
                  </a:lnTo>
                  <a:lnTo>
                    <a:pt x="160" y="224"/>
                  </a:lnTo>
                  <a:lnTo>
                    <a:pt x="158" y="227"/>
                  </a:lnTo>
                  <a:lnTo>
                    <a:pt x="155" y="227"/>
                  </a:lnTo>
                  <a:lnTo>
                    <a:pt x="152" y="230"/>
                  </a:lnTo>
                  <a:lnTo>
                    <a:pt x="152" y="230"/>
                  </a:lnTo>
                  <a:lnTo>
                    <a:pt x="152" y="232"/>
                  </a:lnTo>
                  <a:lnTo>
                    <a:pt x="152" y="235"/>
                  </a:lnTo>
                  <a:lnTo>
                    <a:pt x="152" y="238"/>
                  </a:lnTo>
                  <a:lnTo>
                    <a:pt x="152" y="240"/>
                  </a:lnTo>
                  <a:lnTo>
                    <a:pt x="150" y="243"/>
                  </a:lnTo>
                  <a:lnTo>
                    <a:pt x="147" y="246"/>
                  </a:lnTo>
                  <a:lnTo>
                    <a:pt x="147" y="246"/>
                  </a:lnTo>
                  <a:lnTo>
                    <a:pt x="147" y="248"/>
                  </a:lnTo>
                  <a:lnTo>
                    <a:pt x="144" y="251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39" y="256"/>
                  </a:lnTo>
                  <a:lnTo>
                    <a:pt x="139" y="256"/>
                  </a:lnTo>
                  <a:lnTo>
                    <a:pt x="139" y="259"/>
                  </a:lnTo>
                  <a:lnTo>
                    <a:pt x="136" y="259"/>
                  </a:lnTo>
                  <a:lnTo>
                    <a:pt x="136" y="262"/>
                  </a:lnTo>
                  <a:lnTo>
                    <a:pt x="134" y="262"/>
                  </a:lnTo>
                  <a:lnTo>
                    <a:pt x="134" y="262"/>
                  </a:lnTo>
                  <a:lnTo>
                    <a:pt x="134" y="264"/>
                  </a:lnTo>
                  <a:lnTo>
                    <a:pt x="131" y="264"/>
                  </a:lnTo>
                  <a:lnTo>
                    <a:pt x="131" y="267"/>
                  </a:lnTo>
                  <a:lnTo>
                    <a:pt x="128" y="267"/>
                  </a:lnTo>
                  <a:lnTo>
                    <a:pt x="128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3" y="267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0" y="264"/>
                  </a:lnTo>
                  <a:lnTo>
                    <a:pt x="118" y="267"/>
                  </a:lnTo>
                  <a:lnTo>
                    <a:pt x="118" y="267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8"/>
                  </a:lnTo>
                  <a:lnTo>
                    <a:pt x="112" y="283"/>
                  </a:lnTo>
                  <a:lnTo>
                    <a:pt x="102" y="296"/>
                  </a:lnTo>
                  <a:lnTo>
                    <a:pt x="99" y="302"/>
                  </a:lnTo>
                  <a:lnTo>
                    <a:pt x="94" y="307"/>
                  </a:lnTo>
                  <a:lnTo>
                    <a:pt x="88" y="315"/>
                  </a:lnTo>
                  <a:lnTo>
                    <a:pt x="78" y="331"/>
                  </a:lnTo>
                  <a:lnTo>
                    <a:pt x="72" y="344"/>
                  </a:lnTo>
                  <a:lnTo>
                    <a:pt x="67" y="358"/>
                  </a:lnTo>
                  <a:lnTo>
                    <a:pt x="64" y="366"/>
                  </a:lnTo>
                  <a:lnTo>
                    <a:pt x="62" y="371"/>
                  </a:lnTo>
                  <a:lnTo>
                    <a:pt x="59" y="374"/>
                  </a:lnTo>
                  <a:lnTo>
                    <a:pt x="56" y="374"/>
                  </a:lnTo>
                  <a:lnTo>
                    <a:pt x="56" y="374"/>
                  </a:lnTo>
                  <a:lnTo>
                    <a:pt x="54" y="374"/>
                  </a:lnTo>
                  <a:lnTo>
                    <a:pt x="51" y="371"/>
                  </a:lnTo>
                  <a:lnTo>
                    <a:pt x="51" y="371"/>
                  </a:lnTo>
                  <a:lnTo>
                    <a:pt x="48" y="371"/>
                  </a:lnTo>
                  <a:lnTo>
                    <a:pt x="48" y="371"/>
                  </a:lnTo>
                  <a:lnTo>
                    <a:pt x="46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0" y="371"/>
                  </a:lnTo>
                  <a:lnTo>
                    <a:pt x="40" y="371"/>
                  </a:lnTo>
                  <a:lnTo>
                    <a:pt x="38" y="371"/>
                  </a:lnTo>
                  <a:lnTo>
                    <a:pt x="38" y="371"/>
                  </a:lnTo>
                  <a:lnTo>
                    <a:pt x="38" y="371"/>
                  </a:lnTo>
                  <a:lnTo>
                    <a:pt x="35" y="371"/>
                  </a:lnTo>
                  <a:lnTo>
                    <a:pt x="35" y="371"/>
                  </a:lnTo>
                  <a:lnTo>
                    <a:pt x="32" y="371"/>
                  </a:lnTo>
                  <a:lnTo>
                    <a:pt x="32" y="371"/>
                  </a:lnTo>
                  <a:lnTo>
                    <a:pt x="32" y="374"/>
                  </a:lnTo>
                  <a:lnTo>
                    <a:pt x="32" y="374"/>
                  </a:lnTo>
                  <a:lnTo>
                    <a:pt x="30" y="377"/>
                  </a:lnTo>
                  <a:lnTo>
                    <a:pt x="30" y="377"/>
                  </a:lnTo>
                  <a:lnTo>
                    <a:pt x="30" y="379"/>
                  </a:lnTo>
                  <a:lnTo>
                    <a:pt x="30" y="379"/>
                  </a:lnTo>
                  <a:lnTo>
                    <a:pt x="30" y="382"/>
                  </a:lnTo>
                  <a:lnTo>
                    <a:pt x="30" y="385"/>
                  </a:lnTo>
                  <a:lnTo>
                    <a:pt x="27" y="385"/>
                  </a:lnTo>
                  <a:lnTo>
                    <a:pt x="27" y="387"/>
                  </a:lnTo>
                  <a:lnTo>
                    <a:pt x="27" y="387"/>
                  </a:lnTo>
                  <a:lnTo>
                    <a:pt x="27" y="390"/>
                  </a:lnTo>
                  <a:lnTo>
                    <a:pt x="24" y="390"/>
                  </a:lnTo>
                  <a:lnTo>
                    <a:pt x="24" y="393"/>
                  </a:lnTo>
                  <a:lnTo>
                    <a:pt x="27" y="393"/>
                  </a:lnTo>
                  <a:lnTo>
                    <a:pt x="27" y="395"/>
                  </a:lnTo>
                  <a:lnTo>
                    <a:pt x="27" y="395"/>
                  </a:lnTo>
                  <a:lnTo>
                    <a:pt x="24" y="398"/>
                  </a:lnTo>
                  <a:lnTo>
                    <a:pt x="24" y="398"/>
                  </a:lnTo>
                  <a:lnTo>
                    <a:pt x="24" y="401"/>
                  </a:lnTo>
                  <a:lnTo>
                    <a:pt x="24" y="401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4" y="406"/>
                  </a:lnTo>
                  <a:lnTo>
                    <a:pt x="22" y="406"/>
                  </a:lnTo>
                  <a:lnTo>
                    <a:pt x="22" y="406"/>
                  </a:lnTo>
                  <a:lnTo>
                    <a:pt x="22" y="409"/>
                  </a:lnTo>
                  <a:lnTo>
                    <a:pt x="22" y="409"/>
                  </a:lnTo>
                  <a:lnTo>
                    <a:pt x="22" y="409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4"/>
                  </a:lnTo>
                  <a:lnTo>
                    <a:pt x="24" y="414"/>
                  </a:lnTo>
                  <a:lnTo>
                    <a:pt x="24" y="414"/>
                  </a:lnTo>
                  <a:lnTo>
                    <a:pt x="24" y="417"/>
                  </a:lnTo>
                  <a:lnTo>
                    <a:pt x="24" y="419"/>
                  </a:lnTo>
                  <a:lnTo>
                    <a:pt x="24" y="419"/>
                  </a:lnTo>
                  <a:lnTo>
                    <a:pt x="24" y="422"/>
                  </a:lnTo>
                  <a:lnTo>
                    <a:pt x="24" y="422"/>
                  </a:lnTo>
                  <a:lnTo>
                    <a:pt x="24" y="422"/>
                  </a:lnTo>
                  <a:lnTo>
                    <a:pt x="24" y="425"/>
                  </a:lnTo>
                  <a:lnTo>
                    <a:pt x="24" y="425"/>
                  </a:lnTo>
                  <a:lnTo>
                    <a:pt x="24" y="427"/>
                  </a:lnTo>
                  <a:lnTo>
                    <a:pt x="24" y="430"/>
                  </a:lnTo>
                  <a:lnTo>
                    <a:pt x="24" y="433"/>
                  </a:lnTo>
                  <a:lnTo>
                    <a:pt x="24" y="433"/>
                  </a:lnTo>
                  <a:lnTo>
                    <a:pt x="24" y="433"/>
                  </a:lnTo>
                  <a:lnTo>
                    <a:pt x="22" y="435"/>
                  </a:lnTo>
                  <a:lnTo>
                    <a:pt x="22" y="435"/>
                  </a:lnTo>
                  <a:lnTo>
                    <a:pt x="22" y="438"/>
                  </a:lnTo>
                  <a:lnTo>
                    <a:pt x="19" y="438"/>
                  </a:lnTo>
                  <a:lnTo>
                    <a:pt x="16" y="441"/>
                  </a:lnTo>
                  <a:lnTo>
                    <a:pt x="16" y="441"/>
                  </a:lnTo>
                  <a:lnTo>
                    <a:pt x="14" y="441"/>
                  </a:lnTo>
                  <a:lnTo>
                    <a:pt x="14" y="441"/>
                  </a:lnTo>
                  <a:lnTo>
                    <a:pt x="14" y="443"/>
                  </a:lnTo>
                  <a:lnTo>
                    <a:pt x="14" y="443"/>
                  </a:lnTo>
                  <a:lnTo>
                    <a:pt x="14" y="446"/>
                  </a:lnTo>
                  <a:lnTo>
                    <a:pt x="11" y="449"/>
                  </a:lnTo>
                  <a:lnTo>
                    <a:pt x="11" y="451"/>
                  </a:lnTo>
                  <a:lnTo>
                    <a:pt x="8" y="451"/>
                  </a:lnTo>
                  <a:lnTo>
                    <a:pt x="8" y="454"/>
                  </a:lnTo>
                  <a:lnTo>
                    <a:pt x="6" y="454"/>
                  </a:lnTo>
                  <a:lnTo>
                    <a:pt x="6" y="457"/>
                  </a:lnTo>
                  <a:lnTo>
                    <a:pt x="3" y="457"/>
                  </a:lnTo>
                  <a:lnTo>
                    <a:pt x="3" y="459"/>
                  </a:lnTo>
                  <a:lnTo>
                    <a:pt x="3" y="459"/>
                  </a:lnTo>
                  <a:lnTo>
                    <a:pt x="3" y="462"/>
                  </a:lnTo>
                  <a:lnTo>
                    <a:pt x="3" y="462"/>
                  </a:lnTo>
                  <a:lnTo>
                    <a:pt x="3" y="465"/>
                  </a:lnTo>
                  <a:lnTo>
                    <a:pt x="3" y="465"/>
                  </a:lnTo>
                  <a:lnTo>
                    <a:pt x="0" y="467"/>
                  </a:lnTo>
                  <a:lnTo>
                    <a:pt x="0" y="467"/>
                  </a:lnTo>
                  <a:lnTo>
                    <a:pt x="3" y="467"/>
                  </a:lnTo>
                  <a:lnTo>
                    <a:pt x="6" y="467"/>
                  </a:lnTo>
                  <a:lnTo>
                    <a:pt x="6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67"/>
                  </a:lnTo>
                  <a:lnTo>
                    <a:pt x="8" y="470"/>
                  </a:lnTo>
                  <a:lnTo>
                    <a:pt x="11" y="470"/>
                  </a:lnTo>
                  <a:lnTo>
                    <a:pt x="11" y="473"/>
                  </a:lnTo>
                  <a:lnTo>
                    <a:pt x="14" y="473"/>
                  </a:lnTo>
                  <a:lnTo>
                    <a:pt x="14" y="473"/>
                  </a:lnTo>
                  <a:lnTo>
                    <a:pt x="16" y="473"/>
                  </a:lnTo>
                  <a:lnTo>
                    <a:pt x="16" y="473"/>
                  </a:lnTo>
                  <a:lnTo>
                    <a:pt x="19" y="473"/>
                  </a:lnTo>
                  <a:lnTo>
                    <a:pt x="22" y="473"/>
                  </a:lnTo>
                  <a:lnTo>
                    <a:pt x="22" y="473"/>
                  </a:lnTo>
                  <a:lnTo>
                    <a:pt x="24" y="473"/>
                  </a:lnTo>
                  <a:lnTo>
                    <a:pt x="24" y="473"/>
                  </a:lnTo>
                  <a:lnTo>
                    <a:pt x="27" y="473"/>
                  </a:lnTo>
                  <a:lnTo>
                    <a:pt x="27" y="475"/>
                  </a:lnTo>
                  <a:lnTo>
                    <a:pt x="27" y="478"/>
                  </a:lnTo>
                  <a:lnTo>
                    <a:pt x="27" y="478"/>
                  </a:lnTo>
                  <a:lnTo>
                    <a:pt x="27" y="478"/>
                  </a:lnTo>
                  <a:lnTo>
                    <a:pt x="30" y="481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2" y="481"/>
                  </a:lnTo>
                  <a:lnTo>
                    <a:pt x="35" y="483"/>
                  </a:lnTo>
                  <a:lnTo>
                    <a:pt x="35" y="483"/>
                  </a:lnTo>
                  <a:lnTo>
                    <a:pt x="35" y="491"/>
                  </a:lnTo>
                  <a:lnTo>
                    <a:pt x="35" y="497"/>
                  </a:lnTo>
                  <a:lnTo>
                    <a:pt x="38" y="499"/>
                  </a:lnTo>
                  <a:lnTo>
                    <a:pt x="38" y="505"/>
                  </a:lnTo>
                  <a:lnTo>
                    <a:pt x="32" y="513"/>
                  </a:lnTo>
                  <a:lnTo>
                    <a:pt x="32" y="513"/>
                  </a:lnTo>
                  <a:lnTo>
                    <a:pt x="32" y="516"/>
                  </a:lnTo>
                  <a:lnTo>
                    <a:pt x="32" y="516"/>
                  </a:lnTo>
                  <a:lnTo>
                    <a:pt x="32" y="518"/>
                  </a:lnTo>
                  <a:lnTo>
                    <a:pt x="32" y="518"/>
                  </a:lnTo>
                  <a:lnTo>
                    <a:pt x="32" y="521"/>
                  </a:lnTo>
                  <a:lnTo>
                    <a:pt x="32" y="521"/>
                  </a:lnTo>
                  <a:lnTo>
                    <a:pt x="30" y="524"/>
                  </a:lnTo>
                  <a:lnTo>
                    <a:pt x="27" y="524"/>
                  </a:lnTo>
                  <a:lnTo>
                    <a:pt x="27" y="524"/>
                  </a:lnTo>
                  <a:lnTo>
                    <a:pt x="27" y="526"/>
                  </a:lnTo>
                  <a:lnTo>
                    <a:pt x="27" y="529"/>
                  </a:lnTo>
                  <a:lnTo>
                    <a:pt x="24" y="529"/>
                  </a:lnTo>
                  <a:lnTo>
                    <a:pt x="24" y="529"/>
                  </a:lnTo>
                  <a:lnTo>
                    <a:pt x="24" y="532"/>
                  </a:lnTo>
                  <a:lnTo>
                    <a:pt x="22" y="534"/>
                  </a:lnTo>
                  <a:lnTo>
                    <a:pt x="22" y="537"/>
                  </a:lnTo>
                  <a:lnTo>
                    <a:pt x="22" y="537"/>
                  </a:lnTo>
                  <a:lnTo>
                    <a:pt x="22" y="537"/>
                  </a:lnTo>
                  <a:lnTo>
                    <a:pt x="22" y="540"/>
                  </a:lnTo>
                  <a:lnTo>
                    <a:pt x="19" y="542"/>
                  </a:lnTo>
                  <a:lnTo>
                    <a:pt x="19" y="542"/>
                  </a:lnTo>
                  <a:lnTo>
                    <a:pt x="19" y="545"/>
                  </a:lnTo>
                  <a:lnTo>
                    <a:pt x="22" y="545"/>
                  </a:lnTo>
                  <a:lnTo>
                    <a:pt x="22" y="548"/>
                  </a:lnTo>
                  <a:lnTo>
                    <a:pt x="22" y="548"/>
                  </a:lnTo>
                  <a:lnTo>
                    <a:pt x="22" y="550"/>
                  </a:lnTo>
                  <a:lnTo>
                    <a:pt x="27" y="550"/>
                  </a:lnTo>
                  <a:lnTo>
                    <a:pt x="27" y="550"/>
                  </a:lnTo>
                  <a:lnTo>
                    <a:pt x="35" y="548"/>
                  </a:lnTo>
                  <a:lnTo>
                    <a:pt x="38" y="548"/>
                  </a:lnTo>
                  <a:lnTo>
                    <a:pt x="40" y="545"/>
                  </a:lnTo>
                  <a:lnTo>
                    <a:pt x="43" y="545"/>
                  </a:lnTo>
                  <a:lnTo>
                    <a:pt x="46" y="542"/>
                  </a:lnTo>
                  <a:lnTo>
                    <a:pt x="48" y="542"/>
                  </a:lnTo>
                  <a:lnTo>
                    <a:pt x="51" y="545"/>
                  </a:lnTo>
                  <a:lnTo>
                    <a:pt x="48" y="548"/>
                  </a:lnTo>
                  <a:lnTo>
                    <a:pt x="51" y="548"/>
                  </a:lnTo>
                  <a:lnTo>
                    <a:pt x="51" y="550"/>
                  </a:lnTo>
                  <a:lnTo>
                    <a:pt x="51" y="550"/>
                  </a:lnTo>
                  <a:lnTo>
                    <a:pt x="48" y="553"/>
                  </a:lnTo>
                  <a:lnTo>
                    <a:pt x="48" y="558"/>
                  </a:lnTo>
                  <a:lnTo>
                    <a:pt x="48" y="558"/>
                  </a:lnTo>
                  <a:lnTo>
                    <a:pt x="48" y="556"/>
                  </a:lnTo>
                  <a:lnTo>
                    <a:pt x="51" y="556"/>
                  </a:lnTo>
                  <a:lnTo>
                    <a:pt x="51" y="556"/>
                  </a:lnTo>
                  <a:lnTo>
                    <a:pt x="54" y="556"/>
                  </a:lnTo>
                  <a:lnTo>
                    <a:pt x="59" y="556"/>
                  </a:lnTo>
                  <a:lnTo>
                    <a:pt x="62" y="556"/>
                  </a:lnTo>
                  <a:lnTo>
                    <a:pt x="59" y="553"/>
                  </a:lnTo>
                  <a:lnTo>
                    <a:pt x="62" y="553"/>
                  </a:lnTo>
                  <a:lnTo>
                    <a:pt x="64" y="553"/>
                  </a:lnTo>
                  <a:lnTo>
                    <a:pt x="64" y="556"/>
                  </a:lnTo>
                  <a:lnTo>
                    <a:pt x="62" y="556"/>
                  </a:lnTo>
                  <a:lnTo>
                    <a:pt x="64" y="558"/>
                  </a:lnTo>
                  <a:lnTo>
                    <a:pt x="62" y="558"/>
                  </a:lnTo>
                  <a:lnTo>
                    <a:pt x="62" y="561"/>
                  </a:lnTo>
                  <a:lnTo>
                    <a:pt x="62" y="561"/>
                  </a:lnTo>
                  <a:lnTo>
                    <a:pt x="64" y="561"/>
                  </a:lnTo>
                  <a:lnTo>
                    <a:pt x="64" y="564"/>
                  </a:lnTo>
                  <a:lnTo>
                    <a:pt x="62" y="564"/>
                  </a:lnTo>
                  <a:lnTo>
                    <a:pt x="62" y="566"/>
                  </a:lnTo>
                  <a:lnTo>
                    <a:pt x="64" y="564"/>
                  </a:lnTo>
                  <a:lnTo>
                    <a:pt x="67" y="572"/>
                  </a:lnTo>
                  <a:lnTo>
                    <a:pt x="67" y="572"/>
                  </a:lnTo>
                  <a:lnTo>
                    <a:pt x="70" y="572"/>
                  </a:lnTo>
                  <a:lnTo>
                    <a:pt x="70" y="572"/>
                  </a:lnTo>
                  <a:lnTo>
                    <a:pt x="70" y="574"/>
                  </a:lnTo>
                  <a:lnTo>
                    <a:pt x="78" y="580"/>
                  </a:lnTo>
                  <a:lnTo>
                    <a:pt x="80" y="577"/>
                  </a:lnTo>
                  <a:lnTo>
                    <a:pt x="78" y="569"/>
                  </a:lnTo>
                  <a:lnTo>
                    <a:pt x="80" y="566"/>
                  </a:lnTo>
                  <a:lnTo>
                    <a:pt x="80" y="566"/>
                  </a:lnTo>
                  <a:lnTo>
                    <a:pt x="83" y="569"/>
                  </a:lnTo>
                  <a:lnTo>
                    <a:pt x="83" y="569"/>
                  </a:lnTo>
                  <a:lnTo>
                    <a:pt x="86" y="569"/>
                  </a:lnTo>
                  <a:lnTo>
                    <a:pt x="86" y="572"/>
                  </a:lnTo>
                  <a:lnTo>
                    <a:pt x="86" y="582"/>
                  </a:lnTo>
                  <a:lnTo>
                    <a:pt x="86" y="582"/>
                  </a:lnTo>
                  <a:lnTo>
                    <a:pt x="88" y="582"/>
                  </a:lnTo>
                  <a:lnTo>
                    <a:pt x="88" y="582"/>
                  </a:lnTo>
                  <a:lnTo>
                    <a:pt x="91" y="582"/>
                  </a:lnTo>
                  <a:lnTo>
                    <a:pt x="91" y="582"/>
                  </a:lnTo>
                  <a:lnTo>
                    <a:pt x="91" y="585"/>
                  </a:lnTo>
                  <a:lnTo>
                    <a:pt x="91" y="585"/>
                  </a:lnTo>
                  <a:lnTo>
                    <a:pt x="91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8"/>
                  </a:lnTo>
                  <a:lnTo>
                    <a:pt x="88" y="588"/>
                  </a:lnTo>
                  <a:lnTo>
                    <a:pt x="88" y="590"/>
                  </a:lnTo>
                  <a:lnTo>
                    <a:pt x="91" y="590"/>
                  </a:lnTo>
                  <a:lnTo>
                    <a:pt x="94" y="588"/>
                  </a:lnTo>
                  <a:lnTo>
                    <a:pt x="99" y="588"/>
                  </a:lnTo>
                  <a:lnTo>
                    <a:pt x="99" y="585"/>
                  </a:lnTo>
                  <a:lnTo>
                    <a:pt x="102" y="588"/>
                  </a:lnTo>
                  <a:lnTo>
                    <a:pt x="102" y="588"/>
                  </a:lnTo>
                  <a:lnTo>
                    <a:pt x="104" y="590"/>
                  </a:lnTo>
                  <a:lnTo>
                    <a:pt x="107" y="590"/>
                  </a:lnTo>
                  <a:lnTo>
                    <a:pt x="104" y="593"/>
                  </a:lnTo>
                  <a:lnTo>
                    <a:pt x="104" y="593"/>
                  </a:lnTo>
                  <a:lnTo>
                    <a:pt x="107" y="596"/>
                  </a:lnTo>
                  <a:lnTo>
                    <a:pt x="107" y="596"/>
                  </a:lnTo>
                  <a:lnTo>
                    <a:pt x="110" y="596"/>
                  </a:lnTo>
                  <a:lnTo>
                    <a:pt x="110" y="596"/>
                  </a:lnTo>
                  <a:lnTo>
                    <a:pt x="112" y="596"/>
                  </a:lnTo>
                  <a:lnTo>
                    <a:pt x="112" y="596"/>
                  </a:lnTo>
                  <a:lnTo>
                    <a:pt x="112" y="593"/>
                  </a:lnTo>
                  <a:lnTo>
                    <a:pt x="115" y="593"/>
                  </a:lnTo>
                  <a:lnTo>
                    <a:pt x="115" y="593"/>
                  </a:lnTo>
                  <a:lnTo>
                    <a:pt x="118" y="593"/>
                  </a:lnTo>
                  <a:lnTo>
                    <a:pt x="118" y="593"/>
                  </a:lnTo>
                  <a:lnTo>
                    <a:pt x="120" y="593"/>
                  </a:lnTo>
                  <a:lnTo>
                    <a:pt x="123" y="593"/>
                  </a:lnTo>
                  <a:lnTo>
                    <a:pt x="123" y="593"/>
                  </a:lnTo>
                  <a:lnTo>
                    <a:pt x="128" y="593"/>
                  </a:lnTo>
                  <a:lnTo>
                    <a:pt x="131" y="593"/>
                  </a:lnTo>
                  <a:lnTo>
                    <a:pt x="131" y="593"/>
                  </a:lnTo>
                  <a:lnTo>
                    <a:pt x="134" y="593"/>
                  </a:lnTo>
                  <a:lnTo>
                    <a:pt x="134" y="596"/>
                  </a:lnTo>
                  <a:lnTo>
                    <a:pt x="134" y="598"/>
                  </a:lnTo>
                  <a:lnTo>
                    <a:pt x="134" y="601"/>
                  </a:lnTo>
                  <a:lnTo>
                    <a:pt x="134" y="601"/>
                  </a:lnTo>
                  <a:lnTo>
                    <a:pt x="136" y="604"/>
                  </a:lnTo>
                  <a:lnTo>
                    <a:pt x="136" y="604"/>
                  </a:lnTo>
                  <a:lnTo>
                    <a:pt x="136" y="606"/>
                  </a:lnTo>
                  <a:lnTo>
                    <a:pt x="134" y="606"/>
                  </a:lnTo>
                  <a:lnTo>
                    <a:pt x="134" y="606"/>
                  </a:lnTo>
                  <a:lnTo>
                    <a:pt x="134" y="609"/>
                  </a:lnTo>
                  <a:lnTo>
                    <a:pt x="134" y="609"/>
                  </a:lnTo>
                  <a:lnTo>
                    <a:pt x="134" y="609"/>
                  </a:lnTo>
                  <a:lnTo>
                    <a:pt x="136" y="612"/>
                  </a:lnTo>
                  <a:lnTo>
                    <a:pt x="136" y="612"/>
                  </a:lnTo>
                  <a:lnTo>
                    <a:pt x="139" y="612"/>
                  </a:lnTo>
                  <a:lnTo>
                    <a:pt x="142" y="612"/>
                  </a:lnTo>
                  <a:lnTo>
                    <a:pt x="142" y="614"/>
                  </a:lnTo>
                  <a:lnTo>
                    <a:pt x="142" y="617"/>
                  </a:lnTo>
                  <a:lnTo>
                    <a:pt x="144" y="617"/>
                  </a:lnTo>
                  <a:lnTo>
                    <a:pt x="144" y="617"/>
                  </a:lnTo>
                  <a:lnTo>
                    <a:pt x="147" y="614"/>
                  </a:lnTo>
                  <a:lnTo>
                    <a:pt x="150" y="617"/>
                  </a:lnTo>
                  <a:lnTo>
                    <a:pt x="147" y="620"/>
                  </a:lnTo>
                  <a:lnTo>
                    <a:pt x="147" y="620"/>
                  </a:lnTo>
                  <a:lnTo>
                    <a:pt x="147" y="622"/>
                  </a:lnTo>
                  <a:lnTo>
                    <a:pt x="147" y="625"/>
                  </a:lnTo>
                  <a:lnTo>
                    <a:pt x="147" y="628"/>
                  </a:lnTo>
                  <a:lnTo>
                    <a:pt x="139" y="638"/>
                  </a:lnTo>
                  <a:lnTo>
                    <a:pt x="142" y="641"/>
                  </a:lnTo>
                  <a:lnTo>
                    <a:pt x="147" y="641"/>
                  </a:lnTo>
                  <a:lnTo>
                    <a:pt x="150" y="644"/>
                  </a:lnTo>
                  <a:lnTo>
                    <a:pt x="152" y="644"/>
                  </a:lnTo>
                  <a:lnTo>
                    <a:pt x="152" y="646"/>
                  </a:lnTo>
                  <a:lnTo>
                    <a:pt x="152" y="649"/>
                  </a:lnTo>
                  <a:lnTo>
                    <a:pt x="152" y="652"/>
                  </a:lnTo>
                  <a:lnTo>
                    <a:pt x="152" y="654"/>
                  </a:lnTo>
                  <a:lnTo>
                    <a:pt x="152" y="657"/>
                  </a:lnTo>
                  <a:lnTo>
                    <a:pt x="155" y="657"/>
                  </a:lnTo>
                  <a:lnTo>
                    <a:pt x="155" y="657"/>
                  </a:lnTo>
                  <a:lnTo>
                    <a:pt x="155" y="660"/>
                  </a:lnTo>
                  <a:lnTo>
                    <a:pt x="155" y="660"/>
                  </a:lnTo>
                  <a:lnTo>
                    <a:pt x="152" y="662"/>
                  </a:lnTo>
                  <a:lnTo>
                    <a:pt x="152" y="662"/>
                  </a:lnTo>
                  <a:lnTo>
                    <a:pt x="150" y="662"/>
                  </a:lnTo>
                  <a:lnTo>
                    <a:pt x="150" y="665"/>
                  </a:lnTo>
                  <a:lnTo>
                    <a:pt x="150" y="668"/>
                  </a:lnTo>
                  <a:lnTo>
                    <a:pt x="147" y="668"/>
                  </a:lnTo>
                  <a:lnTo>
                    <a:pt x="144" y="668"/>
                  </a:lnTo>
                  <a:lnTo>
                    <a:pt x="142" y="668"/>
                  </a:lnTo>
                  <a:lnTo>
                    <a:pt x="139" y="668"/>
                  </a:lnTo>
                  <a:lnTo>
                    <a:pt x="139" y="671"/>
                  </a:lnTo>
                  <a:lnTo>
                    <a:pt x="136" y="673"/>
                  </a:lnTo>
                  <a:lnTo>
                    <a:pt x="136" y="676"/>
                  </a:lnTo>
                  <a:lnTo>
                    <a:pt x="136" y="676"/>
                  </a:lnTo>
                  <a:lnTo>
                    <a:pt x="134" y="679"/>
                  </a:lnTo>
                  <a:lnTo>
                    <a:pt x="134" y="679"/>
                  </a:lnTo>
                  <a:lnTo>
                    <a:pt x="131" y="679"/>
                  </a:lnTo>
                  <a:lnTo>
                    <a:pt x="131" y="681"/>
                  </a:lnTo>
                  <a:lnTo>
                    <a:pt x="134" y="681"/>
                  </a:lnTo>
                  <a:lnTo>
                    <a:pt x="134" y="681"/>
                  </a:lnTo>
                  <a:lnTo>
                    <a:pt x="134" y="684"/>
                  </a:lnTo>
                  <a:lnTo>
                    <a:pt x="134" y="684"/>
                  </a:lnTo>
                  <a:lnTo>
                    <a:pt x="131" y="684"/>
                  </a:lnTo>
                  <a:lnTo>
                    <a:pt x="134" y="684"/>
                  </a:lnTo>
                  <a:lnTo>
                    <a:pt x="134" y="687"/>
                  </a:lnTo>
                  <a:lnTo>
                    <a:pt x="134" y="689"/>
                  </a:lnTo>
                  <a:lnTo>
                    <a:pt x="134" y="689"/>
                  </a:lnTo>
                  <a:lnTo>
                    <a:pt x="131" y="692"/>
                  </a:lnTo>
                  <a:lnTo>
                    <a:pt x="128" y="692"/>
                  </a:lnTo>
                  <a:lnTo>
                    <a:pt x="128" y="695"/>
                  </a:lnTo>
                  <a:lnTo>
                    <a:pt x="128" y="695"/>
                  </a:lnTo>
                  <a:lnTo>
                    <a:pt x="128" y="697"/>
                  </a:lnTo>
                  <a:lnTo>
                    <a:pt x="128" y="697"/>
                  </a:lnTo>
                  <a:lnTo>
                    <a:pt x="126" y="700"/>
                  </a:lnTo>
                  <a:lnTo>
                    <a:pt x="126" y="700"/>
                  </a:lnTo>
                  <a:lnTo>
                    <a:pt x="126" y="703"/>
                  </a:lnTo>
                  <a:lnTo>
                    <a:pt x="128" y="703"/>
                  </a:lnTo>
                  <a:lnTo>
                    <a:pt x="128" y="705"/>
                  </a:lnTo>
                  <a:lnTo>
                    <a:pt x="128" y="705"/>
                  </a:lnTo>
                  <a:lnTo>
                    <a:pt x="126" y="708"/>
                  </a:lnTo>
                  <a:lnTo>
                    <a:pt x="126" y="708"/>
                  </a:lnTo>
                  <a:lnTo>
                    <a:pt x="126" y="708"/>
                  </a:lnTo>
                  <a:lnTo>
                    <a:pt x="126" y="711"/>
                  </a:lnTo>
                  <a:lnTo>
                    <a:pt x="126" y="713"/>
                  </a:lnTo>
                  <a:lnTo>
                    <a:pt x="126" y="713"/>
                  </a:lnTo>
                  <a:lnTo>
                    <a:pt x="126" y="713"/>
                  </a:lnTo>
                  <a:lnTo>
                    <a:pt x="126" y="716"/>
                  </a:lnTo>
                  <a:lnTo>
                    <a:pt x="126" y="716"/>
                  </a:lnTo>
                  <a:lnTo>
                    <a:pt x="126" y="716"/>
                  </a:lnTo>
                  <a:lnTo>
                    <a:pt x="128" y="719"/>
                  </a:lnTo>
                  <a:lnTo>
                    <a:pt x="128" y="719"/>
                  </a:lnTo>
                  <a:lnTo>
                    <a:pt x="128" y="719"/>
                  </a:lnTo>
                  <a:lnTo>
                    <a:pt x="128" y="721"/>
                  </a:lnTo>
                  <a:lnTo>
                    <a:pt x="128" y="721"/>
                  </a:lnTo>
                  <a:lnTo>
                    <a:pt x="131" y="724"/>
                  </a:lnTo>
                  <a:lnTo>
                    <a:pt x="131" y="724"/>
                  </a:lnTo>
                  <a:lnTo>
                    <a:pt x="131" y="727"/>
                  </a:lnTo>
                  <a:lnTo>
                    <a:pt x="131" y="727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4" y="729"/>
                  </a:lnTo>
                  <a:lnTo>
                    <a:pt x="134" y="732"/>
                  </a:lnTo>
                  <a:lnTo>
                    <a:pt x="131" y="735"/>
                  </a:lnTo>
                  <a:lnTo>
                    <a:pt x="131" y="735"/>
                  </a:lnTo>
                  <a:lnTo>
                    <a:pt x="128" y="737"/>
                  </a:lnTo>
                  <a:lnTo>
                    <a:pt x="126" y="740"/>
                  </a:lnTo>
                  <a:lnTo>
                    <a:pt x="120" y="743"/>
                  </a:lnTo>
                  <a:lnTo>
                    <a:pt x="115" y="748"/>
                  </a:lnTo>
                  <a:lnTo>
                    <a:pt x="110" y="751"/>
                  </a:lnTo>
                  <a:lnTo>
                    <a:pt x="104" y="756"/>
                  </a:lnTo>
                  <a:lnTo>
                    <a:pt x="102" y="756"/>
                  </a:lnTo>
                  <a:lnTo>
                    <a:pt x="99" y="756"/>
                  </a:lnTo>
                  <a:lnTo>
                    <a:pt x="99" y="759"/>
                  </a:lnTo>
                  <a:lnTo>
                    <a:pt x="96" y="761"/>
                  </a:lnTo>
                  <a:lnTo>
                    <a:pt x="96" y="761"/>
                  </a:lnTo>
                  <a:lnTo>
                    <a:pt x="96" y="764"/>
                  </a:lnTo>
                  <a:lnTo>
                    <a:pt x="94" y="764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72"/>
                  </a:lnTo>
                  <a:lnTo>
                    <a:pt x="94" y="772"/>
                  </a:lnTo>
                  <a:lnTo>
                    <a:pt x="94" y="772"/>
                  </a:lnTo>
                  <a:lnTo>
                    <a:pt x="91" y="775"/>
                  </a:lnTo>
                  <a:lnTo>
                    <a:pt x="91" y="775"/>
                  </a:lnTo>
                  <a:lnTo>
                    <a:pt x="91" y="777"/>
                  </a:lnTo>
                  <a:lnTo>
                    <a:pt x="88" y="780"/>
                  </a:lnTo>
                  <a:lnTo>
                    <a:pt x="86" y="783"/>
                  </a:lnTo>
                  <a:lnTo>
                    <a:pt x="86" y="783"/>
                  </a:lnTo>
                  <a:lnTo>
                    <a:pt x="83" y="783"/>
                  </a:lnTo>
                  <a:lnTo>
                    <a:pt x="83" y="783"/>
                  </a:lnTo>
                  <a:lnTo>
                    <a:pt x="80" y="783"/>
                  </a:lnTo>
                  <a:lnTo>
                    <a:pt x="78" y="783"/>
                  </a:lnTo>
                  <a:lnTo>
                    <a:pt x="75" y="783"/>
                  </a:lnTo>
                  <a:lnTo>
                    <a:pt x="75" y="783"/>
                  </a:lnTo>
                  <a:lnTo>
                    <a:pt x="72" y="783"/>
                  </a:lnTo>
                  <a:lnTo>
                    <a:pt x="72" y="783"/>
                  </a:lnTo>
                  <a:lnTo>
                    <a:pt x="72" y="783"/>
                  </a:lnTo>
                  <a:lnTo>
                    <a:pt x="70" y="785"/>
                  </a:lnTo>
                  <a:lnTo>
                    <a:pt x="70" y="785"/>
                  </a:lnTo>
                  <a:lnTo>
                    <a:pt x="70" y="788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88"/>
                  </a:lnTo>
                  <a:lnTo>
                    <a:pt x="67" y="791"/>
                  </a:lnTo>
                  <a:lnTo>
                    <a:pt x="67" y="791"/>
                  </a:lnTo>
                  <a:lnTo>
                    <a:pt x="64" y="791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4" y="793"/>
                  </a:lnTo>
                  <a:lnTo>
                    <a:pt x="62" y="796"/>
                  </a:lnTo>
                  <a:lnTo>
                    <a:pt x="62" y="799"/>
                  </a:lnTo>
                  <a:lnTo>
                    <a:pt x="59" y="799"/>
                  </a:lnTo>
                  <a:lnTo>
                    <a:pt x="59" y="801"/>
                  </a:lnTo>
                  <a:lnTo>
                    <a:pt x="59" y="801"/>
                  </a:lnTo>
                  <a:lnTo>
                    <a:pt x="56" y="804"/>
                  </a:lnTo>
                  <a:lnTo>
                    <a:pt x="56" y="804"/>
                  </a:lnTo>
                  <a:lnTo>
                    <a:pt x="54" y="804"/>
                  </a:lnTo>
                  <a:lnTo>
                    <a:pt x="54" y="804"/>
                  </a:lnTo>
                  <a:lnTo>
                    <a:pt x="51" y="807"/>
                  </a:lnTo>
                  <a:lnTo>
                    <a:pt x="51" y="807"/>
                  </a:lnTo>
                  <a:lnTo>
                    <a:pt x="51" y="809"/>
                  </a:lnTo>
                  <a:lnTo>
                    <a:pt x="51" y="809"/>
                  </a:lnTo>
                  <a:lnTo>
                    <a:pt x="51" y="812"/>
                  </a:lnTo>
                  <a:lnTo>
                    <a:pt x="54" y="815"/>
                  </a:lnTo>
                  <a:lnTo>
                    <a:pt x="54" y="815"/>
                  </a:lnTo>
                  <a:lnTo>
                    <a:pt x="54" y="817"/>
                  </a:lnTo>
                  <a:lnTo>
                    <a:pt x="54" y="817"/>
                  </a:lnTo>
                  <a:lnTo>
                    <a:pt x="56" y="817"/>
                  </a:lnTo>
                  <a:lnTo>
                    <a:pt x="56" y="820"/>
                  </a:lnTo>
                  <a:lnTo>
                    <a:pt x="59" y="823"/>
                  </a:lnTo>
                  <a:lnTo>
                    <a:pt x="62" y="823"/>
                  </a:lnTo>
                  <a:lnTo>
                    <a:pt x="59" y="823"/>
                  </a:lnTo>
                  <a:lnTo>
                    <a:pt x="62" y="825"/>
                  </a:lnTo>
                  <a:lnTo>
                    <a:pt x="62" y="825"/>
                  </a:lnTo>
                  <a:lnTo>
                    <a:pt x="64" y="825"/>
                  </a:lnTo>
                  <a:lnTo>
                    <a:pt x="64" y="828"/>
                  </a:lnTo>
                  <a:lnTo>
                    <a:pt x="67" y="831"/>
                  </a:lnTo>
                  <a:lnTo>
                    <a:pt x="70" y="831"/>
                  </a:lnTo>
                  <a:lnTo>
                    <a:pt x="72" y="834"/>
                  </a:lnTo>
                  <a:lnTo>
                    <a:pt x="72" y="834"/>
                  </a:lnTo>
                  <a:lnTo>
                    <a:pt x="72" y="836"/>
                  </a:lnTo>
                  <a:lnTo>
                    <a:pt x="75" y="839"/>
                  </a:lnTo>
                  <a:lnTo>
                    <a:pt x="75" y="839"/>
                  </a:lnTo>
                  <a:lnTo>
                    <a:pt x="78" y="842"/>
                  </a:lnTo>
                  <a:lnTo>
                    <a:pt x="78" y="842"/>
                  </a:lnTo>
                  <a:lnTo>
                    <a:pt x="80" y="842"/>
                  </a:lnTo>
                  <a:lnTo>
                    <a:pt x="80" y="842"/>
                  </a:lnTo>
                  <a:lnTo>
                    <a:pt x="83" y="842"/>
                  </a:lnTo>
                  <a:lnTo>
                    <a:pt x="88" y="844"/>
                  </a:lnTo>
                  <a:lnTo>
                    <a:pt x="88" y="847"/>
                  </a:lnTo>
                  <a:lnTo>
                    <a:pt x="88" y="850"/>
                  </a:lnTo>
                  <a:lnTo>
                    <a:pt x="88" y="852"/>
                  </a:lnTo>
                  <a:lnTo>
                    <a:pt x="91" y="852"/>
                  </a:lnTo>
                  <a:lnTo>
                    <a:pt x="88" y="852"/>
                  </a:lnTo>
                  <a:lnTo>
                    <a:pt x="88" y="855"/>
                  </a:lnTo>
                  <a:lnTo>
                    <a:pt x="88" y="855"/>
                  </a:lnTo>
                  <a:lnTo>
                    <a:pt x="88" y="858"/>
                  </a:lnTo>
                  <a:lnTo>
                    <a:pt x="88" y="858"/>
                  </a:lnTo>
                  <a:lnTo>
                    <a:pt x="88" y="860"/>
                  </a:lnTo>
                  <a:lnTo>
                    <a:pt x="88" y="860"/>
                  </a:lnTo>
                  <a:lnTo>
                    <a:pt x="88" y="860"/>
                  </a:lnTo>
                  <a:lnTo>
                    <a:pt x="88" y="863"/>
                  </a:lnTo>
                  <a:lnTo>
                    <a:pt x="86" y="863"/>
                  </a:lnTo>
                  <a:lnTo>
                    <a:pt x="86" y="866"/>
                  </a:lnTo>
                  <a:lnTo>
                    <a:pt x="86" y="866"/>
                  </a:lnTo>
                  <a:lnTo>
                    <a:pt x="86" y="866"/>
                  </a:lnTo>
                  <a:lnTo>
                    <a:pt x="86" y="868"/>
                  </a:lnTo>
                  <a:lnTo>
                    <a:pt x="83" y="868"/>
                  </a:lnTo>
                  <a:lnTo>
                    <a:pt x="78" y="868"/>
                  </a:lnTo>
                  <a:lnTo>
                    <a:pt x="75" y="868"/>
                  </a:lnTo>
                  <a:lnTo>
                    <a:pt x="78" y="871"/>
                  </a:lnTo>
                  <a:lnTo>
                    <a:pt x="78" y="871"/>
                  </a:lnTo>
                  <a:lnTo>
                    <a:pt x="75" y="874"/>
                  </a:lnTo>
                  <a:lnTo>
                    <a:pt x="75" y="874"/>
                  </a:lnTo>
                  <a:lnTo>
                    <a:pt x="75" y="874"/>
                  </a:lnTo>
                  <a:lnTo>
                    <a:pt x="75" y="876"/>
                  </a:lnTo>
                  <a:lnTo>
                    <a:pt x="72" y="876"/>
                  </a:lnTo>
                  <a:lnTo>
                    <a:pt x="72" y="879"/>
                  </a:lnTo>
                  <a:lnTo>
                    <a:pt x="75" y="879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2" y="882"/>
                  </a:lnTo>
                  <a:lnTo>
                    <a:pt x="70" y="884"/>
                  </a:lnTo>
                  <a:lnTo>
                    <a:pt x="70" y="884"/>
                  </a:lnTo>
                  <a:lnTo>
                    <a:pt x="70" y="887"/>
                  </a:lnTo>
                  <a:lnTo>
                    <a:pt x="70" y="887"/>
                  </a:lnTo>
                  <a:lnTo>
                    <a:pt x="72" y="890"/>
                  </a:lnTo>
                  <a:lnTo>
                    <a:pt x="72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0"/>
                  </a:lnTo>
                  <a:lnTo>
                    <a:pt x="75" y="892"/>
                  </a:lnTo>
                  <a:lnTo>
                    <a:pt x="75" y="895"/>
                  </a:lnTo>
                  <a:lnTo>
                    <a:pt x="75" y="895"/>
                  </a:lnTo>
                  <a:lnTo>
                    <a:pt x="75" y="898"/>
                  </a:lnTo>
                  <a:lnTo>
                    <a:pt x="78" y="898"/>
                  </a:lnTo>
                  <a:lnTo>
                    <a:pt x="78" y="898"/>
                  </a:lnTo>
                  <a:lnTo>
                    <a:pt x="78" y="898"/>
                  </a:lnTo>
                  <a:lnTo>
                    <a:pt x="78" y="900"/>
                  </a:lnTo>
                  <a:lnTo>
                    <a:pt x="78" y="900"/>
                  </a:lnTo>
                  <a:lnTo>
                    <a:pt x="80" y="900"/>
                  </a:lnTo>
                  <a:lnTo>
                    <a:pt x="80" y="900"/>
                  </a:lnTo>
                  <a:lnTo>
                    <a:pt x="80" y="900"/>
                  </a:lnTo>
                  <a:lnTo>
                    <a:pt x="80" y="903"/>
                  </a:lnTo>
                  <a:lnTo>
                    <a:pt x="80" y="903"/>
                  </a:lnTo>
                  <a:lnTo>
                    <a:pt x="80" y="906"/>
                  </a:lnTo>
                  <a:lnTo>
                    <a:pt x="80" y="906"/>
                  </a:lnTo>
                  <a:lnTo>
                    <a:pt x="80" y="906"/>
                  </a:lnTo>
                  <a:lnTo>
                    <a:pt x="80" y="908"/>
                  </a:lnTo>
                  <a:lnTo>
                    <a:pt x="80" y="908"/>
                  </a:lnTo>
                  <a:lnTo>
                    <a:pt x="78" y="908"/>
                  </a:lnTo>
                  <a:lnTo>
                    <a:pt x="78" y="908"/>
                  </a:lnTo>
                  <a:lnTo>
                    <a:pt x="78" y="911"/>
                  </a:lnTo>
                  <a:lnTo>
                    <a:pt x="80" y="911"/>
                  </a:lnTo>
                  <a:lnTo>
                    <a:pt x="80" y="911"/>
                  </a:lnTo>
                  <a:lnTo>
                    <a:pt x="80" y="911"/>
                  </a:lnTo>
                  <a:lnTo>
                    <a:pt x="83" y="911"/>
                  </a:lnTo>
                  <a:lnTo>
                    <a:pt x="83" y="914"/>
                  </a:lnTo>
                  <a:lnTo>
                    <a:pt x="80" y="914"/>
                  </a:lnTo>
                  <a:lnTo>
                    <a:pt x="80" y="919"/>
                  </a:lnTo>
                  <a:lnTo>
                    <a:pt x="80" y="927"/>
                  </a:lnTo>
                  <a:lnTo>
                    <a:pt x="80" y="943"/>
                  </a:lnTo>
                  <a:lnTo>
                    <a:pt x="83" y="946"/>
                  </a:lnTo>
                  <a:lnTo>
                    <a:pt x="83" y="951"/>
                  </a:lnTo>
                  <a:lnTo>
                    <a:pt x="88" y="956"/>
                  </a:lnTo>
                  <a:lnTo>
                    <a:pt x="88" y="962"/>
                  </a:lnTo>
                  <a:lnTo>
                    <a:pt x="99" y="967"/>
                  </a:lnTo>
                  <a:lnTo>
                    <a:pt x="110" y="970"/>
                  </a:lnTo>
                  <a:lnTo>
                    <a:pt x="115" y="972"/>
                  </a:lnTo>
                  <a:lnTo>
                    <a:pt x="118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0" y="972"/>
                  </a:lnTo>
                  <a:lnTo>
                    <a:pt x="123" y="972"/>
                  </a:lnTo>
                  <a:lnTo>
                    <a:pt x="123" y="972"/>
                  </a:lnTo>
                  <a:lnTo>
                    <a:pt x="123" y="970"/>
                  </a:lnTo>
                  <a:lnTo>
                    <a:pt x="126" y="970"/>
                  </a:lnTo>
                  <a:lnTo>
                    <a:pt x="123" y="970"/>
                  </a:lnTo>
                  <a:lnTo>
                    <a:pt x="123" y="967"/>
                  </a:lnTo>
                  <a:lnTo>
                    <a:pt x="126" y="967"/>
                  </a:lnTo>
                  <a:lnTo>
                    <a:pt x="126" y="964"/>
                  </a:lnTo>
                  <a:lnTo>
                    <a:pt x="128" y="964"/>
                  </a:lnTo>
                  <a:lnTo>
                    <a:pt x="128" y="964"/>
                  </a:lnTo>
                  <a:lnTo>
                    <a:pt x="128" y="964"/>
                  </a:lnTo>
                  <a:lnTo>
                    <a:pt x="128" y="962"/>
                  </a:lnTo>
                  <a:lnTo>
                    <a:pt x="128" y="962"/>
                  </a:lnTo>
                  <a:lnTo>
                    <a:pt x="131" y="962"/>
                  </a:lnTo>
                  <a:lnTo>
                    <a:pt x="131" y="962"/>
                  </a:lnTo>
                  <a:lnTo>
                    <a:pt x="134" y="959"/>
                  </a:lnTo>
                  <a:lnTo>
                    <a:pt x="134" y="956"/>
                  </a:lnTo>
                  <a:lnTo>
                    <a:pt x="136" y="956"/>
                  </a:lnTo>
                  <a:lnTo>
                    <a:pt x="136" y="956"/>
                  </a:lnTo>
                  <a:lnTo>
                    <a:pt x="139" y="956"/>
                  </a:lnTo>
                  <a:lnTo>
                    <a:pt x="139" y="954"/>
                  </a:lnTo>
                  <a:lnTo>
                    <a:pt x="139" y="954"/>
                  </a:lnTo>
                  <a:lnTo>
                    <a:pt x="139" y="951"/>
                  </a:lnTo>
                  <a:lnTo>
                    <a:pt x="139" y="951"/>
                  </a:lnTo>
                  <a:lnTo>
                    <a:pt x="139" y="948"/>
                  </a:lnTo>
                  <a:lnTo>
                    <a:pt x="142" y="946"/>
                  </a:lnTo>
                  <a:lnTo>
                    <a:pt x="142" y="946"/>
                  </a:lnTo>
                  <a:lnTo>
                    <a:pt x="144" y="946"/>
                  </a:lnTo>
                  <a:lnTo>
                    <a:pt x="142" y="943"/>
                  </a:lnTo>
                  <a:lnTo>
                    <a:pt x="142" y="943"/>
                  </a:lnTo>
                  <a:lnTo>
                    <a:pt x="142" y="943"/>
                  </a:lnTo>
                  <a:lnTo>
                    <a:pt x="144" y="943"/>
                  </a:lnTo>
                  <a:lnTo>
                    <a:pt x="144" y="943"/>
                  </a:lnTo>
                  <a:lnTo>
                    <a:pt x="144" y="943"/>
                  </a:lnTo>
                  <a:lnTo>
                    <a:pt x="144" y="940"/>
                  </a:lnTo>
                  <a:lnTo>
                    <a:pt x="144" y="940"/>
                  </a:lnTo>
                  <a:lnTo>
                    <a:pt x="144" y="938"/>
                  </a:lnTo>
                  <a:lnTo>
                    <a:pt x="144" y="938"/>
                  </a:lnTo>
                  <a:lnTo>
                    <a:pt x="147" y="938"/>
                  </a:lnTo>
                  <a:lnTo>
                    <a:pt x="147" y="940"/>
                  </a:lnTo>
                  <a:lnTo>
                    <a:pt x="147" y="940"/>
                  </a:lnTo>
                  <a:lnTo>
                    <a:pt x="150" y="940"/>
                  </a:lnTo>
                  <a:lnTo>
                    <a:pt x="150" y="940"/>
                  </a:lnTo>
                  <a:lnTo>
                    <a:pt x="152" y="940"/>
                  </a:lnTo>
                  <a:lnTo>
                    <a:pt x="152" y="940"/>
                  </a:lnTo>
                  <a:lnTo>
                    <a:pt x="155" y="940"/>
                  </a:lnTo>
                  <a:lnTo>
                    <a:pt x="155" y="940"/>
                  </a:lnTo>
                  <a:lnTo>
                    <a:pt x="155" y="938"/>
                  </a:lnTo>
                  <a:lnTo>
                    <a:pt x="155" y="938"/>
                  </a:lnTo>
                  <a:lnTo>
                    <a:pt x="155" y="938"/>
                  </a:lnTo>
                  <a:lnTo>
                    <a:pt x="155" y="935"/>
                  </a:lnTo>
                  <a:lnTo>
                    <a:pt x="155" y="935"/>
                  </a:lnTo>
                  <a:lnTo>
                    <a:pt x="155" y="932"/>
                  </a:lnTo>
                  <a:lnTo>
                    <a:pt x="155" y="932"/>
                  </a:lnTo>
                  <a:lnTo>
                    <a:pt x="155" y="930"/>
                  </a:lnTo>
                  <a:lnTo>
                    <a:pt x="155" y="930"/>
                  </a:lnTo>
                  <a:lnTo>
                    <a:pt x="152" y="927"/>
                  </a:lnTo>
                  <a:lnTo>
                    <a:pt x="152" y="924"/>
                  </a:lnTo>
                  <a:lnTo>
                    <a:pt x="155" y="924"/>
                  </a:lnTo>
                  <a:lnTo>
                    <a:pt x="155" y="922"/>
                  </a:lnTo>
                  <a:lnTo>
                    <a:pt x="155" y="922"/>
                  </a:lnTo>
                  <a:lnTo>
                    <a:pt x="155" y="919"/>
                  </a:lnTo>
                  <a:lnTo>
                    <a:pt x="155" y="919"/>
                  </a:lnTo>
                  <a:lnTo>
                    <a:pt x="158" y="916"/>
                  </a:lnTo>
                  <a:lnTo>
                    <a:pt x="158" y="919"/>
                  </a:lnTo>
                  <a:lnTo>
                    <a:pt x="160" y="919"/>
                  </a:lnTo>
                  <a:lnTo>
                    <a:pt x="160" y="919"/>
                  </a:lnTo>
                  <a:lnTo>
                    <a:pt x="163" y="922"/>
                  </a:lnTo>
                  <a:lnTo>
                    <a:pt x="163" y="924"/>
                  </a:lnTo>
                  <a:lnTo>
                    <a:pt x="166" y="924"/>
                  </a:lnTo>
                  <a:lnTo>
                    <a:pt x="166" y="924"/>
                  </a:lnTo>
                  <a:lnTo>
                    <a:pt x="168" y="927"/>
                  </a:lnTo>
                  <a:lnTo>
                    <a:pt x="168" y="927"/>
                  </a:lnTo>
                  <a:lnTo>
                    <a:pt x="168" y="927"/>
                  </a:lnTo>
                  <a:lnTo>
                    <a:pt x="171" y="930"/>
                  </a:lnTo>
                  <a:lnTo>
                    <a:pt x="174" y="930"/>
                  </a:lnTo>
                  <a:lnTo>
                    <a:pt x="174" y="932"/>
                  </a:lnTo>
                  <a:lnTo>
                    <a:pt x="176" y="932"/>
                  </a:lnTo>
                  <a:lnTo>
                    <a:pt x="179" y="930"/>
                  </a:lnTo>
                  <a:lnTo>
                    <a:pt x="179" y="930"/>
                  </a:lnTo>
                  <a:lnTo>
                    <a:pt x="176" y="930"/>
                  </a:lnTo>
                  <a:lnTo>
                    <a:pt x="176" y="927"/>
                  </a:lnTo>
                  <a:lnTo>
                    <a:pt x="179" y="927"/>
                  </a:lnTo>
                  <a:lnTo>
                    <a:pt x="179" y="927"/>
                  </a:lnTo>
                  <a:lnTo>
                    <a:pt x="179" y="924"/>
                  </a:lnTo>
                  <a:lnTo>
                    <a:pt x="176" y="924"/>
                  </a:lnTo>
                  <a:lnTo>
                    <a:pt x="176" y="924"/>
                  </a:lnTo>
                  <a:lnTo>
                    <a:pt x="176" y="924"/>
                  </a:lnTo>
                  <a:lnTo>
                    <a:pt x="176" y="922"/>
                  </a:lnTo>
                  <a:lnTo>
                    <a:pt x="176" y="919"/>
                  </a:lnTo>
                  <a:lnTo>
                    <a:pt x="176" y="919"/>
                  </a:lnTo>
                  <a:lnTo>
                    <a:pt x="176" y="919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1" y="916"/>
                  </a:lnTo>
                  <a:lnTo>
                    <a:pt x="171" y="916"/>
                  </a:lnTo>
                  <a:lnTo>
                    <a:pt x="171" y="914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4" y="916"/>
                  </a:lnTo>
                  <a:lnTo>
                    <a:pt x="174" y="914"/>
                  </a:lnTo>
                  <a:lnTo>
                    <a:pt x="174" y="914"/>
                  </a:lnTo>
                  <a:lnTo>
                    <a:pt x="174" y="914"/>
                  </a:lnTo>
                  <a:lnTo>
                    <a:pt x="171" y="914"/>
                  </a:lnTo>
                  <a:lnTo>
                    <a:pt x="171" y="911"/>
                  </a:lnTo>
                  <a:lnTo>
                    <a:pt x="168" y="911"/>
                  </a:lnTo>
                  <a:lnTo>
                    <a:pt x="166" y="908"/>
                  </a:lnTo>
                  <a:lnTo>
                    <a:pt x="166" y="908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6" y="906"/>
                  </a:lnTo>
                  <a:lnTo>
                    <a:pt x="168" y="906"/>
                  </a:lnTo>
                  <a:lnTo>
                    <a:pt x="168" y="906"/>
                  </a:lnTo>
                  <a:lnTo>
                    <a:pt x="171" y="906"/>
                  </a:lnTo>
                  <a:lnTo>
                    <a:pt x="171" y="906"/>
                  </a:lnTo>
                  <a:lnTo>
                    <a:pt x="171" y="903"/>
                  </a:lnTo>
                  <a:lnTo>
                    <a:pt x="174" y="903"/>
                  </a:lnTo>
                  <a:lnTo>
                    <a:pt x="176" y="900"/>
                  </a:lnTo>
                  <a:lnTo>
                    <a:pt x="176" y="903"/>
                  </a:lnTo>
                  <a:lnTo>
                    <a:pt x="176" y="903"/>
                  </a:lnTo>
                  <a:lnTo>
                    <a:pt x="179" y="903"/>
                  </a:lnTo>
                  <a:lnTo>
                    <a:pt x="179" y="903"/>
                  </a:lnTo>
                  <a:lnTo>
                    <a:pt x="182" y="903"/>
                  </a:lnTo>
                  <a:lnTo>
                    <a:pt x="182" y="903"/>
                  </a:lnTo>
                  <a:lnTo>
                    <a:pt x="184" y="903"/>
                  </a:lnTo>
                  <a:lnTo>
                    <a:pt x="184" y="903"/>
                  </a:lnTo>
                  <a:lnTo>
                    <a:pt x="187" y="906"/>
                  </a:lnTo>
                  <a:lnTo>
                    <a:pt x="187" y="906"/>
                  </a:lnTo>
                  <a:lnTo>
                    <a:pt x="190" y="906"/>
                  </a:lnTo>
                  <a:lnTo>
                    <a:pt x="190" y="906"/>
                  </a:lnTo>
                  <a:lnTo>
                    <a:pt x="190" y="906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08"/>
                  </a:lnTo>
                  <a:lnTo>
                    <a:pt x="190" y="911"/>
                  </a:lnTo>
                  <a:lnTo>
                    <a:pt x="190" y="911"/>
                  </a:lnTo>
                  <a:lnTo>
                    <a:pt x="190" y="911"/>
                  </a:lnTo>
                  <a:lnTo>
                    <a:pt x="190" y="914"/>
                  </a:lnTo>
                  <a:lnTo>
                    <a:pt x="190" y="914"/>
                  </a:lnTo>
                  <a:lnTo>
                    <a:pt x="190" y="914"/>
                  </a:lnTo>
                  <a:lnTo>
                    <a:pt x="190" y="916"/>
                  </a:lnTo>
                  <a:lnTo>
                    <a:pt x="192" y="916"/>
                  </a:lnTo>
                  <a:lnTo>
                    <a:pt x="192" y="916"/>
                  </a:lnTo>
                  <a:lnTo>
                    <a:pt x="192" y="916"/>
                  </a:lnTo>
                  <a:lnTo>
                    <a:pt x="192" y="919"/>
                  </a:lnTo>
                  <a:lnTo>
                    <a:pt x="195" y="919"/>
                  </a:lnTo>
                  <a:lnTo>
                    <a:pt x="195" y="922"/>
                  </a:lnTo>
                  <a:lnTo>
                    <a:pt x="195" y="922"/>
                  </a:lnTo>
                  <a:lnTo>
                    <a:pt x="195" y="922"/>
                  </a:lnTo>
                  <a:lnTo>
                    <a:pt x="195" y="924"/>
                  </a:lnTo>
                  <a:lnTo>
                    <a:pt x="198" y="924"/>
                  </a:lnTo>
                  <a:lnTo>
                    <a:pt x="198" y="924"/>
                  </a:lnTo>
                  <a:lnTo>
                    <a:pt x="198" y="927"/>
                  </a:lnTo>
                  <a:lnTo>
                    <a:pt x="200" y="927"/>
                  </a:lnTo>
                  <a:lnTo>
                    <a:pt x="200" y="930"/>
                  </a:lnTo>
                  <a:lnTo>
                    <a:pt x="200" y="930"/>
                  </a:lnTo>
                  <a:lnTo>
                    <a:pt x="203" y="930"/>
                  </a:lnTo>
                  <a:lnTo>
                    <a:pt x="203" y="930"/>
                  </a:lnTo>
                  <a:lnTo>
                    <a:pt x="206" y="930"/>
                  </a:lnTo>
                  <a:lnTo>
                    <a:pt x="206" y="930"/>
                  </a:lnTo>
                  <a:lnTo>
                    <a:pt x="206" y="930"/>
                  </a:lnTo>
                  <a:lnTo>
                    <a:pt x="208" y="927"/>
                  </a:lnTo>
                  <a:lnTo>
                    <a:pt x="208" y="927"/>
                  </a:lnTo>
                  <a:lnTo>
                    <a:pt x="211" y="930"/>
                  </a:lnTo>
                  <a:lnTo>
                    <a:pt x="214" y="930"/>
                  </a:lnTo>
                  <a:lnTo>
                    <a:pt x="214" y="932"/>
                  </a:lnTo>
                  <a:lnTo>
                    <a:pt x="216" y="932"/>
                  </a:lnTo>
                  <a:lnTo>
                    <a:pt x="216" y="935"/>
                  </a:lnTo>
                  <a:lnTo>
                    <a:pt x="219" y="935"/>
                  </a:lnTo>
                  <a:lnTo>
                    <a:pt x="219" y="935"/>
                  </a:lnTo>
                  <a:lnTo>
                    <a:pt x="222" y="935"/>
                  </a:lnTo>
                  <a:lnTo>
                    <a:pt x="222" y="932"/>
                  </a:lnTo>
                  <a:lnTo>
                    <a:pt x="224" y="932"/>
                  </a:lnTo>
                  <a:lnTo>
                    <a:pt x="227" y="932"/>
                  </a:lnTo>
                  <a:lnTo>
                    <a:pt x="227" y="935"/>
                  </a:lnTo>
                  <a:lnTo>
                    <a:pt x="230" y="935"/>
                  </a:lnTo>
                  <a:lnTo>
                    <a:pt x="230" y="938"/>
                  </a:lnTo>
                  <a:lnTo>
                    <a:pt x="230" y="938"/>
                  </a:lnTo>
                  <a:lnTo>
                    <a:pt x="233" y="940"/>
                  </a:lnTo>
                  <a:lnTo>
                    <a:pt x="233" y="940"/>
                  </a:lnTo>
                  <a:lnTo>
                    <a:pt x="233" y="940"/>
                  </a:lnTo>
                  <a:lnTo>
                    <a:pt x="235" y="940"/>
                  </a:lnTo>
                  <a:lnTo>
                    <a:pt x="235" y="938"/>
                  </a:lnTo>
                  <a:lnTo>
                    <a:pt x="235" y="938"/>
                  </a:lnTo>
                  <a:lnTo>
                    <a:pt x="238" y="935"/>
                  </a:lnTo>
                  <a:lnTo>
                    <a:pt x="238" y="935"/>
                  </a:lnTo>
                  <a:lnTo>
                    <a:pt x="238" y="932"/>
                  </a:lnTo>
                  <a:lnTo>
                    <a:pt x="241" y="932"/>
                  </a:lnTo>
                  <a:lnTo>
                    <a:pt x="241" y="932"/>
                  </a:lnTo>
                  <a:lnTo>
                    <a:pt x="243" y="930"/>
                  </a:lnTo>
                  <a:lnTo>
                    <a:pt x="243" y="927"/>
                  </a:lnTo>
                  <a:lnTo>
                    <a:pt x="243" y="927"/>
                  </a:lnTo>
                  <a:lnTo>
                    <a:pt x="246" y="927"/>
                  </a:lnTo>
                  <a:lnTo>
                    <a:pt x="246" y="927"/>
                  </a:lnTo>
                  <a:lnTo>
                    <a:pt x="249" y="927"/>
                  </a:lnTo>
                  <a:lnTo>
                    <a:pt x="251" y="927"/>
                  </a:lnTo>
                  <a:lnTo>
                    <a:pt x="251" y="927"/>
                  </a:lnTo>
                  <a:lnTo>
                    <a:pt x="254" y="924"/>
                  </a:lnTo>
                  <a:lnTo>
                    <a:pt x="257" y="924"/>
                  </a:lnTo>
                  <a:lnTo>
                    <a:pt x="257" y="922"/>
                  </a:lnTo>
                  <a:lnTo>
                    <a:pt x="257" y="922"/>
                  </a:lnTo>
                  <a:lnTo>
                    <a:pt x="259" y="922"/>
                  </a:lnTo>
                  <a:lnTo>
                    <a:pt x="262" y="922"/>
                  </a:lnTo>
                  <a:lnTo>
                    <a:pt x="262" y="922"/>
                  </a:lnTo>
                  <a:lnTo>
                    <a:pt x="265" y="924"/>
                  </a:lnTo>
                  <a:lnTo>
                    <a:pt x="267" y="924"/>
                  </a:lnTo>
                  <a:lnTo>
                    <a:pt x="270" y="924"/>
                  </a:lnTo>
                  <a:lnTo>
                    <a:pt x="270" y="924"/>
                  </a:lnTo>
                  <a:lnTo>
                    <a:pt x="273" y="927"/>
                  </a:lnTo>
                  <a:lnTo>
                    <a:pt x="275" y="927"/>
                  </a:lnTo>
                  <a:lnTo>
                    <a:pt x="278" y="930"/>
                  </a:lnTo>
                  <a:lnTo>
                    <a:pt x="281" y="930"/>
                  </a:lnTo>
                  <a:lnTo>
                    <a:pt x="281" y="930"/>
                  </a:lnTo>
                  <a:lnTo>
                    <a:pt x="283" y="930"/>
                  </a:lnTo>
                  <a:lnTo>
                    <a:pt x="286" y="930"/>
                  </a:lnTo>
                  <a:lnTo>
                    <a:pt x="286" y="932"/>
                  </a:lnTo>
                  <a:lnTo>
                    <a:pt x="286" y="935"/>
                  </a:lnTo>
                  <a:lnTo>
                    <a:pt x="289" y="938"/>
                  </a:lnTo>
                  <a:lnTo>
                    <a:pt x="291" y="938"/>
                  </a:lnTo>
                  <a:lnTo>
                    <a:pt x="291" y="940"/>
                  </a:lnTo>
                  <a:lnTo>
                    <a:pt x="294" y="943"/>
                  </a:lnTo>
                  <a:lnTo>
                    <a:pt x="294" y="943"/>
                  </a:lnTo>
                  <a:lnTo>
                    <a:pt x="294" y="943"/>
                  </a:lnTo>
                  <a:lnTo>
                    <a:pt x="294" y="946"/>
                  </a:lnTo>
                  <a:lnTo>
                    <a:pt x="297" y="946"/>
                  </a:lnTo>
                  <a:lnTo>
                    <a:pt x="297" y="946"/>
                  </a:lnTo>
                  <a:lnTo>
                    <a:pt x="297" y="948"/>
                  </a:lnTo>
                  <a:lnTo>
                    <a:pt x="297" y="948"/>
                  </a:lnTo>
                  <a:lnTo>
                    <a:pt x="297" y="951"/>
                  </a:lnTo>
                  <a:lnTo>
                    <a:pt x="299" y="954"/>
                  </a:lnTo>
                  <a:lnTo>
                    <a:pt x="299" y="956"/>
                  </a:lnTo>
                  <a:lnTo>
                    <a:pt x="299" y="956"/>
                  </a:lnTo>
                  <a:lnTo>
                    <a:pt x="299" y="959"/>
                  </a:lnTo>
                  <a:lnTo>
                    <a:pt x="297" y="962"/>
                  </a:lnTo>
                  <a:lnTo>
                    <a:pt x="297" y="962"/>
                  </a:lnTo>
                  <a:lnTo>
                    <a:pt x="297" y="964"/>
                  </a:lnTo>
                  <a:lnTo>
                    <a:pt x="299" y="964"/>
                  </a:lnTo>
                  <a:lnTo>
                    <a:pt x="302" y="967"/>
                  </a:lnTo>
                  <a:lnTo>
                    <a:pt x="302" y="967"/>
                  </a:lnTo>
                  <a:lnTo>
                    <a:pt x="305" y="967"/>
                  </a:lnTo>
                  <a:lnTo>
                    <a:pt x="305" y="970"/>
                  </a:lnTo>
                  <a:lnTo>
                    <a:pt x="302" y="972"/>
                  </a:lnTo>
                  <a:lnTo>
                    <a:pt x="302" y="972"/>
                  </a:lnTo>
                  <a:lnTo>
                    <a:pt x="299" y="972"/>
                  </a:lnTo>
                  <a:lnTo>
                    <a:pt x="299" y="975"/>
                  </a:lnTo>
                  <a:lnTo>
                    <a:pt x="299" y="975"/>
                  </a:lnTo>
                  <a:lnTo>
                    <a:pt x="299" y="978"/>
                  </a:lnTo>
                  <a:lnTo>
                    <a:pt x="297" y="980"/>
                  </a:lnTo>
                  <a:lnTo>
                    <a:pt x="297" y="980"/>
                  </a:lnTo>
                  <a:lnTo>
                    <a:pt x="294" y="983"/>
                  </a:lnTo>
                  <a:lnTo>
                    <a:pt x="291" y="986"/>
                  </a:lnTo>
                  <a:lnTo>
                    <a:pt x="291" y="986"/>
                  </a:lnTo>
                  <a:lnTo>
                    <a:pt x="291" y="988"/>
                  </a:lnTo>
                  <a:lnTo>
                    <a:pt x="291" y="988"/>
                  </a:lnTo>
                  <a:lnTo>
                    <a:pt x="289" y="988"/>
                  </a:lnTo>
                  <a:lnTo>
                    <a:pt x="289" y="991"/>
                  </a:lnTo>
                  <a:lnTo>
                    <a:pt x="291" y="991"/>
                  </a:lnTo>
                  <a:lnTo>
                    <a:pt x="294" y="991"/>
                  </a:lnTo>
                  <a:lnTo>
                    <a:pt x="294" y="994"/>
                  </a:lnTo>
                  <a:lnTo>
                    <a:pt x="294" y="994"/>
                  </a:lnTo>
                  <a:lnTo>
                    <a:pt x="294" y="997"/>
                  </a:lnTo>
                  <a:lnTo>
                    <a:pt x="294" y="997"/>
                  </a:lnTo>
                  <a:lnTo>
                    <a:pt x="291" y="999"/>
                  </a:lnTo>
                  <a:lnTo>
                    <a:pt x="289" y="999"/>
                  </a:lnTo>
                  <a:lnTo>
                    <a:pt x="286" y="1002"/>
                  </a:lnTo>
                  <a:lnTo>
                    <a:pt x="283" y="1002"/>
                  </a:lnTo>
                  <a:lnTo>
                    <a:pt x="283" y="1002"/>
                  </a:lnTo>
                  <a:lnTo>
                    <a:pt x="283" y="1005"/>
                  </a:lnTo>
                  <a:lnTo>
                    <a:pt x="281" y="1005"/>
                  </a:lnTo>
                  <a:lnTo>
                    <a:pt x="281" y="1005"/>
                  </a:lnTo>
                  <a:lnTo>
                    <a:pt x="281" y="1007"/>
                  </a:lnTo>
                  <a:lnTo>
                    <a:pt x="281" y="1007"/>
                  </a:lnTo>
                  <a:lnTo>
                    <a:pt x="278" y="1007"/>
                  </a:lnTo>
                  <a:lnTo>
                    <a:pt x="278" y="1010"/>
                  </a:lnTo>
                  <a:lnTo>
                    <a:pt x="278" y="1010"/>
                  </a:lnTo>
                  <a:lnTo>
                    <a:pt x="278" y="1013"/>
                  </a:lnTo>
                  <a:lnTo>
                    <a:pt x="278" y="1013"/>
                  </a:lnTo>
                  <a:lnTo>
                    <a:pt x="275" y="1015"/>
                  </a:lnTo>
                  <a:lnTo>
                    <a:pt x="275" y="1018"/>
                  </a:lnTo>
                  <a:lnTo>
                    <a:pt x="278" y="1018"/>
                  </a:lnTo>
                  <a:lnTo>
                    <a:pt x="278" y="1018"/>
                  </a:lnTo>
                  <a:lnTo>
                    <a:pt x="281" y="1018"/>
                  </a:lnTo>
                  <a:lnTo>
                    <a:pt x="281" y="1021"/>
                  </a:lnTo>
                  <a:lnTo>
                    <a:pt x="281" y="1021"/>
                  </a:lnTo>
                  <a:lnTo>
                    <a:pt x="281" y="1023"/>
                  </a:lnTo>
                  <a:lnTo>
                    <a:pt x="278" y="1026"/>
                  </a:lnTo>
                  <a:lnTo>
                    <a:pt x="278" y="1026"/>
                  </a:lnTo>
                  <a:lnTo>
                    <a:pt x="278" y="1029"/>
                  </a:lnTo>
                  <a:lnTo>
                    <a:pt x="281" y="1029"/>
                  </a:lnTo>
                  <a:lnTo>
                    <a:pt x="281" y="1031"/>
                  </a:lnTo>
                  <a:lnTo>
                    <a:pt x="283" y="1031"/>
                  </a:lnTo>
                  <a:lnTo>
                    <a:pt x="286" y="1034"/>
                  </a:lnTo>
                  <a:lnTo>
                    <a:pt x="286" y="1037"/>
                  </a:lnTo>
                  <a:lnTo>
                    <a:pt x="283" y="1037"/>
                  </a:lnTo>
                  <a:lnTo>
                    <a:pt x="281" y="1039"/>
                  </a:lnTo>
                  <a:lnTo>
                    <a:pt x="281" y="1042"/>
                  </a:lnTo>
                  <a:lnTo>
                    <a:pt x="281" y="1045"/>
                  </a:lnTo>
                  <a:lnTo>
                    <a:pt x="281" y="1045"/>
                  </a:lnTo>
                  <a:lnTo>
                    <a:pt x="281" y="1047"/>
                  </a:lnTo>
                  <a:lnTo>
                    <a:pt x="281" y="1050"/>
                  </a:lnTo>
                  <a:lnTo>
                    <a:pt x="281" y="1050"/>
                  </a:lnTo>
                  <a:lnTo>
                    <a:pt x="283" y="1053"/>
                  </a:lnTo>
                  <a:lnTo>
                    <a:pt x="286" y="1053"/>
                  </a:lnTo>
                  <a:lnTo>
                    <a:pt x="286" y="1055"/>
                  </a:lnTo>
                  <a:lnTo>
                    <a:pt x="286" y="1058"/>
                  </a:lnTo>
                  <a:lnTo>
                    <a:pt x="289" y="1058"/>
                  </a:lnTo>
                  <a:lnTo>
                    <a:pt x="289" y="1061"/>
                  </a:lnTo>
                  <a:lnTo>
                    <a:pt x="289" y="1061"/>
                  </a:lnTo>
                  <a:lnTo>
                    <a:pt x="286" y="1063"/>
                  </a:lnTo>
                  <a:lnTo>
                    <a:pt x="286" y="1063"/>
                  </a:lnTo>
                  <a:lnTo>
                    <a:pt x="286" y="1066"/>
                  </a:lnTo>
                  <a:lnTo>
                    <a:pt x="289" y="1066"/>
                  </a:lnTo>
                  <a:lnTo>
                    <a:pt x="289" y="1069"/>
                  </a:lnTo>
                  <a:lnTo>
                    <a:pt x="289" y="1071"/>
                  </a:lnTo>
                  <a:lnTo>
                    <a:pt x="291" y="1071"/>
                  </a:lnTo>
                  <a:lnTo>
                    <a:pt x="291" y="1074"/>
                  </a:lnTo>
                  <a:lnTo>
                    <a:pt x="291" y="1074"/>
                  </a:lnTo>
                  <a:lnTo>
                    <a:pt x="291" y="1077"/>
                  </a:lnTo>
                  <a:lnTo>
                    <a:pt x="291" y="1077"/>
                  </a:lnTo>
                  <a:lnTo>
                    <a:pt x="291" y="1077"/>
                  </a:lnTo>
                  <a:lnTo>
                    <a:pt x="294" y="1077"/>
                  </a:lnTo>
                  <a:lnTo>
                    <a:pt x="297" y="1074"/>
                  </a:lnTo>
                  <a:lnTo>
                    <a:pt x="297" y="1074"/>
                  </a:lnTo>
                  <a:lnTo>
                    <a:pt x="297" y="1077"/>
                  </a:lnTo>
                  <a:lnTo>
                    <a:pt x="299" y="1077"/>
                  </a:lnTo>
                  <a:lnTo>
                    <a:pt x="302" y="1077"/>
                  </a:lnTo>
                  <a:lnTo>
                    <a:pt x="305" y="1077"/>
                  </a:lnTo>
                  <a:lnTo>
                    <a:pt x="307" y="1077"/>
                  </a:lnTo>
                  <a:lnTo>
                    <a:pt x="307" y="1079"/>
                  </a:lnTo>
                  <a:lnTo>
                    <a:pt x="307" y="1079"/>
                  </a:lnTo>
                  <a:lnTo>
                    <a:pt x="307" y="1082"/>
                  </a:lnTo>
                  <a:lnTo>
                    <a:pt x="310" y="1085"/>
                  </a:lnTo>
                  <a:lnTo>
                    <a:pt x="313" y="1085"/>
                  </a:lnTo>
                  <a:lnTo>
                    <a:pt x="313" y="1085"/>
                  </a:lnTo>
                  <a:lnTo>
                    <a:pt x="315" y="1085"/>
                  </a:lnTo>
                  <a:lnTo>
                    <a:pt x="315" y="1082"/>
                  </a:lnTo>
                  <a:lnTo>
                    <a:pt x="318" y="1079"/>
                  </a:lnTo>
                  <a:lnTo>
                    <a:pt x="318" y="1079"/>
                  </a:lnTo>
                  <a:lnTo>
                    <a:pt x="318" y="1079"/>
                  </a:lnTo>
                  <a:lnTo>
                    <a:pt x="321" y="1079"/>
                  </a:lnTo>
                  <a:lnTo>
                    <a:pt x="321" y="1079"/>
                  </a:lnTo>
                  <a:lnTo>
                    <a:pt x="321" y="1079"/>
                  </a:lnTo>
                  <a:lnTo>
                    <a:pt x="323" y="1079"/>
                  </a:lnTo>
                  <a:lnTo>
                    <a:pt x="323" y="1077"/>
                  </a:lnTo>
                  <a:lnTo>
                    <a:pt x="326" y="1077"/>
                  </a:lnTo>
                  <a:lnTo>
                    <a:pt x="326" y="1079"/>
                  </a:lnTo>
                  <a:lnTo>
                    <a:pt x="329" y="1079"/>
                  </a:lnTo>
                  <a:lnTo>
                    <a:pt x="329" y="1079"/>
                  </a:lnTo>
                  <a:lnTo>
                    <a:pt x="329" y="1082"/>
                  </a:lnTo>
                  <a:lnTo>
                    <a:pt x="331" y="1082"/>
                  </a:lnTo>
                  <a:lnTo>
                    <a:pt x="331" y="1085"/>
                  </a:lnTo>
                  <a:lnTo>
                    <a:pt x="334" y="1085"/>
                  </a:lnTo>
                  <a:lnTo>
                    <a:pt x="334" y="1085"/>
                  </a:lnTo>
                  <a:lnTo>
                    <a:pt x="337" y="1082"/>
                  </a:lnTo>
                  <a:lnTo>
                    <a:pt x="337" y="1082"/>
                  </a:lnTo>
                  <a:lnTo>
                    <a:pt x="339" y="1079"/>
                  </a:lnTo>
                  <a:lnTo>
                    <a:pt x="339" y="1079"/>
                  </a:lnTo>
                  <a:lnTo>
                    <a:pt x="339" y="1077"/>
                  </a:lnTo>
                  <a:lnTo>
                    <a:pt x="342" y="1077"/>
                  </a:lnTo>
                  <a:lnTo>
                    <a:pt x="342" y="1077"/>
                  </a:lnTo>
                  <a:lnTo>
                    <a:pt x="342" y="1079"/>
                  </a:lnTo>
                  <a:lnTo>
                    <a:pt x="342" y="1079"/>
                  </a:lnTo>
                  <a:lnTo>
                    <a:pt x="342" y="1082"/>
                  </a:lnTo>
                  <a:lnTo>
                    <a:pt x="342" y="1082"/>
                  </a:lnTo>
                  <a:lnTo>
                    <a:pt x="342" y="1082"/>
                  </a:lnTo>
                  <a:lnTo>
                    <a:pt x="345" y="1085"/>
                  </a:lnTo>
                  <a:lnTo>
                    <a:pt x="345" y="1085"/>
                  </a:lnTo>
                  <a:lnTo>
                    <a:pt x="345" y="1085"/>
                  </a:lnTo>
                  <a:lnTo>
                    <a:pt x="347" y="1085"/>
                  </a:lnTo>
                  <a:lnTo>
                    <a:pt x="347" y="1085"/>
                  </a:lnTo>
                  <a:lnTo>
                    <a:pt x="347" y="1087"/>
                  </a:lnTo>
                  <a:lnTo>
                    <a:pt x="347" y="1087"/>
                  </a:lnTo>
                  <a:lnTo>
                    <a:pt x="345" y="1090"/>
                  </a:lnTo>
                  <a:lnTo>
                    <a:pt x="345" y="1090"/>
                  </a:lnTo>
                  <a:lnTo>
                    <a:pt x="347" y="1090"/>
                  </a:lnTo>
                  <a:lnTo>
                    <a:pt x="347" y="1093"/>
                  </a:lnTo>
                  <a:lnTo>
                    <a:pt x="350" y="1093"/>
                  </a:lnTo>
                  <a:lnTo>
                    <a:pt x="350" y="1093"/>
                  </a:lnTo>
                  <a:lnTo>
                    <a:pt x="353" y="1093"/>
                  </a:lnTo>
                  <a:lnTo>
                    <a:pt x="353" y="1090"/>
                  </a:lnTo>
                  <a:lnTo>
                    <a:pt x="353" y="1090"/>
                  </a:lnTo>
                  <a:lnTo>
                    <a:pt x="355" y="1087"/>
                  </a:lnTo>
                  <a:lnTo>
                    <a:pt x="355" y="1087"/>
                  </a:lnTo>
                  <a:lnTo>
                    <a:pt x="355" y="1085"/>
                  </a:lnTo>
                  <a:lnTo>
                    <a:pt x="358" y="1085"/>
                  </a:lnTo>
                  <a:lnTo>
                    <a:pt x="358" y="1085"/>
                  </a:lnTo>
                  <a:lnTo>
                    <a:pt x="361" y="1085"/>
                  </a:lnTo>
                  <a:lnTo>
                    <a:pt x="361" y="1085"/>
                  </a:lnTo>
                  <a:lnTo>
                    <a:pt x="363" y="1085"/>
                  </a:lnTo>
                  <a:lnTo>
                    <a:pt x="363" y="1085"/>
                  </a:lnTo>
                  <a:lnTo>
                    <a:pt x="366" y="1085"/>
                  </a:lnTo>
                  <a:lnTo>
                    <a:pt x="366" y="1085"/>
                  </a:lnTo>
                  <a:lnTo>
                    <a:pt x="369" y="1087"/>
                  </a:lnTo>
                  <a:lnTo>
                    <a:pt x="371" y="1085"/>
                  </a:lnTo>
                  <a:lnTo>
                    <a:pt x="371" y="1085"/>
                  </a:lnTo>
                  <a:lnTo>
                    <a:pt x="371" y="1085"/>
                  </a:lnTo>
                  <a:lnTo>
                    <a:pt x="374" y="1085"/>
                  </a:lnTo>
                  <a:lnTo>
                    <a:pt x="377" y="1085"/>
                  </a:lnTo>
                  <a:lnTo>
                    <a:pt x="377" y="1085"/>
                  </a:lnTo>
                  <a:lnTo>
                    <a:pt x="379" y="1085"/>
                  </a:lnTo>
                  <a:lnTo>
                    <a:pt x="379" y="1087"/>
                  </a:lnTo>
                  <a:lnTo>
                    <a:pt x="379" y="1087"/>
                  </a:lnTo>
                  <a:lnTo>
                    <a:pt x="379" y="1087"/>
                  </a:lnTo>
                  <a:lnTo>
                    <a:pt x="382" y="1090"/>
                  </a:lnTo>
                  <a:lnTo>
                    <a:pt x="382" y="1087"/>
                  </a:lnTo>
                  <a:lnTo>
                    <a:pt x="385" y="1087"/>
                  </a:lnTo>
                  <a:lnTo>
                    <a:pt x="385" y="1087"/>
                  </a:lnTo>
                  <a:lnTo>
                    <a:pt x="385" y="1087"/>
                  </a:lnTo>
                  <a:lnTo>
                    <a:pt x="387" y="1087"/>
                  </a:lnTo>
                  <a:lnTo>
                    <a:pt x="387" y="1085"/>
                  </a:lnTo>
                  <a:lnTo>
                    <a:pt x="387" y="1085"/>
                  </a:lnTo>
                  <a:lnTo>
                    <a:pt x="387" y="1085"/>
                  </a:lnTo>
                  <a:lnTo>
                    <a:pt x="390" y="1082"/>
                  </a:lnTo>
                  <a:lnTo>
                    <a:pt x="390" y="1082"/>
                  </a:lnTo>
                  <a:lnTo>
                    <a:pt x="390" y="1082"/>
                  </a:lnTo>
                  <a:lnTo>
                    <a:pt x="387" y="1082"/>
                  </a:lnTo>
                  <a:lnTo>
                    <a:pt x="387" y="1079"/>
                  </a:lnTo>
                  <a:lnTo>
                    <a:pt x="387" y="1079"/>
                  </a:lnTo>
                  <a:lnTo>
                    <a:pt x="387" y="1079"/>
                  </a:lnTo>
                  <a:lnTo>
                    <a:pt x="387" y="1077"/>
                  </a:lnTo>
                  <a:lnTo>
                    <a:pt x="390" y="1077"/>
                  </a:lnTo>
                  <a:lnTo>
                    <a:pt x="390" y="1077"/>
                  </a:lnTo>
                  <a:lnTo>
                    <a:pt x="390" y="1077"/>
                  </a:lnTo>
                  <a:lnTo>
                    <a:pt x="393" y="1077"/>
                  </a:lnTo>
                  <a:lnTo>
                    <a:pt x="393" y="1077"/>
                  </a:lnTo>
                  <a:lnTo>
                    <a:pt x="393" y="1074"/>
                  </a:lnTo>
                  <a:lnTo>
                    <a:pt x="393" y="1074"/>
                  </a:lnTo>
                  <a:lnTo>
                    <a:pt x="395" y="1074"/>
                  </a:lnTo>
                  <a:lnTo>
                    <a:pt x="395" y="1074"/>
                  </a:lnTo>
                  <a:lnTo>
                    <a:pt x="395" y="1071"/>
                  </a:lnTo>
                  <a:lnTo>
                    <a:pt x="395" y="1071"/>
                  </a:lnTo>
                  <a:lnTo>
                    <a:pt x="398" y="1071"/>
                  </a:lnTo>
                  <a:lnTo>
                    <a:pt x="398" y="1069"/>
                  </a:lnTo>
                  <a:lnTo>
                    <a:pt x="398" y="1069"/>
                  </a:lnTo>
                  <a:lnTo>
                    <a:pt x="401" y="1069"/>
                  </a:lnTo>
                  <a:lnTo>
                    <a:pt x="401" y="1066"/>
                  </a:lnTo>
                  <a:lnTo>
                    <a:pt x="401" y="1066"/>
                  </a:lnTo>
                  <a:lnTo>
                    <a:pt x="403" y="1066"/>
                  </a:lnTo>
                  <a:lnTo>
                    <a:pt x="403" y="1066"/>
                  </a:lnTo>
                  <a:lnTo>
                    <a:pt x="406" y="1066"/>
                  </a:lnTo>
                  <a:lnTo>
                    <a:pt x="406" y="1066"/>
                  </a:lnTo>
                  <a:lnTo>
                    <a:pt x="409" y="1069"/>
                  </a:lnTo>
                  <a:lnTo>
                    <a:pt x="411" y="1069"/>
                  </a:lnTo>
                  <a:lnTo>
                    <a:pt x="414" y="1071"/>
                  </a:lnTo>
                  <a:lnTo>
                    <a:pt x="417" y="1071"/>
                  </a:lnTo>
                  <a:lnTo>
                    <a:pt x="417" y="1069"/>
                  </a:lnTo>
                  <a:lnTo>
                    <a:pt x="417" y="1069"/>
                  </a:lnTo>
                  <a:lnTo>
                    <a:pt x="419" y="1069"/>
                  </a:lnTo>
                  <a:lnTo>
                    <a:pt x="422" y="1069"/>
                  </a:lnTo>
                  <a:lnTo>
                    <a:pt x="425" y="1069"/>
                  </a:lnTo>
                  <a:lnTo>
                    <a:pt x="425" y="1069"/>
                  </a:lnTo>
                  <a:lnTo>
                    <a:pt x="425" y="1066"/>
                  </a:lnTo>
                  <a:lnTo>
                    <a:pt x="425" y="1066"/>
                  </a:lnTo>
                  <a:lnTo>
                    <a:pt x="427" y="1066"/>
                  </a:lnTo>
                  <a:lnTo>
                    <a:pt x="427" y="1066"/>
                  </a:lnTo>
                  <a:lnTo>
                    <a:pt x="430" y="1066"/>
                  </a:lnTo>
                  <a:lnTo>
                    <a:pt x="430" y="1066"/>
                  </a:lnTo>
                  <a:lnTo>
                    <a:pt x="433" y="1066"/>
                  </a:lnTo>
                  <a:lnTo>
                    <a:pt x="433" y="1063"/>
                  </a:lnTo>
                  <a:lnTo>
                    <a:pt x="433" y="1063"/>
                  </a:lnTo>
                  <a:lnTo>
                    <a:pt x="433" y="1063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5" y="1061"/>
                  </a:lnTo>
                  <a:lnTo>
                    <a:pt x="438" y="1063"/>
                  </a:lnTo>
                  <a:lnTo>
                    <a:pt x="438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1" y="1063"/>
                  </a:lnTo>
                  <a:lnTo>
                    <a:pt x="443" y="1063"/>
                  </a:lnTo>
                  <a:lnTo>
                    <a:pt x="443" y="1063"/>
                  </a:lnTo>
                  <a:lnTo>
                    <a:pt x="446" y="1063"/>
                  </a:lnTo>
                  <a:lnTo>
                    <a:pt x="446" y="1063"/>
                  </a:lnTo>
                  <a:lnTo>
                    <a:pt x="449" y="1063"/>
                  </a:lnTo>
                  <a:lnTo>
                    <a:pt x="449" y="1061"/>
                  </a:lnTo>
                  <a:lnTo>
                    <a:pt x="449" y="1061"/>
                  </a:lnTo>
                  <a:lnTo>
                    <a:pt x="451" y="1061"/>
                  </a:lnTo>
                  <a:lnTo>
                    <a:pt x="454" y="1061"/>
                  </a:lnTo>
                  <a:lnTo>
                    <a:pt x="454" y="1061"/>
                  </a:lnTo>
                  <a:lnTo>
                    <a:pt x="454" y="1061"/>
                  </a:lnTo>
                  <a:lnTo>
                    <a:pt x="457" y="1061"/>
                  </a:lnTo>
                  <a:lnTo>
                    <a:pt x="457" y="1061"/>
                  </a:lnTo>
                  <a:lnTo>
                    <a:pt x="459" y="1061"/>
                  </a:lnTo>
                  <a:lnTo>
                    <a:pt x="459" y="1061"/>
                  </a:lnTo>
                  <a:lnTo>
                    <a:pt x="459" y="1061"/>
                  </a:lnTo>
                  <a:lnTo>
                    <a:pt x="462" y="1058"/>
                  </a:lnTo>
                  <a:lnTo>
                    <a:pt x="462" y="1058"/>
                  </a:lnTo>
                  <a:lnTo>
                    <a:pt x="467" y="1058"/>
                  </a:lnTo>
                  <a:lnTo>
                    <a:pt x="467" y="1058"/>
                  </a:lnTo>
                  <a:lnTo>
                    <a:pt x="470" y="1058"/>
                  </a:lnTo>
                  <a:lnTo>
                    <a:pt x="470" y="1058"/>
                  </a:lnTo>
                  <a:lnTo>
                    <a:pt x="470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5"/>
                  </a:lnTo>
                  <a:lnTo>
                    <a:pt x="473" y="1058"/>
                  </a:lnTo>
                  <a:lnTo>
                    <a:pt x="476" y="1058"/>
                  </a:lnTo>
                  <a:lnTo>
                    <a:pt x="476" y="1058"/>
                  </a:lnTo>
                  <a:lnTo>
                    <a:pt x="476" y="1058"/>
                  </a:lnTo>
                  <a:lnTo>
                    <a:pt x="476" y="1061"/>
                  </a:lnTo>
                  <a:lnTo>
                    <a:pt x="476" y="1061"/>
                  </a:lnTo>
                  <a:lnTo>
                    <a:pt x="478" y="1061"/>
                  </a:lnTo>
                  <a:lnTo>
                    <a:pt x="478" y="1058"/>
                  </a:lnTo>
                  <a:lnTo>
                    <a:pt x="478" y="1058"/>
                  </a:lnTo>
                  <a:lnTo>
                    <a:pt x="481" y="1055"/>
                  </a:lnTo>
                  <a:lnTo>
                    <a:pt x="481" y="1055"/>
                  </a:lnTo>
                  <a:lnTo>
                    <a:pt x="481" y="1055"/>
                  </a:lnTo>
                  <a:lnTo>
                    <a:pt x="484" y="1055"/>
                  </a:lnTo>
                  <a:lnTo>
                    <a:pt x="484" y="1053"/>
                  </a:lnTo>
                  <a:lnTo>
                    <a:pt x="484" y="1053"/>
                  </a:lnTo>
                  <a:lnTo>
                    <a:pt x="484" y="1050"/>
                  </a:lnTo>
                  <a:lnTo>
                    <a:pt x="484" y="1050"/>
                  </a:lnTo>
                  <a:lnTo>
                    <a:pt x="484" y="1047"/>
                  </a:lnTo>
                  <a:lnTo>
                    <a:pt x="484" y="1047"/>
                  </a:lnTo>
                  <a:lnTo>
                    <a:pt x="484" y="1045"/>
                  </a:lnTo>
                  <a:lnTo>
                    <a:pt x="486" y="1045"/>
                  </a:lnTo>
                  <a:lnTo>
                    <a:pt x="486" y="1042"/>
                  </a:lnTo>
                  <a:lnTo>
                    <a:pt x="486" y="1042"/>
                  </a:lnTo>
                  <a:lnTo>
                    <a:pt x="489" y="1042"/>
                  </a:lnTo>
                  <a:lnTo>
                    <a:pt x="489" y="1039"/>
                  </a:lnTo>
                  <a:lnTo>
                    <a:pt x="489" y="1039"/>
                  </a:lnTo>
                  <a:lnTo>
                    <a:pt x="489" y="1039"/>
                  </a:lnTo>
                  <a:lnTo>
                    <a:pt x="492" y="1039"/>
                  </a:lnTo>
                  <a:lnTo>
                    <a:pt x="492" y="1037"/>
                  </a:lnTo>
                  <a:lnTo>
                    <a:pt x="492" y="1037"/>
                  </a:lnTo>
                  <a:lnTo>
                    <a:pt x="494" y="1037"/>
                  </a:lnTo>
                  <a:lnTo>
                    <a:pt x="494" y="1034"/>
                  </a:lnTo>
                  <a:lnTo>
                    <a:pt x="497" y="1034"/>
                  </a:lnTo>
                  <a:lnTo>
                    <a:pt x="497" y="1031"/>
                  </a:lnTo>
                  <a:lnTo>
                    <a:pt x="500" y="1029"/>
                  </a:lnTo>
                  <a:lnTo>
                    <a:pt x="497" y="1029"/>
                  </a:lnTo>
                  <a:lnTo>
                    <a:pt x="500" y="1029"/>
                  </a:lnTo>
                  <a:lnTo>
                    <a:pt x="500" y="1026"/>
                  </a:lnTo>
                  <a:lnTo>
                    <a:pt x="502" y="1026"/>
                  </a:lnTo>
                  <a:lnTo>
                    <a:pt x="502" y="1026"/>
                  </a:lnTo>
                  <a:lnTo>
                    <a:pt x="502" y="1026"/>
                  </a:lnTo>
                  <a:lnTo>
                    <a:pt x="505" y="1026"/>
                  </a:lnTo>
                  <a:lnTo>
                    <a:pt x="505" y="1026"/>
                  </a:lnTo>
                  <a:lnTo>
                    <a:pt x="508" y="1023"/>
                  </a:lnTo>
                  <a:lnTo>
                    <a:pt x="508" y="1023"/>
                  </a:lnTo>
                  <a:lnTo>
                    <a:pt x="508" y="1023"/>
                  </a:lnTo>
                  <a:lnTo>
                    <a:pt x="510" y="1023"/>
                  </a:lnTo>
                  <a:lnTo>
                    <a:pt x="510" y="1023"/>
                  </a:lnTo>
                  <a:lnTo>
                    <a:pt x="510" y="1026"/>
                  </a:lnTo>
                  <a:lnTo>
                    <a:pt x="513" y="1026"/>
                  </a:lnTo>
                  <a:lnTo>
                    <a:pt x="513" y="1026"/>
                  </a:lnTo>
                  <a:lnTo>
                    <a:pt x="516" y="1026"/>
                  </a:lnTo>
                  <a:lnTo>
                    <a:pt x="516" y="1026"/>
                  </a:lnTo>
                  <a:lnTo>
                    <a:pt x="516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6"/>
                  </a:lnTo>
                  <a:lnTo>
                    <a:pt x="518" y="1029"/>
                  </a:lnTo>
                  <a:lnTo>
                    <a:pt x="518" y="1029"/>
                  </a:lnTo>
                  <a:lnTo>
                    <a:pt x="521" y="1029"/>
                  </a:lnTo>
                  <a:lnTo>
                    <a:pt x="521" y="1029"/>
                  </a:lnTo>
                  <a:lnTo>
                    <a:pt x="524" y="1029"/>
                  </a:lnTo>
                  <a:lnTo>
                    <a:pt x="524" y="1031"/>
                  </a:lnTo>
                  <a:lnTo>
                    <a:pt x="526" y="1031"/>
                  </a:lnTo>
                  <a:lnTo>
                    <a:pt x="526" y="1031"/>
                  </a:lnTo>
                  <a:lnTo>
                    <a:pt x="526" y="1031"/>
                  </a:lnTo>
                  <a:lnTo>
                    <a:pt x="526" y="1034"/>
                  </a:lnTo>
                  <a:lnTo>
                    <a:pt x="529" y="1034"/>
                  </a:lnTo>
                  <a:lnTo>
                    <a:pt x="529" y="1034"/>
                  </a:lnTo>
                  <a:lnTo>
                    <a:pt x="532" y="1034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7"/>
                  </a:lnTo>
                  <a:lnTo>
                    <a:pt x="532" y="1039"/>
                  </a:lnTo>
                  <a:lnTo>
                    <a:pt x="532" y="1039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2" y="1042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4" y="1045"/>
                  </a:lnTo>
                  <a:lnTo>
                    <a:pt x="537" y="1047"/>
                  </a:lnTo>
                  <a:lnTo>
                    <a:pt x="537" y="1047"/>
                  </a:lnTo>
                  <a:lnTo>
                    <a:pt x="537" y="1047"/>
                  </a:lnTo>
                  <a:lnTo>
                    <a:pt x="542" y="1047"/>
                  </a:lnTo>
                  <a:lnTo>
                    <a:pt x="542" y="1047"/>
                  </a:lnTo>
                  <a:lnTo>
                    <a:pt x="545" y="1047"/>
                  </a:lnTo>
                  <a:lnTo>
                    <a:pt x="545" y="1047"/>
                  </a:lnTo>
                  <a:lnTo>
                    <a:pt x="548" y="1047"/>
                  </a:lnTo>
                  <a:lnTo>
                    <a:pt x="548" y="1047"/>
                  </a:lnTo>
                  <a:lnTo>
                    <a:pt x="548" y="1047"/>
                  </a:lnTo>
                  <a:lnTo>
                    <a:pt x="548" y="1045"/>
                  </a:lnTo>
                  <a:lnTo>
                    <a:pt x="550" y="1047"/>
                  </a:lnTo>
                  <a:lnTo>
                    <a:pt x="550" y="1047"/>
                  </a:lnTo>
                  <a:lnTo>
                    <a:pt x="550" y="1047"/>
                  </a:lnTo>
                  <a:lnTo>
                    <a:pt x="553" y="1047"/>
                  </a:lnTo>
                  <a:lnTo>
                    <a:pt x="553" y="1047"/>
                  </a:lnTo>
                  <a:lnTo>
                    <a:pt x="553" y="1050"/>
                  </a:lnTo>
                  <a:lnTo>
                    <a:pt x="553" y="1050"/>
                  </a:lnTo>
                  <a:lnTo>
                    <a:pt x="556" y="1050"/>
                  </a:lnTo>
                  <a:lnTo>
                    <a:pt x="556" y="1053"/>
                  </a:lnTo>
                  <a:lnTo>
                    <a:pt x="556" y="1053"/>
                  </a:lnTo>
                  <a:lnTo>
                    <a:pt x="556" y="1053"/>
                  </a:lnTo>
                  <a:lnTo>
                    <a:pt x="558" y="1053"/>
                  </a:lnTo>
                  <a:lnTo>
                    <a:pt x="558" y="1053"/>
                  </a:lnTo>
                  <a:lnTo>
                    <a:pt x="558" y="1050"/>
                  </a:lnTo>
                  <a:lnTo>
                    <a:pt x="561" y="1050"/>
                  </a:lnTo>
                  <a:lnTo>
                    <a:pt x="561" y="1053"/>
                  </a:lnTo>
                  <a:lnTo>
                    <a:pt x="561" y="1053"/>
                  </a:lnTo>
                  <a:lnTo>
                    <a:pt x="561" y="1053"/>
                  </a:lnTo>
                  <a:lnTo>
                    <a:pt x="564" y="1055"/>
                  </a:lnTo>
                  <a:lnTo>
                    <a:pt x="564" y="1053"/>
                  </a:lnTo>
                  <a:lnTo>
                    <a:pt x="566" y="1053"/>
                  </a:lnTo>
                  <a:lnTo>
                    <a:pt x="566" y="1053"/>
                  </a:lnTo>
                  <a:lnTo>
                    <a:pt x="566" y="1053"/>
                  </a:lnTo>
                  <a:lnTo>
                    <a:pt x="569" y="1053"/>
                  </a:lnTo>
                  <a:lnTo>
                    <a:pt x="572" y="1053"/>
                  </a:lnTo>
                  <a:lnTo>
                    <a:pt x="574" y="1053"/>
                  </a:lnTo>
                  <a:lnTo>
                    <a:pt x="574" y="1053"/>
                  </a:lnTo>
                  <a:lnTo>
                    <a:pt x="574" y="1055"/>
                  </a:lnTo>
                  <a:lnTo>
                    <a:pt x="574" y="1055"/>
                  </a:lnTo>
                  <a:lnTo>
                    <a:pt x="577" y="1055"/>
                  </a:lnTo>
                  <a:lnTo>
                    <a:pt x="577" y="1055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0" y="1058"/>
                  </a:lnTo>
                  <a:lnTo>
                    <a:pt x="582" y="1058"/>
                  </a:lnTo>
                  <a:lnTo>
                    <a:pt x="582" y="1058"/>
                  </a:lnTo>
                  <a:lnTo>
                    <a:pt x="582" y="1058"/>
                  </a:lnTo>
                  <a:lnTo>
                    <a:pt x="585" y="1058"/>
                  </a:lnTo>
                  <a:lnTo>
                    <a:pt x="585" y="1058"/>
                  </a:lnTo>
                  <a:lnTo>
                    <a:pt x="588" y="1061"/>
                  </a:lnTo>
                  <a:lnTo>
                    <a:pt x="588" y="1061"/>
                  </a:lnTo>
                  <a:lnTo>
                    <a:pt x="590" y="1061"/>
                  </a:lnTo>
                  <a:lnTo>
                    <a:pt x="590" y="1061"/>
                  </a:lnTo>
                  <a:lnTo>
                    <a:pt x="593" y="1061"/>
                  </a:lnTo>
                  <a:lnTo>
                    <a:pt x="593" y="1061"/>
                  </a:lnTo>
                  <a:lnTo>
                    <a:pt x="596" y="1058"/>
                  </a:lnTo>
                  <a:lnTo>
                    <a:pt x="598" y="1058"/>
                  </a:lnTo>
                  <a:lnTo>
                    <a:pt x="598" y="1058"/>
                  </a:lnTo>
                  <a:lnTo>
                    <a:pt x="601" y="1058"/>
                  </a:lnTo>
                  <a:lnTo>
                    <a:pt x="601" y="1058"/>
                  </a:lnTo>
                  <a:lnTo>
                    <a:pt x="601" y="1058"/>
                  </a:lnTo>
                  <a:lnTo>
                    <a:pt x="604" y="1055"/>
                  </a:lnTo>
                  <a:lnTo>
                    <a:pt x="604" y="1055"/>
                  </a:lnTo>
                  <a:lnTo>
                    <a:pt x="606" y="1055"/>
                  </a:lnTo>
                  <a:lnTo>
                    <a:pt x="606" y="1055"/>
                  </a:lnTo>
                  <a:lnTo>
                    <a:pt x="609" y="1055"/>
                  </a:lnTo>
                  <a:lnTo>
                    <a:pt x="612" y="1055"/>
                  </a:lnTo>
                  <a:lnTo>
                    <a:pt x="612" y="1055"/>
                  </a:lnTo>
                  <a:lnTo>
                    <a:pt x="614" y="1053"/>
                  </a:lnTo>
                  <a:lnTo>
                    <a:pt x="617" y="1053"/>
                  </a:lnTo>
                  <a:lnTo>
                    <a:pt x="617" y="1055"/>
                  </a:lnTo>
                  <a:lnTo>
                    <a:pt x="620" y="1055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0" y="1058"/>
                  </a:lnTo>
                  <a:lnTo>
                    <a:pt x="622" y="1058"/>
                  </a:lnTo>
                  <a:lnTo>
                    <a:pt x="622" y="1058"/>
                  </a:lnTo>
                  <a:lnTo>
                    <a:pt x="625" y="1061"/>
                  </a:lnTo>
                  <a:lnTo>
                    <a:pt x="625" y="1061"/>
                  </a:lnTo>
                  <a:lnTo>
                    <a:pt x="628" y="1061"/>
                  </a:lnTo>
                  <a:lnTo>
                    <a:pt x="630" y="1063"/>
                  </a:lnTo>
                  <a:lnTo>
                    <a:pt x="630" y="1063"/>
                  </a:lnTo>
                  <a:lnTo>
                    <a:pt x="633" y="1066"/>
                  </a:lnTo>
                  <a:lnTo>
                    <a:pt x="633" y="1066"/>
                  </a:lnTo>
                  <a:lnTo>
                    <a:pt x="633" y="1066"/>
                  </a:lnTo>
                  <a:lnTo>
                    <a:pt x="636" y="1069"/>
                  </a:lnTo>
                  <a:lnTo>
                    <a:pt x="636" y="1069"/>
                  </a:lnTo>
                  <a:lnTo>
                    <a:pt x="636" y="1069"/>
                  </a:lnTo>
                  <a:lnTo>
                    <a:pt x="638" y="1066"/>
                  </a:lnTo>
                  <a:lnTo>
                    <a:pt x="641" y="1066"/>
                  </a:lnTo>
                  <a:lnTo>
                    <a:pt x="641" y="1066"/>
                  </a:lnTo>
                  <a:lnTo>
                    <a:pt x="641" y="1066"/>
                  </a:lnTo>
                  <a:lnTo>
                    <a:pt x="644" y="1063"/>
                  </a:lnTo>
                  <a:lnTo>
                    <a:pt x="644" y="1063"/>
                  </a:lnTo>
                  <a:lnTo>
                    <a:pt x="646" y="1063"/>
                  </a:lnTo>
                  <a:lnTo>
                    <a:pt x="646" y="1061"/>
                  </a:lnTo>
                  <a:lnTo>
                    <a:pt x="646" y="1061"/>
                  </a:lnTo>
                  <a:lnTo>
                    <a:pt x="649" y="1061"/>
                  </a:lnTo>
                  <a:lnTo>
                    <a:pt x="652" y="1061"/>
                  </a:lnTo>
                  <a:lnTo>
                    <a:pt x="652" y="1061"/>
                  </a:lnTo>
                  <a:lnTo>
                    <a:pt x="654" y="1061"/>
                  </a:lnTo>
                  <a:lnTo>
                    <a:pt x="654" y="1061"/>
                  </a:lnTo>
                  <a:lnTo>
                    <a:pt x="654" y="1063"/>
                  </a:lnTo>
                  <a:lnTo>
                    <a:pt x="652" y="1063"/>
                  </a:lnTo>
                  <a:lnTo>
                    <a:pt x="652" y="1063"/>
                  </a:lnTo>
                  <a:lnTo>
                    <a:pt x="652" y="1066"/>
                  </a:lnTo>
                  <a:lnTo>
                    <a:pt x="652" y="1066"/>
                  </a:lnTo>
                  <a:lnTo>
                    <a:pt x="654" y="1069"/>
                  </a:lnTo>
                  <a:lnTo>
                    <a:pt x="654" y="1069"/>
                  </a:lnTo>
                  <a:lnTo>
                    <a:pt x="654" y="1069"/>
                  </a:lnTo>
                  <a:lnTo>
                    <a:pt x="652" y="1071"/>
                  </a:lnTo>
                  <a:lnTo>
                    <a:pt x="654" y="1071"/>
                  </a:lnTo>
                  <a:lnTo>
                    <a:pt x="654" y="1074"/>
                  </a:lnTo>
                  <a:lnTo>
                    <a:pt x="657" y="1074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57" y="1077"/>
                  </a:lnTo>
                  <a:lnTo>
                    <a:pt x="660" y="1077"/>
                  </a:lnTo>
                  <a:lnTo>
                    <a:pt x="660" y="1079"/>
                  </a:lnTo>
                  <a:lnTo>
                    <a:pt x="662" y="1079"/>
                  </a:lnTo>
                  <a:lnTo>
                    <a:pt x="662" y="1079"/>
                  </a:lnTo>
                  <a:lnTo>
                    <a:pt x="660" y="1082"/>
                  </a:lnTo>
                  <a:lnTo>
                    <a:pt x="660" y="1082"/>
                  </a:lnTo>
                  <a:lnTo>
                    <a:pt x="657" y="1085"/>
                  </a:lnTo>
                  <a:lnTo>
                    <a:pt x="654" y="1085"/>
                  </a:lnTo>
                  <a:lnTo>
                    <a:pt x="654" y="1085"/>
                  </a:lnTo>
                  <a:lnTo>
                    <a:pt x="654" y="1087"/>
                  </a:lnTo>
                  <a:lnTo>
                    <a:pt x="654" y="1087"/>
                  </a:lnTo>
                  <a:lnTo>
                    <a:pt x="654" y="1090"/>
                  </a:lnTo>
                  <a:lnTo>
                    <a:pt x="657" y="1090"/>
                  </a:lnTo>
                  <a:lnTo>
                    <a:pt x="657" y="1093"/>
                  </a:lnTo>
                  <a:lnTo>
                    <a:pt x="657" y="1095"/>
                  </a:lnTo>
                  <a:lnTo>
                    <a:pt x="657" y="1095"/>
                  </a:lnTo>
                  <a:lnTo>
                    <a:pt x="657" y="1095"/>
                  </a:lnTo>
                  <a:lnTo>
                    <a:pt x="657" y="1098"/>
                  </a:lnTo>
                  <a:lnTo>
                    <a:pt x="657" y="1101"/>
                  </a:lnTo>
                  <a:lnTo>
                    <a:pt x="657" y="1101"/>
                  </a:lnTo>
                  <a:lnTo>
                    <a:pt x="654" y="1101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4" y="1103"/>
                  </a:lnTo>
                  <a:lnTo>
                    <a:pt x="654" y="1106"/>
                  </a:lnTo>
                  <a:lnTo>
                    <a:pt x="657" y="1109"/>
                  </a:lnTo>
                  <a:lnTo>
                    <a:pt x="657" y="1106"/>
                  </a:lnTo>
                  <a:lnTo>
                    <a:pt x="660" y="1106"/>
                  </a:lnTo>
                  <a:lnTo>
                    <a:pt x="660" y="1106"/>
                  </a:lnTo>
                  <a:lnTo>
                    <a:pt x="660" y="1103"/>
                  </a:lnTo>
                  <a:lnTo>
                    <a:pt x="662" y="1103"/>
                  </a:lnTo>
                  <a:lnTo>
                    <a:pt x="662" y="1103"/>
                  </a:lnTo>
                  <a:lnTo>
                    <a:pt x="662" y="1103"/>
                  </a:lnTo>
                  <a:lnTo>
                    <a:pt x="665" y="1103"/>
                  </a:lnTo>
                  <a:lnTo>
                    <a:pt x="665" y="1103"/>
                  </a:lnTo>
                  <a:lnTo>
                    <a:pt x="665" y="1103"/>
                  </a:lnTo>
                  <a:lnTo>
                    <a:pt x="668" y="1103"/>
                  </a:lnTo>
                  <a:lnTo>
                    <a:pt x="668" y="1103"/>
                  </a:lnTo>
                  <a:lnTo>
                    <a:pt x="668" y="1103"/>
                  </a:lnTo>
                  <a:lnTo>
                    <a:pt x="670" y="1103"/>
                  </a:lnTo>
                  <a:lnTo>
                    <a:pt x="670" y="1103"/>
                  </a:lnTo>
                  <a:lnTo>
                    <a:pt x="670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6" y="1101"/>
                  </a:lnTo>
                  <a:lnTo>
                    <a:pt x="676" y="1101"/>
                  </a:lnTo>
                  <a:lnTo>
                    <a:pt x="676" y="1101"/>
                  </a:lnTo>
                  <a:lnTo>
                    <a:pt x="676" y="1098"/>
                  </a:lnTo>
                  <a:lnTo>
                    <a:pt x="676" y="1098"/>
                  </a:lnTo>
                  <a:lnTo>
                    <a:pt x="676" y="1098"/>
                  </a:lnTo>
                  <a:lnTo>
                    <a:pt x="676" y="1095"/>
                  </a:lnTo>
                  <a:lnTo>
                    <a:pt x="678" y="1095"/>
                  </a:lnTo>
                  <a:lnTo>
                    <a:pt x="678" y="1095"/>
                  </a:lnTo>
                  <a:lnTo>
                    <a:pt x="678" y="1093"/>
                  </a:lnTo>
                  <a:lnTo>
                    <a:pt x="678" y="1093"/>
                  </a:lnTo>
                  <a:lnTo>
                    <a:pt x="678" y="1093"/>
                  </a:lnTo>
                  <a:lnTo>
                    <a:pt x="681" y="1093"/>
                  </a:lnTo>
                  <a:lnTo>
                    <a:pt x="681" y="1093"/>
                  </a:lnTo>
                  <a:lnTo>
                    <a:pt x="681" y="1090"/>
                  </a:lnTo>
                  <a:lnTo>
                    <a:pt x="681" y="1090"/>
                  </a:lnTo>
                  <a:lnTo>
                    <a:pt x="681" y="1090"/>
                  </a:lnTo>
                  <a:lnTo>
                    <a:pt x="684" y="1090"/>
                  </a:lnTo>
                  <a:lnTo>
                    <a:pt x="684" y="1090"/>
                  </a:lnTo>
                  <a:lnTo>
                    <a:pt x="684" y="1090"/>
                  </a:lnTo>
                  <a:lnTo>
                    <a:pt x="684" y="1093"/>
                  </a:lnTo>
                  <a:lnTo>
                    <a:pt x="684" y="1093"/>
                  </a:lnTo>
                  <a:lnTo>
                    <a:pt x="686" y="1093"/>
                  </a:lnTo>
                  <a:lnTo>
                    <a:pt x="686" y="1095"/>
                  </a:lnTo>
                  <a:lnTo>
                    <a:pt x="686" y="1095"/>
                  </a:lnTo>
                  <a:lnTo>
                    <a:pt x="689" y="1095"/>
                  </a:lnTo>
                  <a:lnTo>
                    <a:pt x="689" y="1095"/>
                  </a:lnTo>
                  <a:lnTo>
                    <a:pt x="689" y="1095"/>
                  </a:lnTo>
                  <a:lnTo>
                    <a:pt x="692" y="1095"/>
                  </a:lnTo>
                  <a:lnTo>
                    <a:pt x="692" y="1093"/>
                  </a:lnTo>
                  <a:lnTo>
                    <a:pt x="692" y="1093"/>
                  </a:lnTo>
                  <a:lnTo>
                    <a:pt x="692" y="1093"/>
                  </a:lnTo>
                  <a:lnTo>
                    <a:pt x="694" y="1093"/>
                  </a:lnTo>
                  <a:lnTo>
                    <a:pt x="694" y="1093"/>
                  </a:lnTo>
                  <a:lnTo>
                    <a:pt x="694" y="1093"/>
                  </a:lnTo>
                  <a:lnTo>
                    <a:pt x="697" y="1093"/>
                  </a:lnTo>
                  <a:lnTo>
                    <a:pt x="697" y="1093"/>
                  </a:lnTo>
                  <a:lnTo>
                    <a:pt x="697" y="1095"/>
                  </a:lnTo>
                  <a:lnTo>
                    <a:pt x="700" y="1095"/>
                  </a:lnTo>
                  <a:lnTo>
                    <a:pt x="700" y="1095"/>
                  </a:lnTo>
                  <a:lnTo>
                    <a:pt x="697" y="1095"/>
                  </a:lnTo>
                  <a:lnTo>
                    <a:pt x="697" y="1095"/>
                  </a:lnTo>
                  <a:lnTo>
                    <a:pt x="697" y="1095"/>
                  </a:lnTo>
                  <a:lnTo>
                    <a:pt x="694" y="1095"/>
                  </a:lnTo>
                  <a:lnTo>
                    <a:pt x="694" y="1098"/>
                  </a:lnTo>
                  <a:lnTo>
                    <a:pt x="692" y="1098"/>
                  </a:lnTo>
                  <a:lnTo>
                    <a:pt x="694" y="1098"/>
                  </a:lnTo>
                  <a:lnTo>
                    <a:pt x="694" y="1101"/>
                  </a:lnTo>
                  <a:lnTo>
                    <a:pt x="694" y="1101"/>
                  </a:lnTo>
                  <a:lnTo>
                    <a:pt x="694" y="1103"/>
                  </a:lnTo>
                  <a:lnTo>
                    <a:pt x="694" y="1103"/>
                  </a:lnTo>
                  <a:lnTo>
                    <a:pt x="694" y="1103"/>
                  </a:lnTo>
                  <a:lnTo>
                    <a:pt x="697" y="1106"/>
                  </a:lnTo>
                  <a:lnTo>
                    <a:pt x="697" y="1106"/>
                  </a:lnTo>
                  <a:lnTo>
                    <a:pt x="700" y="1109"/>
                  </a:lnTo>
                  <a:lnTo>
                    <a:pt x="700" y="1109"/>
                  </a:lnTo>
                  <a:lnTo>
                    <a:pt x="702" y="1114"/>
                  </a:lnTo>
                  <a:lnTo>
                    <a:pt x="702" y="1117"/>
                  </a:lnTo>
                  <a:lnTo>
                    <a:pt x="705" y="1117"/>
                  </a:lnTo>
                  <a:lnTo>
                    <a:pt x="705" y="1117"/>
                  </a:lnTo>
                  <a:lnTo>
                    <a:pt x="708" y="1117"/>
                  </a:lnTo>
                  <a:lnTo>
                    <a:pt x="708" y="1119"/>
                  </a:lnTo>
                  <a:lnTo>
                    <a:pt x="711" y="1119"/>
                  </a:lnTo>
                  <a:lnTo>
                    <a:pt x="711" y="1119"/>
                  </a:lnTo>
                  <a:lnTo>
                    <a:pt x="711" y="1119"/>
                  </a:lnTo>
                  <a:lnTo>
                    <a:pt x="713" y="1119"/>
                  </a:lnTo>
                  <a:lnTo>
                    <a:pt x="713" y="1122"/>
                  </a:lnTo>
                  <a:lnTo>
                    <a:pt x="716" y="1122"/>
                  </a:lnTo>
                  <a:lnTo>
                    <a:pt x="716" y="1122"/>
                  </a:lnTo>
                  <a:lnTo>
                    <a:pt x="716" y="1125"/>
                  </a:lnTo>
                  <a:lnTo>
                    <a:pt x="716" y="1127"/>
                  </a:lnTo>
                  <a:lnTo>
                    <a:pt x="716" y="1127"/>
                  </a:lnTo>
                  <a:lnTo>
                    <a:pt x="719" y="1125"/>
                  </a:lnTo>
                  <a:lnTo>
                    <a:pt x="721" y="1125"/>
                  </a:lnTo>
                  <a:lnTo>
                    <a:pt x="721" y="1127"/>
                  </a:lnTo>
                  <a:lnTo>
                    <a:pt x="724" y="1127"/>
                  </a:lnTo>
                  <a:lnTo>
                    <a:pt x="724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7" y="1127"/>
                  </a:lnTo>
                  <a:lnTo>
                    <a:pt x="729" y="1127"/>
                  </a:lnTo>
                  <a:lnTo>
                    <a:pt x="729" y="1125"/>
                  </a:lnTo>
                  <a:lnTo>
                    <a:pt x="729" y="1125"/>
                  </a:lnTo>
                  <a:lnTo>
                    <a:pt x="732" y="1125"/>
                  </a:lnTo>
                  <a:lnTo>
                    <a:pt x="732" y="1127"/>
                  </a:lnTo>
                  <a:lnTo>
                    <a:pt x="732" y="1127"/>
                  </a:lnTo>
                  <a:lnTo>
                    <a:pt x="732" y="1127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35" y="1130"/>
                  </a:lnTo>
                  <a:lnTo>
                    <a:pt x="751" y="1133"/>
                  </a:lnTo>
                  <a:lnTo>
                    <a:pt x="751" y="1135"/>
                  </a:lnTo>
                  <a:lnTo>
                    <a:pt x="748" y="1138"/>
                  </a:lnTo>
                  <a:lnTo>
                    <a:pt x="748" y="1138"/>
                  </a:lnTo>
                  <a:lnTo>
                    <a:pt x="748" y="1138"/>
                  </a:lnTo>
                  <a:lnTo>
                    <a:pt x="751" y="1141"/>
                  </a:lnTo>
                  <a:lnTo>
                    <a:pt x="751" y="1143"/>
                  </a:lnTo>
                  <a:lnTo>
                    <a:pt x="753" y="1143"/>
                  </a:lnTo>
                  <a:lnTo>
                    <a:pt x="753" y="1143"/>
                  </a:lnTo>
                  <a:lnTo>
                    <a:pt x="756" y="1143"/>
                  </a:lnTo>
                  <a:lnTo>
                    <a:pt x="759" y="1143"/>
                  </a:lnTo>
                  <a:lnTo>
                    <a:pt x="759" y="1143"/>
                  </a:lnTo>
                  <a:lnTo>
                    <a:pt x="756" y="1146"/>
                  </a:lnTo>
                  <a:lnTo>
                    <a:pt x="756" y="1146"/>
                  </a:lnTo>
                  <a:lnTo>
                    <a:pt x="759" y="1149"/>
                  </a:lnTo>
                  <a:lnTo>
                    <a:pt x="759" y="1149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1" y="1152"/>
                  </a:lnTo>
                  <a:lnTo>
                    <a:pt x="764" y="1152"/>
                  </a:lnTo>
                  <a:lnTo>
                    <a:pt x="764" y="1152"/>
                  </a:lnTo>
                  <a:lnTo>
                    <a:pt x="767" y="1152"/>
                  </a:lnTo>
                  <a:lnTo>
                    <a:pt x="767" y="1149"/>
                  </a:lnTo>
                  <a:lnTo>
                    <a:pt x="769" y="1152"/>
                  </a:lnTo>
                  <a:lnTo>
                    <a:pt x="769" y="1152"/>
                  </a:lnTo>
                  <a:lnTo>
                    <a:pt x="769" y="1152"/>
                  </a:lnTo>
                  <a:lnTo>
                    <a:pt x="769" y="1149"/>
                  </a:lnTo>
                  <a:lnTo>
                    <a:pt x="772" y="1149"/>
                  </a:lnTo>
                  <a:lnTo>
                    <a:pt x="772" y="1149"/>
                  </a:lnTo>
                  <a:lnTo>
                    <a:pt x="775" y="1146"/>
                  </a:lnTo>
                  <a:lnTo>
                    <a:pt x="775" y="1146"/>
                  </a:lnTo>
                  <a:lnTo>
                    <a:pt x="775" y="1146"/>
                  </a:lnTo>
                  <a:lnTo>
                    <a:pt x="777" y="1146"/>
                  </a:lnTo>
                  <a:lnTo>
                    <a:pt x="780" y="1143"/>
                  </a:lnTo>
                  <a:lnTo>
                    <a:pt x="780" y="1143"/>
                  </a:lnTo>
                  <a:lnTo>
                    <a:pt x="780" y="1141"/>
                  </a:lnTo>
                  <a:lnTo>
                    <a:pt x="783" y="1141"/>
                  </a:lnTo>
                  <a:lnTo>
                    <a:pt x="783" y="1138"/>
                  </a:lnTo>
                  <a:lnTo>
                    <a:pt x="783" y="1138"/>
                  </a:lnTo>
                  <a:lnTo>
                    <a:pt x="783" y="1138"/>
                  </a:lnTo>
                  <a:lnTo>
                    <a:pt x="780" y="1138"/>
                  </a:lnTo>
                  <a:lnTo>
                    <a:pt x="780" y="1135"/>
                  </a:lnTo>
                  <a:lnTo>
                    <a:pt x="780" y="1135"/>
                  </a:lnTo>
                  <a:lnTo>
                    <a:pt x="780" y="1135"/>
                  </a:lnTo>
                  <a:lnTo>
                    <a:pt x="777" y="1133"/>
                  </a:lnTo>
                  <a:lnTo>
                    <a:pt x="777" y="1133"/>
                  </a:lnTo>
                  <a:lnTo>
                    <a:pt x="777" y="1133"/>
                  </a:lnTo>
                  <a:lnTo>
                    <a:pt x="775" y="1133"/>
                  </a:lnTo>
                  <a:lnTo>
                    <a:pt x="775" y="1130"/>
                  </a:lnTo>
                  <a:lnTo>
                    <a:pt x="775" y="1127"/>
                  </a:lnTo>
                  <a:lnTo>
                    <a:pt x="777" y="1127"/>
                  </a:lnTo>
                  <a:lnTo>
                    <a:pt x="777" y="1125"/>
                  </a:lnTo>
                  <a:lnTo>
                    <a:pt x="777" y="1125"/>
                  </a:lnTo>
                  <a:lnTo>
                    <a:pt x="780" y="1122"/>
                  </a:lnTo>
                  <a:lnTo>
                    <a:pt x="780" y="1122"/>
                  </a:lnTo>
                  <a:lnTo>
                    <a:pt x="783" y="1122"/>
                  </a:lnTo>
                  <a:lnTo>
                    <a:pt x="783" y="1119"/>
                  </a:lnTo>
                  <a:lnTo>
                    <a:pt x="783" y="1117"/>
                  </a:lnTo>
                  <a:lnTo>
                    <a:pt x="783" y="1117"/>
                  </a:lnTo>
                  <a:lnTo>
                    <a:pt x="785" y="1114"/>
                  </a:lnTo>
                  <a:lnTo>
                    <a:pt x="788" y="1114"/>
                  </a:lnTo>
                  <a:lnTo>
                    <a:pt x="788" y="1111"/>
                  </a:lnTo>
                  <a:lnTo>
                    <a:pt x="791" y="1111"/>
                  </a:lnTo>
                  <a:lnTo>
                    <a:pt x="791" y="1109"/>
                  </a:lnTo>
                  <a:lnTo>
                    <a:pt x="793" y="1109"/>
                  </a:lnTo>
                  <a:lnTo>
                    <a:pt x="793" y="1106"/>
                  </a:lnTo>
                  <a:lnTo>
                    <a:pt x="793" y="1106"/>
                  </a:lnTo>
                  <a:lnTo>
                    <a:pt x="796" y="1103"/>
                  </a:lnTo>
                  <a:lnTo>
                    <a:pt x="799" y="1103"/>
                  </a:lnTo>
                  <a:lnTo>
                    <a:pt x="799" y="1103"/>
                  </a:lnTo>
                  <a:lnTo>
                    <a:pt x="801" y="1103"/>
                  </a:lnTo>
                  <a:lnTo>
                    <a:pt x="801" y="1103"/>
                  </a:lnTo>
                  <a:lnTo>
                    <a:pt x="801" y="1101"/>
                  </a:lnTo>
                  <a:lnTo>
                    <a:pt x="804" y="1101"/>
                  </a:lnTo>
                  <a:lnTo>
                    <a:pt x="804" y="1098"/>
                  </a:lnTo>
                  <a:lnTo>
                    <a:pt x="801" y="1098"/>
                  </a:lnTo>
                  <a:lnTo>
                    <a:pt x="801" y="1098"/>
                  </a:lnTo>
                  <a:lnTo>
                    <a:pt x="801" y="1095"/>
                  </a:lnTo>
                  <a:lnTo>
                    <a:pt x="799" y="1093"/>
                  </a:lnTo>
                  <a:lnTo>
                    <a:pt x="799" y="1093"/>
                  </a:lnTo>
                  <a:lnTo>
                    <a:pt x="799" y="1093"/>
                  </a:lnTo>
                  <a:lnTo>
                    <a:pt x="799" y="1090"/>
                  </a:lnTo>
                  <a:lnTo>
                    <a:pt x="799" y="1090"/>
                  </a:lnTo>
                  <a:lnTo>
                    <a:pt x="799" y="1090"/>
                  </a:lnTo>
                  <a:lnTo>
                    <a:pt x="799" y="1087"/>
                  </a:lnTo>
                  <a:lnTo>
                    <a:pt x="796" y="1085"/>
                  </a:lnTo>
                  <a:lnTo>
                    <a:pt x="796" y="1085"/>
                  </a:lnTo>
                  <a:lnTo>
                    <a:pt x="793" y="1085"/>
                  </a:lnTo>
                  <a:lnTo>
                    <a:pt x="793" y="1085"/>
                  </a:lnTo>
                  <a:lnTo>
                    <a:pt x="793" y="1085"/>
                  </a:lnTo>
                  <a:lnTo>
                    <a:pt x="791" y="1085"/>
                  </a:lnTo>
                  <a:lnTo>
                    <a:pt x="791" y="1082"/>
                  </a:lnTo>
                  <a:lnTo>
                    <a:pt x="793" y="1082"/>
                  </a:lnTo>
                  <a:lnTo>
                    <a:pt x="791" y="1079"/>
                  </a:lnTo>
                  <a:lnTo>
                    <a:pt x="791" y="1077"/>
                  </a:lnTo>
                  <a:lnTo>
                    <a:pt x="793" y="1077"/>
                  </a:lnTo>
                  <a:lnTo>
                    <a:pt x="791" y="1074"/>
                  </a:lnTo>
                  <a:lnTo>
                    <a:pt x="793" y="1074"/>
                  </a:lnTo>
                  <a:lnTo>
                    <a:pt x="793" y="1071"/>
                  </a:lnTo>
                  <a:lnTo>
                    <a:pt x="793" y="1071"/>
                  </a:lnTo>
                  <a:lnTo>
                    <a:pt x="791" y="1071"/>
                  </a:lnTo>
                  <a:lnTo>
                    <a:pt x="793" y="1069"/>
                  </a:lnTo>
                  <a:lnTo>
                    <a:pt x="793" y="1069"/>
                  </a:lnTo>
                  <a:lnTo>
                    <a:pt x="793" y="1069"/>
                  </a:lnTo>
                  <a:lnTo>
                    <a:pt x="791" y="1066"/>
                  </a:lnTo>
                  <a:lnTo>
                    <a:pt x="791" y="1066"/>
                  </a:lnTo>
                  <a:lnTo>
                    <a:pt x="788" y="1063"/>
                  </a:lnTo>
                  <a:lnTo>
                    <a:pt x="788" y="1063"/>
                  </a:lnTo>
                  <a:lnTo>
                    <a:pt x="785" y="1066"/>
                  </a:lnTo>
                  <a:lnTo>
                    <a:pt x="785" y="1066"/>
                  </a:lnTo>
                  <a:lnTo>
                    <a:pt x="785" y="1066"/>
                  </a:lnTo>
                  <a:lnTo>
                    <a:pt x="780" y="1066"/>
                  </a:lnTo>
                  <a:lnTo>
                    <a:pt x="780" y="1066"/>
                  </a:lnTo>
                  <a:lnTo>
                    <a:pt x="777" y="1063"/>
                  </a:lnTo>
                  <a:lnTo>
                    <a:pt x="777" y="1063"/>
                  </a:lnTo>
                  <a:lnTo>
                    <a:pt x="775" y="1061"/>
                  </a:lnTo>
                  <a:lnTo>
                    <a:pt x="775" y="1061"/>
                  </a:lnTo>
                  <a:lnTo>
                    <a:pt x="772" y="1058"/>
                  </a:lnTo>
                  <a:lnTo>
                    <a:pt x="772" y="1055"/>
                  </a:lnTo>
                  <a:lnTo>
                    <a:pt x="772" y="1053"/>
                  </a:lnTo>
                  <a:lnTo>
                    <a:pt x="772" y="1053"/>
                  </a:lnTo>
                  <a:lnTo>
                    <a:pt x="769" y="1050"/>
                  </a:lnTo>
                  <a:lnTo>
                    <a:pt x="769" y="1050"/>
                  </a:lnTo>
                  <a:lnTo>
                    <a:pt x="767" y="1047"/>
                  </a:lnTo>
                  <a:lnTo>
                    <a:pt x="769" y="1047"/>
                  </a:lnTo>
                  <a:lnTo>
                    <a:pt x="769" y="1045"/>
                  </a:lnTo>
                  <a:lnTo>
                    <a:pt x="767" y="1045"/>
                  </a:lnTo>
                  <a:lnTo>
                    <a:pt x="767" y="1045"/>
                  </a:lnTo>
                  <a:lnTo>
                    <a:pt x="767" y="1045"/>
                  </a:lnTo>
                  <a:lnTo>
                    <a:pt x="767" y="1042"/>
                  </a:lnTo>
                  <a:lnTo>
                    <a:pt x="769" y="1039"/>
                  </a:lnTo>
                  <a:lnTo>
                    <a:pt x="769" y="1039"/>
                  </a:lnTo>
                  <a:lnTo>
                    <a:pt x="772" y="1037"/>
                  </a:lnTo>
                  <a:lnTo>
                    <a:pt x="772" y="1037"/>
                  </a:lnTo>
                  <a:lnTo>
                    <a:pt x="775" y="1037"/>
                  </a:lnTo>
                  <a:lnTo>
                    <a:pt x="775" y="1037"/>
                  </a:lnTo>
                  <a:lnTo>
                    <a:pt x="777" y="1037"/>
                  </a:lnTo>
                  <a:lnTo>
                    <a:pt x="777" y="1037"/>
                  </a:lnTo>
                  <a:lnTo>
                    <a:pt x="777" y="1034"/>
                  </a:lnTo>
                  <a:lnTo>
                    <a:pt x="777" y="1031"/>
                  </a:lnTo>
                  <a:lnTo>
                    <a:pt x="777" y="1031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7" y="1029"/>
                  </a:lnTo>
                  <a:lnTo>
                    <a:pt x="775" y="1029"/>
                  </a:lnTo>
                  <a:lnTo>
                    <a:pt x="775" y="1029"/>
                  </a:lnTo>
                  <a:lnTo>
                    <a:pt x="775" y="1026"/>
                  </a:lnTo>
                  <a:lnTo>
                    <a:pt x="777" y="1026"/>
                  </a:lnTo>
                  <a:lnTo>
                    <a:pt x="777" y="1029"/>
                  </a:lnTo>
                  <a:lnTo>
                    <a:pt x="780" y="1029"/>
                  </a:lnTo>
                  <a:lnTo>
                    <a:pt x="780" y="1026"/>
                  </a:lnTo>
                  <a:lnTo>
                    <a:pt x="780" y="1023"/>
                  </a:lnTo>
                  <a:lnTo>
                    <a:pt x="783" y="1023"/>
                  </a:lnTo>
                  <a:lnTo>
                    <a:pt x="785" y="1023"/>
                  </a:lnTo>
                  <a:lnTo>
                    <a:pt x="785" y="1023"/>
                  </a:lnTo>
                  <a:lnTo>
                    <a:pt x="785" y="1026"/>
                  </a:lnTo>
                  <a:lnTo>
                    <a:pt x="788" y="1026"/>
                  </a:lnTo>
                  <a:lnTo>
                    <a:pt x="788" y="1023"/>
                  </a:lnTo>
                  <a:lnTo>
                    <a:pt x="788" y="1023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1" y="1026"/>
                  </a:lnTo>
                  <a:lnTo>
                    <a:pt x="793" y="1026"/>
                  </a:lnTo>
                  <a:lnTo>
                    <a:pt x="793" y="1026"/>
                  </a:lnTo>
                  <a:lnTo>
                    <a:pt x="796" y="1026"/>
                  </a:lnTo>
                  <a:lnTo>
                    <a:pt x="796" y="1026"/>
                  </a:lnTo>
                  <a:lnTo>
                    <a:pt x="799" y="1026"/>
                  </a:lnTo>
                  <a:lnTo>
                    <a:pt x="799" y="1026"/>
                  </a:lnTo>
                  <a:lnTo>
                    <a:pt x="799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6"/>
                  </a:lnTo>
                  <a:lnTo>
                    <a:pt x="801" y="1023"/>
                  </a:lnTo>
                  <a:lnTo>
                    <a:pt x="799" y="1023"/>
                  </a:lnTo>
                  <a:lnTo>
                    <a:pt x="799" y="1021"/>
                  </a:lnTo>
                  <a:lnTo>
                    <a:pt x="796" y="1021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6" y="1018"/>
                  </a:lnTo>
                  <a:lnTo>
                    <a:pt x="796" y="1015"/>
                  </a:lnTo>
                  <a:lnTo>
                    <a:pt x="796" y="1015"/>
                  </a:lnTo>
                  <a:lnTo>
                    <a:pt x="796" y="1013"/>
                  </a:lnTo>
                  <a:lnTo>
                    <a:pt x="796" y="1013"/>
                  </a:lnTo>
                  <a:lnTo>
                    <a:pt x="799" y="1010"/>
                  </a:lnTo>
                  <a:lnTo>
                    <a:pt x="799" y="1010"/>
                  </a:lnTo>
                  <a:lnTo>
                    <a:pt x="799" y="1007"/>
                  </a:lnTo>
                  <a:lnTo>
                    <a:pt x="799" y="1005"/>
                  </a:lnTo>
                  <a:lnTo>
                    <a:pt x="796" y="1005"/>
                  </a:lnTo>
                  <a:lnTo>
                    <a:pt x="796" y="1002"/>
                  </a:lnTo>
                  <a:lnTo>
                    <a:pt x="793" y="999"/>
                  </a:lnTo>
                  <a:lnTo>
                    <a:pt x="793" y="999"/>
                  </a:lnTo>
                  <a:lnTo>
                    <a:pt x="793" y="997"/>
                  </a:lnTo>
                  <a:lnTo>
                    <a:pt x="793" y="994"/>
                  </a:lnTo>
                  <a:lnTo>
                    <a:pt x="796" y="988"/>
                  </a:lnTo>
                  <a:lnTo>
                    <a:pt x="796" y="988"/>
                  </a:lnTo>
                  <a:lnTo>
                    <a:pt x="793" y="986"/>
                  </a:lnTo>
                  <a:lnTo>
                    <a:pt x="793" y="986"/>
                  </a:lnTo>
                  <a:lnTo>
                    <a:pt x="793" y="986"/>
                  </a:lnTo>
                  <a:lnTo>
                    <a:pt x="791" y="983"/>
                  </a:lnTo>
                  <a:lnTo>
                    <a:pt x="791" y="986"/>
                  </a:lnTo>
                  <a:lnTo>
                    <a:pt x="791" y="986"/>
                  </a:lnTo>
                  <a:lnTo>
                    <a:pt x="788" y="986"/>
                  </a:lnTo>
                  <a:lnTo>
                    <a:pt x="788" y="983"/>
                  </a:lnTo>
                  <a:lnTo>
                    <a:pt x="788" y="983"/>
                  </a:lnTo>
                  <a:lnTo>
                    <a:pt x="785" y="983"/>
                  </a:lnTo>
                  <a:lnTo>
                    <a:pt x="785" y="983"/>
                  </a:lnTo>
                  <a:lnTo>
                    <a:pt x="783" y="983"/>
                  </a:lnTo>
                  <a:lnTo>
                    <a:pt x="783" y="983"/>
                  </a:lnTo>
                  <a:lnTo>
                    <a:pt x="780" y="983"/>
                  </a:lnTo>
                  <a:lnTo>
                    <a:pt x="777" y="983"/>
                  </a:lnTo>
                  <a:lnTo>
                    <a:pt x="775" y="983"/>
                  </a:lnTo>
                  <a:lnTo>
                    <a:pt x="775" y="983"/>
                  </a:lnTo>
                  <a:lnTo>
                    <a:pt x="772" y="983"/>
                  </a:lnTo>
                  <a:lnTo>
                    <a:pt x="772" y="983"/>
                  </a:lnTo>
                  <a:lnTo>
                    <a:pt x="769" y="983"/>
                  </a:lnTo>
                  <a:lnTo>
                    <a:pt x="769" y="983"/>
                  </a:lnTo>
                  <a:lnTo>
                    <a:pt x="767" y="983"/>
                  </a:lnTo>
                  <a:lnTo>
                    <a:pt x="767" y="983"/>
                  </a:lnTo>
                  <a:lnTo>
                    <a:pt x="764" y="983"/>
                  </a:lnTo>
                  <a:lnTo>
                    <a:pt x="764" y="983"/>
                  </a:lnTo>
                  <a:lnTo>
                    <a:pt x="764" y="980"/>
                  </a:lnTo>
                  <a:lnTo>
                    <a:pt x="761" y="980"/>
                  </a:lnTo>
                  <a:lnTo>
                    <a:pt x="761" y="980"/>
                  </a:lnTo>
                  <a:lnTo>
                    <a:pt x="759" y="978"/>
                  </a:lnTo>
                  <a:lnTo>
                    <a:pt x="759" y="978"/>
                  </a:lnTo>
                  <a:lnTo>
                    <a:pt x="756" y="975"/>
                  </a:lnTo>
                  <a:lnTo>
                    <a:pt x="753" y="975"/>
                  </a:lnTo>
                  <a:lnTo>
                    <a:pt x="751" y="972"/>
                  </a:lnTo>
                  <a:lnTo>
                    <a:pt x="753" y="972"/>
                  </a:lnTo>
                  <a:lnTo>
                    <a:pt x="753" y="972"/>
                  </a:lnTo>
                  <a:lnTo>
                    <a:pt x="751" y="970"/>
                  </a:lnTo>
                  <a:lnTo>
                    <a:pt x="751" y="970"/>
                  </a:lnTo>
                  <a:lnTo>
                    <a:pt x="751" y="967"/>
                  </a:lnTo>
                  <a:lnTo>
                    <a:pt x="751" y="967"/>
                  </a:lnTo>
                  <a:lnTo>
                    <a:pt x="751" y="964"/>
                  </a:lnTo>
                  <a:lnTo>
                    <a:pt x="751" y="964"/>
                  </a:lnTo>
                  <a:lnTo>
                    <a:pt x="748" y="962"/>
                  </a:lnTo>
                  <a:lnTo>
                    <a:pt x="745" y="962"/>
                  </a:lnTo>
                  <a:lnTo>
                    <a:pt x="745" y="959"/>
                  </a:lnTo>
                  <a:lnTo>
                    <a:pt x="745" y="959"/>
                  </a:lnTo>
                  <a:lnTo>
                    <a:pt x="745" y="956"/>
                  </a:lnTo>
                  <a:lnTo>
                    <a:pt x="745" y="956"/>
                  </a:lnTo>
                  <a:lnTo>
                    <a:pt x="743" y="954"/>
                  </a:lnTo>
                  <a:lnTo>
                    <a:pt x="743" y="954"/>
                  </a:lnTo>
                  <a:lnTo>
                    <a:pt x="745" y="951"/>
                  </a:lnTo>
                  <a:lnTo>
                    <a:pt x="745" y="948"/>
                  </a:lnTo>
                  <a:lnTo>
                    <a:pt x="745" y="948"/>
                  </a:lnTo>
                  <a:lnTo>
                    <a:pt x="745" y="946"/>
                  </a:lnTo>
                  <a:lnTo>
                    <a:pt x="745" y="946"/>
                  </a:lnTo>
                  <a:lnTo>
                    <a:pt x="748" y="943"/>
                  </a:lnTo>
                  <a:lnTo>
                    <a:pt x="748" y="943"/>
                  </a:lnTo>
                  <a:lnTo>
                    <a:pt x="748" y="943"/>
                  </a:lnTo>
                  <a:lnTo>
                    <a:pt x="748" y="940"/>
                  </a:lnTo>
                  <a:lnTo>
                    <a:pt x="748" y="940"/>
                  </a:lnTo>
                  <a:lnTo>
                    <a:pt x="745" y="938"/>
                  </a:lnTo>
                  <a:lnTo>
                    <a:pt x="745" y="938"/>
                  </a:lnTo>
                  <a:lnTo>
                    <a:pt x="743" y="938"/>
                  </a:lnTo>
                  <a:lnTo>
                    <a:pt x="743" y="938"/>
                  </a:lnTo>
                  <a:lnTo>
                    <a:pt x="743" y="938"/>
                  </a:lnTo>
                  <a:lnTo>
                    <a:pt x="740" y="935"/>
                  </a:lnTo>
                  <a:lnTo>
                    <a:pt x="740" y="935"/>
                  </a:lnTo>
                  <a:lnTo>
                    <a:pt x="740" y="932"/>
                  </a:lnTo>
                  <a:lnTo>
                    <a:pt x="740" y="932"/>
                  </a:lnTo>
                  <a:lnTo>
                    <a:pt x="740" y="930"/>
                  </a:lnTo>
                  <a:lnTo>
                    <a:pt x="740" y="930"/>
                  </a:lnTo>
                  <a:lnTo>
                    <a:pt x="743" y="930"/>
                  </a:lnTo>
                  <a:lnTo>
                    <a:pt x="743" y="930"/>
                  </a:lnTo>
                  <a:lnTo>
                    <a:pt x="745" y="927"/>
                  </a:lnTo>
                  <a:lnTo>
                    <a:pt x="745" y="927"/>
                  </a:lnTo>
                  <a:lnTo>
                    <a:pt x="745" y="924"/>
                  </a:lnTo>
                  <a:lnTo>
                    <a:pt x="745" y="924"/>
                  </a:lnTo>
                  <a:lnTo>
                    <a:pt x="743" y="922"/>
                  </a:lnTo>
                  <a:lnTo>
                    <a:pt x="743" y="919"/>
                  </a:lnTo>
                  <a:lnTo>
                    <a:pt x="743" y="919"/>
                  </a:lnTo>
                  <a:lnTo>
                    <a:pt x="743" y="916"/>
                  </a:lnTo>
                  <a:lnTo>
                    <a:pt x="745" y="916"/>
                  </a:lnTo>
                  <a:lnTo>
                    <a:pt x="743" y="916"/>
                  </a:lnTo>
                  <a:lnTo>
                    <a:pt x="743" y="914"/>
                  </a:lnTo>
                  <a:lnTo>
                    <a:pt x="743" y="914"/>
                  </a:lnTo>
                  <a:lnTo>
                    <a:pt x="745" y="914"/>
                  </a:lnTo>
                  <a:lnTo>
                    <a:pt x="745" y="911"/>
                  </a:lnTo>
                  <a:lnTo>
                    <a:pt x="745" y="911"/>
                  </a:lnTo>
                  <a:lnTo>
                    <a:pt x="743" y="908"/>
                  </a:lnTo>
                  <a:lnTo>
                    <a:pt x="743" y="908"/>
                  </a:lnTo>
                  <a:lnTo>
                    <a:pt x="743" y="908"/>
                  </a:lnTo>
                  <a:lnTo>
                    <a:pt x="745" y="906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8" y="903"/>
                  </a:lnTo>
                  <a:lnTo>
                    <a:pt x="748" y="900"/>
                  </a:lnTo>
                  <a:lnTo>
                    <a:pt x="751" y="900"/>
                  </a:lnTo>
                  <a:lnTo>
                    <a:pt x="753" y="898"/>
                  </a:lnTo>
                  <a:lnTo>
                    <a:pt x="753" y="895"/>
                  </a:lnTo>
                  <a:lnTo>
                    <a:pt x="753" y="895"/>
                  </a:lnTo>
                  <a:lnTo>
                    <a:pt x="753" y="895"/>
                  </a:lnTo>
                  <a:lnTo>
                    <a:pt x="759" y="895"/>
                  </a:lnTo>
                  <a:lnTo>
                    <a:pt x="759" y="892"/>
                  </a:lnTo>
                  <a:lnTo>
                    <a:pt x="761" y="895"/>
                  </a:lnTo>
                  <a:lnTo>
                    <a:pt x="761" y="892"/>
                  </a:lnTo>
                  <a:lnTo>
                    <a:pt x="761" y="892"/>
                  </a:lnTo>
                  <a:lnTo>
                    <a:pt x="761" y="890"/>
                  </a:lnTo>
                  <a:lnTo>
                    <a:pt x="761" y="890"/>
                  </a:lnTo>
                  <a:lnTo>
                    <a:pt x="759" y="890"/>
                  </a:lnTo>
                  <a:lnTo>
                    <a:pt x="759" y="887"/>
                  </a:lnTo>
                  <a:lnTo>
                    <a:pt x="759" y="884"/>
                  </a:lnTo>
                  <a:lnTo>
                    <a:pt x="756" y="884"/>
                  </a:lnTo>
                  <a:lnTo>
                    <a:pt x="756" y="884"/>
                  </a:lnTo>
                  <a:lnTo>
                    <a:pt x="756" y="884"/>
                  </a:lnTo>
                  <a:lnTo>
                    <a:pt x="756" y="882"/>
                  </a:lnTo>
                  <a:lnTo>
                    <a:pt x="756" y="882"/>
                  </a:lnTo>
                  <a:lnTo>
                    <a:pt x="753" y="879"/>
                  </a:lnTo>
                  <a:lnTo>
                    <a:pt x="753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48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1" y="879"/>
                  </a:lnTo>
                  <a:lnTo>
                    <a:pt x="753" y="876"/>
                  </a:lnTo>
                  <a:lnTo>
                    <a:pt x="753" y="876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6" y="874"/>
                  </a:lnTo>
                  <a:lnTo>
                    <a:pt x="759" y="874"/>
                  </a:lnTo>
                  <a:lnTo>
                    <a:pt x="759" y="874"/>
                  </a:lnTo>
                  <a:lnTo>
                    <a:pt x="759" y="871"/>
                  </a:lnTo>
                  <a:lnTo>
                    <a:pt x="761" y="871"/>
                  </a:lnTo>
                  <a:lnTo>
                    <a:pt x="761" y="871"/>
                  </a:lnTo>
                  <a:lnTo>
                    <a:pt x="761" y="871"/>
                  </a:lnTo>
                  <a:lnTo>
                    <a:pt x="764" y="871"/>
                  </a:lnTo>
                  <a:lnTo>
                    <a:pt x="767" y="871"/>
                  </a:lnTo>
                  <a:lnTo>
                    <a:pt x="767" y="871"/>
                  </a:lnTo>
                  <a:lnTo>
                    <a:pt x="767" y="868"/>
                  </a:lnTo>
                  <a:lnTo>
                    <a:pt x="769" y="868"/>
                  </a:lnTo>
                  <a:lnTo>
                    <a:pt x="769" y="868"/>
                  </a:lnTo>
                  <a:lnTo>
                    <a:pt x="772" y="866"/>
                  </a:lnTo>
                  <a:lnTo>
                    <a:pt x="769" y="866"/>
                  </a:lnTo>
                  <a:lnTo>
                    <a:pt x="769" y="863"/>
                  </a:lnTo>
                  <a:lnTo>
                    <a:pt x="769" y="863"/>
                  </a:lnTo>
                  <a:lnTo>
                    <a:pt x="769" y="863"/>
                  </a:lnTo>
                  <a:lnTo>
                    <a:pt x="772" y="860"/>
                  </a:lnTo>
                  <a:lnTo>
                    <a:pt x="772" y="860"/>
                  </a:lnTo>
                  <a:lnTo>
                    <a:pt x="772" y="860"/>
                  </a:lnTo>
                  <a:lnTo>
                    <a:pt x="772" y="858"/>
                  </a:lnTo>
                  <a:lnTo>
                    <a:pt x="772" y="858"/>
                  </a:lnTo>
                  <a:lnTo>
                    <a:pt x="775" y="858"/>
                  </a:lnTo>
                  <a:lnTo>
                    <a:pt x="775" y="855"/>
                  </a:lnTo>
                  <a:lnTo>
                    <a:pt x="777" y="855"/>
                  </a:lnTo>
                  <a:lnTo>
                    <a:pt x="777" y="855"/>
                  </a:lnTo>
                  <a:lnTo>
                    <a:pt x="777" y="852"/>
                  </a:lnTo>
                  <a:lnTo>
                    <a:pt x="780" y="852"/>
                  </a:lnTo>
                  <a:lnTo>
                    <a:pt x="783" y="852"/>
                  </a:lnTo>
                  <a:lnTo>
                    <a:pt x="783" y="852"/>
                  </a:lnTo>
                  <a:lnTo>
                    <a:pt x="783" y="850"/>
                  </a:lnTo>
                  <a:lnTo>
                    <a:pt x="783" y="850"/>
                  </a:lnTo>
                  <a:lnTo>
                    <a:pt x="785" y="847"/>
                  </a:lnTo>
                  <a:lnTo>
                    <a:pt x="785" y="847"/>
                  </a:lnTo>
                  <a:lnTo>
                    <a:pt x="785" y="847"/>
                  </a:lnTo>
                  <a:lnTo>
                    <a:pt x="788" y="844"/>
                  </a:lnTo>
                  <a:lnTo>
                    <a:pt x="788" y="844"/>
                  </a:lnTo>
                  <a:lnTo>
                    <a:pt x="791" y="844"/>
                  </a:lnTo>
                  <a:lnTo>
                    <a:pt x="791" y="844"/>
                  </a:lnTo>
                  <a:lnTo>
                    <a:pt x="791" y="844"/>
                  </a:lnTo>
                  <a:lnTo>
                    <a:pt x="793" y="844"/>
                  </a:lnTo>
                  <a:lnTo>
                    <a:pt x="793" y="844"/>
                  </a:lnTo>
                  <a:lnTo>
                    <a:pt x="793" y="842"/>
                  </a:lnTo>
                  <a:lnTo>
                    <a:pt x="796" y="842"/>
                  </a:lnTo>
                  <a:lnTo>
                    <a:pt x="799" y="839"/>
                  </a:lnTo>
                  <a:lnTo>
                    <a:pt x="799" y="839"/>
                  </a:lnTo>
                  <a:lnTo>
                    <a:pt x="799" y="839"/>
                  </a:lnTo>
                  <a:lnTo>
                    <a:pt x="801" y="839"/>
                  </a:lnTo>
                  <a:lnTo>
                    <a:pt x="801" y="836"/>
                  </a:lnTo>
                  <a:lnTo>
                    <a:pt x="799" y="834"/>
                  </a:lnTo>
                  <a:lnTo>
                    <a:pt x="799" y="834"/>
                  </a:lnTo>
                  <a:lnTo>
                    <a:pt x="799" y="828"/>
                  </a:lnTo>
                  <a:lnTo>
                    <a:pt x="796" y="828"/>
                  </a:lnTo>
                  <a:lnTo>
                    <a:pt x="796" y="825"/>
                  </a:lnTo>
                  <a:lnTo>
                    <a:pt x="796" y="823"/>
                  </a:lnTo>
                  <a:lnTo>
                    <a:pt x="796" y="823"/>
                  </a:lnTo>
                  <a:lnTo>
                    <a:pt x="796" y="820"/>
                  </a:lnTo>
                  <a:lnTo>
                    <a:pt x="796" y="820"/>
                  </a:lnTo>
                  <a:lnTo>
                    <a:pt x="799" y="817"/>
                  </a:lnTo>
                  <a:lnTo>
                    <a:pt x="801" y="815"/>
                  </a:lnTo>
                  <a:lnTo>
                    <a:pt x="801" y="815"/>
                  </a:lnTo>
                  <a:lnTo>
                    <a:pt x="801" y="812"/>
                  </a:lnTo>
                  <a:lnTo>
                    <a:pt x="801" y="812"/>
                  </a:lnTo>
                  <a:lnTo>
                    <a:pt x="804" y="809"/>
                  </a:lnTo>
                  <a:lnTo>
                    <a:pt x="807" y="809"/>
                  </a:lnTo>
                  <a:lnTo>
                    <a:pt x="807" y="807"/>
                  </a:lnTo>
                  <a:lnTo>
                    <a:pt x="807" y="807"/>
                  </a:lnTo>
                  <a:lnTo>
                    <a:pt x="809" y="804"/>
                  </a:lnTo>
                  <a:lnTo>
                    <a:pt x="809" y="804"/>
                  </a:lnTo>
                  <a:lnTo>
                    <a:pt x="812" y="801"/>
                  </a:lnTo>
                  <a:lnTo>
                    <a:pt x="815" y="801"/>
                  </a:lnTo>
                  <a:lnTo>
                    <a:pt x="817" y="799"/>
                  </a:lnTo>
                  <a:lnTo>
                    <a:pt x="817" y="799"/>
                  </a:lnTo>
                  <a:lnTo>
                    <a:pt x="817" y="799"/>
                  </a:lnTo>
                  <a:lnTo>
                    <a:pt x="817" y="796"/>
                  </a:lnTo>
                  <a:lnTo>
                    <a:pt x="817" y="796"/>
                  </a:lnTo>
                  <a:lnTo>
                    <a:pt x="817" y="793"/>
                  </a:lnTo>
                  <a:lnTo>
                    <a:pt x="815" y="793"/>
                  </a:lnTo>
                  <a:lnTo>
                    <a:pt x="815" y="791"/>
                  </a:lnTo>
                  <a:lnTo>
                    <a:pt x="815" y="788"/>
                  </a:lnTo>
                  <a:lnTo>
                    <a:pt x="817" y="788"/>
                  </a:lnTo>
                  <a:lnTo>
                    <a:pt x="817" y="785"/>
                  </a:lnTo>
                  <a:lnTo>
                    <a:pt x="815" y="785"/>
                  </a:lnTo>
                  <a:lnTo>
                    <a:pt x="817" y="783"/>
                  </a:lnTo>
                  <a:lnTo>
                    <a:pt x="817" y="780"/>
                  </a:lnTo>
                  <a:lnTo>
                    <a:pt x="815" y="777"/>
                  </a:lnTo>
                  <a:lnTo>
                    <a:pt x="815" y="777"/>
                  </a:lnTo>
                  <a:lnTo>
                    <a:pt x="815" y="777"/>
                  </a:lnTo>
                  <a:lnTo>
                    <a:pt x="812" y="777"/>
                  </a:lnTo>
                  <a:lnTo>
                    <a:pt x="812" y="775"/>
                  </a:lnTo>
                  <a:lnTo>
                    <a:pt x="812" y="775"/>
                  </a:lnTo>
                  <a:lnTo>
                    <a:pt x="812" y="775"/>
                  </a:lnTo>
                  <a:lnTo>
                    <a:pt x="812" y="772"/>
                  </a:lnTo>
                  <a:lnTo>
                    <a:pt x="812" y="772"/>
                  </a:lnTo>
                  <a:lnTo>
                    <a:pt x="815" y="769"/>
                  </a:lnTo>
                  <a:lnTo>
                    <a:pt x="815" y="769"/>
                  </a:lnTo>
                  <a:lnTo>
                    <a:pt x="817" y="769"/>
                  </a:lnTo>
                  <a:lnTo>
                    <a:pt x="817" y="769"/>
                  </a:lnTo>
                  <a:lnTo>
                    <a:pt x="817" y="767"/>
                  </a:lnTo>
                  <a:lnTo>
                    <a:pt x="817" y="767"/>
                  </a:lnTo>
                  <a:lnTo>
                    <a:pt x="817" y="767"/>
                  </a:lnTo>
                  <a:lnTo>
                    <a:pt x="815" y="764"/>
                  </a:lnTo>
                  <a:lnTo>
                    <a:pt x="815" y="764"/>
                  </a:lnTo>
                  <a:lnTo>
                    <a:pt x="815" y="764"/>
                  </a:lnTo>
                  <a:lnTo>
                    <a:pt x="817" y="764"/>
                  </a:lnTo>
                  <a:lnTo>
                    <a:pt x="817" y="761"/>
                  </a:lnTo>
                  <a:lnTo>
                    <a:pt x="820" y="761"/>
                  </a:lnTo>
                  <a:lnTo>
                    <a:pt x="820" y="761"/>
                  </a:lnTo>
                  <a:lnTo>
                    <a:pt x="820" y="759"/>
                  </a:lnTo>
                  <a:lnTo>
                    <a:pt x="823" y="756"/>
                  </a:lnTo>
                  <a:lnTo>
                    <a:pt x="823" y="756"/>
                  </a:lnTo>
                  <a:lnTo>
                    <a:pt x="825" y="753"/>
                  </a:lnTo>
                  <a:lnTo>
                    <a:pt x="825" y="753"/>
                  </a:lnTo>
                  <a:lnTo>
                    <a:pt x="825" y="751"/>
                  </a:lnTo>
                  <a:lnTo>
                    <a:pt x="825" y="751"/>
                  </a:lnTo>
                  <a:lnTo>
                    <a:pt x="825" y="748"/>
                  </a:lnTo>
                  <a:lnTo>
                    <a:pt x="825" y="748"/>
                  </a:lnTo>
                  <a:lnTo>
                    <a:pt x="825" y="745"/>
                  </a:lnTo>
                  <a:lnTo>
                    <a:pt x="825" y="745"/>
                  </a:lnTo>
                  <a:lnTo>
                    <a:pt x="825" y="743"/>
                  </a:lnTo>
                  <a:lnTo>
                    <a:pt x="825" y="743"/>
                  </a:lnTo>
                  <a:lnTo>
                    <a:pt x="825" y="740"/>
                  </a:lnTo>
                  <a:lnTo>
                    <a:pt x="828" y="740"/>
                  </a:lnTo>
                  <a:lnTo>
                    <a:pt x="828" y="740"/>
                  </a:lnTo>
                  <a:lnTo>
                    <a:pt x="828" y="740"/>
                  </a:lnTo>
                  <a:lnTo>
                    <a:pt x="828" y="737"/>
                  </a:lnTo>
                  <a:lnTo>
                    <a:pt x="825" y="737"/>
                  </a:lnTo>
                  <a:lnTo>
                    <a:pt x="823" y="737"/>
                  </a:lnTo>
                  <a:lnTo>
                    <a:pt x="823" y="737"/>
                  </a:lnTo>
                  <a:lnTo>
                    <a:pt x="820" y="737"/>
                  </a:lnTo>
                  <a:lnTo>
                    <a:pt x="820" y="735"/>
                  </a:lnTo>
                  <a:lnTo>
                    <a:pt x="820" y="735"/>
                  </a:lnTo>
                  <a:lnTo>
                    <a:pt x="817" y="735"/>
                  </a:lnTo>
                  <a:lnTo>
                    <a:pt x="817" y="735"/>
                  </a:lnTo>
                  <a:lnTo>
                    <a:pt x="817" y="735"/>
                  </a:lnTo>
                  <a:lnTo>
                    <a:pt x="817" y="732"/>
                  </a:lnTo>
                  <a:lnTo>
                    <a:pt x="815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32"/>
                  </a:lnTo>
                  <a:lnTo>
                    <a:pt x="812" y="729"/>
                  </a:lnTo>
                  <a:lnTo>
                    <a:pt x="812" y="729"/>
                  </a:lnTo>
                  <a:lnTo>
                    <a:pt x="815" y="727"/>
                  </a:lnTo>
                  <a:lnTo>
                    <a:pt x="812" y="727"/>
                  </a:lnTo>
                  <a:lnTo>
                    <a:pt x="812" y="724"/>
                  </a:lnTo>
                  <a:lnTo>
                    <a:pt x="812" y="724"/>
                  </a:lnTo>
                  <a:lnTo>
                    <a:pt x="809" y="724"/>
                  </a:lnTo>
                  <a:lnTo>
                    <a:pt x="809" y="721"/>
                  </a:lnTo>
                  <a:lnTo>
                    <a:pt x="809" y="719"/>
                  </a:lnTo>
                  <a:lnTo>
                    <a:pt x="809" y="719"/>
                  </a:lnTo>
                  <a:lnTo>
                    <a:pt x="807" y="716"/>
                  </a:lnTo>
                  <a:lnTo>
                    <a:pt x="807" y="716"/>
                  </a:lnTo>
                  <a:lnTo>
                    <a:pt x="804" y="716"/>
                  </a:lnTo>
                  <a:lnTo>
                    <a:pt x="804" y="713"/>
                  </a:lnTo>
                  <a:lnTo>
                    <a:pt x="801" y="713"/>
                  </a:lnTo>
                  <a:lnTo>
                    <a:pt x="801" y="713"/>
                  </a:lnTo>
                  <a:lnTo>
                    <a:pt x="801" y="713"/>
                  </a:lnTo>
                  <a:lnTo>
                    <a:pt x="799" y="713"/>
                  </a:lnTo>
                  <a:lnTo>
                    <a:pt x="796" y="711"/>
                  </a:lnTo>
                  <a:lnTo>
                    <a:pt x="796" y="711"/>
                  </a:lnTo>
                  <a:lnTo>
                    <a:pt x="796" y="708"/>
                  </a:lnTo>
                  <a:lnTo>
                    <a:pt x="793" y="708"/>
                  </a:lnTo>
                  <a:lnTo>
                    <a:pt x="793" y="708"/>
                  </a:lnTo>
                  <a:lnTo>
                    <a:pt x="793" y="705"/>
                  </a:lnTo>
                  <a:lnTo>
                    <a:pt x="793" y="705"/>
                  </a:lnTo>
                  <a:lnTo>
                    <a:pt x="793" y="705"/>
                  </a:lnTo>
                  <a:lnTo>
                    <a:pt x="793" y="703"/>
                  </a:lnTo>
                  <a:lnTo>
                    <a:pt x="793" y="703"/>
                  </a:lnTo>
                  <a:lnTo>
                    <a:pt x="791" y="700"/>
                  </a:lnTo>
                  <a:lnTo>
                    <a:pt x="791" y="697"/>
                  </a:lnTo>
                  <a:lnTo>
                    <a:pt x="791" y="695"/>
                  </a:lnTo>
                  <a:lnTo>
                    <a:pt x="799" y="695"/>
                  </a:lnTo>
                  <a:lnTo>
                    <a:pt x="799" y="692"/>
                  </a:lnTo>
                  <a:lnTo>
                    <a:pt x="801" y="689"/>
                  </a:lnTo>
                  <a:lnTo>
                    <a:pt x="801" y="689"/>
                  </a:lnTo>
                  <a:lnTo>
                    <a:pt x="801" y="687"/>
                  </a:lnTo>
                  <a:lnTo>
                    <a:pt x="801" y="687"/>
                  </a:lnTo>
                  <a:lnTo>
                    <a:pt x="801" y="684"/>
                  </a:lnTo>
                  <a:lnTo>
                    <a:pt x="801" y="684"/>
                  </a:lnTo>
                  <a:lnTo>
                    <a:pt x="801" y="684"/>
                  </a:lnTo>
                  <a:lnTo>
                    <a:pt x="801" y="681"/>
                  </a:lnTo>
                  <a:lnTo>
                    <a:pt x="801" y="681"/>
                  </a:lnTo>
                  <a:lnTo>
                    <a:pt x="801" y="681"/>
                  </a:lnTo>
                  <a:lnTo>
                    <a:pt x="801" y="679"/>
                  </a:lnTo>
                  <a:lnTo>
                    <a:pt x="801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9"/>
                  </a:lnTo>
                  <a:lnTo>
                    <a:pt x="799" y="676"/>
                  </a:lnTo>
                  <a:lnTo>
                    <a:pt x="799" y="676"/>
                  </a:lnTo>
                  <a:lnTo>
                    <a:pt x="799" y="676"/>
                  </a:lnTo>
                  <a:lnTo>
                    <a:pt x="799" y="673"/>
                  </a:lnTo>
                  <a:lnTo>
                    <a:pt x="799" y="673"/>
                  </a:lnTo>
                  <a:lnTo>
                    <a:pt x="799" y="671"/>
                  </a:lnTo>
                  <a:lnTo>
                    <a:pt x="799" y="671"/>
                  </a:lnTo>
                  <a:lnTo>
                    <a:pt x="801" y="671"/>
                  </a:lnTo>
                  <a:lnTo>
                    <a:pt x="801" y="671"/>
                  </a:lnTo>
                  <a:lnTo>
                    <a:pt x="801" y="668"/>
                  </a:lnTo>
                  <a:lnTo>
                    <a:pt x="801" y="668"/>
                  </a:lnTo>
                  <a:lnTo>
                    <a:pt x="801" y="668"/>
                  </a:lnTo>
                  <a:lnTo>
                    <a:pt x="804" y="668"/>
                  </a:lnTo>
                  <a:lnTo>
                    <a:pt x="804" y="668"/>
                  </a:lnTo>
                  <a:lnTo>
                    <a:pt x="804" y="668"/>
                  </a:lnTo>
                  <a:lnTo>
                    <a:pt x="807" y="671"/>
                  </a:lnTo>
                  <a:lnTo>
                    <a:pt x="807" y="671"/>
                  </a:lnTo>
                  <a:lnTo>
                    <a:pt x="807" y="671"/>
                  </a:lnTo>
                  <a:lnTo>
                    <a:pt x="809" y="668"/>
                  </a:lnTo>
                  <a:lnTo>
                    <a:pt x="809" y="668"/>
                  </a:lnTo>
                  <a:lnTo>
                    <a:pt x="812" y="668"/>
                  </a:lnTo>
                  <a:lnTo>
                    <a:pt x="812" y="668"/>
                  </a:lnTo>
                  <a:lnTo>
                    <a:pt x="812" y="668"/>
                  </a:lnTo>
                  <a:lnTo>
                    <a:pt x="812" y="665"/>
                  </a:lnTo>
                  <a:lnTo>
                    <a:pt x="812" y="665"/>
                  </a:lnTo>
                  <a:lnTo>
                    <a:pt x="812" y="662"/>
                  </a:lnTo>
                  <a:lnTo>
                    <a:pt x="815" y="662"/>
                  </a:lnTo>
                  <a:lnTo>
                    <a:pt x="815" y="660"/>
                  </a:lnTo>
                  <a:lnTo>
                    <a:pt x="812" y="660"/>
                  </a:lnTo>
                  <a:lnTo>
                    <a:pt x="812" y="660"/>
                  </a:lnTo>
                  <a:lnTo>
                    <a:pt x="812" y="660"/>
                  </a:lnTo>
                  <a:lnTo>
                    <a:pt x="809" y="657"/>
                  </a:lnTo>
                  <a:lnTo>
                    <a:pt x="809" y="657"/>
                  </a:lnTo>
                  <a:lnTo>
                    <a:pt x="807" y="657"/>
                  </a:lnTo>
                  <a:lnTo>
                    <a:pt x="807" y="654"/>
                  </a:lnTo>
                  <a:lnTo>
                    <a:pt x="807" y="654"/>
                  </a:lnTo>
                  <a:lnTo>
                    <a:pt x="804" y="652"/>
                  </a:lnTo>
                  <a:lnTo>
                    <a:pt x="804" y="649"/>
                  </a:lnTo>
                  <a:lnTo>
                    <a:pt x="804" y="649"/>
                  </a:lnTo>
                  <a:lnTo>
                    <a:pt x="801" y="649"/>
                  </a:lnTo>
                  <a:lnTo>
                    <a:pt x="801" y="646"/>
                  </a:lnTo>
                  <a:lnTo>
                    <a:pt x="801" y="646"/>
                  </a:lnTo>
                  <a:lnTo>
                    <a:pt x="804" y="646"/>
                  </a:lnTo>
                  <a:lnTo>
                    <a:pt x="804" y="644"/>
                  </a:lnTo>
                  <a:lnTo>
                    <a:pt x="804" y="644"/>
                  </a:lnTo>
                  <a:lnTo>
                    <a:pt x="804" y="641"/>
                  </a:lnTo>
                  <a:lnTo>
                    <a:pt x="804" y="641"/>
                  </a:lnTo>
                  <a:lnTo>
                    <a:pt x="807" y="638"/>
                  </a:lnTo>
                  <a:lnTo>
                    <a:pt x="807" y="638"/>
                  </a:lnTo>
                  <a:lnTo>
                    <a:pt x="807" y="638"/>
                  </a:lnTo>
                  <a:lnTo>
                    <a:pt x="807" y="636"/>
                  </a:lnTo>
                  <a:lnTo>
                    <a:pt x="807" y="636"/>
                  </a:lnTo>
                  <a:lnTo>
                    <a:pt x="807" y="633"/>
                  </a:lnTo>
                  <a:lnTo>
                    <a:pt x="807" y="633"/>
                  </a:lnTo>
                  <a:lnTo>
                    <a:pt x="804" y="630"/>
                  </a:lnTo>
                  <a:lnTo>
                    <a:pt x="804" y="628"/>
                  </a:lnTo>
                  <a:lnTo>
                    <a:pt x="804" y="628"/>
                  </a:lnTo>
                  <a:lnTo>
                    <a:pt x="807" y="625"/>
                  </a:lnTo>
                  <a:lnTo>
                    <a:pt x="807" y="622"/>
                  </a:lnTo>
                  <a:lnTo>
                    <a:pt x="807" y="620"/>
                  </a:lnTo>
                  <a:lnTo>
                    <a:pt x="807" y="617"/>
                  </a:lnTo>
                  <a:lnTo>
                    <a:pt x="809" y="617"/>
                  </a:lnTo>
                  <a:lnTo>
                    <a:pt x="809" y="614"/>
                  </a:lnTo>
                  <a:lnTo>
                    <a:pt x="812" y="612"/>
                  </a:lnTo>
                  <a:lnTo>
                    <a:pt x="812" y="612"/>
                  </a:lnTo>
                  <a:lnTo>
                    <a:pt x="809" y="609"/>
                  </a:lnTo>
                  <a:lnTo>
                    <a:pt x="807" y="609"/>
                  </a:lnTo>
                  <a:lnTo>
                    <a:pt x="807" y="606"/>
                  </a:lnTo>
                  <a:lnTo>
                    <a:pt x="807" y="606"/>
                  </a:lnTo>
                  <a:lnTo>
                    <a:pt x="807" y="604"/>
                  </a:lnTo>
                  <a:lnTo>
                    <a:pt x="804" y="604"/>
                  </a:lnTo>
                  <a:lnTo>
                    <a:pt x="804" y="601"/>
                  </a:lnTo>
                  <a:lnTo>
                    <a:pt x="801" y="598"/>
                  </a:lnTo>
                  <a:lnTo>
                    <a:pt x="801" y="598"/>
                  </a:lnTo>
                  <a:lnTo>
                    <a:pt x="804" y="596"/>
                  </a:lnTo>
                  <a:lnTo>
                    <a:pt x="804" y="596"/>
                  </a:lnTo>
                  <a:lnTo>
                    <a:pt x="807" y="596"/>
                  </a:lnTo>
                  <a:lnTo>
                    <a:pt x="807" y="596"/>
                  </a:lnTo>
                  <a:lnTo>
                    <a:pt x="809" y="596"/>
                  </a:lnTo>
                  <a:lnTo>
                    <a:pt x="809" y="598"/>
                  </a:lnTo>
                  <a:lnTo>
                    <a:pt x="809" y="598"/>
                  </a:lnTo>
                  <a:lnTo>
                    <a:pt x="809" y="601"/>
                  </a:lnTo>
                  <a:lnTo>
                    <a:pt x="812" y="598"/>
                  </a:lnTo>
                  <a:lnTo>
                    <a:pt x="812" y="598"/>
                  </a:lnTo>
                  <a:lnTo>
                    <a:pt x="812" y="601"/>
                  </a:lnTo>
                  <a:lnTo>
                    <a:pt x="812" y="601"/>
                  </a:lnTo>
                  <a:lnTo>
                    <a:pt x="815" y="601"/>
                  </a:lnTo>
                  <a:lnTo>
                    <a:pt x="815" y="601"/>
                  </a:lnTo>
                  <a:lnTo>
                    <a:pt x="817" y="601"/>
                  </a:lnTo>
                  <a:lnTo>
                    <a:pt x="820" y="604"/>
                  </a:lnTo>
                  <a:lnTo>
                    <a:pt x="820" y="604"/>
                  </a:lnTo>
                  <a:lnTo>
                    <a:pt x="820" y="606"/>
                  </a:lnTo>
                  <a:lnTo>
                    <a:pt x="823" y="606"/>
                  </a:lnTo>
                  <a:lnTo>
                    <a:pt x="823" y="606"/>
                  </a:lnTo>
                  <a:lnTo>
                    <a:pt x="823" y="604"/>
                  </a:lnTo>
                  <a:lnTo>
                    <a:pt x="825" y="604"/>
                  </a:lnTo>
                  <a:lnTo>
                    <a:pt x="825" y="604"/>
                  </a:lnTo>
                  <a:lnTo>
                    <a:pt x="825" y="601"/>
                  </a:lnTo>
                  <a:lnTo>
                    <a:pt x="825" y="598"/>
                  </a:lnTo>
                  <a:lnTo>
                    <a:pt x="828" y="598"/>
                  </a:lnTo>
                  <a:lnTo>
                    <a:pt x="828" y="598"/>
                  </a:lnTo>
                  <a:lnTo>
                    <a:pt x="831" y="598"/>
                  </a:lnTo>
                  <a:lnTo>
                    <a:pt x="833" y="598"/>
                  </a:lnTo>
                  <a:lnTo>
                    <a:pt x="833" y="601"/>
                  </a:lnTo>
                  <a:lnTo>
                    <a:pt x="833" y="604"/>
                  </a:lnTo>
                  <a:lnTo>
                    <a:pt x="836" y="604"/>
                  </a:lnTo>
                  <a:lnTo>
                    <a:pt x="836" y="606"/>
                  </a:lnTo>
                  <a:lnTo>
                    <a:pt x="836" y="606"/>
                  </a:lnTo>
                  <a:lnTo>
                    <a:pt x="839" y="606"/>
                  </a:lnTo>
                  <a:lnTo>
                    <a:pt x="841" y="606"/>
                  </a:lnTo>
                  <a:lnTo>
                    <a:pt x="841" y="606"/>
                  </a:lnTo>
                  <a:lnTo>
                    <a:pt x="844" y="606"/>
                  </a:lnTo>
                  <a:lnTo>
                    <a:pt x="844" y="604"/>
                  </a:lnTo>
                  <a:lnTo>
                    <a:pt x="847" y="604"/>
                  </a:lnTo>
                  <a:lnTo>
                    <a:pt x="847" y="601"/>
                  </a:lnTo>
                  <a:lnTo>
                    <a:pt x="847" y="598"/>
                  </a:lnTo>
                  <a:lnTo>
                    <a:pt x="847" y="596"/>
                  </a:lnTo>
                  <a:lnTo>
                    <a:pt x="847" y="596"/>
                  </a:lnTo>
                  <a:lnTo>
                    <a:pt x="849" y="593"/>
                  </a:lnTo>
                  <a:lnTo>
                    <a:pt x="849" y="593"/>
                  </a:lnTo>
                  <a:lnTo>
                    <a:pt x="852" y="590"/>
                  </a:lnTo>
                  <a:lnTo>
                    <a:pt x="855" y="590"/>
                  </a:lnTo>
                  <a:lnTo>
                    <a:pt x="855" y="590"/>
                  </a:lnTo>
                  <a:lnTo>
                    <a:pt x="857" y="593"/>
                  </a:lnTo>
                  <a:lnTo>
                    <a:pt x="857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0" y="590"/>
                  </a:lnTo>
                  <a:lnTo>
                    <a:pt x="863" y="590"/>
                  </a:lnTo>
                  <a:lnTo>
                    <a:pt x="863" y="590"/>
                  </a:lnTo>
                  <a:lnTo>
                    <a:pt x="865" y="590"/>
                  </a:lnTo>
                  <a:lnTo>
                    <a:pt x="868" y="590"/>
                  </a:lnTo>
                  <a:lnTo>
                    <a:pt x="871" y="588"/>
                  </a:lnTo>
                  <a:lnTo>
                    <a:pt x="871" y="588"/>
                  </a:lnTo>
                  <a:lnTo>
                    <a:pt x="873" y="588"/>
                  </a:lnTo>
                  <a:lnTo>
                    <a:pt x="876" y="588"/>
                  </a:lnTo>
                  <a:lnTo>
                    <a:pt x="876" y="588"/>
                  </a:lnTo>
                  <a:lnTo>
                    <a:pt x="876" y="585"/>
                  </a:lnTo>
                  <a:lnTo>
                    <a:pt x="879" y="582"/>
                  </a:lnTo>
                  <a:lnTo>
                    <a:pt x="876" y="582"/>
                  </a:lnTo>
                  <a:lnTo>
                    <a:pt x="876" y="580"/>
                  </a:lnTo>
                  <a:lnTo>
                    <a:pt x="876" y="577"/>
                  </a:lnTo>
                  <a:lnTo>
                    <a:pt x="876" y="577"/>
                  </a:lnTo>
                  <a:lnTo>
                    <a:pt x="876" y="574"/>
                  </a:lnTo>
                  <a:lnTo>
                    <a:pt x="879" y="572"/>
                  </a:lnTo>
                  <a:lnTo>
                    <a:pt x="879" y="569"/>
                  </a:lnTo>
                  <a:lnTo>
                    <a:pt x="879" y="566"/>
                  </a:lnTo>
                  <a:lnTo>
                    <a:pt x="879" y="564"/>
                  </a:lnTo>
                  <a:lnTo>
                    <a:pt x="879" y="564"/>
                  </a:lnTo>
                  <a:lnTo>
                    <a:pt x="879" y="55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3" name="Freeform 8889">
              <a:extLst>
                <a:ext uri="{FF2B5EF4-FFF2-40B4-BE49-F238E27FC236}">
                  <a16:creationId xmlns:a16="http://schemas.microsoft.com/office/drawing/2014/main" id="{3EB7CA0E-AAB6-B542-9DD1-4AFC2D8DC47C}"/>
                </a:ext>
              </a:extLst>
            </p:cNvPr>
            <p:cNvSpPr/>
            <p:nvPr/>
          </p:nvSpPr>
          <p:spPr bwMode="auto">
            <a:xfrm>
              <a:off x="10378278" y="4311651"/>
              <a:ext cx="733424" cy="1128713"/>
            </a:xfrm>
            <a:custGeom>
              <a:avLst/>
              <a:gdLst>
                <a:gd name="T0" fmla="*/ 288 w 462"/>
                <a:gd name="T1" fmla="*/ 524 h 711"/>
                <a:gd name="T2" fmla="*/ 269 w 462"/>
                <a:gd name="T3" fmla="*/ 505 h 711"/>
                <a:gd name="T4" fmla="*/ 245 w 462"/>
                <a:gd name="T5" fmla="*/ 476 h 711"/>
                <a:gd name="T6" fmla="*/ 237 w 462"/>
                <a:gd name="T7" fmla="*/ 444 h 711"/>
                <a:gd name="T8" fmla="*/ 216 w 462"/>
                <a:gd name="T9" fmla="*/ 404 h 711"/>
                <a:gd name="T10" fmla="*/ 181 w 462"/>
                <a:gd name="T11" fmla="*/ 348 h 711"/>
                <a:gd name="T12" fmla="*/ 157 w 462"/>
                <a:gd name="T13" fmla="*/ 294 h 711"/>
                <a:gd name="T14" fmla="*/ 131 w 462"/>
                <a:gd name="T15" fmla="*/ 262 h 711"/>
                <a:gd name="T16" fmla="*/ 99 w 462"/>
                <a:gd name="T17" fmla="*/ 251 h 711"/>
                <a:gd name="T18" fmla="*/ 88 w 462"/>
                <a:gd name="T19" fmla="*/ 241 h 711"/>
                <a:gd name="T20" fmla="*/ 69 w 462"/>
                <a:gd name="T21" fmla="*/ 211 h 711"/>
                <a:gd name="T22" fmla="*/ 58 w 462"/>
                <a:gd name="T23" fmla="*/ 174 h 711"/>
                <a:gd name="T24" fmla="*/ 45 w 462"/>
                <a:gd name="T25" fmla="*/ 139 h 711"/>
                <a:gd name="T26" fmla="*/ 21 w 462"/>
                <a:gd name="T27" fmla="*/ 115 h 711"/>
                <a:gd name="T28" fmla="*/ 37 w 462"/>
                <a:gd name="T29" fmla="*/ 91 h 711"/>
                <a:gd name="T30" fmla="*/ 53 w 462"/>
                <a:gd name="T31" fmla="*/ 80 h 711"/>
                <a:gd name="T32" fmla="*/ 45 w 462"/>
                <a:gd name="T33" fmla="*/ 75 h 711"/>
                <a:gd name="T34" fmla="*/ 50 w 462"/>
                <a:gd name="T35" fmla="*/ 51 h 711"/>
                <a:gd name="T36" fmla="*/ 42 w 462"/>
                <a:gd name="T37" fmla="*/ 48 h 711"/>
                <a:gd name="T38" fmla="*/ 10 w 462"/>
                <a:gd name="T39" fmla="*/ 27 h 711"/>
                <a:gd name="T40" fmla="*/ 8 w 462"/>
                <a:gd name="T41" fmla="*/ 19 h 711"/>
                <a:gd name="T42" fmla="*/ 16 w 462"/>
                <a:gd name="T43" fmla="*/ 11 h 711"/>
                <a:gd name="T44" fmla="*/ 34 w 462"/>
                <a:gd name="T45" fmla="*/ 11 h 711"/>
                <a:gd name="T46" fmla="*/ 50 w 462"/>
                <a:gd name="T47" fmla="*/ 38 h 711"/>
                <a:gd name="T48" fmla="*/ 64 w 462"/>
                <a:gd name="T49" fmla="*/ 54 h 711"/>
                <a:gd name="T50" fmla="*/ 72 w 462"/>
                <a:gd name="T51" fmla="*/ 62 h 711"/>
                <a:gd name="T52" fmla="*/ 85 w 462"/>
                <a:gd name="T53" fmla="*/ 70 h 711"/>
                <a:gd name="T54" fmla="*/ 109 w 462"/>
                <a:gd name="T55" fmla="*/ 94 h 711"/>
                <a:gd name="T56" fmla="*/ 141 w 462"/>
                <a:gd name="T57" fmla="*/ 145 h 711"/>
                <a:gd name="T58" fmla="*/ 160 w 462"/>
                <a:gd name="T59" fmla="*/ 185 h 711"/>
                <a:gd name="T60" fmla="*/ 155 w 462"/>
                <a:gd name="T61" fmla="*/ 187 h 711"/>
                <a:gd name="T62" fmla="*/ 187 w 462"/>
                <a:gd name="T63" fmla="*/ 209 h 711"/>
                <a:gd name="T64" fmla="*/ 205 w 462"/>
                <a:gd name="T65" fmla="*/ 235 h 711"/>
                <a:gd name="T66" fmla="*/ 240 w 462"/>
                <a:gd name="T67" fmla="*/ 265 h 711"/>
                <a:gd name="T68" fmla="*/ 280 w 462"/>
                <a:gd name="T69" fmla="*/ 310 h 711"/>
                <a:gd name="T70" fmla="*/ 318 w 462"/>
                <a:gd name="T71" fmla="*/ 340 h 711"/>
                <a:gd name="T72" fmla="*/ 347 w 462"/>
                <a:gd name="T73" fmla="*/ 369 h 711"/>
                <a:gd name="T74" fmla="*/ 390 w 462"/>
                <a:gd name="T75" fmla="*/ 388 h 711"/>
                <a:gd name="T76" fmla="*/ 400 w 462"/>
                <a:gd name="T77" fmla="*/ 406 h 711"/>
                <a:gd name="T78" fmla="*/ 360 w 462"/>
                <a:gd name="T79" fmla="*/ 385 h 711"/>
                <a:gd name="T80" fmla="*/ 323 w 462"/>
                <a:gd name="T81" fmla="*/ 382 h 711"/>
                <a:gd name="T82" fmla="*/ 293 w 462"/>
                <a:gd name="T83" fmla="*/ 404 h 711"/>
                <a:gd name="T84" fmla="*/ 296 w 462"/>
                <a:gd name="T85" fmla="*/ 439 h 711"/>
                <a:gd name="T86" fmla="*/ 307 w 462"/>
                <a:gd name="T87" fmla="*/ 489 h 711"/>
                <a:gd name="T88" fmla="*/ 320 w 462"/>
                <a:gd name="T89" fmla="*/ 535 h 711"/>
                <a:gd name="T90" fmla="*/ 360 w 462"/>
                <a:gd name="T91" fmla="*/ 567 h 711"/>
                <a:gd name="T92" fmla="*/ 387 w 462"/>
                <a:gd name="T93" fmla="*/ 583 h 711"/>
                <a:gd name="T94" fmla="*/ 419 w 462"/>
                <a:gd name="T95" fmla="*/ 596 h 711"/>
                <a:gd name="T96" fmla="*/ 438 w 462"/>
                <a:gd name="T97" fmla="*/ 610 h 711"/>
                <a:gd name="T98" fmla="*/ 454 w 462"/>
                <a:gd name="T99" fmla="*/ 631 h 711"/>
                <a:gd name="T100" fmla="*/ 459 w 462"/>
                <a:gd name="T101" fmla="*/ 650 h 711"/>
                <a:gd name="T102" fmla="*/ 451 w 462"/>
                <a:gd name="T103" fmla="*/ 639 h 711"/>
                <a:gd name="T104" fmla="*/ 427 w 462"/>
                <a:gd name="T105" fmla="*/ 620 h 711"/>
                <a:gd name="T106" fmla="*/ 400 w 462"/>
                <a:gd name="T107" fmla="*/ 628 h 711"/>
                <a:gd name="T108" fmla="*/ 382 w 462"/>
                <a:gd name="T109" fmla="*/ 628 h 711"/>
                <a:gd name="T110" fmla="*/ 384 w 462"/>
                <a:gd name="T111" fmla="*/ 671 h 711"/>
                <a:gd name="T112" fmla="*/ 390 w 462"/>
                <a:gd name="T113" fmla="*/ 703 h 711"/>
                <a:gd name="T114" fmla="*/ 374 w 462"/>
                <a:gd name="T115" fmla="*/ 698 h 711"/>
                <a:gd name="T116" fmla="*/ 344 w 462"/>
                <a:gd name="T117" fmla="*/ 655 h 711"/>
                <a:gd name="T118" fmla="*/ 336 w 462"/>
                <a:gd name="T119" fmla="*/ 615 h 711"/>
                <a:gd name="T120" fmla="*/ 304 w 462"/>
                <a:gd name="T121" fmla="*/ 577 h 711"/>
                <a:gd name="T122" fmla="*/ 301 w 462"/>
                <a:gd name="T123" fmla="*/ 543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2" h="711" extrusionOk="0">
                  <a:moveTo>
                    <a:pt x="299" y="537"/>
                  </a:moveTo>
                  <a:lnTo>
                    <a:pt x="299" y="537"/>
                  </a:lnTo>
                  <a:lnTo>
                    <a:pt x="299" y="537"/>
                  </a:lnTo>
                  <a:lnTo>
                    <a:pt x="296" y="537"/>
                  </a:lnTo>
                  <a:lnTo>
                    <a:pt x="296" y="537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6" y="535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32"/>
                  </a:lnTo>
                  <a:lnTo>
                    <a:pt x="293" y="529"/>
                  </a:lnTo>
                  <a:lnTo>
                    <a:pt x="293" y="529"/>
                  </a:lnTo>
                  <a:lnTo>
                    <a:pt x="293" y="529"/>
                  </a:lnTo>
                  <a:lnTo>
                    <a:pt x="291" y="529"/>
                  </a:lnTo>
                  <a:lnTo>
                    <a:pt x="291" y="529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91" y="527"/>
                  </a:lnTo>
                  <a:lnTo>
                    <a:pt x="288" y="524"/>
                  </a:lnTo>
                  <a:lnTo>
                    <a:pt x="288" y="524"/>
                  </a:lnTo>
                  <a:lnTo>
                    <a:pt x="288" y="521"/>
                  </a:lnTo>
                  <a:lnTo>
                    <a:pt x="288" y="521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5" y="521"/>
                  </a:lnTo>
                  <a:lnTo>
                    <a:pt x="285" y="519"/>
                  </a:lnTo>
                  <a:lnTo>
                    <a:pt x="285" y="519"/>
                  </a:lnTo>
                  <a:lnTo>
                    <a:pt x="283" y="516"/>
                  </a:lnTo>
                  <a:lnTo>
                    <a:pt x="283" y="516"/>
                  </a:lnTo>
                  <a:lnTo>
                    <a:pt x="280" y="513"/>
                  </a:lnTo>
                  <a:lnTo>
                    <a:pt x="280" y="513"/>
                  </a:lnTo>
                  <a:lnTo>
                    <a:pt x="280" y="513"/>
                  </a:lnTo>
                  <a:lnTo>
                    <a:pt x="277" y="513"/>
                  </a:lnTo>
                  <a:lnTo>
                    <a:pt x="277" y="511"/>
                  </a:lnTo>
                  <a:lnTo>
                    <a:pt x="275" y="511"/>
                  </a:lnTo>
                  <a:lnTo>
                    <a:pt x="275" y="508"/>
                  </a:lnTo>
                  <a:lnTo>
                    <a:pt x="275" y="508"/>
                  </a:lnTo>
                  <a:lnTo>
                    <a:pt x="272" y="508"/>
                  </a:lnTo>
                  <a:lnTo>
                    <a:pt x="269" y="508"/>
                  </a:lnTo>
                  <a:lnTo>
                    <a:pt x="269" y="508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7" y="505"/>
                  </a:lnTo>
                  <a:lnTo>
                    <a:pt x="264" y="505"/>
                  </a:lnTo>
                  <a:lnTo>
                    <a:pt x="264" y="503"/>
                  </a:lnTo>
                  <a:lnTo>
                    <a:pt x="259" y="500"/>
                  </a:lnTo>
                  <a:lnTo>
                    <a:pt x="256" y="500"/>
                  </a:lnTo>
                  <a:lnTo>
                    <a:pt x="251" y="497"/>
                  </a:lnTo>
                  <a:lnTo>
                    <a:pt x="251" y="495"/>
                  </a:lnTo>
                  <a:lnTo>
                    <a:pt x="248" y="495"/>
                  </a:lnTo>
                  <a:lnTo>
                    <a:pt x="248" y="492"/>
                  </a:lnTo>
                  <a:lnTo>
                    <a:pt x="248" y="492"/>
                  </a:lnTo>
                  <a:lnTo>
                    <a:pt x="245" y="489"/>
                  </a:lnTo>
                  <a:lnTo>
                    <a:pt x="245" y="489"/>
                  </a:lnTo>
                  <a:lnTo>
                    <a:pt x="245" y="487"/>
                  </a:lnTo>
                  <a:lnTo>
                    <a:pt x="245" y="487"/>
                  </a:lnTo>
                  <a:lnTo>
                    <a:pt x="245" y="487"/>
                  </a:lnTo>
                  <a:lnTo>
                    <a:pt x="245" y="484"/>
                  </a:lnTo>
                  <a:lnTo>
                    <a:pt x="245" y="484"/>
                  </a:lnTo>
                  <a:lnTo>
                    <a:pt x="245" y="481"/>
                  </a:lnTo>
                  <a:lnTo>
                    <a:pt x="245" y="481"/>
                  </a:lnTo>
                  <a:lnTo>
                    <a:pt x="245" y="479"/>
                  </a:lnTo>
                  <a:lnTo>
                    <a:pt x="245" y="476"/>
                  </a:lnTo>
                  <a:lnTo>
                    <a:pt x="245" y="476"/>
                  </a:lnTo>
                  <a:lnTo>
                    <a:pt x="245" y="476"/>
                  </a:lnTo>
                  <a:lnTo>
                    <a:pt x="245" y="473"/>
                  </a:lnTo>
                  <a:lnTo>
                    <a:pt x="245" y="473"/>
                  </a:lnTo>
                  <a:lnTo>
                    <a:pt x="245" y="473"/>
                  </a:lnTo>
                  <a:lnTo>
                    <a:pt x="245" y="471"/>
                  </a:lnTo>
                  <a:lnTo>
                    <a:pt x="245" y="471"/>
                  </a:lnTo>
                  <a:lnTo>
                    <a:pt x="243" y="471"/>
                  </a:lnTo>
                  <a:lnTo>
                    <a:pt x="243" y="468"/>
                  </a:lnTo>
                  <a:lnTo>
                    <a:pt x="243" y="465"/>
                  </a:lnTo>
                  <a:lnTo>
                    <a:pt x="243" y="463"/>
                  </a:lnTo>
                  <a:lnTo>
                    <a:pt x="243" y="460"/>
                  </a:lnTo>
                  <a:lnTo>
                    <a:pt x="240" y="460"/>
                  </a:lnTo>
                  <a:lnTo>
                    <a:pt x="240" y="457"/>
                  </a:lnTo>
                  <a:lnTo>
                    <a:pt x="240" y="457"/>
                  </a:lnTo>
                  <a:lnTo>
                    <a:pt x="237" y="455"/>
                  </a:lnTo>
                  <a:lnTo>
                    <a:pt x="237" y="452"/>
                  </a:lnTo>
                  <a:lnTo>
                    <a:pt x="237" y="452"/>
                  </a:lnTo>
                  <a:lnTo>
                    <a:pt x="237" y="449"/>
                  </a:lnTo>
                  <a:lnTo>
                    <a:pt x="237" y="449"/>
                  </a:lnTo>
                  <a:lnTo>
                    <a:pt x="237" y="447"/>
                  </a:lnTo>
                  <a:lnTo>
                    <a:pt x="237" y="444"/>
                  </a:lnTo>
                  <a:lnTo>
                    <a:pt x="235" y="444"/>
                  </a:lnTo>
                  <a:lnTo>
                    <a:pt x="235" y="441"/>
                  </a:lnTo>
                  <a:lnTo>
                    <a:pt x="232" y="441"/>
                  </a:lnTo>
                  <a:lnTo>
                    <a:pt x="232" y="439"/>
                  </a:lnTo>
                  <a:lnTo>
                    <a:pt x="229" y="436"/>
                  </a:lnTo>
                  <a:lnTo>
                    <a:pt x="229" y="433"/>
                  </a:lnTo>
                  <a:lnTo>
                    <a:pt x="229" y="433"/>
                  </a:lnTo>
                  <a:lnTo>
                    <a:pt x="229" y="431"/>
                  </a:lnTo>
                  <a:lnTo>
                    <a:pt x="227" y="428"/>
                  </a:lnTo>
                  <a:lnTo>
                    <a:pt x="227" y="428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2"/>
                  </a:lnTo>
                  <a:lnTo>
                    <a:pt x="227" y="422"/>
                  </a:lnTo>
                  <a:lnTo>
                    <a:pt x="227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17"/>
                  </a:lnTo>
                  <a:lnTo>
                    <a:pt x="221" y="414"/>
                  </a:lnTo>
                  <a:lnTo>
                    <a:pt x="221" y="412"/>
                  </a:lnTo>
                  <a:lnTo>
                    <a:pt x="219" y="406"/>
                  </a:lnTo>
                  <a:lnTo>
                    <a:pt x="216" y="404"/>
                  </a:lnTo>
                  <a:lnTo>
                    <a:pt x="216" y="401"/>
                  </a:lnTo>
                  <a:lnTo>
                    <a:pt x="213" y="398"/>
                  </a:lnTo>
                  <a:lnTo>
                    <a:pt x="213" y="396"/>
                  </a:lnTo>
                  <a:lnTo>
                    <a:pt x="211" y="396"/>
                  </a:lnTo>
                  <a:lnTo>
                    <a:pt x="211" y="390"/>
                  </a:lnTo>
                  <a:lnTo>
                    <a:pt x="208" y="390"/>
                  </a:lnTo>
                  <a:lnTo>
                    <a:pt x="208" y="388"/>
                  </a:lnTo>
                  <a:lnTo>
                    <a:pt x="205" y="385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0"/>
                  </a:lnTo>
                  <a:lnTo>
                    <a:pt x="200" y="377"/>
                  </a:lnTo>
                  <a:lnTo>
                    <a:pt x="200" y="372"/>
                  </a:lnTo>
                  <a:lnTo>
                    <a:pt x="195" y="366"/>
                  </a:lnTo>
                  <a:lnTo>
                    <a:pt x="195" y="364"/>
                  </a:lnTo>
                  <a:lnTo>
                    <a:pt x="192" y="361"/>
                  </a:lnTo>
                  <a:lnTo>
                    <a:pt x="189" y="358"/>
                  </a:lnTo>
                  <a:lnTo>
                    <a:pt x="187" y="356"/>
                  </a:lnTo>
                  <a:lnTo>
                    <a:pt x="187" y="353"/>
                  </a:lnTo>
                  <a:lnTo>
                    <a:pt x="187" y="353"/>
                  </a:lnTo>
                  <a:lnTo>
                    <a:pt x="184" y="350"/>
                  </a:lnTo>
                  <a:lnTo>
                    <a:pt x="181" y="348"/>
                  </a:lnTo>
                  <a:lnTo>
                    <a:pt x="179" y="345"/>
                  </a:lnTo>
                  <a:lnTo>
                    <a:pt x="176" y="342"/>
                  </a:lnTo>
                  <a:lnTo>
                    <a:pt x="173" y="342"/>
                  </a:lnTo>
                  <a:lnTo>
                    <a:pt x="171" y="337"/>
                  </a:lnTo>
                  <a:lnTo>
                    <a:pt x="168" y="334"/>
                  </a:lnTo>
                  <a:lnTo>
                    <a:pt x="168" y="332"/>
                  </a:lnTo>
                  <a:lnTo>
                    <a:pt x="168" y="332"/>
                  </a:lnTo>
                  <a:lnTo>
                    <a:pt x="168" y="332"/>
                  </a:lnTo>
                  <a:lnTo>
                    <a:pt x="165" y="329"/>
                  </a:lnTo>
                  <a:lnTo>
                    <a:pt x="165" y="326"/>
                  </a:lnTo>
                  <a:lnTo>
                    <a:pt x="165" y="324"/>
                  </a:lnTo>
                  <a:lnTo>
                    <a:pt x="165" y="321"/>
                  </a:lnTo>
                  <a:lnTo>
                    <a:pt x="160" y="318"/>
                  </a:lnTo>
                  <a:lnTo>
                    <a:pt x="160" y="316"/>
                  </a:lnTo>
                  <a:lnTo>
                    <a:pt x="160" y="313"/>
                  </a:lnTo>
                  <a:lnTo>
                    <a:pt x="160" y="308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0"/>
                  </a:lnTo>
                  <a:lnTo>
                    <a:pt x="160" y="297"/>
                  </a:lnTo>
                  <a:lnTo>
                    <a:pt x="160" y="294"/>
                  </a:lnTo>
                  <a:lnTo>
                    <a:pt x="157" y="294"/>
                  </a:lnTo>
                  <a:lnTo>
                    <a:pt x="157" y="289"/>
                  </a:lnTo>
                  <a:lnTo>
                    <a:pt x="157" y="286"/>
                  </a:lnTo>
                  <a:lnTo>
                    <a:pt x="155" y="286"/>
                  </a:lnTo>
                  <a:lnTo>
                    <a:pt x="152" y="284"/>
                  </a:lnTo>
                  <a:lnTo>
                    <a:pt x="152" y="281"/>
                  </a:lnTo>
                  <a:lnTo>
                    <a:pt x="149" y="281"/>
                  </a:lnTo>
                  <a:lnTo>
                    <a:pt x="147" y="281"/>
                  </a:lnTo>
                  <a:lnTo>
                    <a:pt x="147" y="278"/>
                  </a:lnTo>
                  <a:lnTo>
                    <a:pt x="144" y="278"/>
                  </a:lnTo>
                  <a:lnTo>
                    <a:pt x="144" y="278"/>
                  </a:lnTo>
                  <a:lnTo>
                    <a:pt x="141" y="276"/>
                  </a:lnTo>
                  <a:lnTo>
                    <a:pt x="144" y="276"/>
                  </a:lnTo>
                  <a:lnTo>
                    <a:pt x="141" y="273"/>
                  </a:lnTo>
                  <a:lnTo>
                    <a:pt x="139" y="273"/>
                  </a:lnTo>
                  <a:lnTo>
                    <a:pt x="139" y="270"/>
                  </a:lnTo>
                  <a:lnTo>
                    <a:pt x="136" y="270"/>
                  </a:lnTo>
                  <a:lnTo>
                    <a:pt x="133" y="270"/>
                  </a:lnTo>
                  <a:lnTo>
                    <a:pt x="133" y="268"/>
                  </a:lnTo>
                  <a:lnTo>
                    <a:pt x="131" y="268"/>
                  </a:lnTo>
                  <a:lnTo>
                    <a:pt x="131" y="265"/>
                  </a:lnTo>
                  <a:lnTo>
                    <a:pt x="131" y="265"/>
                  </a:lnTo>
                  <a:lnTo>
                    <a:pt x="131" y="262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25" y="259"/>
                  </a:lnTo>
                  <a:lnTo>
                    <a:pt x="123" y="259"/>
                  </a:lnTo>
                  <a:lnTo>
                    <a:pt x="120" y="259"/>
                  </a:lnTo>
                  <a:lnTo>
                    <a:pt x="117" y="259"/>
                  </a:lnTo>
                  <a:lnTo>
                    <a:pt x="117" y="259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5" y="257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2" y="254"/>
                  </a:lnTo>
                  <a:lnTo>
                    <a:pt x="112" y="254"/>
                  </a:lnTo>
                  <a:lnTo>
                    <a:pt x="112" y="257"/>
                  </a:lnTo>
                  <a:lnTo>
                    <a:pt x="109" y="254"/>
                  </a:lnTo>
                  <a:lnTo>
                    <a:pt x="101" y="251"/>
                  </a:lnTo>
                  <a:lnTo>
                    <a:pt x="101" y="251"/>
                  </a:lnTo>
                  <a:lnTo>
                    <a:pt x="99" y="254"/>
                  </a:lnTo>
                  <a:lnTo>
                    <a:pt x="96" y="251"/>
                  </a:lnTo>
                  <a:lnTo>
                    <a:pt x="96" y="251"/>
                  </a:lnTo>
                  <a:lnTo>
                    <a:pt x="99" y="251"/>
                  </a:lnTo>
                  <a:lnTo>
                    <a:pt x="99" y="251"/>
                  </a:lnTo>
                  <a:lnTo>
                    <a:pt x="101" y="251"/>
                  </a:lnTo>
                  <a:lnTo>
                    <a:pt x="101" y="251"/>
                  </a:lnTo>
                  <a:lnTo>
                    <a:pt x="104" y="249"/>
                  </a:lnTo>
                  <a:lnTo>
                    <a:pt x="101" y="249"/>
                  </a:lnTo>
                  <a:lnTo>
                    <a:pt x="104" y="249"/>
                  </a:lnTo>
                  <a:lnTo>
                    <a:pt x="104" y="246"/>
                  </a:lnTo>
                  <a:lnTo>
                    <a:pt x="104" y="246"/>
                  </a:lnTo>
                  <a:lnTo>
                    <a:pt x="101" y="246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3" y="241"/>
                  </a:lnTo>
                  <a:lnTo>
                    <a:pt x="93" y="241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88" y="241"/>
                  </a:lnTo>
                  <a:lnTo>
                    <a:pt x="85" y="241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5" y="235"/>
                  </a:lnTo>
                  <a:lnTo>
                    <a:pt x="85" y="235"/>
                  </a:lnTo>
                  <a:lnTo>
                    <a:pt x="85" y="233"/>
                  </a:lnTo>
                  <a:lnTo>
                    <a:pt x="85" y="233"/>
                  </a:lnTo>
                  <a:lnTo>
                    <a:pt x="83" y="230"/>
                  </a:lnTo>
                  <a:lnTo>
                    <a:pt x="83" y="230"/>
                  </a:lnTo>
                  <a:lnTo>
                    <a:pt x="80" y="230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2"/>
                  </a:lnTo>
                  <a:lnTo>
                    <a:pt x="75" y="219"/>
                  </a:lnTo>
                  <a:lnTo>
                    <a:pt x="75" y="217"/>
                  </a:lnTo>
                  <a:lnTo>
                    <a:pt x="75" y="217"/>
                  </a:lnTo>
                  <a:lnTo>
                    <a:pt x="75" y="214"/>
                  </a:lnTo>
                  <a:lnTo>
                    <a:pt x="72" y="214"/>
                  </a:lnTo>
                  <a:lnTo>
                    <a:pt x="72" y="211"/>
                  </a:lnTo>
                  <a:lnTo>
                    <a:pt x="69" y="211"/>
                  </a:lnTo>
                  <a:lnTo>
                    <a:pt x="69" y="209"/>
                  </a:lnTo>
                  <a:lnTo>
                    <a:pt x="69" y="209"/>
                  </a:lnTo>
                  <a:lnTo>
                    <a:pt x="67" y="206"/>
                  </a:lnTo>
                  <a:lnTo>
                    <a:pt x="67" y="206"/>
                  </a:lnTo>
                  <a:lnTo>
                    <a:pt x="64" y="203"/>
                  </a:lnTo>
                  <a:lnTo>
                    <a:pt x="64" y="201"/>
                  </a:lnTo>
                  <a:lnTo>
                    <a:pt x="64" y="201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5"/>
                  </a:lnTo>
                  <a:lnTo>
                    <a:pt x="64" y="195"/>
                  </a:lnTo>
                  <a:lnTo>
                    <a:pt x="64" y="193"/>
                  </a:lnTo>
                  <a:lnTo>
                    <a:pt x="64" y="190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2"/>
                  </a:lnTo>
                  <a:lnTo>
                    <a:pt x="64" y="179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58" y="174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3" y="163"/>
                  </a:lnTo>
                  <a:lnTo>
                    <a:pt x="53" y="163"/>
                  </a:lnTo>
                  <a:lnTo>
                    <a:pt x="53" y="161"/>
                  </a:lnTo>
                  <a:lnTo>
                    <a:pt x="53" y="161"/>
                  </a:lnTo>
                  <a:lnTo>
                    <a:pt x="53" y="158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7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7" y="131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6" y="121"/>
                  </a:lnTo>
                  <a:lnTo>
                    <a:pt x="24" y="121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18" y="113"/>
                  </a:lnTo>
                  <a:lnTo>
                    <a:pt x="18" y="110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4" y="102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6"/>
                  </a:lnTo>
                  <a:lnTo>
                    <a:pt x="29" y="96"/>
                  </a:lnTo>
                  <a:lnTo>
                    <a:pt x="29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4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4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40" y="91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3" y="83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8" y="78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0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5" y="67"/>
                  </a:lnTo>
                  <a:lnTo>
                    <a:pt x="45" y="64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3" y="67"/>
                  </a:lnTo>
                  <a:lnTo>
                    <a:pt x="56" y="64"/>
                  </a:lnTo>
                  <a:lnTo>
                    <a:pt x="56" y="62"/>
                  </a:lnTo>
                  <a:lnTo>
                    <a:pt x="56" y="59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8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51"/>
                  </a:lnTo>
                  <a:lnTo>
                    <a:pt x="48" y="54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62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5" y="64"/>
                  </a:lnTo>
                  <a:lnTo>
                    <a:pt x="45" y="62"/>
                  </a:lnTo>
                  <a:lnTo>
                    <a:pt x="42" y="56"/>
                  </a:lnTo>
                  <a:lnTo>
                    <a:pt x="42" y="54"/>
                  </a:lnTo>
                  <a:lnTo>
                    <a:pt x="42" y="51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6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0"/>
                  </a:lnTo>
                  <a:lnTo>
                    <a:pt x="37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5"/>
                  </a:lnTo>
                  <a:lnTo>
                    <a:pt x="24" y="35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3" y="16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6"/>
                  </a:lnTo>
                  <a:lnTo>
                    <a:pt x="13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5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3"/>
                  </a:lnTo>
                  <a:lnTo>
                    <a:pt x="53" y="40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4" y="51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7" y="56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72" y="56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5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5" y="64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80" y="64"/>
                  </a:lnTo>
                  <a:lnTo>
                    <a:pt x="83" y="64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5" y="67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5"/>
                  </a:lnTo>
                  <a:lnTo>
                    <a:pt x="85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91" y="72"/>
                  </a:lnTo>
                  <a:lnTo>
                    <a:pt x="91" y="72"/>
                  </a:lnTo>
                  <a:lnTo>
                    <a:pt x="91" y="72"/>
                  </a:lnTo>
                  <a:lnTo>
                    <a:pt x="91" y="75"/>
                  </a:lnTo>
                  <a:lnTo>
                    <a:pt x="93" y="75"/>
                  </a:lnTo>
                  <a:lnTo>
                    <a:pt x="96" y="78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6"/>
                  </a:lnTo>
                  <a:lnTo>
                    <a:pt x="107" y="88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2" y="99"/>
                  </a:lnTo>
                  <a:lnTo>
                    <a:pt x="115" y="99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20" y="107"/>
                  </a:lnTo>
                  <a:lnTo>
                    <a:pt x="123" y="110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8" y="115"/>
                  </a:lnTo>
                  <a:lnTo>
                    <a:pt x="128" y="118"/>
                  </a:lnTo>
                  <a:lnTo>
                    <a:pt x="131" y="121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3" y="126"/>
                  </a:lnTo>
                  <a:lnTo>
                    <a:pt x="133" y="129"/>
                  </a:lnTo>
                  <a:lnTo>
                    <a:pt x="136" y="131"/>
                  </a:lnTo>
                  <a:lnTo>
                    <a:pt x="136" y="134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41" y="139"/>
                  </a:lnTo>
                  <a:lnTo>
                    <a:pt x="141" y="142"/>
                  </a:lnTo>
                  <a:lnTo>
                    <a:pt x="141" y="145"/>
                  </a:lnTo>
                  <a:lnTo>
                    <a:pt x="141" y="147"/>
                  </a:lnTo>
                  <a:lnTo>
                    <a:pt x="141" y="150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4" y="158"/>
                  </a:lnTo>
                  <a:lnTo>
                    <a:pt x="141" y="158"/>
                  </a:lnTo>
                  <a:lnTo>
                    <a:pt x="144" y="161"/>
                  </a:lnTo>
                  <a:lnTo>
                    <a:pt x="144" y="163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7" y="169"/>
                  </a:lnTo>
                  <a:lnTo>
                    <a:pt x="147" y="171"/>
                  </a:lnTo>
                  <a:lnTo>
                    <a:pt x="147" y="174"/>
                  </a:lnTo>
                  <a:lnTo>
                    <a:pt x="147" y="174"/>
                  </a:lnTo>
                  <a:lnTo>
                    <a:pt x="149" y="174"/>
                  </a:lnTo>
                  <a:lnTo>
                    <a:pt x="149" y="177"/>
                  </a:lnTo>
                  <a:lnTo>
                    <a:pt x="152" y="179"/>
                  </a:lnTo>
                  <a:lnTo>
                    <a:pt x="155" y="179"/>
                  </a:lnTo>
                  <a:lnTo>
                    <a:pt x="155" y="182"/>
                  </a:lnTo>
                  <a:lnTo>
                    <a:pt x="157" y="185"/>
                  </a:lnTo>
                  <a:lnTo>
                    <a:pt x="157" y="185"/>
                  </a:lnTo>
                  <a:lnTo>
                    <a:pt x="160" y="185"/>
                  </a:lnTo>
                  <a:lnTo>
                    <a:pt x="160" y="187"/>
                  </a:lnTo>
                  <a:lnTo>
                    <a:pt x="157" y="187"/>
                  </a:lnTo>
                  <a:lnTo>
                    <a:pt x="157" y="187"/>
                  </a:lnTo>
                  <a:lnTo>
                    <a:pt x="157" y="185"/>
                  </a:lnTo>
                  <a:lnTo>
                    <a:pt x="155" y="185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2" y="179"/>
                  </a:lnTo>
                  <a:lnTo>
                    <a:pt x="152" y="177"/>
                  </a:lnTo>
                  <a:lnTo>
                    <a:pt x="149" y="177"/>
                  </a:lnTo>
                  <a:lnTo>
                    <a:pt x="149" y="174"/>
                  </a:lnTo>
                  <a:lnTo>
                    <a:pt x="147" y="174"/>
                  </a:lnTo>
                  <a:lnTo>
                    <a:pt x="147" y="174"/>
                  </a:lnTo>
                  <a:lnTo>
                    <a:pt x="147" y="177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52" y="182"/>
                  </a:lnTo>
                  <a:lnTo>
                    <a:pt x="152" y="182"/>
                  </a:lnTo>
                  <a:lnTo>
                    <a:pt x="152" y="185"/>
                  </a:lnTo>
                  <a:lnTo>
                    <a:pt x="155" y="185"/>
                  </a:lnTo>
                  <a:lnTo>
                    <a:pt x="155" y="187"/>
                  </a:lnTo>
                  <a:lnTo>
                    <a:pt x="155" y="187"/>
                  </a:lnTo>
                  <a:lnTo>
                    <a:pt x="157" y="187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7" y="193"/>
                  </a:lnTo>
                  <a:lnTo>
                    <a:pt x="157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5" y="198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6" y="201"/>
                  </a:lnTo>
                  <a:lnTo>
                    <a:pt x="179" y="201"/>
                  </a:lnTo>
                  <a:lnTo>
                    <a:pt x="179" y="206"/>
                  </a:lnTo>
                  <a:lnTo>
                    <a:pt x="179" y="206"/>
                  </a:lnTo>
                  <a:lnTo>
                    <a:pt x="181" y="206"/>
                  </a:lnTo>
                  <a:lnTo>
                    <a:pt x="184" y="209"/>
                  </a:lnTo>
                  <a:lnTo>
                    <a:pt x="187" y="209"/>
                  </a:lnTo>
                  <a:lnTo>
                    <a:pt x="189" y="211"/>
                  </a:lnTo>
                  <a:lnTo>
                    <a:pt x="192" y="211"/>
                  </a:lnTo>
                  <a:lnTo>
                    <a:pt x="197" y="217"/>
                  </a:lnTo>
                  <a:lnTo>
                    <a:pt x="200" y="222"/>
                  </a:lnTo>
                  <a:lnTo>
                    <a:pt x="203" y="225"/>
                  </a:lnTo>
                  <a:lnTo>
                    <a:pt x="203" y="225"/>
                  </a:lnTo>
                  <a:lnTo>
                    <a:pt x="205" y="227"/>
                  </a:lnTo>
                  <a:lnTo>
                    <a:pt x="205" y="227"/>
                  </a:lnTo>
                  <a:lnTo>
                    <a:pt x="205" y="230"/>
                  </a:lnTo>
                  <a:lnTo>
                    <a:pt x="205" y="230"/>
                  </a:lnTo>
                  <a:lnTo>
                    <a:pt x="205" y="230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0" y="233"/>
                  </a:lnTo>
                  <a:lnTo>
                    <a:pt x="200" y="233"/>
                  </a:lnTo>
                  <a:lnTo>
                    <a:pt x="203" y="233"/>
                  </a:lnTo>
                  <a:lnTo>
                    <a:pt x="203" y="235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5" y="233"/>
                  </a:lnTo>
                  <a:lnTo>
                    <a:pt x="205" y="235"/>
                  </a:lnTo>
                  <a:lnTo>
                    <a:pt x="205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08" y="235"/>
                  </a:lnTo>
                  <a:lnTo>
                    <a:pt x="211" y="235"/>
                  </a:lnTo>
                  <a:lnTo>
                    <a:pt x="211" y="238"/>
                  </a:lnTo>
                  <a:lnTo>
                    <a:pt x="211" y="238"/>
                  </a:lnTo>
                  <a:lnTo>
                    <a:pt x="211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3" y="238"/>
                  </a:lnTo>
                  <a:lnTo>
                    <a:pt x="216" y="241"/>
                  </a:lnTo>
                  <a:lnTo>
                    <a:pt x="219" y="243"/>
                  </a:lnTo>
                  <a:lnTo>
                    <a:pt x="221" y="246"/>
                  </a:lnTo>
                  <a:lnTo>
                    <a:pt x="227" y="249"/>
                  </a:lnTo>
                  <a:lnTo>
                    <a:pt x="229" y="254"/>
                  </a:lnTo>
                  <a:lnTo>
                    <a:pt x="232" y="257"/>
                  </a:lnTo>
                  <a:lnTo>
                    <a:pt x="235" y="259"/>
                  </a:lnTo>
                  <a:lnTo>
                    <a:pt x="235" y="262"/>
                  </a:lnTo>
                  <a:lnTo>
                    <a:pt x="237" y="262"/>
                  </a:lnTo>
                  <a:lnTo>
                    <a:pt x="240" y="265"/>
                  </a:lnTo>
                  <a:lnTo>
                    <a:pt x="243" y="268"/>
                  </a:lnTo>
                  <a:lnTo>
                    <a:pt x="245" y="268"/>
                  </a:lnTo>
                  <a:lnTo>
                    <a:pt x="245" y="270"/>
                  </a:lnTo>
                  <a:lnTo>
                    <a:pt x="245" y="273"/>
                  </a:lnTo>
                  <a:lnTo>
                    <a:pt x="245" y="276"/>
                  </a:lnTo>
                  <a:lnTo>
                    <a:pt x="248" y="276"/>
                  </a:lnTo>
                  <a:lnTo>
                    <a:pt x="251" y="276"/>
                  </a:lnTo>
                  <a:lnTo>
                    <a:pt x="251" y="278"/>
                  </a:lnTo>
                  <a:lnTo>
                    <a:pt x="251" y="281"/>
                  </a:lnTo>
                  <a:lnTo>
                    <a:pt x="253" y="281"/>
                  </a:lnTo>
                  <a:lnTo>
                    <a:pt x="256" y="284"/>
                  </a:lnTo>
                  <a:lnTo>
                    <a:pt x="256" y="284"/>
                  </a:lnTo>
                  <a:lnTo>
                    <a:pt x="259" y="289"/>
                  </a:lnTo>
                  <a:lnTo>
                    <a:pt x="261" y="292"/>
                  </a:lnTo>
                  <a:lnTo>
                    <a:pt x="264" y="292"/>
                  </a:lnTo>
                  <a:lnTo>
                    <a:pt x="267" y="297"/>
                  </a:lnTo>
                  <a:lnTo>
                    <a:pt x="269" y="300"/>
                  </a:lnTo>
                  <a:lnTo>
                    <a:pt x="272" y="302"/>
                  </a:lnTo>
                  <a:lnTo>
                    <a:pt x="272" y="302"/>
                  </a:lnTo>
                  <a:lnTo>
                    <a:pt x="275" y="305"/>
                  </a:lnTo>
                  <a:lnTo>
                    <a:pt x="277" y="308"/>
                  </a:lnTo>
                  <a:lnTo>
                    <a:pt x="280" y="310"/>
                  </a:lnTo>
                  <a:lnTo>
                    <a:pt x="283" y="313"/>
                  </a:lnTo>
                  <a:lnTo>
                    <a:pt x="283" y="313"/>
                  </a:lnTo>
                  <a:lnTo>
                    <a:pt x="288" y="316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3" y="318"/>
                  </a:lnTo>
                  <a:lnTo>
                    <a:pt x="296" y="318"/>
                  </a:lnTo>
                  <a:lnTo>
                    <a:pt x="299" y="321"/>
                  </a:lnTo>
                  <a:lnTo>
                    <a:pt x="299" y="324"/>
                  </a:lnTo>
                  <a:lnTo>
                    <a:pt x="301" y="324"/>
                  </a:lnTo>
                  <a:lnTo>
                    <a:pt x="301" y="326"/>
                  </a:lnTo>
                  <a:lnTo>
                    <a:pt x="304" y="326"/>
                  </a:lnTo>
                  <a:lnTo>
                    <a:pt x="304" y="329"/>
                  </a:lnTo>
                  <a:lnTo>
                    <a:pt x="307" y="332"/>
                  </a:lnTo>
                  <a:lnTo>
                    <a:pt x="310" y="334"/>
                  </a:lnTo>
                  <a:lnTo>
                    <a:pt x="312" y="334"/>
                  </a:lnTo>
                  <a:lnTo>
                    <a:pt x="312" y="334"/>
                  </a:lnTo>
                  <a:lnTo>
                    <a:pt x="312" y="334"/>
                  </a:lnTo>
                  <a:lnTo>
                    <a:pt x="315" y="337"/>
                  </a:lnTo>
                  <a:lnTo>
                    <a:pt x="318" y="337"/>
                  </a:lnTo>
                  <a:lnTo>
                    <a:pt x="318" y="340"/>
                  </a:lnTo>
                  <a:lnTo>
                    <a:pt x="318" y="340"/>
                  </a:lnTo>
                  <a:lnTo>
                    <a:pt x="320" y="342"/>
                  </a:lnTo>
                  <a:lnTo>
                    <a:pt x="320" y="342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6" y="348"/>
                  </a:lnTo>
                  <a:lnTo>
                    <a:pt x="326" y="348"/>
                  </a:lnTo>
                  <a:lnTo>
                    <a:pt x="328" y="350"/>
                  </a:lnTo>
                  <a:lnTo>
                    <a:pt x="331" y="350"/>
                  </a:lnTo>
                  <a:lnTo>
                    <a:pt x="331" y="350"/>
                  </a:lnTo>
                  <a:lnTo>
                    <a:pt x="334" y="350"/>
                  </a:lnTo>
                  <a:lnTo>
                    <a:pt x="334" y="353"/>
                  </a:lnTo>
                  <a:lnTo>
                    <a:pt x="336" y="353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6" y="358"/>
                  </a:lnTo>
                  <a:lnTo>
                    <a:pt x="339" y="358"/>
                  </a:lnTo>
                  <a:lnTo>
                    <a:pt x="339" y="358"/>
                  </a:lnTo>
                  <a:lnTo>
                    <a:pt x="339" y="361"/>
                  </a:lnTo>
                  <a:lnTo>
                    <a:pt x="342" y="361"/>
                  </a:lnTo>
                  <a:lnTo>
                    <a:pt x="344" y="364"/>
                  </a:lnTo>
                  <a:lnTo>
                    <a:pt x="344" y="366"/>
                  </a:lnTo>
                  <a:lnTo>
                    <a:pt x="347" y="369"/>
                  </a:lnTo>
                  <a:lnTo>
                    <a:pt x="350" y="369"/>
                  </a:lnTo>
                  <a:lnTo>
                    <a:pt x="350" y="372"/>
                  </a:lnTo>
                  <a:lnTo>
                    <a:pt x="350" y="372"/>
                  </a:lnTo>
                  <a:lnTo>
                    <a:pt x="352" y="374"/>
                  </a:lnTo>
                  <a:lnTo>
                    <a:pt x="355" y="374"/>
                  </a:lnTo>
                  <a:lnTo>
                    <a:pt x="358" y="377"/>
                  </a:lnTo>
                  <a:lnTo>
                    <a:pt x="360" y="380"/>
                  </a:lnTo>
                  <a:lnTo>
                    <a:pt x="363" y="382"/>
                  </a:lnTo>
                  <a:lnTo>
                    <a:pt x="366" y="382"/>
                  </a:lnTo>
                  <a:lnTo>
                    <a:pt x="366" y="385"/>
                  </a:lnTo>
                  <a:lnTo>
                    <a:pt x="371" y="388"/>
                  </a:lnTo>
                  <a:lnTo>
                    <a:pt x="374" y="388"/>
                  </a:lnTo>
                  <a:lnTo>
                    <a:pt x="374" y="388"/>
                  </a:lnTo>
                  <a:lnTo>
                    <a:pt x="376" y="388"/>
                  </a:lnTo>
                  <a:lnTo>
                    <a:pt x="376" y="388"/>
                  </a:lnTo>
                  <a:lnTo>
                    <a:pt x="379" y="388"/>
                  </a:lnTo>
                  <a:lnTo>
                    <a:pt x="382" y="388"/>
                  </a:lnTo>
                  <a:lnTo>
                    <a:pt x="382" y="388"/>
                  </a:lnTo>
                  <a:lnTo>
                    <a:pt x="384" y="388"/>
                  </a:lnTo>
                  <a:lnTo>
                    <a:pt x="387" y="388"/>
                  </a:lnTo>
                  <a:lnTo>
                    <a:pt x="387" y="388"/>
                  </a:lnTo>
                  <a:lnTo>
                    <a:pt x="390" y="388"/>
                  </a:lnTo>
                  <a:lnTo>
                    <a:pt x="390" y="388"/>
                  </a:lnTo>
                  <a:lnTo>
                    <a:pt x="390" y="390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2" y="393"/>
                  </a:lnTo>
                  <a:lnTo>
                    <a:pt x="395" y="393"/>
                  </a:lnTo>
                  <a:lnTo>
                    <a:pt x="395" y="396"/>
                  </a:lnTo>
                  <a:lnTo>
                    <a:pt x="395" y="396"/>
                  </a:lnTo>
                  <a:lnTo>
                    <a:pt x="395" y="398"/>
                  </a:lnTo>
                  <a:lnTo>
                    <a:pt x="395" y="398"/>
                  </a:lnTo>
                  <a:lnTo>
                    <a:pt x="398" y="401"/>
                  </a:lnTo>
                  <a:lnTo>
                    <a:pt x="398" y="401"/>
                  </a:lnTo>
                  <a:lnTo>
                    <a:pt x="400" y="401"/>
                  </a:lnTo>
                  <a:lnTo>
                    <a:pt x="403" y="404"/>
                  </a:lnTo>
                  <a:lnTo>
                    <a:pt x="403" y="404"/>
                  </a:lnTo>
                  <a:lnTo>
                    <a:pt x="403" y="404"/>
                  </a:lnTo>
                  <a:lnTo>
                    <a:pt x="403" y="406"/>
                  </a:lnTo>
                  <a:lnTo>
                    <a:pt x="403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400" y="406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8" y="404"/>
                  </a:lnTo>
                  <a:lnTo>
                    <a:pt x="395" y="401"/>
                  </a:lnTo>
                  <a:lnTo>
                    <a:pt x="395" y="401"/>
                  </a:lnTo>
                  <a:lnTo>
                    <a:pt x="395" y="398"/>
                  </a:lnTo>
                  <a:lnTo>
                    <a:pt x="392" y="398"/>
                  </a:lnTo>
                  <a:lnTo>
                    <a:pt x="390" y="396"/>
                  </a:lnTo>
                  <a:lnTo>
                    <a:pt x="387" y="393"/>
                  </a:lnTo>
                  <a:lnTo>
                    <a:pt x="384" y="393"/>
                  </a:lnTo>
                  <a:lnTo>
                    <a:pt x="382" y="390"/>
                  </a:lnTo>
                  <a:lnTo>
                    <a:pt x="379" y="390"/>
                  </a:lnTo>
                  <a:lnTo>
                    <a:pt x="376" y="390"/>
                  </a:lnTo>
                  <a:lnTo>
                    <a:pt x="374" y="388"/>
                  </a:lnTo>
                  <a:lnTo>
                    <a:pt x="371" y="388"/>
                  </a:lnTo>
                  <a:lnTo>
                    <a:pt x="368" y="388"/>
                  </a:lnTo>
                  <a:lnTo>
                    <a:pt x="366" y="388"/>
                  </a:lnTo>
                  <a:lnTo>
                    <a:pt x="366" y="388"/>
                  </a:lnTo>
                  <a:lnTo>
                    <a:pt x="363" y="388"/>
                  </a:lnTo>
                  <a:lnTo>
                    <a:pt x="363" y="385"/>
                  </a:lnTo>
                  <a:lnTo>
                    <a:pt x="360" y="385"/>
                  </a:lnTo>
                  <a:lnTo>
                    <a:pt x="358" y="385"/>
                  </a:lnTo>
                  <a:lnTo>
                    <a:pt x="358" y="385"/>
                  </a:lnTo>
                  <a:lnTo>
                    <a:pt x="355" y="385"/>
                  </a:lnTo>
                  <a:lnTo>
                    <a:pt x="355" y="382"/>
                  </a:lnTo>
                  <a:lnTo>
                    <a:pt x="352" y="382"/>
                  </a:lnTo>
                  <a:lnTo>
                    <a:pt x="352" y="382"/>
                  </a:lnTo>
                  <a:lnTo>
                    <a:pt x="350" y="382"/>
                  </a:lnTo>
                  <a:lnTo>
                    <a:pt x="350" y="380"/>
                  </a:lnTo>
                  <a:lnTo>
                    <a:pt x="347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2" y="380"/>
                  </a:lnTo>
                  <a:lnTo>
                    <a:pt x="339" y="380"/>
                  </a:lnTo>
                  <a:lnTo>
                    <a:pt x="339" y="380"/>
                  </a:lnTo>
                  <a:lnTo>
                    <a:pt x="336" y="380"/>
                  </a:lnTo>
                  <a:lnTo>
                    <a:pt x="334" y="380"/>
                  </a:lnTo>
                  <a:lnTo>
                    <a:pt x="331" y="380"/>
                  </a:lnTo>
                  <a:lnTo>
                    <a:pt x="331" y="380"/>
                  </a:lnTo>
                  <a:lnTo>
                    <a:pt x="328" y="380"/>
                  </a:lnTo>
                  <a:lnTo>
                    <a:pt x="328" y="382"/>
                  </a:lnTo>
                  <a:lnTo>
                    <a:pt x="326" y="382"/>
                  </a:lnTo>
                  <a:lnTo>
                    <a:pt x="323" y="382"/>
                  </a:lnTo>
                  <a:lnTo>
                    <a:pt x="323" y="382"/>
                  </a:lnTo>
                  <a:lnTo>
                    <a:pt x="320" y="385"/>
                  </a:lnTo>
                  <a:lnTo>
                    <a:pt x="320" y="385"/>
                  </a:lnTo>
                  <a:lnTo>
                    <a:pt x="318" y="388"/>
                  </a:lnTo>
                  <a:lnTo>
                    <a:pt x="315" y="388"/>
                  </a:lnTo>
                  <a:lnTo>
                    <a:pt x="315" y="388"/>
                  </a:lnTo>
                  <a:lnTo>
                    <a:pt x="312" y="388"/>
                  </a:lnTo>
                  <a:lnTo>
                    <a:pt x="310" y="390"/>
                  </a:lnTo>
                  <a:lnTo>
                    <a:pt x="307" y="390"/>
                  </a:lnTo>
                  <a:lnTo>
                    <a:pt x="307" y="393"/>
                  </a:lnTo>
                  <a:lnTo>
                    <a:pt x="307" y="393"/>
                  </a:lnTo>
                  <a:lnTo>
                    <a:pt x="304" y="396"/>
                  </a:lnTo>
                  <a:lnTo>
                    <a:pt x="301" y="396"/>
                  </a:lnTo>
                  <a:lnTo>
                    <a:pt x="301" y="396"/>
                  </a:lnTo>
                  <a:lnTo>
                    <a:pt x="299" y="398"/>
                  </a:lnTo>
                  <a:lnTo>
                    <a:pt x="296" y="401"/>
                  </a:lnTo>
                  <a:lnTo>
                    <a:pt x="296" y="401"/>
                  </a:lnTo>
                  <a:lnTo>
                    <a:pt x="296" y="401"/>
                  </a:lnTo>
                  <a:lnTo>
                    <a:pt x="296" y="404"/>
                  </a:lnTo>
                  <a:lnTo>
                    <a:pt x="293" y="404"/>
                  </a:lnTo>
                  <a:lnTo>
                    <a:pt x="293" y="404"/>
                  </a:lnTo>
                  <a:lnTo>
                    <a:pt x="293" y="404"/>
                  </a:lnTo>
                  <a:lnTo>
                    <a:pt x="291" y="406"/>
                  </a:lnTo>
                  <a:lnTo>
                    <a:pt x="291" y="409"/>
                  </a:lnTo>
                  <a:lnTo>
                    <a:pt x="291" y="409"/>
                  </a:lnTo>
                  <a:lnTo>
                    <a:pt x="291" y="409"/>
                  </a:lnTo>
                  <a:lnTo>
                    <a:pt x="291" y="406"/>
                  </a:lnTo>
                  <a:lnTo>
                    <a:pt x="288" y="409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2"/>
                  </a:lnTo>
                  <a:lnTo>
                    <a:pt x="288" y="414"/>
                  </a:lnTo>
                  <a:lnTo>
                    <a:pt x="288" y="414"/>
                  </a:lnTo>
                  <a:lnTo>
                    <a:pt x="288" y="422"/>
                  </a:lnTo>
                  <a:lnTo>
                    <a:pt x="288" y="425"/>
                  </a:lnTo>
                  <a:lnTo>
                    <a:pt x="288" y="428"/>
                  </a:lnTo>
                  <a:lnTo>
                    <a:pt x="288" y="431"/>
                  </a:lnTo>
                  <a:lnTo>
                    <a:pt x="291" y="433"/>
                  </a:lnTo>
                  <a:lnTo>
                    <a:pt x="291" y="433"/>
                  </a:lnTo>
                  <a:lnTo>
                    <a:pt x="293" y="436"/>
                  </a:lnTo>
                  <a:lnTo>
                    <a:pt x="293" y="436"/>
                  </a:lnTo>
                  <a:lnTo>
                    <a:pt x="296" y="436"/>
                  </a:lnTo>
                  <a:lnTo>
                    <a:pt x="296" y="436"/>
                  </a:lnTo>
                  <a:lnTo>
                    <a:pt x="296" y="439"/>
                  </a:lnTo>
                  <a:lnTo>
                    <a:pt x="296" y="439"/>
                  </a:lnTo>
                  <a:lnTo>
                    <a:pt x="299" y="441"/>
                  </a:lnTo>
                  <a:lnTo>
                    <a:pt x="299" y="441"/>
                  </a:lnTo>
                  <a:lnTo>
                    <a:pt x="299" y="444"/>
                  </a:lnTo>
                  <a:lnTo>
                    <a:pt x="299" y="449"/>
                  </a:lnTo>
                  <a:lnTo>
                    <a:pt x="299" y="449"/>
                  </a:lnTo>
                  <a:lnTo>
                    <a:pt x="299" y="452"/>
                  </a:lnTo>
                  <a:lnTo>
                    <a:pt x="299" y="455"/>
                  </a:lnTo>
                  <a:lnTo>
                    <a:pt x="299" y="455"/>
                  </a:lnTo>
                  <a:lnTo>
                    <a:pt x="299" y="457"/>
                  </a:lnTo>
                  <a:lnTo>
                    <a:pt x="299" y="457"/>
                  </a:lnTo>
                  <a:lnTo>
                    <a:pt x="299" y="460"/>
                  </a:lnTo>
                  <a:lnTo>
                    <a:pt x="301" y="463"/>
                  </a:lnTo>
                  <a:lnTo>
                    <a:pt x="301" y="465"/>
                  </a:lnTo>
                  <a:lnTo>
                    <a:pt x="301" y="471"/>
                  </a:lnTo>
                  <a:lnTo>
                    <a:pt x="304" y="473"/>
                  </a:lnTo>
                  <a:lnTo>
                    <a:pt x="304" y="476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4"/>
                  </a:lnTo>
                  <a:lnTo>
                    <a:pt x="307" y="489"/>
                  </a:lnTo>
                  <a:lnTo>
                    <a:pt x="307" y="489"/>
                  </a:lnTo>
                  <a:lnTo>
                    <a:pt x="307" y="492"/>
                  </a:lnTo>
                  <a:lnTo>
                    <a:pt x="307" y="492"/>
                  </a:lnTo>
                  <a:lnTo>
                    <a:pt x="310" y="495"/>
                  </a:lnTo>
                  <a:lnTo>
                    <a:pt x="310" y="495"/>
                  </a:lnTo>
                  <a:lnTo>
                    <a:pt x="310" y="497"/>
                  </a:lnTo>
                  <a:lnTo>
                    <a:pt x="310" y="500"/>
                  </a:lnTo>
                  <a:lnTo>
                    <a:pt x="312" y="508"/>
                  </a:lnTo>
                  <a:lnTo>
                    <a:pt x="312" y="508"/>
                  </a:lnTo>
                  <a:lnTo>
                    <a:pt x="312" y="513"/>
                  </a:lnTo>
                  <a:lnTo>
                    <a:pt x="312" y="516"/>
                  </a:lnTo>
                  <a:lnTo>
                    <a:pt x="315" y="516"/>
                  </a:lnTo>
                  <a:lnTo>
                    <a:pt x="315" y="521"/>
                  </a:lnTo>
                  <a:lnTo>
                    <a:pt x="315" y="521"/>
                  </a:lnTo>
                  <a:lnTo>
                    <a:pt x="315" y="521"/>
                  </a:lnTo>
                  <a:lnTo>
                    <a:pt x="318" y="524"/>
                  </a:lnTo>
                  <a:lnTo>
                    <a:pt x="318" y="527"/>
                  </a:lnTo>
                  <a:lnTo>
                    <a:pt x="318" y="529"/>
                  </a:lnTo>
                  <a:lnTo>
                    <a:pt x="318" y="529"/>
                  </a:lnTo>
                  <a:lnTo>
                    <a:pt x="320" y="532"/>
                  </a:lnTo>
                  <a:lnTo>
                    <a:pt x="320" y="532"/>
                  </a:lnTo>
                  <a:lnTo>
                    <a:pt x="320" y="535"/>
                  </a:lnTo>
                  <a:lnTo>
                    <a:pt x="320" y="535"/>
                  </a:lnTo>
                  <a:lnTo>
                    <a:pt x="320" y="537"/>
                  </a:lnTo>
                  <a:lnTo>
                    <a:pt x="320" y="537"/>
                  </a:lnTo>
                  <a:lnTo>
                    <a:pt x="323" y="537"/>
                  </a:lnTo>
                  <a:lnTo>
                    <a:pt x="323" y="537"/>
                  </a:lnTo>
                  <a:lnTo>
                    <a:pt x="326" y="540"/>
                  </a:lnTo>
                  <a:lnTo>
                    <a:pt x="326" y="540"/>
                  </a:lnTo>
                  <a:lnTo>
                    <a:pt x="326" y="543"/>
                  </a:lnTo>
                  <a:lnTo>
                    <a:pt x="328" y="545"/>
                  </a:lnTo>
                  <a:lnTo>
                    <a:pt x="328" y="548"/>
                  </a:lnTo>
                  <a:lnTo>
                    <a:pt x="331" y="551"/>
                  </a:lnTo>
                  <a:lnTo>
                    <a:pt x="334" y="551"/>
                  </a:lnTo>
                  <a:lnTo>
                    <a:pt x="336" y="553"/>
                  </a:lnTo>
                  <a:lnTo>
                    <a:pt x="336" y="556"/>
                  </a:lnTo>
                  <a:lnTo>
                    <a:pt x="342" y="559"/>
                  </a:lnTo>
                  <a:lnTo>
                    <a:pt x="344" y="559"/>
                  </a:lnTo>
                  <a:lnTo>
                    <a:pt x="347" y="561"/>
                  </a:lnTo>
                  <a:lnTo>
                    <a:pt x="347" y="561"/>
                  </a:lnTo>
                  <a:lnTo>
                    <a:pt x="350" y="561"/>
                  </a:lnTo>
                  <a:lnTo>
                    <a:pt x="352" y="564"/>
                  </a:lnTo>
                  <a:lnTo>
                    <a:pt x="355" y="564"/>
                  </a:lnTo>
                  <a:lnTo>
                    <a:pt x="358" y="567"/>
                  </a:lnTo>
                  <a:lnTo>
                    <a:pt x="360" y="567"/>
                  </a:lnTo>
                  <a:lnTo>
                    <a:pt x="360" y="564"/>
                  </a:lnTo>
                  <a:lnTo>
                    <a:pt x="363" y="564"/>
                  </a:lnTo>
                  <a:lnTo>
                    <a:pt x="363" y="564"/>
                  </a:lnTo>
                  <a:lnTo>
                    <a:pt x="366" y="564"/>
                  </a:lnTo>
                  <a:lnTo>
                    <a:pt x="368" y="564"/>
                  </a:lnTo>
                  <a:lnTo>
                    <a:pt x="368" y="564"/>
                  </a:lnTo>
                  <a:lnTo>
                    <a:pt x="371" y="564"/>
                  </a:lnTo>
                  <a:lnTo>
                    <a:pt x="371" y="567"/>
                  </a:lnTo>
                  <a:lnTo>
                    <a:pt x="374" y="567"/>
                  </a:lnTo>
                  <a:lnTo>
                    <a:pt x="374" y="567"/>
                  </a:lnTo>
                  <a:lnTo>
                    <a:pt x="376" y="569"/>
                  </a:lnTo>
                  <a:lnTo>
                    <a:pt x="379" y="569"/>
                  </a:lnTo>
                  <a:lnTo>
                    <a:pt x="382" y="572"/>
                  </a:lnTo>
                  <a:lnTo>
                    <a:pt x="382" y="572"/>
                  </a:lnTo>
                  <a:lnTo>
                    <a:pt x="382" y="575"/>
                  </a:lnTo>
                  <a:lnTo>
                    <a:pt x="384" y="575"/>
                  </a:lnTo>
                  <a:lnTo>
                    <a:pt x="384" y="575"/>
                  </a:lnTo>
                  <a:lnTo>
                    <a:pt x="384" y="577"/>
                  </a:lnTo>
                  <a:lnTo>
                    <a:pt x="387" y="577"/>
                  </a:lnTo>
                  <a:lnTo>
                    <a:pt x="387" y="580"/>
                  </a:lnTo>
                  <a:lnTo>
                    <a:pt x="387" y="580"/>
                  </a:lnTo>
                  <a:lnTo>
                    <a:pt x="387" y="583"/>
                  </a:lnTo>
                  <a:lnTo>
                    <a:pt x="387" y="583"/>
                  </a:lnTo>
                  <a:lnTo>
                    <a:pt x="390" y="586"/>
                  </a:lnTo>
                  <a:lnTo>
                    <a:pt x="390" y="586"/>
                  </a:lnTo>
                  <a:lnTo>
                    <a:pt x="395" y="588"/>
                  </a:lnTo>
                  <a:lnTo>
                    <a:pt x="395" y="588"/>
                  </a:lnTo>
                  <a:lnTo>
                    <a:pt x="395" y="591"/>
                  </a:lnTo>
                  <a:lnTo>
                    <a:pt x="398" y="591"/>
                  </a:lnTo>
                  <a:lnTo>
                    <a:pt x="398" y="591"/>
                  </a:lnTo>
                  <a:lnTo>
                    <a:pt x="400" y="594"/>
                  </a:lnTo>
                  <a:lnTo>
                    <a:pt x="400" y="596"/>
                  </a:lnTo>
                  <a:lnTo>
                    <a:pt x="400" y="596"/>
                  </a:lnTo>
                  <a:lnTo>
                    <a:pt x="403" y="596"/>
                  </a:lnTo>
                  <a:lnTo>
                    <a:pt x="403" y="596"/>
                  </a:lnTo>
                  <a:lnTo>
                    <a:pt x="406" y="596"/>
                  </a:lnTo>
                  <a:lnTo>
                    <a:pt x="406" y="596"/>
                  </a:lnTo>
                  <a:lnTo>
                    <a:pt x="408" y="599"/>
                  </a:lnTo>
                  <a:lnTo>
                    <a:pt x="411" y="599"/>
                  </a:lnTo>
                  <a:lnTo>
                    <a:pt x="411" y="599"/>
                  </a:lnTo>
                  <a:lnTo>
                    <a:pt x="414" y="599"/>
                  </a:lnTo>
                  <a:lnTo>
                    <a:pt x="416" y="599"/>
                  </a:lnTo>
                  <a:lnTo>
                    <a:pt x="416" y="599"/>
                  </a:lnTo>
                  <a:lnTo>
                    <a:pt x="419" y="596"/>
                  </a:lnTo>
                  <a:lnTo>
                    <a:pt x="422" y="596"/>
                  </a:lnTo>
                  <a:lnTo>
                    <a:pt x="422" y="596"/>
                  </a:lnTo>
                  <a:lnTo>
                    <a:pt x="424" y="594"/>
                  </a:lnTo>
                  <a:lnTo>
                    <a:pt x="424" y="594"/>
                  </a:lnTo>
                  <a:lnTo>
                    <a:pt x="424" y="594"/>
                  </a:lnTo>
                  <a:lnTo>
                    <a:pt x="422" y="591"/>
                  </a:lnTo>
                  <a:lnTo>
                    <a:pt x="422" y="591"/>
                  </a:lnTo>
                  <a:lnTo>
                    <a:pt x="422" y="591"/>
                  </a:lnTo>
                  <a:lnTo>
                    <a:pt x="422" y="588"/>
                  </a:lnTo>
                  <a:lnTo>
                    <a:pt x="427" y="591"/>
                  </a:lnTo>
                  <a:lnTo>
                    <a:pt x="427" y="591"/>
                  </a:lnTo>
                  <a:lnTo>
                    <a:pt x="430" y="594"/>
                  </a:lnTo>
                  <a:lnTo>
                    <a:pt x="430" y="596"/>
                  </a:lnTo>
                  <a:lnTo>
                    <a:pt x="432" y="596"/>
                  </a:lnTo>
                  <a:lnTo>
                    <a:pt x="432" y="599"/>
                  </a:lnTo>
                  <a:lnTo>
                    <a:pt x="432" y="599"/>
                  </a:lnTo>
                  <a:lnTo>
                    <a:pt x="432" y="602"/>
                  </a:lnTo>
                  <a:lnTo>
                    <a:pt x="435" y="602"/>
                  </a:lnTo>
                  <a:lnTo>
                    <a:pt x="435" y="604"/>
                  </a:lnTo>
                  <a:lnTo>
                    <a:pt x="435" y="604"/>
                  </a:lnTo>
                  <a:lnTo>
                    <a:pt x="438" y="607"/>
                  </a:lnTo>
                  <a:lnTo>
                    <a:pt x="438" y="610"/>
                  </a:lnTo>
                  <a:lnTo>
                    <a:pt x="440" y="610"/>
                  </a:lnTo>
                  <a:lnTo>
                    <a:pt x="440" y="610"/>
                  </a:lnTo>
                  <a:lnTo>
                    <a:pt x="443" y="612"/>
                  </a:lnTo>
                  <a:lnTo>
                    <a:pt x="443" y="612"/>
                  </a:lnTo>
                  <a:lnTo>
                    <a:pt x="446" y="615"/>
                  </a:lnTo>
                  <a:lnTo>
                    <a:pt x="446" y="615"/>
                  </a:lnTo>
                  <a:lnTo>
                    <a:pt x="446" y="618"/>
                  </a:lnTo>
                  <a:lnTo>
                    <a:pt x="448" y="618"/>
                  </a:lnTo>
                  <a:lnTo>
                    <a:pt x="448" y="620"/>
                  </a:lnTo>
                  <a:lnTo>
                    <a:pt x="451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0"/>
                  </a:lnTo>
                  <a:lnTo>
                    <a:pt x="454" y="623"/>
                  </a:lnTo>
                  <a:lnTo>
                    <a:pt x="454" y="623"/>
                  </a:lnTo>
                  <a:lnTo>
                    <a:pt x="454" y="626"/>
                  </a:lnTo>
                  <a:lnTo>
                    <a:pt x="454" y="626"/>
                  </a:lnTo>
                  <a:lnTo>
                    <a:pt x="454" y="628"/>
                  </a:lnTo>
                  <a:lnTo>
                    <a:pt x="456" y="628"/>
                  </a:lnTo>
                  <a:lnTo>
                    <a:pt x="456" y="628"/>
                  </a:lnTo>
                  <a:lnTo>
                    <a:pt x="454" y="631"/>
                  </a:lnTo>
                  <a:lnTo>
                    <a:pt x="454" y="631"/>
                  </a:lnTo>
                  <a:lnTo>
                    <a:pt x="454" y="634"/>
                  </a:lnTo>
                  <a:lnTo>
                    <a:pt x="454" y="634"/>
                  </a:lnTo>
                  <a:lnTo>
                    <a:pt x="454" y="636"/>
                  </a:lnTo>
                  <a:lnTo>
                    <a:pt x="454" y="636"/>
                  </a:lnTo>
                  <a:lnTo>
                    <a:pt x="454" y="636"/>
                  </a:lnTo>
                  <a:lnTo>
                    <a:pt x="454" y="639"/>
                  </a:lnTo>
                  <a:lnTo>
                    <a:pt x="454" y="639"/>
                  </a:lnTo>
                  <a:lnTo>
                    <a:pt x="454" y="639"/>
                  </a:lnTo>
                  <a:lnTo>
                    <a:pt x="454" y="642"/>
                  </a:lnTo>
                  <a:lnTo>
                    <a:pt x="456" y="642"/>
                  </a:lnTo>
                  <a:lnTo>
                    <a:pt x="456" y="642"/>
                  </a:lnTo>
                  <a:lnTo>
                    <a:pt x="456" y="642"/>
                  </a:lnTo>
                  <a:lnTo>
                    <a:pt x="456" y="644"/>
                  </a:lnTo>
                  <a:lnTo>
                    <a:pt x="456" y="644"/>
                  </a:lnTo>
                  <a:lnTo>
                    <a:pt x="456" y="644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47"/>
                  </a:lnTo>
                  <a:lnTo>
                    <a:pt x="459" y="650"/>
                  </a:lnTo>
                  <a:lnTo>
                    <a:pt x="459" y="650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59" y="652"/>
                  </a:lnTo>
                  <a:lnTo>
                    <a:pt x="462" y="655"/>
                  </a:lnTo>
                  <a:lnTo>
                    <a:pt x="459" y="655"/>
                  </a:lnTo>
                  <a:lnTo>
                    <a:pt x="459" y="652"/>
                  </a:lnTo>
                  <a:lnTo>
                    <a:pt x="456" y="652"/>
                  </a:lnTo>
                  <a:lnTo>
                    <a:pt x="456" y="652"/>
                  </a:lnTo>
                  <a:lnTo>
                    <a:pt x="456" y="650"/>
                  </a:lnTo>
                  <a:lnTo>
                    <a:pt x="456" y="650"/>
                  </a:lnTo>
                  <a:lnTo>
                    <a:pt x="456" y="650"/>
                  </a:lnTo>
                  <a:lnTo>
                    <a:pt x="454" y="647"/>
                  </a:lnTo>
                  <a:lnTo>
                    <a:pt x="454" y="647"/>
                  </a:lnTo>
                  <a:lnTo>
                    <a:pt x="454" y="644"/>
                  </a:lnTo>
                  <a:lnTo>
                    <a:pt x="454" y="644"/>
                  </a:lnTo>
                  <a:lnTo>
                    <a:pt x="454" y="642"/>
                  </a:lnTo>
                  <a:lnTo>
                    <a:pt x="451" y="642"/>
                  </a:lnTo>
                  <a:lnTo>
                    <a:pt x="451" y="639"/>
                  </a:lnTo>
                  <a:lnTo>
                    <a:pt x="451" y="639"/>
                  </a:lnTo>
                  <a:lnTo>
                    <a:pt x="451" y="639"/>
                  </a:lnTo>
                  <a:lnTo>
                    <a:pt x="448" y="636"/>
                  </a:lnTo>
                  <a:lnTo>
                    <a:pt x="446" y="636"/>
                  </a:lnTo>
                  <a:lnTo>
                    <a:pt x="446" y="636"/>
                  </a:lnTo>
                  <a:lnTo>
                    <a:pt x="446" y="634"/>
                  </a:lnTo>
                  <a:lnTo>
                    <a:pt x="443" y="634"/>
                  </a:lnTo>
                  <a:lnTo>
                    <a:pt x="443" y="634"/>
                  </a:lnTo>
                  <a:lnTo>
                    <a:pt x="440" y="631"/>
                  </a:lnTo>
                  <a:lnTo>
                    <a:pt x="440" y="631"/>
                  </a:lnTo>
                  <a:lnTo>
                    <a:pt x="438" y="628"/>
                  </a:lnTo>
                  <a:lnTo>
                    <a:pt x="438" y="628"/>
                  </a:lnTo>
                  <a:lnTo>
                    <a:pt x="438" y="628"/>
                  </a:lnTo>
                  <a:lnTo>
                    <a:pt x="438" y="626"/>
                  </a:lnTo>
                  <a:lnTo>
                    <a:pt x="438" y="626"/>
                  </a:lnTo>
                  <a:lnTo>
                    <a:pt x="435" y="626"/>
                  </a:lnTo>
                  <a:lnTo>
                    <a:pt x="435" y="623"/>
                  </a:lnTo>
                  <a:lnTo>
                    <a:pt x="435" y="623"/>
                  </a:lnTo>
                  <a:lnTo>
                    <a:pt x="432" y="623"/>
                  </a:lnTo>
                  <a:lnTo>
                    <a:pt x="432" y="620"/>
                  </a:lnTo>
                  <a:lnTo>
                    <a:pt x="430" y="620"/>
                  </a:lnTo>
                  <a:lnTo>
                    <a:pt x="430" y="620"/>
                  </a:lnTo>
                  <a:lnTo>
                    <a:pt x="427" y="620"/>
                  </a:lnTo>
                  <a:lnTo>
                    <a:pt x="427" y="620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2" y="618"/>
                  </a:lnTo>
                  <a:lnTo>
                    <a:pt x="419" y="618"/>
                  </a:lnTo>
                  <a:lnTo>
                    <a:pt x="419" y="618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6" y="620"/>
                  </a:lnTo>
                  <a:lnTo>
                    <a:pt x="414" y="623"/>
                  </a:lnTo>
                  <a:lnTo>
                    <a:pt x="411" y="623"/>
                  </a:lnTo>
                  <a:lnTo>
                    <a:pt x="411" y="623"/>
                  </a:lnTo>
                  <a:lnTo>
                    <a:pt x="408" y="623"/>
                  </a:lnTo>
                  <a:lnTo>
                    <a:pt x="408" y="623"/>
                  </a:lnTo>
                  <a:lnTo>
                    <a:pt x="406" y="623"/>
                  </a:lnTo>
                  <a:lnTo>
                    <a:pt x="406" y="626"/>
                  </a:lnTo>
                  <a:lnTo>
                    <a:pt x="403" y="626"/>
                  </a:lnTo>
                  <a:lnTo>
                    <a:pt x="403" y="626"/>
                  </a:lnTo>
                  <a:lnTo>
                    <a:pt x="400" y="626"/>
                  </a:lnTo>
                  <a:lnTo>
                    <a:pt x="400" y="628"/>
                  </a:lnTo>
                  <a:lnTo>
                    <a:pt x="400" y="628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8" y="631"/>
                  </a:lnTo>
                  <a:lnTo>
                    <a:pt x="395" y="631"/>
                  </a:lnTo>
                  <a:lnTo>
                    <a:pt x="395" y="628"/>
                  </a:lnTo>
                  <a:lnTo>
                    <a:pt x="395" y="628"/>
                  </a:lnTo>
                  <a:lnTo>
                    <a:pt x="395" y="628"/>
                  </a:lnTo>
                  <a:lnTo>
                    <a:pt x="392" y="626"/>
                  </a:lnTo>
                  <a:lnTo>
                    <a:pt x="392" y="626"/>
                  </a:lnTo>
                  <a:lnTo>
                    <a:pt x="392" y="626"/>
                  </a:lnTo>
                  <a:lnTo>
                    <a:pt x="390" y="626"/>
                  </a:lnTo>
                  <a:lnTo>
                    <a:pt x="390" y="623"/>
                  </a:lnTo>
                  <a:lnTo>
                    <a:pt x="390" y="623"/>
                  </a:lnTo>
                  <a:lnTo>
                    <a:pt x="387" y="620"/>
                  </a:lnTo>
                  <a:lnTo>
                    <a:pt x="387" y="620"/>
                  </a:lnTo>
                  <a:lnTo>
                    <a:pt x="387" y="620"/>
                  </a:lnTo>
                  <a:lnTo>
                    <a:pt x="384" y="623"/>
                  </a:lnTo>
                  <a:lnTo>
                    <a:pt x="387" y="623"/>
                  </a:lnTo>
                  <a:lnTo>
                    <a:pt x="387" y="623"/>
                  </a:lnTo>
                  <a:lnTo>
                    <a:pt x="384" y="626"/>
                  </a:lnTo>
                  <a:lnTo>
                    <a:pt x="382" y="628"/>
                  </a:lnTo>
                  <a:lnTo>
                    <a:pt x="382" y="628"/>
                  </a:lnTo>
                  <a:lnTo>
                    <a:pt x="379" y="628"/>
                  </a:lnTo>
                  <a:lnTo>
                    <a:pt x="379" y="631"/>
                  </a:lnTo>
                  <a:lnTo>
                    <a:pt x="379" y="634"/>
                  </a:lnTo>
                  <a:lnTo>
                    <a:pt x="379" y="634"/>
                  </a:lnTo>
                  <a:lnTo>
                    <a:pt x="379" y="636"/>
                  </a:lnTo>
                  <a:lnTo>
                    <a:pt x="379" y="636"/>
                  </a:lnTo>
                  <a:lnTo>
                    <a:pt x="379" y="639"/>
                  </a:lnTo>
                  <a:lnTo>
                    <a:pt x="379" y="642"/>
                  </a:lnTo>
                  <a:lnTo>
                    <a:pt x="379" y="644"/>
                  </a:lnTo>
                  <a:lnTo>
                    <a:pt x="379" y="644"/>
                  </a:lnTo>
                  <a:lnTo>
                    <a:pt x="379" y="647"/>
                  </a:lnTo>
                  <a:lnTo>
                    <a:pt x="379" y="650"/>
                  </a:lnTo>
                  <a:lnTo>
                    <a:pt x="379" y="652"/>
                  </a:lnTo>
                  <a:lnTo>
                    <a:pt x="382" y="655"/>
                  </a:lnTo>
                  <a:lnTo>
                    <a:pt x="382" y="655"/>
                  </a:lnTo>
                  <a:lnTo>
                    <a:pt x="382" y="658"/>
                  </a:lnTo>
                  <a:lnTo>
                    <a:pt x="382" y="660"/>
                  </a:lnTo>
                  <a:lnTo>
                    <a:pt x="382" y="663"/>
                  </a:lnTo>
                  <a:lnTo>
                    <a:pt x="382" y="666"/>
                  </a:lnTo>
                  <a:lnTo>
                    <a:pt x="384" y="668"/>
                  </a:lnTo>
                  <a:lnTo>
                    <a:pt x="384" y="671"/>
                  </a:lnTo>
                  <a:lnTo>
                    <a:pt x="384" y="671"/>
                  </a:lnTo>
                  <a:lnTo>
                    <a:pt x="384" y="674"/>
                  </a:lnTo>
                  <a:lnTo>
                    <a:pt x="384" y="674"/>
                  </a:lnTo>
                  <a:lnTo>
                    <a:pt x="387" y="676"/>
                  </a:lnTo>
                  <a:lnTo>
                    <a:pt x="387" y="679"/>
                  </a:lnTo>
                  <a:lnTo>
                    <a:pt x="387" y="679"/>
                  </a:lnTo>
                  <a:lnTo>
                    <a:pt x="387" y="682"/>
                  </a:lnTo>
                  <a:lnTo>
                    <a:pt x="390" y="684"/>
                  </a:lnTo>
                  <a:lnTo>
                    <a:pt x="390" y="684"/>
                  </a:lnTo>
                  <a:lnTo>
                    <a:pt x="390" y="687"/>
                  </a:lnTo>
                  <a:lnTo>
                    <a:pt x="390" y="690"/>
                  </a:lnTo>
                  <a:lnTo>
                    <a:pt x="390" y="690"/>
                  </a:lnTo>
                  <a:lnTo>
                    <a:pt x="390" y="690"/>
                  </a:lnTo>
                  <a:lnTo>
                    <a:pt x="390" y="692"/>
                  </a:lnTo>
                  <a:lnTo>
                    <a:pt x="390" y="692"/>
                  </a:lnTo>
                  <a:lnTo>
                    <a:pt x="392" y="695"/>
                  </a:lnTo>
                  <a:lnTo>
                    <a:pt x="392" y="695"/>
                  </a:lnTo>
                  <a:lnTo>
                    <a:pt x="392" y="698"/>
                  </a:lnTo>
                  <a:lnTo>
                    <a:pt x="390" y="698"/>
                  </a:lnTo>
                  <a:lnTo>
                    <a:pt x="390" y="700"/>
                  </a:lnTo>
                  <a:lnTo>
                    <a:pt x="390" y="700"/>
                  </a:lnTo>
                  <a:lnTo>
                    <a:pt x="390" y="703"/>
                  </a:lnTo>
                  <a:lnTo>
                    <a:pt x="390" y="706"/>
                  </a:lnTo>
                  <a:lnTo>
                    <a:pt x="390" y="706"/>
                  </a:lnTo>
                  <a:lnTo>
                    <a:pt x="392" y="708"/>
                  </a:lnTo>
                  <a:lnTo>
                    <a:pt x="392" y="708"/>
                  </a:lnTo>
                  <a:lnTo>
                    <a:pt x="392" y="708"/>
                  </a:lnTo>
                  <a:lnTo>
                    <a:pt x="392" y="711"/>
                  </a:lnTo>
                  <a:lnTo>
                    <a:pt x="390" y="708"/>
                  </a:lnTo>
                  <a:lnTo>
                    <a:pt x="390" y="708"/>
                  </a:lnTo>
                  <a:lnTo>
                    <a:pt x="387" y="708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4" y="706"/>
                  </a:lnTo>
                  <a:lnTo>
                    <a:pt x="382" y="706"/>
                  </a:lnTo>
                  <a:lnTo>
                    <a:pt x="382" y="706"/>
                  </a:lnTo>
                  <a:lnTo>
                    <a:pt x="379" y="703"/>
                  </a:lnTo>
                  <a:lnTo>
                    <a:pt x="376" y="703"/>
                  </a:lnTo>
                  <a:lnTo>
                    <a:pt x="376" y="703"/>
                  </a:lnTo>
                  <a:lnTo>
                    <a:pt x="376" y="703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6" y="700"/>
                  </a:lnTo>
                  <a:lnTo>
                    <a:pt x="374" y="698"/>
                  </a:lnTo>
                  <a:lnTo>
                    <a:pt x="374" y="698"/>
                  </a:lnTo>
                  <a:lnTo>
                    <a:pt x="374" y="695"/>
                  </a:lnTo>
                  <a:lnTo>
                    <a:pt x="371" y="695"/>
                  </a:lnTo>
                  <a:lnTo>
                    <a:pt x="371" y="692"/>
                  </a:lnTo>
                  <a:lnTo>
                    <a:pt x="368" y="692"/>
                  </a:lnTo>
                  <a:lnTo>
                    <a:pt x="368" y="690"/>
                  </a:lnTo>
                  <a:lnTo>
                    <a:pt x="366" y="687"/>
                  </a:lnTo>
                  <a:lnTo>
                    <a:pt x="363" y="684"/>
                  </a:lnTo>
                  <a:lnTo>
                    <a:pt x="363" y="684"/>
                  </a:lnTo>
                  <a:lnTo>
                    <a:pt x="363" y="684"/>
                  </a:lnTo>
                  <a:lnTo>
                    <a:pt x="360" y="682"/>
                  </a:lnTo>
                  <a:lnTo>
                    <a:pt x="360" y="679"/>
                  </a:lnTo>
                  <a:lnTo>
                    <a:pt x="358" y="676"/>
                  </a:lnTo>
                  <a:lnTo>
                    <a:pt x="352" y="674"/>
                  </a:lnTo>
                  <a:lnTo>
                    <a:pt x="352" y="674"/>
                  </a:lnTo>
                  <a:lnTo>
                    <a:pt x="352" y="671"/>
                  </a:lnTo>
                  <a:lnTo>
                    <a:pt x="347" y="668"/>
                  </a:lnTo>
                  <a:lnTo>
                    <a:pt x="347" y="666"/>
                  </a:lnTo>
                  <a:lnTo>
                    <a:pt x="344" y="663"/>
                  </a:lnTo>
                  <a:lnTo>
                    <a:pt x="344" y="660"/>
                  </a:lnTo>
                  <a:lnTo>
                    <a:pt x="344" y="658"/>
                  </a:lnTo>
                  <a:lnTo>
                    <a:pt x="344" y="655"/>
                  </a:lnTo>
                  <a:lnTo>
                    <a:pt x="342" y="652"/>
                  </a:lnTo>
                  <a:lnTo>
                    <a:pt x="342" y="650"/>
                  </a:lnTo>
                  <a:lnTo>
                    <a:pt x="342" y="647"/>
                  </a:lnTo>
                  <a:lnTo>
                    <a:pt x="342" y="644"/>
                  </a:lnTo>
                  <a:lnTo>
                    <a:pt x="342" y="644"/>
                  </a:lnTo>
                  <a:lnTo>
                    <a:pt x="342" y="642"/>
                  </a:lnTo>
                  <a:lnTo>
                    <a:pt x="342" y="639"/>
                  </a:lnTo>
                  <a:lnTo>
                    <a:pt x="339" y="639"/>
                  </a:lnTo>
                  <a:lnTo>
                    <a:pt x="339" y="636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9" y="634"/>
                  </a:lnTo>
                  <a:lnTo>
                    <a:pt x="339" y="631"/>
                  </a:lnTo>
                  <a:lnTo>
                    <a:pt x="339" y="628"/>
                  </a:lnTo>
                  <a:lnTo>
                    <a:pt x="339" y="628"/>
                  </a:lnTo>
                  <a:lnTo>
                    <a:pt x="339" y="626"/>
                  </a:lnTo>
                  <a:lnTo>
                    <a:pt x="336" y="623"/>
                  </a:lnTo>
                  <a:lnTo>
                    <a:pt x="336" y="620"/>
                  </a:lnTo>
                  <a:lnTo>
                    <a:pt x="336" y="620"/>
                  </a:lnTo>
                  <a:lnTo>
                    <a:pt x="336" y="618"/>
                  </a:lnTo>
                  <a:lnTo>
                    <a:pt x="336" y="615"/>
                  </a:lnTo>
                  <a:lnTo>
                    <a:pt x="336" y="615"/>
                  </a:lnTo>
                  <a:lnTo>
                    <a:pt x="334" y="610"/>
                  </a:lnTo>
                  <a:lnTo>
                    <a:pt x="331" y="610"/>
                  </a:lnTo>
                  <a:lnTo>
                    <a:pt x="331" y="607"/>
                  </a:lnTo>
                  <a:lnTo>
                    <a:pt x="328" y="607"/>
                  </a:lnTo>
                  <a:lnTo>
                    <a:pt x="328" y="604"/>
                  </a:lnTo>
                  <a:lnTo>
                    <a:pt x="328" y="604"/>
                  </a:lnTo>
                  <a:lnTo>
                    <a:pt x="326" y="604"/>
                  </a:lnTo>
                  <a:lnTo>
                    <a:pt x="323" y="602"/>
                  </a:lnTo>
                  <a:lnTo>
                    <a:pt x="323" y="602"/>
                  </a:lnTo>
                  <a:lnTo>
                    <a:pt x="320" y="599"/>
                  </a:lnTo>
                  <a:lnTo>
                    <a:pt x="320" y="599"/>
                  </a:lnTo>
                  <a:lnTo>
                    <a:pt x="318" y="596"/>
                  </a:lnTo>
                  <a:lnTo>
                    <a:pt x="318" y="596"/>
                  </a:lnTo>
                  <a:lnTo>
                    <a:pt x="318" y="594"/>
                  </a:lnTo>
                  <a:lnTo>
                    <a:pt x="315" y="591"/>
                  </a:lnTo>
                  <a:lnTo>
                    <a:pt x="315" y="591"/>
                  </a:lnTo>
                  <a:lnTo>
                    <a:pt x="312" y="588"/>
                  </a:lnTo>
                  <a:lnTo>
                    <a:pt x="310" y="586"/>
                  </a:lnTo>
                  <a:lnTo>
                    <a:pt x="310" y="583"/>
                  </a:lnTo>
                  <a:lnTo>
                    <a:pt x="307" y="580"/>
                  </a:lnTo>
                  <a:lnTo>
                    <a:pt x="307" y="580"/>
                  </a:lnTo>
                  <a:lnTo>
                    <a:pt x="304" y="577"/>
                  </a:lnTo>
                  <a:lnTo>
                    <a:pt x="304" y="575"/>
                  </a:lnTo>
                  <a:lnTo>
                    <a:pt x="304" y="572"/>
                  </a:lnTo>
                  <a:lnTo>
                    <a:pt x="304" y="572"/>
                  </a:lnTo>
                  <a:lnTo>
                    <a:pt x="304" y="569"/>
                  </a:lnTo>
                  <a:lnTo>
                    <a:pt x="304" y="567"/>
                  </a:lnTo>
                  <a:lnTo>
                    <a:pt x="304" y="564"/>
                  </a:lnTo>
                  <a:lnTo>
                    <a:pt x="304" y="564"/>
                  </a:lnTo>
                  <a:lnTo>
                    <a:pt x="304" y="564"/>
                  </a:lnTo>
                  <a:lnTo>
                    <a:pt x="304" y="561"/>
                  </a:lnTo>
                  <a:lnTo>
                    <a:pt x="301" y="561"/>
                  </a:lnTo>
                  <a:lnTo>
                    <a:pt x="301" y="556"/>
                  </a:lnTo>
                  <a:lnTo>
                    <a:pt x="301" y="556"/>
                  </a:lnTo>
                  <a:lnTo>
                    <a:pt x="301" y="556"/>
                  </a:lnTo>
                  <a:lnTo>
                    <a:pt x="301" y="553"/>
                  </a:lnTo>
                  <a:lnTo>
                    <a:pt x="301" y="553"/>
                  </a:lnTo>
                  <a:lnTo>
                    <a:pt x="301" y="551"/>
                  </a:lnTo>
                  <a:lnTo>
                    <a:pt x="301" y="551"/>
                  </a:lnTo>
                  <a:lnTo>
                    <a:pt x="301" y="548"/>
                  </a:lnTo>
                  <a:lnTo>
                    <a:pt x="301" y="548"/>
                  </a:lnTo>
                  <a:lnTo>
                    <a:pt x="301" y="545"/>
                  </a:lnTo>
                  <a:lnTo>
                    <a:pt x="301" y="543"/>
                  </a:lnTo>
                  <a:lnTo>
                    <a:pt x="301" y="543"/>
                  </a:lnTo>
                  <a:lnTo>
                    <a:pt x="301" y="540"/>
                  </a:lnTo>
                  <a:lnTo>
                    <a:pt x="301" y="540"/>
                  </a:lnTo>
                  <a:lnTo>
                    <a:pt x="299" y="5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4" name="Freeform 8890">
              <a:extLst>
                <a:ext uri="{FF2B5EF4-FFF2-40B4-BE49-F238E27FC236}">
                  <a16:creationId xmlns:a16="http://schemas.microsoft.com/office/drawing/2014/main" id="{7C36DD64-DBBF-AA40-8453-D6B85FD9458A}"/>
                </a:ext>
              </a:extLst>
            </p:cNvPr>
            <p:cNvSpPr/>
            <p:nvPr/>
          </p:nvSpPr>
          <p:spPr bwMode="auto">
            <a:xfrm>
              <a:off x="4756942" y="4283076"/>
              <a:ext cx="1157287" cy="890588"/>
            </a:xfrm>
            <a:custGeom>
              <a:avLst/>
              <a:gdLst>
                <a:gd name="T0" fmla="*/ 112 w 729"/>
                <a:gd name="T1" fmla="*/ 112 h 561"/>
                <a:gd name="T2" fmla="*/ 85 w 729"/>
                <a:gd name="T3" fmla="*/ 120 h 561"/>
                <a:gd name="T4" fmla="*/ 16 w 729"/>
                <a:gd name="T5" fmla="*/ 200 h 561"/>
                <a:gd name="T6" fmla="*/ 21 w 729"/>
                <a:gd name="T7" fmla="*/ 299 h 561"/>
                <a:gd name="T8" fmla="*/ 152 w 729"/>
                <a:gd name="T9" fmla="*/ 374 h 561"/>
                <a:gd name="T10" fmla="*/ 334 w 729"/>
                <a:gd name="T11" fmla="*/ 486 h 561"/>
                <a:gd name="T12" fmla="*/ 347 w 729"/>
                <a:gd name="T13" fmla="*/ 483 h 561"/>
                <a:gd name="T14" fmla="*/ 360 w 729"/>
                <a:gd name="T15" fmla="*/ 481 h 561"/>
                <a:gd name="T16" fmla="*/ 371 w 729"/>
                <a:gd name="T17" fmla="*/ 478 h 561"/>
                <a:gd name="T18" fmla="*/ 379 w 729"/>
                <a:gd name="T19" fmla="*/ 473 h 561"/>
                <a:gd name="T20" fmla="*/ 387 w 729"/>
                <a:gd name="T21" fmla="*/ 489 h 561"/>
                <a:gd name="T22" fmla="*/ 390 w 729"/>
                <a:gd name="T23" fmla="*/ 507 h 561"/>
                <a:gd name="T24" fmla="*/ 392 w 729"/>
                <a:gd name="T25" fmla="*/ 518 h 561"/>
                <a:gd name="T26" fmla="*/ 392 w 729"/>
                <a:gd name="T27" fmla="*/ 542 h 561"/>
                <a:gd name="T28" fmla="*/ 387 w 729"/>
                <a:gd name="T29" fmla="*/ 558 h 561"/>
                <a:gd name="T30" fmla="*/ 398 w 729"/>
                <a:gd name="T31" fmla="*/ 558 h 561"/>
                <a:gd name="T32" fmla="*/ 406 w 729"/>
                <a:gd name="T33" fmla="*/ 555 h 561"/>
                <a:gd name="T34" fmla="*/ 411 w 729"/>
                <a:gd name="T35" fmla="*/ 545 h 561"/>
                <a:gd name="T36" fmla="*/ 419 w 729"/>
                <a:gd name="T37" fmla="*/ 537 h 561"/>
                <a:gd name="T38" fmla="*/ 432 w 729"/>
                <a:gd name="T39" fmla="*/ 531 h 561"/>
                <a:gd name="T40" fmla="*/ 448 w 729"/>
                <a:gd name="T41" fmla="*/ 534 h 561"/>
                <a:gd name="T42" fmla="*/ 462 w 729"/>
                <a:gd name="T43" fmla="*/ 529 h 561"/>
                <a:gd name="T44" fmla="*/ 478 w 729"/>
                <a:gd name="T45" fmla="*/ 521 h 561"/>
                <a:gd name="T46" fmla="*/ 494 w 729"/>
                <a:gd name="T47" fmla="*/ 521 h 561"/>
                <a:gd name="T48" fmla="*/ 507 w 729"/>
                <a:gd name="T49" fmla="*/ 521 h 561"/>
                <a:gd name="T50" fmla="*/ 529 w 729"/>
                <a:gd name="T51" fmla="*/ 502 h 561"/>
                <a:gd name="T52" fmla="*/ 550 w 729"/>
                <a:gd name="T53" fmla="*/ 491 h 561"/>
                <a:gd name="T54" fmla="*/ 563 w 729"/>
                <a:gd name="T55" fmla="*/ 491 h 561"/>
                <a:gd name="T56" fmla="*/ 574 w 729"/>
                <a:gd name="T57" fmla="*/ 486 h 561"/>
                <a:gd name="T58" fmla="*/ 593 w 729"/>
                <a:gd name="T59" fmla="*/ 494 h 561"/>
                <a:gd name="T60" fmla="*/ 601 w 729"/>
                <a:gd name="T61" fmla="*/ 486 h 561"/>
                <a:gd name="T62" fmla="*/ 625 w 729"/>
                <a:gd name="T63" fmla="*/ 486 h 561"/>
                <a:gd name="T64" fmla="*/ 649 w 729"/>
                <a:gd name="T65" fmla="*/ 489 h 561"/>
                <a:gd name="T66" fmla="*/ 689 w 729"/>
                <a:gd name="T67" fmla="*/ 451 h 561"/>
                <a:gd name="T68" fmla="*/ 705 w 729"/>
                <a:gd name="T69" fmla="*/ 416 h 561"/>
                <a:gd name="T70" fmla="*/ 726 w 729"/>
                <a:gd name="T71" fmla="*/ 400 h 561"/>
                <a:gd name="T72" fmla="*/ 726 w 729"/>
                <a:gd name="T73" fmla="*/ 382 h 561"/>
                <a:gd name="T74" fmla="*/ 726 w 729"/>
                <a:gd name="T75" fmla="*/ 368 h 561"/>
                <a:gd name="T76" fmla="*/ 689 w 729"/>
                <a:gd name="T77" fmla="*/ 269 h 561"/>
                <a:gd name="T78" fmla="*/ 577 w 729"/>
                <a:gd name="T79" fmla="*/ 155 h 561"/>
                <a:gd name="T80" fmla="*/ 507 w 729"/>
                <a:gd name="T81" fmla="*/ 131 h 561"/>
                <a:gd name="T82" fmla="*/ 502 w 729"/>
                <a:gd name="T83" fmla="*/ 61 h 561"/>
                <a:gd name="T84" fmla="*/ 395 w 729"/>
                <a:gd name="T85" fmla="*/ 77 h 561"/>
                <a:gd name="T86" fmla="*/ 323 w 729"/>
                <a:gd name="T87" fmla="*/ 42 h 561"/>
                <a:gd name="T88" fmla="*/ 270 w 729"/>
                <a:gd name="T89" fmla="*/ 40 h 561"/>
                <a:gd name="T90" fmla="*/ 259 w 729"/>
                <a:gd name="T91" fmla="*/ 37 h 561"/>
                <a:gd name="T92" fmla="*/ 262 w 729"/>
                <a:gd name="T93" fmla="*/ 26 h 561"/>
                <a:gd name="T94" fmla="*/ 251 w 729"/>
                <a:gd name="T95" fmla="*/ 21 h 561"/>
                <a:gd name="T96" fmla="*/ 245 w 729"/>
                <a:gd name="T97" fmla="*/ 21 h 561"/>
                <a:gd name="T98" fmla="*/ 235 w 729"/>
                <a:gd name="T99" fmla="*/ 24 h 561"/>
                <a:gd name="T100" fmla="*/ 219 w 729"/>
                <a:gd name="T101" fmla="*/ 21 h 561"/>
                <a:gd name="T102" fmla="*/ 192 w 729"/>
                <a:gd name="T103" fmla="*/ 16 h 561"/>
                <a:gd name="T104" fmla="*/ 168 w 729"/>
                <a:gd name="T105" fmla="*/ 8 h 561"/>
                <a:gd name="T106" fmla="*/ 155 w 729"/>
                <a:gd name="T107" fmla="*/ 2 h 561"/>
                <a:gd name="T108" fmla="*/ 155 w 729"/>
                <a:gd name="T109" fmla="*/ 10 h 561"/>
                <a:gd name="T110" fmla="*/ 147 w 729"/>
                <a:gd name="T111" fmla="*/ 21 h 561"/>
                <a:gd name="T112" fmla="*/ 147 w 729"/>
                <a:gd name="T113" fmla="*/ 34 h 561"/>
                <a:gd name="T114" fmla="*/ 136 w 729"/>
                <a:gd name="T115" fmla="*/ 37 h 561"/>
                <a:gd name="T116" fmla="*/ 133 w 729"/>
                <a:gd name="T117" fmla="*/ 50 h 561"/>
                <a:gd name="T118" fmla="*/ 128 w 729"/>
                <a:gd name="T119" fmla="*/ 64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9" h="561" extrusionOk="0">
                  <a:moveTo>
                    <a:pt x="125" y="69"/>
                  </a:moveTo>
                  <a:lnTo>
                    <a:pt x="123" y="69"/>
                  </a:lnTo>
                  <a:lnTo>
                    <a:pt x="125" y="74"/>
                  </a:lnTo>
                  <a:lnTo>
                    <a:pt x="123" y="85"/>
                  </a:lnTo>
                  <a:lnTo>
                    <a:pt x="117" y="98"/>
                  </a:lnTo>
                  <a:lnTo>
                    <a:pt x="117" y="109"/>
                  </a:lnTo>
                  <a:lnTo>
                    <a:pt x="115" y="109"/>
                  </a:lnTo>
                  <a:lnTo>
                    <a:pt x="112" y="109"/>
                  </a:lnTo>
                  <a:lnTo>
                    <a:pt x="112" y="112"/>
                  </a:lnTo>
                  <a:lnTo>
                    <a:pt x="112" y="117"/>
                  </a:lnTo>
                  <a:lnTo>
                    <a:pt x="109" y="120"/>
                  </a:lnTo>
                  <a:lnTo>
                    <a:pt x="109" y="120"/>
                  </a:lnTo>
                  <a:lnTo>
                    <a:pt x="107" y="122"/>
                  </a:lnTo>
                  <a:lnTo>
                    <a:pt x="101" y="122"/>
                  </a:lnTo>
                  <a:lnTo>
                    <a:pt x="96" y="122"/>
                  </a:lnTo>
                  <a:lnTo>
                    <a:pt x="91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72" y="131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1" y="144"/>
                  </a:lnTo>
                  <a:lnTo>
                    <a:pt x="51" y="147"/>
                  </a:lnTo>
                  <a:lnTo>
                    <a:pt x="51" y="168"/>
                  </a:lnTo>
                  <a:lnTo>
                    <a:pt x="43" y="176"/>
                  </a:lnTo>
                  <a:lnTo>
                    <a:pt x="13" y="195"/>
                  </a:lnTo>
                  <a:lnTo>
                    <a:pt x="16" y="200"/>
                  </a:lnTo>
                  <a:lnTo>
                    <a:pt x="13" y="200"/>
                  </a:lnTo>
                  <a:lnTo>
                    <a:pt x="21" y="216"/>
                  </a:lnTo>
                  <a:lnTo>
                    <a:pt x="2" y="224"/>
                  </a:lnTo>
                  <a:lnTo>
                    <a:pt x="10" y="240"/>
                  </a:lnTo>
                  <a:lnTo>
                    <a:pt x="0" y="245"/>
                  </a:lnTo>
                  <a:lnTo>
                    <a:pt x="21" y="269"/>
                  </a:lnTo>
                  <a:lnTo>
                    <a:pt x="19" y="277"/>
                  </a:lnTo>
                  <a:lnTo>
                    <a:pt x="13" y="299"/>
                  </a:lnTo>
                  <a:lnTo>
                    <a:pt x="21" y="299"/>
                  </a:lnTo>
                  <a:lnTo>
                    <a:pt x="24" y="326"/>
                  </a:lnTo>
                  <a:lnTo>
                    <a:pt x="29" y="326"/>
                  </a:lnTo>
                  <a:lnTo>
                    <a:pt x="32" y="342"/>
                  </a:lnTo>
                  <a:lnTo>
                    <a:pt x="64" y="350"/>
                  </a:lnTo>
                  <a:lnTo>
                    <a:pt x="75" y="358"/>
                  </a:lnTo>
                  <a:lnTo>
                    <a:pt x="75" y="358"/>
                  </a:lnTo>
                  <a:lnTo>
                    <a:pt x="128" y="368"/>
                  </a:lnTo>
                  <a:lnTo>
                    <a:pt x="152" y="374"/>
                  </a:lnTo>
                  <a:lnTo>
                    <a:pt x="152" y="374"/>
                  </a:lnTo>
                  <a:lnTo>
                    <a:pt x="152" y="376"/>
                  </a:lnTo>
                  <a:lnTo>
                    <a:pt x="152" y="379"/>
                  </a:lnTo>
                  <a:lnTo>
                    <a:pt x="152" y="379"/>
                  </a:lnTo>
                  <a:lnTo>
                    <a:pt x="208" y="406"/>
                  </a:lnTo>
                  <a:lnTo>
                    <a:pt x="235" y="462"/>
                  </a:lnTo>
                  <a:lnTo>
                    <a:pt x="286" y="459"/>
                  </a:lnTo>
                  <a:lnTo>
                    <a:pt x="302" y="491"/>
                  </a:lnTo>
                  <a:lnTo>
                    <a:pt x="326" y="486"/>
                  </a:lnTo>
                  <a:lnTo>
                    <a:pt x="334" y="486"/>
                  </a:lnTo>
                  <a:lnTo>
                    <a:pt x="334" y="486"/>
                  </a:lnTo>
                  <a:lnTo>
                    <a:pt x="336" y="486"/>
                  </a:lnTo>
                  <a:lnTo>
                    <a:pt x="336" y="486"/>
                  </a:lnTo>
                  <a:lnTo>
                    <a:pt x="339" y="486"/>
                  </a:lnTo>
                  <a:lnTo>
                    <a:pt x="342" y="486"/>
                  </a:lnTo>
                  <a:lnTo>
                    <a:pt x="342" y="486"/>
                  </a:lnTo>
                  <a:lnTo>
                    <a:pt x="344" y="486"/>
                  </a:lnTo>
                  <a:lnTo>
                    <a:pt x="344" y="483"/>
                  </a:lnTo>
                  <a:lnTo>
                    <a:pt x="347" y="483"/>
                  </a:lnTo>
                  <a:lnTo>
                    <a:pt x="347" y="483"/>
                  </a:lnTo>
                  <a:lnTo>
                    <a:pt x="350" y="483"/>
                  </a:lnTo>
                  <a:lnTo>
                    <a:pt x="355" y="481"/>
                  </a:lnTo>
                  <a:lnTo>
                    <a:pt x="355" y="483"/>
                  </a:lnTo>
                  <a:lnTo>
                    <a:pt x="355" y="483"/>
                  </a:lnTo>
                  <a:lnTo>
                    <a:pt x="358" y="483"/>
                  </a:lnTo>
                  <a:lnTo>
                    <a:pt x="358" y="483"/>
                  </a:lnTo>
                  <a:lnTo>
                    <a:pt x="360" y="483"/>
                  </a:lnTo>
                  <a:lnTo>
                    <a:pt x="360" y="481"/>
                  </a:lnTo>
                  <a:lnTo>
                    <a:pt x="363" y="481"/>
                  </a:lnTo>
                  <a:lnTo>
                    <a:pt x="363" y="483"/>
                  </a:lnTo>
                  <a:lnTo>
                    <a:pt x="366" y="483"/>
                  </a:lnTo>
                  <a:lnTo>
                    <a:pt x="366" y="483"/>
                  </a:lnTo>
                  <a:lnTo>
                    <a:pt x="368" y="483"/>
                  </a:lnTo>
                  <a:lnTo>
                    <a:pt x="371" y="483"/>
                  </a:lnTo>
                  <a:lnTo>
                    <a:pt x="371" y="481"/>
                  </a:lnTo>
                  <a:lnTo>
                    <a:pt x="371" y="481"/>
                  </a:lnTo>
                  <a:lnTo>
                    <a:pt x="371" y="478"/>
                  </a:lnTo>
                  <a:lnTo>
                    <a:pt x="371" y="478"/>
                  </a:lnTo>
                  <a:lnTo>
                    <a:pt x="371" y="475"/>
                  </a:lnTo>
                  <a:lnTo>
                    <a:pt x="371" y="473"/>
                  </a:lnTo>
                  <a:lnTo>
                    <a:pt x="374" y="473"/>
                  </a:lnTo>
                  <a:lnTo>
                    <a:pt x="374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9" y="473"/>
                  </a:lnTo>
                  <a:lnTo>
                    <a:pt x="379" y="473"/>
                  </a:lnTo>
                  <a:lnTo>
                    <a:pt x="382" y="475"/>
                  </a:lnTo>
                  <a:lnTo>
                    <a:pt x="382" y="475"/>
                  </a:lnTo>
                  <a:lnTo>
                    <a:pt x="384" y="475"/>
                  </a:lnTo>
                  <a:lnTo>
                    <a:pt x="384" y="473"/>
                  </a:lnTo>
                  <a:lnTo>
                    <a:pt x="387" y="473"/>
                  </a:lnTo>
                  <a:lnTo>
                    <a:pt x="387" y="473"/>
                  </a:lnTo>
                  <a:lnTo>
                    <a:pt x="395" y="483"/>
                  </a:lnTo>
                  <a:lnTo>
                    <a:pt x="395" y="486"/>
                  </a:lnTo>
                  <a:lnTo>
                    <a:pt x="387" y="489"/>
                  </a:lnTo>
                  <a:lnTo>
                    <a:pt x="387" y="491"/>
                  </a:lnTo>
                  <a:lnTo>
                    <a:pt x="390" y="491"/>
                  </a:lnTo>
                  <a:lnTo>
                    <a:pt x="390" y="494"/>
                  </a:lnTo>
                  <a:lnTo>
                    <a:pt x="387" y="497"/>
                  </a:lnTo>
                  <a:lnTo>
                    <a:pt x="387" y="497"/>
                  </a:lnTo>
                  <a:lnTo>
                    <a:pt x="382" y="502"/>
                  </a:lnTo>
                  <a:lnTo>
                    <a:pt x="382" y="505"/>
                  </a:lnTo>
                  <a:lnTo>
                    <a:pt x="384" y="502"/>
                  </a:lnTo>
                  <a:lnTo>
                    <a:pt x="390" y="507"/>
                  </a:lnTo>
                  <a:lnTo>
                    <a:pt x="387" y="510"/>
                  </a:lnTo>
                  <a:lnTo>
                    <a:pt x="387" y="507"/>
                  </a:lnTo>
                  <a:lnTo>
                    <a:pt x="384" y="507"/>
                  </a:lnTo>
                  <a:lnTo>
                    <a:pt x="384" y="510"/>
                  </a:lnTo>
                  <a:lnTo>
                    <a:pt x="382" y="513"/>
                  </a:lnTo>
                  <a:lnTo>
                    <a:pt x="384" y="515"/>
                  </a:lnTo>
                  <a:lnTo>
                    <a:pt x="387" y="518"/>
                  </a:lnTo>
                  <a:lnTo>
                    <a:pt x="390" y="515"/>
                  </a:lnTo>
                  <a:lnTo>
                    <a:pt x="392" y="518"/>
                  </a:lnTo>
                  <a:lnTo>
                    <a:pt x="390" y="521"/>
                  </a:lnTo>
                  <a:lnTo>
                    <a:pt x="387" y="523"/>
                  </a:lnTo>
                  <a:lnTo>
                    <a:pt x="387" y="523"/>
                  </a:lnTo>
                  <a:lnTo>
                    <a:pt x="387" y="526"/>
                  </a:lnTo>
                  <a:lnTo>
                    <a:pt x="392" y="531"/>
                  </a:lnTo>
                  <a:lnTo>
                    <a:pt x="390" y="531"/>
                  </a:lnTo>
                  <a:lnTo>
                    <a:pt x="395" y="539"/>
                  </a:lnTo>
                  <a:lnTo>
                    <a:pt x="392" y="539"/>
                  </a:lnTo>
                  <a:lnTo>
                    <a:pt x="392" y="542"/>
                  </a:lnTo>
                  <a:lnTo>
                    <a:pt x="392" y="545"/>
                  </a:lnTo>
                  <a:lnTo>
                    <a:pt x="390" y="542"/>
                  </a:lnTo>
                  <a:lnTo>
                    <a:pt x="387" y="550"/>
                  </a:lnTo>
                  <a:lnTo>
                    <a:pt x="384" y="550"/>
                  </a:lnTo>
                  <a:lnTo>
                    <a:pt x="382" y="550"/>
                  </a:lnTo>
                  <a:lnTo>
                    <a:pt x="379" y="553"/>
                  </a:lnTo>
                  <a:lnTo>
                    <a:pt x="387" y="555"/>
                  </a:lnTo>
                  <a:lnTo>
                    <a:pt x="387" y="558"/>
                  </a:lnTo>
                  <a:lnTo>
                    <a:pt x="387" y="558"/>
                  </a:lnTo>
                  <a:lnTo>
                    <a:pt x="390" y="558"/>
                  </a:lnTo>
                  <a:lnTo>
                    <a:pt x="390" y="555"/>
                  </a:lnTo>
                  <a:lnTo>
                    <a:pt x="390" y="555"/>
                  </a:lnTo>
                  <a:lnTo>
                    <a:pt x="392" y="555"/>
                  </a:lnTo>
                  <a:lnTo>
                    <a:pt x="392" y="555"/>
                  </a:lnTo>
                  <a:lnTo>
                    <a:pt x="395" y="555"/>
                  </a:lnTo>
                  <a:lnTo>
                    <a:pt x="392" y="561"/>
                  </a:lnTo>
                  <a:lnTo>
                    <a:pt x="395" y="561"/>
                  </a:lnTo>
                  <a:lnTo>
                    <a:pt x="398" y="558"/>
                  </a:lnTo>
                  <a:lnTo>
                    <a:pt x="398" y="558"/>
                  </a:lnTo>
                  <a:lnTo>
                    <a:pt x="398" y="561"/>
                  </a:lnTo>
                  <a:lnTo>
                    <a:pt x="403" y="561"/>
                  </a:lnTo>
                  <a:lnTo>
                    <a:pt x="403" y="561"/>
                  </a:lnTo>
                  <a:lnTo>
                    <a:pt x="403" y="558"/>
                  </a:lnTo>
                  <a:lnTo>
                    <a:pt x="406" y="558"/>
                  </a:lnTo>
                  <a:lnTo>
                    <a:pt x="406" y="558"/>
                  </a:lnTo>
                  <a:lnTo>
                    <a:pt x="406" y="555"/>
                  </a:lnTo>
                  <a:lnTo>
                    <a:pt x="406" y="555"/>
                  </a:lnTo>
                  <a:lnTo>
                    <a:pt x="406" y="553"/>
                  </a:lnTo>
                  <a:lnTo>
                    <a:pt x="406" y="553"/>
                  </a:lnTo>
                  <a:lnTo>
                    <a:pt x="408" y="553"/>
                  </a:lnTo>
                  <a:lnTo>
                    <a:pt x="408" y="550"/>
                  </a:lnTo>
                  <a:lnTo>
                    <a:pt x="408" y="550"/>
                  </a:lnTo>
                  <a:lnTo>
                    <a:pt x="411" y="550"/>
                  </a:lnTo>
                  <a:lnTo>
                    <a:pt x="411" y="550"/>
                  </a:lnTo>
                  <a:lnTo>
                    <a:pt x="411" y="547"/>
                  </a:lnTo>
                  <a:lnTo>
                    <a:pt x="411" y="545"/>
                  </a:lnTo>
                  <a:lnTo>
                    <a:pt x="411" y="545"/>
                  </a:lnTo>
                  <a:lnTo>
                    <a:pt x="414" y="545"/>
                  </a:lnTo>
                  <a:lnTo>
                    <a:pt x="414" y="545"/>
                  </a:lnTo>
                  <a:lnTo>
                    <a:pt x="414" y="542"/>
                  </a:lnTo>
                  <a:lnTo>
                    <a:pt x="414" y="542"/>
                  </a:lnTo>
                  <a:lnTo>
                    <a:pt x="414" y="539"/>
                  </a:lnTo>
                  <a:lnTo>
                    <a:pt x="416" y="539"/>
                  </a:lnTo>
                  <a:lnTo>
                    <a:pt x="419" y="539"/>
                  </a:lnTo>
                  <a:lnTo>
                    <a:pt x="419" y="537"/>
                  </a:lnTo>
                  <a:lnTo>
                    <a:pt x="419" y="537"/>
                  </a:lnTo>
                  <a:lnTo>
                    <a:pt x="419" y="534"/>
                  </a:lnTo>
                  <a:lnTo>
                    <a:pt x="422" y="537"/>
                  </a:lnTo>
                  <a:lnTo>
                    <a:pt x="422" y="534"/>
                  </a:lnTo>
                  <a:lnTo>
                    <a:pt x="424" y="534"/>
                  </a:lnTo>
                  <a:lnTo>
                    <a:pt x="424" y="531"/>
                  </a:lnTo>
                  <a:lnTo>
                    <a:pt x="424" y="529"/>
                  </a:lnTo>
                  <a:lnTo>
                    <a:pt x="430" y="529"/>
                  </a:lnTo>
                  <a:lnTo>
                    <a:pt x="432" y="531"/>
                  </a:lnTo>
                  <a:lnTo>
                    <a:pt x="435" y="529"/>
                  </a:lnTo>
                  <a:lnTo>
                    <a:pt x="440" y="529"/>
                  </a:lnTo>
                  <a:lnTo>
                    <a:pt x="440" y="529"/>
                  </a:lnTo>
                  <a:lnTo>
                    <a:pt x="443" y="531"/>
                  </a:lnTo>
                  <a:lnTo>
                    <a:pt x="443" y="534"/>
                  </a:lnTo>
                  <a:lnTo>
                    <a:pt x="446" y="537"/>
                  </a:lnTo>
                  <a:lnTo>
                    <a:pt x="446" y="537"/>
                  </a:lnTo>
                  <a:lnTo>
                    <a:pt x="448" y="537"/>
                  </a:lnTo>
                  <a:lnTo>
                    <a:pt x="448" y="534"/>
                  </a:lnTo>
                  <a:lnTo>
                    <a:pt x="448" y="531"/>
                  </a:lnTo>
                  <a:lnTo>
                    <a:pt x="451" y="531"/>
                  </a:lnTo>
                  <a:lnTo>
                    <a:pt x="451" y="531"/>
                  </a:lnTo>
                  <a:lnTo>
                    <a:pt x="454" y="531"/>
                  </a:lnTo>
                  <a:lnTo>
                    <a:pt x="454" y="531"/>
                  </a:lnTo>
                  <a:lnTo>
                    <a:pt x="456" y="529"/>
                  </a:lnTo>
                  <a:lnTo>
                    <a:pt x="459" y="529"/>
                  </a:lnTo>
                  <a:lnTo>
                    <a:pt x="459" y="529"/>
                  </a:lnTo>
                  <a:lnTo>
                    <a:pt x="462" y="529"/>
                  </a:lnTo>
                  <a:lnTo>
                    <a:pt x="464" y="526"/>
                  </a:lnTo>
                  <a:lnTo>
                    <a:pt x="467" y="526"/>
                  </a:lnTo>
                  <a:lnTo>
                    <a:pt x="470" y="526"/>
                  </a:lnTo>
                  <a:lnTo>
                    <a:pt x="470" y="523"/>
                  </a:lnTo>
                  <a:lnTo>
                    <a:pt x="472" y="523"/>
                  </a:lnTo>
                  <a:lnTo>
                    <a:pt x="475" y="523"/>
                  </a:lnTo>
                  <a:lnTo>
                    <a:pt x="478" y="521"/>
                  </a:lnTo>
                  <a:lnTo>
                    <a:pt x="478" y="521"/>
                  </a:lnTo>
                  <a:lnTo>
                    <a:pt x="478" y="521"/>
                  </a:lnTo>
                  <a:lnTo>
                    <a:pt x="480" y="523"/>
                  </a:lnTo>
                  <a:lnTo>
                    <a:pt x="480" y="523"/>
                  </a:lnTo>
                  <a:lnTo>
                    <a:pt x="483" y="526"/>
                  </a:lnTo>
                  <a:lnTo>
                    <a:pt x="483" y="526"/>
                  </a:lnTo>
                  <a:lnTo>
                    <a:pt x="486" y="523"/>
                  </a:lnTo>
                  <a:lnTo>
                    <a:pt x="488" y="523"/>
                  </a:lnTo>
                  <a:lnTo>
                    <a:pt x="488" y="521"/>
                  </a:lnTo>
                  <a:lnTo>
                    <a:pt x="491" y="518"/>
                  </a:lnTo>
                  <a:lnTo>
                    <a:pt x="494" y="521"/>
                  </a:lnTo>
                  <a:lnTo>
                    <a:pt x="494" y="521"/>
                  </a:lnTo>
                  <a:lnTo>
                    <a:pt x="497" y="521"/>
                  </a:lnTo>
                  <a:lnTo>
                    <a:pt x="497" y="518"/>
                  </a:lnTo>
                  <a:lnTo>
                    <a:pt x="499" y="518"/>
                  </a:lnTo>
                  <a:lnTo>
                    <a:pt x="502" y="518"/>
                  </a:lnTo>
                  <a:lnTo>
                    <a:pt x="505" y="521"/>
                  </a:lnTo>
                  <a:lnTo>
                    <a:pt x="505" y="521"/>
                  </a:lnTo>
                  <a:lnTo>
                    <a:pt x="507" y="521"/>
                  </a:lnTo>
                  <a:lnTo>
                    <a:pt x="507" y="521"/>
                  </a:lnTo>
                  <a:lnTo>
                    <a:pt x="510" y="521"/>
                  </a:lnTo>
                  <a:lnTo>
                    <a:pt x="521" y="521"/>
                  </a:lnTo>
                  <a:lnTo>
                    <a:pt x="521" y="518"/>
                  </a:lnTo>
                  <a:lnTo>
                    <a:pt x="515" y="513"/>
                  </a:lnTo>
                  <a:lnTo>
                    <a:pt x="515" y="513"/>
                  </a:lnTo>
                  <a:lnTo>
                    <a:pt x="529" y="510"/>
                  </a:lnTo>
                  <a:lnTo>
                    <a:pt x="529" y="507"/>
                  </a:lnTo>
                  <a:lnTo>
                    <a:pt x="529" y="505"/>
                  </a:lnTo>
                  <a:lnTo>
                    <a:pt x="529" y="502"/>
                  </a:lnTo>
                  <a:lnTo>
                    <a:pt x="534" y="502"/>
                  </a:lnTo>
                  <a:lnTo>
                    <a:pt x="534" y="502"/>
                  </a:lnTo>
                  <a:lnTo>
                    <a:pt x="539" y="502"/>
                  </a:lnTo>
                  <a:lnTo>
                    <a:pt x="539" y="497"/>
                  </a:lnTo>
                  <a:lnTo>
                    <a:pt x="542" y="497"/>
                  </a:lnTo>
                  <a:lnTo>
                    <a:pt x="542" y="497"/>
                  </a:lnTo>
                  <a:lnTo>
                    <a:pt x="545" y="494"/>
                  </a:lnTo>
                  <a:lnTo>
                    <a:pt x="547" y="491"/>
                  </a:lnTo>
                  <a:lnTo>
                    <a:pt x="550" y="491"/>
                  </a:lnTo>
                  <a:lnTo>
                    <a:pt x="550" y="489"/>
                  </a:lnTo>
                  <a:lnTo>
                    <a:pt x="553" y="486"/>
                  </a:lnTo>
                  <a:lnTo>
                    <a:pt x="553" y="483"/>
                  </a:lnTo>
                  <a:lnTo>
                    <a:pt x="555" y="483"/>
                  </a:lnTo>
                  <a:lnTo>
                    <a:pt x="558" y="483"/>
                  </a:lnTo>
                  <a:lnTo>
                    <a:pt x="561" y="489"/>
                  </a:lnTo>
                  <a:lnTo>
                    <a:pt x="561" y="489"/>
                  </a:lnTo>
                  <a:lnTo>
                    <a:pt x="561" y="491"/>
                  </a:lnTo>
                  <a:lnTo>
                    <a:pt x="563" y="491"/>
                  </a:lnTo>
                  <a:lnTo>
                    <a:pt x="563" y="491"/>
                  </a:lnTo>
                  <a:lnTo>
                    <a:pt x="563" y="491"/>
                  </a:lnTo>
                  <a:lnTo>
                    <a:pt x="566" y="491"/>
                  </a:lnTo>
                  <a:lnTo>
                    <a:pt x="569" y="491"/>
                  </a:lnTo>
                  <a:lnTo>
                    <a:pt x="569" y="491"/>
                  </a:lnTo>
                  <a:lnTo>
                    <a:pt x="571" y="489"/>
                  </a:lnTo>
                  <a:lnTo>
                    <a:pt x="571" y="491"/>
                  </a:lnTo>
                  <a:lnTo>
                    <a:pt x="574" y="491"/>
                  </a:lnTo>
                  <a:lnTo>
                    <a:pt x="574" y="486"/>
                  </a:lnTo>
                  <a:lnTo>
                    <a:pt x="577" y="486"/>
                  </a:lnTo>
                  <a:lnTo>
                    <a:pt x="582" y="489"/>
                  </a:lnTo>
                  <a:lnTo>
                    <a:pt x="585" y="486"/>
                  </a:lnTo>
                  <a:lnTo>
                    <a:pt x="587" y="489"/>
                  </a:lnTo>
                  <a:lnTo>
                    <a:pt x="585" y="491"/>
                  </a:lnTo>
                  <a:lnTo>
                    <a:pt x="585" y="494"/>
                  </a:lnTo>
                  <a:lnTo>
                    <a:pt x="587" y="497"/>
                  </a:lnTo>
                  <a:lnTo>
                    <a:pt x="590" y="497"/>
                  </a:lnTo>
                  <a:lnTo>
                    <a:pt x="593" y="494"/>
                  </a:lnTo>
                  <a:lnTo>
                    <a:pt x="593" y="494"/>
                  </a:lnTo>
                  <a:lnTo>
                    <a:pt x="593" y="494"/>
                  </a:lnTo>
                  <a:lnTo>
                    <a:pt x="593" y="497"/>
                  </a:lnTo>
                  <a:lnTo>
                    <a:pt x="595" y="497"/>
                  </a:lnTo>
                  <a:lnTo>
                    <a:pt x="601" y="497"/>
                  </a:lnTo>
                  <a:lnTo>
                    <a:pt x="601" y="497"/>
                  </a:lnTo>
                  <a:lnTo>
                    <a:pt x="603" y="497"/>
                  </a:lnTo>
                  <a:lnTo>
                    <a:pt x="606" y="494"/>
                  </a:lnTo>
                  <a:lnTo>
                    <a:pt x="601" y="486"/>
                  </a:lnTo>
                  <a:lnTo>
                    <a:pt x="606" y="486"/>
                  </a:lnTo>
                  <a:lnTo>
                    <a:pt x="606" y="489"/>
                  </a:lnTo>
                  <a:lnTo>
                    <a:pt x="606" y="489"/>
                  </a:lnTo>
                  <a:lnTo>
                    <a:pt x="611" y="489"/>
                  </a:lnTo>
                  <a:lnTo>
                    <a:pt x="617" y="486"/>
                  </a:lnTo>
                  <a:lnTo>
                    <a:pt x="617" y="491"/>
                  </a:lnTo>
                  <a:lnTo>
                    <a:pt x="611" y="491"/>
                  </a:lnTo>
                  <a:lnTo>
                    <a:pt x="614" y="494"/>
                  </a:lnTo>
                  <a:lnTo>
                    <a:pt x="625" y="486"/>
                  </a:lnTo>
                  <a:lnTo>
                    <a:pt x="627" y="494"/>
                  </a:lnTo>
                  <a:lnTo>
                    <a:pt x="627" y="497"/>
                  </a:lnTo>
                  <a:lnTo>
                    <a:pt x="627" y="499"/>
                  </a:lnTo>
                  <a:lnTo>
                    <a:pt x="633" y="497"/>
                  </a:lnTo>
                  <a:lnTo>
                    <a:pt x="633" y="499"/>
                  </a:lnTo>
                  <a:lnTo>
                    <a:pt x="635" y="499"/>
                  </a:lnTo>
                  <a:lnTo>
                    <a:pt x="641" y="494"/>
                  </a:lnTo>
                  <a:lnTo>
                    <a:pt x="646" y="491"/>
                  </a:lnTo>
                  <a:lnTo>
                    <a:pt x="649" y="489"/>
                  </a:lnTo>
                  <a:lnTo>
                    <a:pt x="654" y="486"/>
                  </a:lnTo>
                  <a:lnTo>
                    <a:pt x="659" y="483"/>
                  </a:lnTo>
                  <a:lnTo>
                    <a:pt x="665" y="478"/>
                  </a:lnTo>
                  <a:lnTo>
                    <a:pt x="670" y="475"/>
                  </a:lnTo>
                  <a:lnTo>
                    <a:pt x="673" y="475"/>
                  </a:lnTo>
                  <a:lnTo>
                    <a:pt x="678" y="481"/>
                  </a:lnTo>
                  <a:lnTo>
                    <a:pt x="681" y="478"/>
                  </a:lnTo>
                  <a:lnTo>
                    <a:pt x="691" y="451"/>
                  </a:lnTo>
                  <a:lnTo>
                    <a:pt x="689" y="451"/>
                  </a:lnTo>
                  <a:lnTo>
                    <a:pt x="689" y="451"/>
                  </a:lnTo>
                  <a:lnTo>
                    <a:pt x="678" y="449"/>
                  </a:lnTo>
                  <a:lnTo>
                    <a:pt x="678" y="446"/>
                  </a:lnTo>
                  <a:lnTo>
                    <a:pt x="681" y="443"/>
                  </a:lnTo>
                  <a:lnTo>
                    <a:pt x="686" y="438"/>
                  </a:lnTo>
                  <a:lnTo>
                    <a:pt x="689" y="438"/>
                  </a:lnTo>
                  <a:lnTo>
                    <a:pt x="694" y="427"/>
                  </a:lnTo>
                  <a:lnTo>
                    <a:pt x="699" y="416"/>
                  </a:lnTo>
                  <a:lnTo>
                    <a:pt x="705" y="416"/>
                  </a:lnTo>
                  <a:lnTo>
                    <a:pt x="705" y="411"/>
                  </a:lnTo>
                  <a:lnTo>
                    <a:pt x="713" y="411"/>
                  </a:lnTo>
                  <a:lnTo>
                    <a:pt x="715" y="414"/>
                  </a:lnTo>
                  <a:lnTo>
                    <a:pt x="715" y="411"/>
                  </a:lnTo>
                  <a:lnTo>
                    <a:pt x="713" y="408"/>
                  </a:lnTo>
                  <a:lnTo>
                    <a:pt x="715" y="400"/>
                  </a:lnTo>
                  <a:lnTo>
                    <a:pt x="718" y="403"/>
                  </a:lnTo>
                  <a:lnTo>
                    <a:pt x="726" y="400"/>
                  </a:lnTo>
                  <a:lnTo>
                    <a:pt x="726" y="400"/>
                  </a:lnTo>
                  <a:lnTo>
                    <a:pt x="726" y="400"/>
                  </a:lnTo>
                  <a:lnTo>
                    <a:pt x="729" y="398"/>
                  </a:lnTo>
                  <a:lnTo>
                    <a:pt x="726" y="395"/>
                  </a:lnTo>
                  <a:lnTo>
                    <a:pt x="726" y="392"/>
                  </a:lnTo>
                  <a:lnTo>
                    <a:pt x="726" y="392"/>
                  </a:lnTo>
                  <a:lnTo>
                    <a:pt x="729" y="390"/>
                  </a:lnTo>
                  <a:lnTo>
                    <a:pt x="726" y="387"/>
                  </a:lnTo>
                  <a:lnTo>
                    <a:pt x="726" y="384"/>
                  </a:lnTo>
                  <a:lnTo>
                    <a:pt x="726" y="382"/>
                  </a:lnTo>
                  <a:lnTo>
                    <a:pt x="726" y="382"/>
                  </a:lnTo>
                  <a:lnTo>
                    <a:pt x="726" y="379"/>
                  </a:lnTo>
                  <a:lnTo>
                    <a:pt x="729" y="379"/>
                  </a:lnTo>
                  <a:lnTo>
                    <a:pt x="729" y="376"/>
                  </a:lnTo>
                  <a:lnTo>
                    <a:pt x="729" y="376"/>
                  </a:lnTo>
                  <a:lnTo>
                    <a:pt x="729" y="374"/>
                  </a:lnTo>
                  <a:lnTo>
                    <a:pt x="729" y="371"/>
                  </a:lnTo>
                  <a:lnTo>
                    <a:pt x="726" y="371"/>
                  </a:lnTo>
                  <a:lnTo>
                    <a:pt x="726" y="368"/>
                  </a:lnTo>
                  <a:lnTo>
                    <a:pt x="726" y="368"/>
                  </a:lnTo>
                  <a:lnTo>
                    <a:pt x="705" y="368"/>
                  </a:lnTo>
                  <a:lnTo>
                    <a:pt x="694" y="358"/>
                  </a:lnTo>
                  <a:lnTo>
                    <a:pt x="665" y="347"/>
                  </a:lnTo>
                  <a:lnTo>
                    <a:pt x="665" y="336"/>
                  </a:lnTo>
                  <a:lnTo>
                    <a:pt x="662" y="336"/>
                  </a:lnTo>
                  <a:lnTo>
                    <a:pt x="657" y="307"/>
                  </a:lnTo>
                  <a:lnTo>
                    <a:pt x="683" y="272"/>
                  </a:lnTo>
                  <a:lnTo>
                    <a:pt x="689" y="269"/>
                  </a:lnTo>
                  <a:lnTo>
                    <a:pt x="707" y="261"/>
                  </a:lnTo>
                  <a:lnTo>
                    <a:pt x="697" y="240"/>
                  </a:lnTo>
                  <a:lnTo>
                    <a:pt x="699" y="232"/>
                  </a:lnTo>
                  <a:lnTo>
                    <a:pt x="665" y="235"/>
                  </a:lnTo>
                  <a:lnTo>
                    <a:pt x="646" y="192"/>
                  </a:lnTo>
                  <a:lnTo>
                    <a:pt x="630" y="187"/>
                  </a:lnTo>
                  <a:lnTo>
                    <a:pt x="627" y="168"/>
                  </a:lnTo>
                  <a:lnTo>
                    <a:pt x="603" y="160"/>
                  </a:lnTo>
                  <a:lnTo>
                    <a:pt x="577" y="155"/>
                  </a:lnTo>
                  <a:lnTo>
                    <a:pt x="547" y="160"/>
                  </a:lnTo>
                  <a:lnTo>
                    <a:pt x="510" y="155"/>
                  </a:lnTo>
                  <a:lnTo>
                    <a:pt x="507" y="155"/>
                  </a:lnTo>
                  <a:lnTo>
                    <a:pt x="505" y="147"/>
                  </a:lnTo>
                  <a:lnTo>
                    <a:pt x="505" y="141"/>
                  </a:lnTo>
                  <a:lnTo>
                    <a:pt x="507" y="139"/>
                  </a:lnTo>
                  <a:lnTo>
                    <a:pt x="507" y="136"/>
                  </a:lnTo>
                  <a:lnTo>
                    <a:pt x="507" y="136"/>
                  </a:lnTo>
                  <a:lnTo>
                    <a:pt x="507" y="131"/>
                  </a:lnTo>
                  <a:lnTo>
                    <a:pt x="507" y="128"/>
                  </a:lnTo>
                  <a:lnTo>
                    <a:pt x="510" y="125"/>
                  </a:lnTo>
                  <a:lnTo>
                    <a:pt x="510" y="125"/>
                  </a:lnTo>
                  <a:lnTo>
                    <a:pt x="513" y="122"/>
                  </a:lnTo>
                  <a:lnTo>
                    <a:pt x="515" y="117"/>
                  </a:lnTo>
                  <a:lnTo>
                    <a:pt x="515" y="114"/>
                  </a:lnTo>
                  <a:lnTo>
                    <a:pt x="518" y="112"/>
                  </a:lnTo>
                  <a:lnTo>
                    <a:pt x="518" y="109"/>
                  </a:lnTo>
                  <a:lnTo>
                    <a:pt x="502" y="61"/>
                  </a:lnTo>
                  <a:lnTo>
                    <a:pt x="502" y="61"/>
                  </a:lnTo>
                  <a:lnTo>
                    <a:pt x="499" y="56"/>
                  </a:lnTo>
                  <a:lnTo>
                    <a:pt x="486" y="58"/>
                  </a:lnTo>
                  <a:lnTo>
                    <a:pt x="464" y="34"/>
                  </a:lnTo>
                  <a:lnTo>
                    <a:pt x="456" y="32"/>
                  </a:lnTo>
                  <a:lnTo>
                    <a:pt x="448" y="32"/>
                  </a:lnTo>
                  <a:lnTo>
                    <a:pt x="408" y="58"/>
                  </a:lnTo>
                  <a:lnTo>
                    <a:pt x="406" y="69"/>
                  </a:lnTo>
                  <a:lnTo>
                    <a:pt x="395" y="77"/>
                  </a:lnTo>
                  <a:lnTo>
                    <a:pt x="382" y="61"/>
                  </a:lnTo>
                  <a:lnTo>
                    <a:pt x="368" y="61"/>
                  </a:lnTo>
                  <a:lnTo>
                    <a:pt x="360" y="64"/>
                  </a:lnTo>
                  <a:lnTo>
                    <a:pt x="344" y="56"/>
                  </a:lnTo>
                  <a:lnTo>
                    <a:pt x="344" y="50"/>
                  </a:lnTo>
                  <a:lnTo>
                    <a:pt x="344" y="45"/>
                  </a:lnTo>
                  <a:lnTo>
                    <a:pt x="342" y="45"/>
                  </a:lnTo>
                  <a:lnTo>
                    <a:pt x="328" y="37"/>
                  </a:lnTo>
                  <a:lnTo>
                    <a:pt x="323" y="42"/>
                  </a:lnTo>
                  <a:lnTo>
                    <a:pt x="312" y="40"/>
                  </a:lnTo>
                  <a:lnTo>
                    <a:pt x="302" y="45"/>
                  </a:lnTo>
                  <a:lnTo>
                    <a:pt x="278" y="42"/>
                  </a:lnTo>
                  <a:lnTo>
                    <a:pt x="278" y="40"/>
                  </a:lnTo>
                  <a:lnTo>
                    <a:pt x="275" y="40"/>
                  </a:lnTo>
                  <a:lnTo>
                    <a:pt x="275" y="40"/>
                  </a:lnTo>
                  <a:lnTo>
                    <a:pt x="272" y="40"/>
                  </a:lnTo>
                  <a:lnTo>
                    <a:pt x="272" y="40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67" y="40"/>
                  </a:lnTo>
                  <a:lnTo>
                    <a:pt x="267" y="42"/>
                  </a:lnTo>
                  <a:lnTo>
                    <a:pt x="264" y="42"/>
                  </a:lnTo>
                  <a:lnTo>
                    <a:pt x="264" y="42"/>
                  </a:lnTo>
                  <a:lnTo>
                    <a:pt x="262" y="42"/>
                  </a:lnTo>
                  <a:lnTo>
                    <a:pt x="262" y="40"/>
                  </a:lnTo>
                  <a:lnTo>
                    <a:pt x="262" y="37"/>
                  </a:lnTo>
                  <a:lnTo>
                    <a:pt x="259" y="37"/>
                  </a:lnTo>
                  <a:lnTo>
                    <a:pt x="259" y="37"/>
                  </a:lnTo>
                  <a:lnTo>
                    <a:pt x="259" y="34"/>
                  </a:lnTo>
                  <a:lnTo>
                    <a:pt x="259" y="32"/>
                  </a:lnTo>
                  <a:lnTo>
                    <a:pt x="259" y="32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62" y="29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62" y="26"/>
                  </a:lnTo>
                  <a:lnTo>
                    <a:pt x="259" y="26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6" y="21"/>
                  </a:lnTo>
                  <a:lnTo>
                    <a:pt x="253" y="21"/>
                  </a:lnTo>
                  <a:lnTo>
                    <a:pt x="253" y="24"/>
                  </a:lnTo>
                  <a:lnTo>
                    <a:pt x="251" y="21"/>
                  </a:lnTo>
                  <a:lnTo>
                    <a:pt x="251" y="21"/>
                  </a:lnTo>
                  <a:lnTo>
                    <a:pt x="251" y="24"/>
                  </a:lnTo>
                  <a:lnTo>
                    <a:pt x="251" y="24"/>
                  </a:lnTo>
                  <a:lnTo>
                    <a:pt x="248" y="21"/>
                  </a:lnTo>
                  <a:lnTo>
                    <a:pt x="248" y="24"/>
                  </a:lnTo>
                  <a:lnTo>
                    <a:pt x="248" y="24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3" y="21"/>
                  </a:lnTo>
                  <a:lnTo>
                    <a:pt x="243" y="24"/>
                  </a:lnTo>
                  <a:lnTo>
                    <a:pt x="243" y="24"/>
                  </a:lnTo>
                  <a:lnTo>
                    <a:pt x="240" y="24"/>
                  </a:lnTo>
                  <a:lnTo>
                    <a:pt x="240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5" y="26"/>
                  </a:lnTo>
                  <a:lnTo>
                    <a:pt x="235" y="24"/>
                  </a:lnTo>
                  <a:lnTo>
                    <a:pt x="235" y="21"/>
                  </a:lnTo>
                  <a:lnTo>
                    <a:pt x="232" y="21"/>
                  </a:lnTo>
                  <a:lnTo>
                    <a:pt x="232" y="18"/>
                  </a:lnTo>
                  <a:lnTo>
                    <a:pt x="232" y="18"/>
                  </a:lnTo>
                  <a:lnTo>
                    <a:pt x="232" y="18"/>
                  </a:lnTo>
                  <a:lnTo>
                    <a:pt x="229" y="18"/>
                  </a:lnTo>
                  <a:lnTo>
                    <a:pt x="227" y="21"/>
                  </a:lnTo>
                  <a:lnTo>
                    <a:pt x="221" y="21"/>
                  </a:lnTo>
                  <a:lnTo>
                    <a:pt x="219" y="21"/>
                  </a:lnTo>
                  <a:lnTo>
                    <a:pt x="208" y="16"/>
                  </a:lnTo>
                  <a:lnTo>
                    <a:pt x="205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0" y="18"/>
                  </a:lnTo>
                  <a:lnTo>
                    <a:pt x="197" y="18"/>
                  </a:lnTo>
                  <a:lnTo>
                    <a:pt x="197" y="18"/>
                  </a:lnTo>
                  <a:lnTo>
                    <a:pt x="195" y="18"/>
                  </a:lnTo>
                  <a:lnTo>
                    <a:pt x="192" y="16"/>
                  </a:lnTo>
                  <a:lnTo>
                    <a:pt x="189" y="13"/>
                  </a:lnTo>
                  <a:lnTo>
                    <a:pt x="187" y="10"/>
                  </a:lnTo>
                  <a:lnTo>
                    <a:pt x="184" y="8"/>
                  </a:lnTo>
                  <a:lnTo>
                    <a:pt x="179" y="8"/>
                  </a:lnTo>
                  <a:lnTo>
                    <a:pt x="176" y="8"/>
                  </a:lnTo>
                  <a:lnTo>
                    <a:pt x="173" y="8"/>
                  </a:lnTo>
                  <a:lnTo>
                    <a:pt x="173" y="8"/>
                  </a:lnTo>
                  <a:lnTo>
                    <a:pt x="171" y="8"/>
                  </a:lnTo>
                  <a:lnTo>
                    <a:pt x="168" y="8"/>
                  </a:lnTo>
                  <a:lnTo>
                    <a:pt x="168" y="5"/>
                  </a:lnTo>
                  <a:lnTo>
                    <a:pt x="165" y="2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5" y="13"/>
                  </a:lnTo>
                  <a:lnTo>
                    <a:pt x="152" y="13"/>
                  </a:lnTo>
                  <a:lnTo>
                    <a:pt x="152" y="13"/>
                  </a:lnTo>
                  <a:lnTo>
                    <a:pt x="147" y="16"/>
                  </a:lnTo>
                  <a:lnTo>
                    <a:pt x="149" y="18"/>
                  </a:lnTo>
                  <a:lnTo>
                    <a:pt x="147" y="18"/>
                  </a:lnTo>
                  <a:lnTo>
                    <a:pt x="147" y="18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9" y="21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9" y="26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32"/>
                  </a:lnTo>
                  <a:lnTo>
                    <a:pt x="149" y="34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6" y="37"/>
                  </a:lnTo>
                  <a:lnTo>
                    <a:pt x="136" y="37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61"/>
                  </a:lnTo>
                  <a:lnTo>
                    <a:pt x="131" y="64"/>
                  </a:lnTo>
                  <a:lnTo>
                    <a:pt x="128" y="64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5" y="66"/>
                  </a:lnTo>
                  <a:lnTo>
                    <a:pt x="125" y="69"/>
                  </a:lnTo>
                  <a:lnTo>
                    <a:pt x="125" y="69"/>
                  </a:lnTo>
                  <a:lnTo>
                    <a:pt x="125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5" name="Freeform 8891">
              <a:extLst>
                <a:ext uri="{FF2B5EF4-FFF2-40B4-BE49-F238E27FC236}">
                  <a16:creationId xmlns:a16="http://schemas.microsoft.com/office/drawing/2014/main" id="{6A74E012-0358-EF41-B8F4-59AAF7565219}"/>
                </a:ext>
              </a:extLst>
            </p:cNvPr>
            <p:cNvSpPr/>
            <p:nvPr/>
          </p:nvSpPr>
          <p:spPr bwMode="auto">
            <a:xfrm>
              <a:off x="4663280" y="4826001"/>
              <a:ext cx="847725" cy="669925"/>
            </a:xfrm>
            <a:custGeom>
              <a:avLst/>
              <a:gdLst>
                <a:gd name="T0" fmla="*/ 21 w 534"/>
                <a:gd name="T1" fmla="*/ 240 h 422"/>
                <a:gd name="T2" fmla="*/ 11 w 534"/>
                <a:gd name="T3" fmla="*/ 221 h 422"/>
                <a:gd name="T4" fmla="*/ 3 w 534"/>
                <a:gd name="T5" fmla="*/ 211 h 422"/>
                <a:gd name="T6" fmla="*/ 3 w 534"/>
                <a:gd name="T7" fmla="*/ 192 h 422"/>
                <a:gd name="T8" fmla="*/ 3 w 534"/>
                <a:gd name="T9" fmla="*/ 171 h 422"/>
                <a:gd name="T10" fmla="*/ 13 w 534"/>
                <a:gd name="T11" fmla="*/ 152 h 422"/>
                <a:gd name="T12" fmla="*/ 8 w 534"/>
                <a:gd name="T13" fmla="*/ 136 h 422"/>
                <a:gd name="T14" fmla="*/ 21 w 534"/>
                <a:gd name="T15" fmla="*/ 128 h 422"/>
                <a:gd name="T16" fmla="*/ 56 w 534"/>
                <a:gd name="T17" fmla="*/ 107 h 422"/>
                <a:gd name="T18" fmla="*/ 78 w 534"/>
                <a:gd name="T19" fmla="*/ 104 h 422"/>
                <a:gd name="T20" fmla="*/ 78 w 534"/>
                <a:gd name="T21" fmla="*/ 80 h 422"/>
                <a:gd name="T22" fmla="*/ 78 w 534"/>
                <a:gd name="T23" fmla="*/ 58 h 422"/>
                <a:gd name="T24" fmla="*/ 91 w 534"/>
                <a:gd name="T25" fmla="*/ 42 h 422"/>
                <a:gd name="T26" fmla="*/ 91 w 534"/>
                <a:gd name="T27" fmla="*/ 18 h 422"/>
                <a:gd name="T28" fmla="*/ 294 w 534"/>
                <a:gd name="T29" fmla="*/ 120 h 422"/>
                <a:gd name="T30" fmla="*/ 406 w 534"/>
                <a:gd name="T31" fmla="*/ 141 h 422"/>
                <a:gd name="T32" fmla="*/ 425 w 534"/>
                <a:gd name="T33" fmla="*/ 141 h 422"/>
                <a:gd name="T34" fmla="*/ 438 w 534"/>
                <a:gd name="T35" fmla="*/ 131 h 422"/>
                <a:gd name="T36" fmla="*/ 449 w 534"/>
                <a:gd name="T37" fmla="*/ 152 h 422"/>
                <a:gd name="T38" fmla="*/ 446 w 534"/>
                <a:gd name="T39" fmla="*/ 176 h 422"/>
                <a:gd name="T40" fmla="*/ 449 w 534"/>
                <a:gd name="T41" fmla="*/ 200 h 422"/>
                <a:gd name="T42" fmla="*/ 454 w 534"/>
                <a:gd name="T43" fmla="*/ 213 h 422"/>
                <a:gd name="T44" fmla="*/ 465 w 534"/>
                <a:gd name="T45" fmla="*/ 211 h 422"/>
                <a:gd name="T46" fmla="*/ 473 w 534"/>
                <a:gd name="T47" fmla="*/ 200 h 422"/>
                <a:gd name="T48" fmla="*/ 491 w 534"/>
                <a:gd name="T49" fmla="*/ 189 h 422"/>
                <a:gd name="T50" fmla="*/ 513 w 534"/>
                <a:gd name="T51" fmla="*/ 189 h 422"/>
                <a:gd name="T52" fmla="*/ 515 w 534"/>
                <a:gd name="T53" fmla="*/ 200 h 422"/>
                <a:gd name="T54" fmla="*/ 515 w 534"/>
                <a:gd name="T55" fmla="*/ 213 h 422"/>
                <a:gd name="T56" fmla="*/ 523 w 534"/>
                <a:gd name="T57" fmla="*/ 229 h 422"/>
                <a:gd name="T58" fmla="*/ 523 w 534"/>
                <a:gd name="T59" fmla="*/ 253 h 422"/>
                <a:gd name="T60" fmla="*/ 523 w 534"/>
                <a:gd name="T61" fmla="*/ 270 h 422"/>
                <a:gd name="T62" fmla="*/ 521 w 534"/>
                <a:gd name="T63" fmla="*/ 294 h 422"/>
                <a:gd name="T64" fmla="*/ 529 w 534"/>
                <a:gd name="T65" fmla="*/ 315 h 422"/>
                <a:gd name="T66" fmla="*/ 526 w 534"/>
                <a:gd name="T67" fmla="*/ 323 h 422"/>
                <a:gd name="T68" fmla="*/ 497 w 534"/>
                <a:gd name="T69" fmla="*/ 366 h 422"/>
                <a:gd name="T70" fmla="*/ 483 w 534"/>
                <a:gd name="T71" fmla="*/ 368 h 422"/>
                <a:gd name="T72" fmla="*/ 457 w 534"/>
                <a:gd name="T73" fmla="*/ 374 h 422"/>
                <a:gd name="T74" fmla="*/ 438 w 534"/>
                <a:gd name="T75" fmla="*/ 368 h 422"/>
                <a:gd name="T76" fmla="*/ 417 w 534"/>
                <a:gd name="T77" fmla="*/ 371 h 422"/>
                <a:gd name="T78" fmla="*/ 374 w 534"/>
                <a:gd name="T79" fmla="*/ 419 h 422"/>
                <a:gd name="T80" fmla="*/ 366 w 534"/>
                <a:gd name="T81" fmla="*/ 414 h 422"/>
                <a:gd name="T82" fmla="*/ 358 w 534"/>
                <a:gd name="T83" fmla="*/ 408 h 422"/>
                <a:gd name="T84" fmla="*/ 353 w 534"/>
                <a:gd name="T85" fmla="*/ 400 h 422"/>
                <a:gd name="T86" fmla="*/ 337 w 534"/>
                <a:gd name="T87" fmla="*/ 390 h 422"/>
                <a:gd name="T88" fmla="*/ 337 w 534"/>
                <a:gd name="T89" fmla="*/ 368 h 422"/>
                <a:gd name="T90" fmla="*/ 312 w 534"/>
                <a:gd name="T91" fmla="*/ 352 h 422"/>
                <a:gd name="T92" fmla="*/ 299 w 534"/>
                <a:gd name="T93" fmla="*/ 323 h 422"/>
                <a:gd name="T94" fmla="*/ 267 w 534"/>
                <a:gd name="T95" fmla="*/ 344 h 422"/>
                <a:gd name="T96" fmla="*/ 230 w 534"/>
                <a:gd name="T97" fmla="*/ 363 h 422"/>
                <a:gd name="T98" fmla="*/ 184 w 534"/>
                <a:gd name="T99" fmla="*/ 368 h 422"/>
                <a:gd name="T100" fmla="*/ 152 w 534"/>
                <a:gd name="T101" fmla="*/ 382 h 422"/>
                <a:gd name="T102" fmla="*/ 136 w 534"/>
                <a:gd name="T103" fmla="*/ 379 h 422"/>
                <a:gd name="T104" fmla="*/ 123 w 534"/>
                <a:gd name="T105" fmla="*/ 368 h 422"/>
                <a:gd name="T106" fmla="*/ 115 w 534"/>
                <a:gd name="T107" fmla="*/ 384 h 422"/>
                <a:gd name="T108" fmla="*/ 45 w 534"/>
                <a:gd name="T109" fmla="*/ 299 h 422"/>
                <a:gd name="T110" fmla="*/ 64 w 534"/>
                <a:gd name="T111" fmla="*/ 299 h 422"/>
                <a:gd name="T112" fmla="*/ 69 w 534"/>
                <a:gd name="T113" fmla="*/ 280 h 422"/>
                <a:gd name="T114" fmla="*/ 59 w 534"/>
                <a:gd name="T115" fmla="*/ 280 h 422"/>
                <a:gd name="T116" fmla="*/ 37 w 534"/>
                <a:gd name="T117" fmla="*/ 28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4" h="422" extrusionOk="0">
                  <a:moveTo>
                    <a:pt x="5" y="291"/>
                  </a:moveTo>
                  <a:lnTo>
                    <a:pt x="11" y="267"/>
                  </a:lnTo>
                  <a:lnTo>
                    <a:pt x="13" y="259"/>
                  </a:lnTo>
                  <a:lnTo>
                    <a:pt x="13" y="253"/>
                  </a:lnTo>
                  <a:lnTo>
                    <a:pt x="13" y="251"/>
                  </a:lnTo>
                  <a:lnTo>
                    <a:pt x="16" y="251"/>
                  </a:lnTo>
                  <a:lnTo>
                    <a:pt x="19" y="251"/>
                  </a:lnTo>
                  <a:lnTo>
                    <a:pt x="19" y="251"/>
                  </a:lnTo>
                  <a:lnTo>
                    <a:pt x="21" y="251"/>
                  </a:lnTo>
                  <a:lnTo>
                    <a:pt x="21" y="248"/>
                  </a:lnTo>
                  <a:lnTo>
                    <a:pt x="24" y="245"/>
                  </a:lnTo>
                  <a:lnTo>
                    <a:pt x="24" y="243"/>
                  </a:lnTo>
                  <a:lnTo>
                    <a:pt x="21" y="240"/>
                  </a:lnTo>
                  <a:lnTo>
                    <a:pt x="21" y="240"/>
                  </a:lnTo>
                  <a:lnTo>
                    <a:pt x="24" y="237"/>
                  </a:lnTo>
                  <a:lnTo>
                    <a:pt x="21" y="237"/>
                  </a:lnTo>
                  <a:lnTo>
                    <a:pt x="19" y="237"/>
                  </a:lnTo>
                  <a:lnTo>
                    <a:pt x="16" y="237"/>
                  </a:lnTo>
                  <a:lnTo>
                    <a:pt x="16" y="227"/>
                  </a:lnTo>
                  <a:lnTo>
                    <a:pt x="16" y="224"/>
                  </a:lnTo>
                  <a:lnTo>
                    <a:pt x="13" y="224"/>
                  </a:lnTo>
                  <a:lnTo>
                    <a:pt x="13" y="224"/>
                  </a:lnTo>
                  <a:lnTo>
                    <a:pt x="11" y="224"/>
                  </a:lnTo>
                  <a:lnTo>
                    <a:pt x="11" y="224"/>
                  </a:lnTo>
                  <a:lnTo>
                    <a:pt x="11" y="224"/>
                  </a:lnTo>
                  <a:lnTo>
                    <a:pt x="11" y="221"/>
                  </a:lnTo>
                  <a:lnTo>
                    <a:pt x="11" y="219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11" y="216"/>
                  </a:lnTo>
                  <a:lnTo>
                    <a:pt x="13" y="213"/>
                  </a:lnTo>
                  <a:lnTo>
                    <a:pt x="13" y="213"/>
                  </a:lnTo>
                  <a:lnTo>
                    <a:pt x="11" y="213"/>
                  </a:lnTo>
                  <a:lnTo>
                    <a:pt x="8" y="213"/>
                  </a:lnTo>
                  <a:lnTo>
                    <a:pt x="8" y="213"/>
                  </a:lnTo>
                  <a:lnTo>
                    <a:pt x="5" y="213"/>
                  </a:lnTo>
                  <a:lnTo>
                    <a:pt x="3" y="213"/>
                  </a:lnTo>
                  <a:lnTo>
                    <a:pt x="3" y="213"/>
                  </a:lnTo>
                  <a:lnTo>
                    <a:pt x="3" y="211"/>
                  </a:lnTo>
                  <a:lnTo>
                    <a:pt x="3" y="208"/>
                  </a:lnTo>
                  <a:lnTo>
                    <a:pt x="5" y="208"/>
                  </a:lnTo>
                  <a:lnTo>
                    <a:pt x="5" y="205"/>
                  </a:lnTo>
                  <a:lnTo>
                    <a:pt x="8" y="205"/>
                  </a:lnTo>
                  <a:lnTo>
                    <a:pt x="8" y="205"/>
                  </a:lnTo>
                  <a:lnTo>
                    <a:pt x="8" y="200"/>
                  </a:lnTo>
                  <a:lnTo>
                    <a:pt x="8" y="197"/>
                  </a:lnTo>
                  <a:lnTo>
                    <a:pt x="5" y="197"/>
                  </a:lnTo>
                  <a:lnTo>
                    <a:pt x="5" y="197"/>
                  </a:lnTo>
                  <a:lnTo>
                    <a:pt x="3" y="195"/>
                  </a:lnTo>
                  <a:lnTo>
                    <a:pt x="5" y="192"/>
                  </a:lnTo>
                  <a:lnTo>
                    <a:pt x="3" y="192"/>
                  </a:lnTo>
                  <a:lnTo>
                    <a:pt x="3" y="192"/>
                  </a:lnTo>
                  <a:lnTo>
                    <a:pt x="3" y="189"/>
                  </a:lnTo>
                  <a:lnTo>
                    <a:pt x="3" y="187"/>
                  </a:lnTo>
                  <a:lnTo>
                    <a:pt x="5" y="187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5" y="179"/>
                  </a:lnTo>
                  <a:lnTo>
                    <a:pt x="5" y="176"/>
                  </a:lnTo>
                  <a:lnTo>
                    <a:pt x="3" y="176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3" y="171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0" y="165"/>
                  </a:lnTo>
                  <a:lnTo>
                    <a:pt x="3" y="163"/>
                  </a:lnTo>
                  <a:lnTo>
                    <a:pt x="5" y="163"/>
                  </a:lnTo>
                  <a:lnTo>
                    <a:pt x="3" y="160"/>
                  </a:lnTo>
                  <a:lnTo>
                    <a:pt x="5" y="160"/>
                  </a:lnTo>
                  <a:lnTo>
                    <a:pt x="5" y="157"/>
                  </a:lnTo>
                  <a:lnTo>
                    <a:pt x="8" y="157"/>
                  </a:lnTo>
                  <a:lnTo>
                    <a:pt x="11" y="157"/>
                  </a:lnTo>
                  <a:lnTo>
                    <a:pt x="13" y="157"/>
                  </a:lnTo>
                  <a:lnTo>
                    <a:pt x="13" y="155"/>
                  </a:lnTo>
                  <a:lnTo>
                    <a:pt x="13" y="152"/>
                  </a:lnTo>
                  <a:lnTo>
                    <a:pt x="13" y="149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49"/>
                  </a:lnTo>
                  <a:lnTo>
                    <a:pt x="5" y="147"/>
                  </a:lnTo>
                  <a:lnTo>
                    <a:pt x="8" y="144"/>
                  </a:lnTo>
                  <a:lnTo>
                    <a:pt x="11" y="144"/>
                  </a:lnTo>
                  <a:lnTo>
                    <a:pt x="11" y="141"/>
                  </a:lnTo>
                  <a:lnTo>
                    <a:pt x="13" y="144"/>
                  </a:lnTo>
                  <a:lnTo>
                    <a:pt x="13" y="141"/>
                  </a:lnTo>
                  <a:lnTo>
                    <a:pt x="11" y="141"/>
                  </a:lnTo>
                  <a:lnTo>
                    <a:pt x="11" y="139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11" y="133"/>
                  </a:lnTo>
                  <a:lnTo>
                    <a:pt x="13" y="133"/>
                  </a:lnTo>
                  <a:lnTo>
                    <a:pt x="16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19" y="123"/>
                  </a:lnTo>
                  <a:lnTo>
                    <a:pt x="21" y="117"/>
                  </a:lnTo>
                  <a:lnTo>
                    <a:pt x="29" y="115"/>
                  </a:lnTo>
                  <a:lnTo>
                    <a:pt x="32" y="115"/>
                  </a:lnTo>
                  <a:lnTo>
                    <a:pt x="35" y="112"/>
                  </a:lnTo>
                  <a:lnTo>
                    <a:pt x="35" y="109"/>
                  </a:lnTo>
                  <a:lnTo>
                    <a:pt x="40" y="109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4"/>
                  </a:lnTo>
                  <a:lnTo>
                    <a:pt x="48" y="101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61" y="107"/>
                  </a:lnTo>
                  <a:lnTo>
                    <a:pt x="61" y="104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69" y="107"/>
                  </a:lnTo>
                  <a:lnTo>
                    <a:pt x="72" y="107"/>
                  </a:lnTo>
                  <a:lnTo>
                    <a:pt x="75" y="104"/>
                  </a:lnTo>
                  <a:lnTo>
                    <a:pt x="78" y="104"/>
                  </a:lnTo>
                  <a:lnTo>
                    <a:pt x="83" y="104"/>
                  </a:lnTo>
                  <a:lnTo>
                    <a:pt x="80" y="98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2" y="90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2"/>
                  </a:lnTo>
                  <a:lnTo>
                    <a:pt x="72" y="80"/>
                  </a:lnTo>
                  <a:lnTo>
                    <a:pt x="72" y="77"/>
                  </a:lnTo>
                  <a:lnTo>
                    <a:pt x="78" y="80"/>
                  </a:lnTo>
                  <a:lnTo>
                    <a:pt x="78" y="77"/>
                  </a:lnTo>
                  <a:lnTo>
                    <a:pt x="72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69"/>
                  </a:lnTo>
                  <a:lnTo>
                    <a:pt x="61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7" y="66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72" y="66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80" y="61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56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0"/>
                  </a:lnTo>
                  <a:lnTo>
                    <a:pt x="91" y="48"/>
                  </a:lnTo>
                  <a:lnTo>
                    <a:pt x="91" y="45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0"/>
                  </a:lnTo>
                  <a:lnTo>
                    <a:pt x="94" y="40"/>
                  </a:lnTo>
                  <a:lnTo>
                    <a:pt x="94" y="37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1" y="32"/>
                  </a:lnTo>
                  <a:lnTo>
                    <a:pt x="91" y="29"/>
                  </a:lnTo>
                  <a:lnTo>
                    <a:pt x="91" y="26"/>
                  </a:lnTo>
                  <a:lnTo>
                    <a:pt x="91" y="21"/>
                  </a:lnTo>
                  <a:lnTo>
                    <a:pt x="91" y="18"/>
                  </a:lnTo>
                  <a:lnTo>
                    <a:pt x="94" y="8"/>
                  </a:lnTo>
                  <a:lnTo>
                    <a:pt x="91" y="0"/>
                  </a:lnTo>
                  <a:lnTo>
                    <a:pt x="123" y="8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87" y="26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4"/>
                  </a:lnTo>
                  <a:lnTo>
                    <a:pt x="211" y="37"/>
                  </a:lnTo>
                  <a:lnTo>
                    <a:pt x="211" y="37"/>
                  </a:lnTo>
                  <a:lnTo>
                    <a:pt x="267" y="64"/>
                  </a:lnTo>
                  <a:lnTo>
                    <a:pt x="294" y="120"/>
                  </a:lnTo>
                  <a:lnTo>
                    <a:pt x="345" y="117"/>
                  </a:lnTo>
                  <a:lnTo>
                    <a:pt x="361" y="149"/>
                  </a:lnTo>
                  <a:lnTo>
                    <a:pt x="385" y="144"/>
                  </a:lnTo>
                  <a:lnTo>
                    <a:pt x="393" y="144"/>
                  </a:lnTo>
                  <a:lnTo>
                    <a:pt x="393" y="144"/>
                  </a:lnTo>
                  <a:lnTo>
                    <a:pt x="395" y="144"/>
                  </a:lnTo>
                  <a:lnTo>
                    <a:pt x="395" y="144"/>
                  </a:lnTo>
                  <a:lnTo>
                    <a:pt x="398" y="144"/>
                  </a:lnTo>
                  <a:lnTo>
                    <a:pt x="401" y="144"/>
                  </a:lnTo>
                  <a:lnTo>
                    <a:pt x="401" y="144"/>
                  </a:lnTo>
                  <a:lnTo>
                    <a:pt x="403" y="144"/>
                  </a:lnTo>
                  <a:lnTo>
                    <a:pt x="403" y="141"/>
                  </a:lnTo>
                  <a:lnTo>
                    <a:pt x="406" y="141"/>
                  </a:lnTo>
                  <a:lnTo>
                    <a:pt x="406" y="141"/>
                  </a:lnTo>
                  <a:lnTo>
                    <a:pt x="409" y="141"/>
                  </a:lnTo>
                  <a:lnTo>
                    <a:pt x="414" y="139"/>
                  </a:lnTo>
                  <a:lnTo>
                    <a:pt x="414" y="141"/>
                  </a:lnTo>
                  <a:lnTo>
                    <a:pt x="414" y="141"/>
                  </a:lnTo>
                  <a:lnTo>
                    <a:pt x="417" y="141"/>
                  </a:lnTo>
                  <a:lnTo>
                    <a:pt x="417" y="141"/>
                  </a:lnTo>
                  <a:lnTo>
                    <a:pt x="419" y="141"/>
                  </a:lnTo>
                  <a:lnTo>
                    <a:pt x="419" y="139"/>
                  </a:lnTo>
                  <a:lnTo>
                    <a:pt x="422" y="139"/>
                  </a:lnTo>
                  <a:lnTo>
                    <a:pt x="422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7" y="141"/>
                  </a:lnTo>
                  <a:lnTo>
                    <a:pt x="430" y="141"/>
                  </a:lnTo>
                  <a:lnTo>
                    <a:pt x="430" y="139"/>
                  </a:lnTo>
                  <a:lnTo>
                    <a:pt x="430" y="139"/>
                  </a:lnTo>
                  <a:lnTo>
                    <a:pt x="430" y="136"/>
                  </a:lnTo>
                  <a:lnTo>
                    <a:pt x="430" y="136"/>
                  </a:lnTo>
                  <a:lnTo>
                    <a:pt x="430" y="133"/>
                  </a:lnTo>
                  <a:lnTo>
                    <a:pt x="430" y="131"/>
                  </a:lnTo>
                  <a:lnTo>
                    <a:pt x="433" y="131"/>
                  </a:lnTo>
                  <a:lnTo>
                    <a:pt x="433" y="131"/>
                  </a:lnTo>
                  <a:lnTo>
                    <a:pt x="435" y="131"/>
                  </a:lnTo>
                  <a:lnTo>
                    <a:pt x="435" y="131"/>
                  </a:lnTo>
                  <a:lnTo>
                    <a:pt x="438" y="131"/>
                  </a:lnTo>
                  <a:lnTo>
                    <a:pt x="438" y="131"/>
                  </a:lnTo>
                  <a:lnTo>
                    <a:pt x="441" y="133"/>
                  </a:lnTo>
                  <a:lnTo>
                    <a:pt x="441" y="133"/>
                  </a:lnTo>
                  <a:lnTo>
                    <a:pt x="443" y="133"/>
                  </a:lnTo>
                  <a:lnTo>
                    <a:pt x="443" y="131"/>
                  </a:lnTo>
                  <a:lnTo>
                    <a:pt x="446" y="131"/>
                  </a:lnTo>
                  <a:lnTo>
                    <a:pt x="446" y="131"/>
                  </a:lnTo>
                  <a:lnTo>
                    <a:pt x="454" y="141"/>
                  </a:lnTo>
                  <a:lnTo>
                    <a:pt x="454" y="144"/>
                  </a:lnTo>
                  <a:lnTo>
                    <a:pt x="446" y="147"/>
                  </a:lnTo>
                  <a:lnTo>
                    <a:pt x="446" y="149"/>
                  </a:lnTo>
                  <a:lnTo>
                    <a:pt x="449" y="149"/>
                  </a:lnTo>
                  <a:lnTo>
                    <a:pt x="449" y="152"/>
                  </a:lnTo>
                  <a:lnTo>
                    <a:pt x="446" y="155"/>
                  </a:lnTo>
                  <a:lnTo>
                    <a:pt x="446" y="155"/>
                  </a:lnTo>
                  <a:lnTo>
                    <a:pt x="441" y="160"/>
                  </a:lnTo>
                  <a:lnTo>
                    <a:pt x="441" y="163"/>
                  </a:lnTo>
                  <a:lnTo>
                    <a:pt x="443" y="160"/>
                  </a:lnTo>
                  <a:lnTo>
                    <a:pt x="449" y="165"/>
                  </a:lnTo>
                  <a:lnTo>
                    <a:pt x="446" y="168"/>
                  </a:lnTo>
                  <a:lnTo>
                    <a:pt x="446" y="165"/>
                  </a:lnTo>
                  <a:lnTo>
                    <a:pt x="443" y="165"/>
                  </a:lnTo>
                  <a:lnTo>
                    <a:pt x="443" y="168"/>
                  </a:lnTo>
                  <a:lnTo>
                    <a:pt x="441" y="171"/>
                  </a:lnTo>
                  <a:lnTo>
                    <a:pt x="443" y="173"/>
                  </a:lnTo>
                  <a:lnTo>
                    <a:pt x="446" y="176"/>
                  </a:lnTo>
                  <a:lnTo>
                    <a:pt x="449" y="173"/>
                  </a:lnTo>
                  <a:lnTo>
                    <a:pt x="451" y="176"/>
                  </a:lnTo>
                  <a:lnTo>
                    <a:pt x="449" y="179"/>
                  </a:lnTo>
                  <a:lnTo>
                    <a:pt x="446" y="181"/>
                  </a:lnTo>
                  <a:lnTo>
                    <a:pt x="446" y="181"/>
                  </a:lnTo>
                  <a:lnTo>
                    <a:pt x="446" y="184"/>
                  </a:lnTo>
                  <a:lnTo>
                    <a:pt x="451" y="189"/>
                  </a:lnTo>
                  <a:lnTo>
                    <a:pt x="449" y="189"/>
                  </a:lnTo>
                  <a:lnTo>
                    <a:pt x="454" y="197"/>
                  </a:lnTo>
                  <a:lnTo>
                    <a:pt x="451" y="197"/>
                  </a:lnTo>
                  <a:lnTo>
                    <a:pt x="451" y="200"/>
                  </a:lnTo>
                  <a:lnTo>
                    <a:pt x="451" y="203"/>
                  </a:lnTo>
                  <a:lnTo>
                    <a:pt x="449" y="200"/>
                  </a:lnTo>
                  <a:lnTo>
                    <a:pt x="446" y="208"/>
                  </a:lnTo>
                  <a:lnTo>
                    <a:pt x="443" y="208"/>
                  </a:lnTo>
                  <a:lnTo>
                    <a:pt x="441" y="208"/>
                  </a:lnTo>
                  <a:lnTo>
                    <a:pt x="438" y="211"/>
                  </a:lnTo>
                  <a:lnTo>
                    <a:pt x="446" y="213"/>
                  </a:lnTo>
                  <a:lnTo>
                    <a:pt x="446" y="216"/>
                  </a:lnTo>
                  <a:lnTo>
                    <a:pt x="446" y="216"/>
                  </a:lnTo>
                  <a:lnTo>
                    <a:pt x="449" y="216"/>
                  </a:lnTo>
                  <a:lnTo>
                    <a:pt x="449" y="213"/>
                  </a:lnTo>
                  <a:lnTo>
                    <a:pt x="449" y="213"/>
                  </a:lnTo>
                  <a:lnTo>
                    <a:pt x="451" y="213"/>
                  </a:lnTo>
                  <a:lnTo>
                    <a:pt x="451" y="213"/>
                  </a:lnTo>
                  <a:lnTo>
                    <a:pt x="454" y="213"/>
                  </a:lnTo>
                  <a:lnTo>
                    <a:pt x="451" y="219"/>
                  </a:lnTo>
                  <a:lnTo>
                    <a:pt x="454" y="219"/>
                  </a:lnTo>
                  <a:lnTo>
                    <a:pt x="457" y="216"/>
                  </a:lnTo>
                  <a:lnTo>
                    <a:pt x="457" y="216"/>
                  </a:lnTo>
                  <a:lnTo>
                    <a:pt x="457" y="219"/>
                  </a:lnTo>
                  <a:lnTo>
                    <a:pt x="462" y="219"/>
                  </a:lnTo>
                  <a:lnTo>
                    <a:pt x="462" y="219"/>
                  </a:lnTo>
                  <a:lnTo>
                    <a:pt x="462" y="216"/>
                  </a:lnTo>
                  <a:lnTo>
                    <a:pt x="465" y="216"/>
                  </a:lnTo>
                  <a:lnTo>
                    <a:pt x="465" y="216"/>
                  </a:lnTo>
                  <a:lnTo>
                    <a:pt x="465" y="213"/>
                  </a:lnTo>
                  <a:lnTo>
                    <a:pt x="465" y="213"/>
                  </a:lnTo>
                  <a:lnTo>
                    <a:pt x="465" y="211"/>
                  </a:lnTo>
                  <a:lnTo>
                    <a:pt x="465" y="211"/>
                  </a:lnTo>
                  <a:lnTo>
                    <a:pt x="467" y="211"/>
                  </a:lnTo>
                  <a:lnTo>
                    <a:pt x="467" y="208"/>
                  </a:lnTo>
                  <a:lnTo>
                    <a:pt x="467" y="208"/>
                  </a:lnTo>
                  <a:lnTo>
                    <a:pt x="470" y="208"/>
                  </a:lnTo>
                  <a:lnTo>
                    <a:pt x="470" y="208"/>
                  </a:lnTo>
                  <a:lnTo>
                    <a:pt x="470" y="205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3" y="203"/>
                  </a:lnTo>
                  <a:lnTo>
                    <a:pt x="473" y="203"/>
                  </a:lnTo>
                  <a:lnTo>
                    <a:pt x="473" y="200"/>
                  </a:lnTo>
                  <a:lnTo>
                    <a:pt x="473" y="200"/>
                  </a:lnTo>
                  <a:lnTo>
                    <a:pt x="473" y="197"/>
                  </a:lnTo>
                  <a:lnTo>
                    <a:pt x="475" y="197"/>
                  </a:lnTo>
                  <a:lnTo>
                    <a:pt x="478" y="197"/>
                  </a:lnTo>
                  <a:lnTo>
                    <a:pt x="478" y="195"/>
                  </a:lnTo>
                  <a:lnTo>
                    <a:pt x="478" y="195"/>
                  </a:lnTo>
                  <a:lnTo>
                    <a:pt x="478" y="192"/>
                  </a:lnTo>
                  <a:lnTo>
                    <a:pt x="481" y="195"/>
                  </a:lnTo>
                  <a:lnTo>
                    <a:pt x="481" y="192"/>
                  </a:lnTo>
                  <a:lnTo>
                    <a:pt x="483" y="192"/>
                  </a:lnTo>
                  <a:lnTo>
                    <a:pt x="483" y="189"/>
                  </a:lnTo>
                  <a:lnTo>
                    <a:pt x="483" y="187"/>
                  </a:lnTo>
                  <a:lnTo>
                    <a:pt x="489" y="187"/>
                  </a:lnTo>
                  <a:lnTo>
                    <a:pt x="491" y="189"/>
                  </a:lnTo>
                  <a:lnTo>
                    <a:pt x="494" y="187"/>
                  </a:lnTo>
                  <a:lnTo>
                    <a:pt x="499" y="187"/>
                  </a:lnTo>
                  <a:lnTo>
                    <a:pt x="499" y="187"/>
                  </a:lnTo>
                  <a:lnTo>
                    <a:pt x="502" y="189"/>
                  </a:lnTo>
                  <a:lnTo>
                    <a:pt x="502" y="192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7" y="195"/>
                  </a:lnTo>
                  <a:lnTo>
                    <a:pt x="507" y="192"/>
                  </a:lnTo>
                  <a:lnTo>
                    <a:pt x="507" y="189"/>
                  </a:lnTo>
                  <a:lnTo>
                    <a:pt x="510" y="189"/>
                  </a:lnTo>
                  <a:lnTo>
                    <a:pt x="510" y="189"/>
                  </a:lnTo>
                  <a:lnTo>
                    <a:pt x="513" y="189"/>
                  </a:lnTo>
                  <a:lnTo>
                    <a:pt x="513" y="189"/>
                  </a:lnTo>
                  <a:lnTo>
                    <a:pt x="513" y="189"/>
                  </a:lnTo>
                  <a:lnTo>
                    <a:pt x="515" y="192"/>
                  </a:lnTo>
                  <a:lnTo>
                    <a:pt x="515" y="192"/>
                  </a:lnTo>
                  <a:lnTo>
                    <a:pt x="518" y="192"/>
                  </a:lnTo>
                  <a:lnTo>
                    <a:pt x="515" y="195"/>
                  </a:lnTo>
                  <a:lnTo>
                    <a:pt x="515" y="197"/>
                  </a:lnTo>
                  <a:lnTo>
                    <a:pt x="518" y="197"/>
                  </a:lnTo>
                  <a:lnTo>
                    <a:pt x="515" y="197"/>
                  </a:lnTo>
                  <a:lnTo>
                    <a:pt x="515" y="197"/>
                  </a:lnTo>
                  <a:lnTo>
                    <a:pt x="515" y="200"/>
                  </a:lnTo>
                  <a:lnTo>
                    <a:pt x="515" y="200"/>
                  </a:lnTo>
                  <a:lnTo>
                    <a:pt x="515" y="200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5"/>
                  </a:lnTo>
                  <a:lnTo>
                    <a:pt x="513" y="205"/>
                  </a:lnTo>
                  <a:lnTo>
                    <a:pt x="515" y="205"/>
                  </a:lnTo>
                  <a:lnTo>
                    <a:pt x="515" y="205"/>
                  </a:lnTo>
                  <a:lnTo>
                    <a:pt x="515" y="208"/>
                  </a:lnTo>
                  <a:lnTo>
                    <a:pt x="515" y="208"/>
                  </a:lnTo>
                  <a:lnTo>
                    <a:pt x="515" y="211"/>
                  </a:lnTo>
                  <a:lnTo>
                    <a:pt x="518" y="211"/>
                  </a:lnTo>
                  <a:lnTo>
                    <a:pt x="518" y="211"/>
                  </a:lnTo>
                  <a:lnTo>
                    <a:pt x="518" y="211"/>
                  </a:lnTo>
                  <a:lnTo>
                    <a:pt x="515" y="213"/>
                  </a:lnTo>
                  <a:lnTo>
                    <a:pt x="518" y="213"/>
                  </a:lnTo>
                  <a:lnTo>
                    <a:pt x="515" y="216"/>
                  </a:lnTo>
                  <a:lnTo>
                    <a:pt x="513" y="216"/>
                  </a:lnTo>
                  <a:lnTo>
                    <a:pt x="513" y="219"/>
                  </a:lnTo>
                  <a:lnTo>
                    <a:pt x="515" y="221"/>
                  </a:lnTo>
                  <a:lnTo>
                    <a:pt x="515" y="227"/>
                  </a:lnTo>
                  <a:lnTo>
                    <a:pt x="518" y="227"/>
                  </a:lnTo>
                  <a:lnTo>
                    <a:pt x="521" y="227"/>
                  </a:lnTo>
                  <a:lnTo>
                    <a:pt x="518" y="227"/>
                  </a:lnTo>
                  <a:lnTo>
                    <a:pt x="518" y="229"/>
                  </a:lnTo>
                  <a:lnTo>
                    <a:pt x="521" y="229"/>
                  </a:lnTo>
                  <a:lnTo>
                    <a:pt x="523" y="229"/>
                  </a:lnTo>
                  <a:lnTo>
                    <a:pt x="523" y="229"/>
                  </a:lnTo>
                  <a:lnTo>
                    <a:pt x="523" y="240"/>
                  </a:lnTo>
                  <a:lnTo>
                    <a:pt x="523" y="240"/>
                  </a:lnTo>
                  <a:lnTo>
                    <a:pt x="521" y="240"/>
                  </a:lnTo>
                  <a:lnTo>
                    <a:pt x="521" y="243"/>
                  </a:lnTo>
                  <a:lnTo>
                    <a:pt x="521" y="245"/>
                  </a:lnTo>
                  <a:lnTo>
                    <a:pt x="521" y="248"/>
                  </a:lnTo>
                  <a:lnTo>
                    <a:pt x="521" y="248"/>
                  </a:lnTo>
                  <a:lnTo>
                    <a:pt x="518" y="248"/>
                  </a:lnTo>
                  <a:lnTo>
                    <a:pt x="515" y="251"/>
                  </a:lnTo>
                  <a:lnTo>
                    <a:pt x="515" y="253"/>
                  </a:lnTo>
                  <a:lnTo>
                    <a:pt x="518" y="253"/>
                  </a:lnTo>
                  <a:lnTo>
                    <a:pt x="521" y="253"/>
                  </a:lnTo>
                  <a:lnTo>
                    <a:pt x="523" y="253"/>
                  </a:lnTo>
                  <a:lnTo>
                    <a:pt x="523" y="256"/>
                  </a:lnTo>
                  <a:lnTo>
                    <a:pt x="526" y="256"/>
                  </a:lnTo>
                  <a:lnTo>
                    <a:pt x="526" y="256"/>
                  </a:lnTo>
                  <a:lnTo>
                    <a:pt x="526" y="253"/>
                  </a:lnTo>
                  <a:lnTo>
                    <a:pt x="529" y="253"/>
                  </a:lnTo>
                  <a:lnTo>
                    <a:pt x="529" y="259"/>
                  </a:lnTo>
                  <a:lnTo>
                    <a:pt x="529" y="264"/>
                  </a:lnTo>
                  <a:lnTo>
                    <a:pt x="526" y="264"/>
                  </a:lnTo>
                  <a:lnTo>
                    <a:pt x="526" y="267"/>
                  </a:lnTo>
                  <a:lnTo>
                    <a:pt x="523" y="267"/>
                  </a:lnTo>
                  <a:lnTo>
                    <a:pt x="523" y="270"/>
                  </a:lnTo>
                  <a:lnTo>
                    <a:pt x="523" y="270"/>
                  </a:lnTo>
                  <a:lnTo>
                    <a:pt x="523" y="270"/>
                  </a:lnTo>
                  <a:lnTo>
                    <a:pt x="526" y="272"/>
                  </a:lnTo>
                  <a:lnTo>
                    <a:pt x="526" y="275"/>
                  </a:lnTo>
                  <a:lnTo>
                    <a:pt x="526" y="275"/>
                  </a:lnTo>
                  <a:lnTo>
                    <a:pt x="526" y="275"/>
                  </a:lnTo>
                  <a:lnTo>
                    <a:pt x="526" y="280"/>
                  </a:lnTo>
                  <a:lnTo>
                    <a:pt x="526" y="283"/>
                  </a:lnTo>
                  <a:lnTo>
                    <a:pt x="526" y="286"/>
                  </a:lnTo>
                  <a:lnTo>
                    <a:pt x="526" y="286"/>
                  </a:lnTo>
                  <a:lnTo>
                    <a:pt x="526" y="288"/>
                  </a:lnTo>
                  <a:lnTo>
                    <a:pt x="526" y="288"/>
                  </a:lnTo>
                  <a:lnTo>
                    <a:pt x="523" y="291"/>
                  </a:lnTo>
                  <a:lnTo>
                    <a:pt x="523" y="291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3" y="296"/>
                  </a:lnTo>
                  <a:lnTo>
                    <a:pt x="526" y="296"/>
                  </a:lnTo>
                  <a:lnTo>
                    <a:pt x="526" y="299"/>
                  </a:lnTo>
                  <a:lnTo>
                    <a:pt x="529" y="299"/>
                  </a:lnTo>
                  <a:lnTo>
                    <a:pt x="529" y="304"/>
                  </a:lnTo>
                  <a:lnTo>
                    <a:pt x="529" y="304"/>
                  </a:lnTo>
                  <a:lnTo>
                    <a:pt x="531" y="307"/>
                  </a:lnTo>
                  <a:lnTo>
                    <a:pt x="534" y="307"/>
                  </a:lnTo>
                  <a:lnTo>
                    <a:pt x="531" y="307"/>
                  </a:lnTo>
                  <a:lnTo>
                    <a:pt x="531" y="310"/>
                  </a:lnTo>
                  <a:lnTo>
                    <a:pt x="529" y="312"/>
                  </a:lnTo>
                  <a:lnTo>
                    <a:pt x="529" y="315"/>
                  </a:lnTo>
                  <a:lnTo>
                    <a:pt x="529" y="315"/>
                  </a:lnTo>
                  <a:lnTo>
                    <a:pt x="526" y="315"/>
                  </a:lnTo>
                  <a:lnTo>
                    <a:pt x="526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5"/>
                  </a:lnTo>
                  <a:lnTo>
                    <a:pt x="523" y="318"/>
                  </a:lnTo>
                  <a:lnTo>
                    <a:pt x="523" y="318"/>
                  </a:lnTo>
                  <a:lnTo>
                    <a:pt x="523" y="320"/>
                  </a:lnTo>
                  <a:lnTo>
                    <a:pt x="523" y="323"/>
                  </a:lnTo>
                  <a:lnTo>
                    <a:pt x="526" y="323"/>
                  </a:lnTo>
                  <a:lnTo>
                    <a:pt x="526" y="323"/>
                  </a:lnTo>
                  <a:lnTo>
                    <a:pt x="526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3" y="331"/>
                  </a:lnTo>
                  <a:lnTo>
                    <a:pt x="529" y="350"/>
                  </a:lnTo>
                  <a:lnTo>
                    <a:pt x="513" y="355"/>
                  </a:lnTo>
                  <a:lnTo>
                    <a:pt x="513" y="358"/>
                  </a:lnTo>
                  <a:lnTo>
                    <a:pt x="513" y="358"/>
                  </a:lnTo>
                  <a:lnTo>
                    <a:pt x="510" y="355"/>
                  </a:lnTo>
                  <a:lnTo>
                    <a:pt x="505" y="358"/>
                  </a:lnTo>
                  <a:lnTo>
                    <a:pt x="502" y="358"/>
                  </a:lnTo>
                  <a:lnTo>
                    <a:pt x="497" y="363"/>
                  </a:lnTo>
                  <a:lnTo>
                    <a:pt x="497" y="366"/>
                  </a:lnTo>
                  <a:lnTo>
                    <a:pt x="497" y="368"/>
                  </a:lnTo>
                  <a:lnTo>
                    <a:pt x="494" y="371"/>
                  </a:lnTo>
                  <a:lnTo>
                    <a:pt x="494" y="371"/>
                  </a:lnTo>
                  <a:lnTo>
                    <a:pt x="491" y="371"/>
                  </a:lnTo>
                  <a:lnTo>
                    <a:pt x="489" y="371"/>
                  </a:lnTo>
                  <a:lnTo>
                    <a:pt x="489" y="374"/>
                  </a:lnTo>
                  <a:lnTo>
                    <a:pt x="486" y="371"/>
                  </a:lnTo>
                  <a:lnTo>
                    <a:pt x="489" y="368"/>
                  </a:lnTo>
                  <a:lnTo>
                    <a:pt x="486" y="368"/>
                  </a:lnTo>
                  <a:lnTo>
                    <a:pt x="486" y="368"/>
                  </a:lnTo>
                  <a:lnTo>
                    <a:pt x="486" y="368"/>
                  </a:lnTo>
                  <a:lnTo>
                    <a:pt x="483" y="368"/>
                  </a:lnTo>
                  <a:lnTo>
                    <a:pt x="483" y="368"/>
                  </a:lnTo>
                  <a:lnTo>
                    <a:pt x="483" y="368"/>
                  </a:lnTo>
                  <a:lnTo>
                    <a:pt x="481" y="368"/>
                  </a:lnTo>
                  <a:lnTo>
                    <a:pt x="481" y="368"/>
                  </a:lnTo>
                  <a:lnTo>
                    <a:pt x="481" y="366"/>
                  </a:lnTo>
                  <a:lnTo>
                    <a:pt x="481" y="366"/>
                  </a:lnTo>
                  <a:lnTo>
                    <a:pt x="478" y="366"/>
                  </a:lnTo>
                  <a:lnTo>
                    <a:pt x="478" y="366"/>
                  </a:lnTo>
                  <a:lnTo>
                    <a:pt x="475" y="368"/>
                  </a:lnTo>
                  <a:lnTo>
                    <a:pt x="473" y="368"/>
                  </a:lnTo>
                  <a:lnTo>
                    <a:pt x="459" y="374"/>
                  </a:lnTo>
                  <a:lnTo>
                    <a:pt x="459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4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7" y="371"/>
                  </a:lnTo>
                  <a:lnTo>
                    <a:pt x="454" y="371"/>
                  </a:lnTo>
                  <a:lnTo>
                    <a:pt x="454" y="368"/>
                  </a:lnTo>
                  <a:lnTo>
                    <a:pt x="451" y="368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6" y="371"/>
                  </a:lnTo>
                  <a:lnTo>
                    <a:pt x="443" y="368"/>
                  </a:lnTo>
                  <a:lnTo>
                    <a:pt x="438" y="368"/>
                  </a:lnTo>
                  <a:lnTo>
                    <a:pt x="438" y="371"/>
                  </a:lnTo>
                  <a:lnTo>
                    <a:pt x="435" y="371"/>
                  </a:lnTo>
                  <a:lnTo>
                    <a:pt x="433" y="374"/>
                  </a:lnTo>
                  <a:lnTo>
                    <a:pt x="433" y="374"/>
                  </a:lnTo>
                  <a:lnTo>
                    <a:pt x="433" y="382"/>
                  </a:lnTo>
                  <a:lnTo>
                    <a:pt x="430" y="382"/>
                  </a:lnTo>
                  <a:lnTo>
                    <a:pt x="430" y="384"/>
                  </a:lnTo>
                  <a:lnTo>
                    <a:pt x="425" y="384"/>
                  </a:lnTo>
                  <a:lnTo>
                    <a:pt x="425" y="371"/>
                  </a:lnTo>
                  <a:lnTo>
                    <a:pt x="425" y="371"/>
                  </a:lnTo>
                  <a:lnTo>
                    <a:pt x="422" y="371"/>
                  </a:lnTo>
                  <a:lnTo>
                    <a:pt x="419" y="374"/>
                  </a:lnTo>
                  <a:lnTo>
                    <a:pt x="417" y="371"/>
                  </a:lnTo>
                  <a:lnTo>
                    <a:pt x="411" y="374"/>
                  </a:lnTo>
                  <a:lnTo>
                    <a:pt x="411" y="376"/>
                  </a:lnTo>
                  <a:lnTo>
                    <a:pt x="387" y="392"/>
                  </a:lnTo>
                  <a:lnTo>
                    <a:pt x="390" y="398"/>
                  </a:lnTo>
                  <a:lnTo>
                    <a:pt x="382" y="403"/>
                  </a:lnTo>
                  <a:lnTo>
                    <a:pt x="385" y="406"/>
                  </a:lnTo>
                  <a:lnTo>
                    <a:pt x="374" y="414"/>
                  </a:lnTo>
                  <a:lnTo>
                    <a:pt x="374" y="414"/>
                  </a:lnTo>
                  <a:lnTo>
                    <a:pt x="374" y="416"/>
                  </a:lnTo>
                  <a:lnTo>
                    <a:pt x="377" y="416"/>
                  </a:lnTo>
                  <a:lnTo>
                    <a:pt x="377" y="416"/>
                  </a:lnTo>
                  <a:lnTo>
                    <a:pt x="377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71" y="422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71" y="419"/>
                  </a:lnTo>
                  <a:lnTo>
                    <a:pt x="369" y="419"/>
                  </a:lnTo>
                  <a:lnTo>
                    <a:pt x="369" y="416"/>
                  </a:lnTo>
                  <a:lnTo>
                    <a:pt x="369" y="416"/>
                  </a:lnTo>
                  <a:lnTo>
                    <a:pt x="366" y="419"/>
                  </a:lnTo>
                  <a:lnTo>
                    <a:pt x="366" y="416"/>
                  </a:lnTo>
                  <a:lnTo>
                    <a:pt x="366" y="414"/>
                  </a:lnTo>
                  <a:lnTo>
                    <a:pt x="366" y="411"/>
                  </a:lnTo>
                  <a:lnTo>
                    <a:pt x="366" y="411"/>
                  </a:lnTo>
                  <a:lnTo>
                    <a:pt x="366" y="408"/>
                  </a:lnTo>
                  <a:lnTo>
                    <a:pt x="363" y="411"/>
                  </a:lnTo>
                  <a:lnTo>
                    <a:pt x="363" y="411"/>
                  </a:lnTo>
                  <a:lnTo>
                    <a:pt x="363" y="411"/>
                  </a:lnTo>
                  <a:lnTo>
                    <a:pt x="361" y="411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61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8" y="408"/>
                  </a:lnTo>
                  <a:lnTo>
                    <a:pt x="355" y="406"/>
                  </a:lnTo>
                  <a:lnTo>
                    <a:pt x="355" y="406"/>
                  </a:lnTo>
                  <a:lnTo>
                    <a:pt x="355" y="406"/>
                  </a:lnTo>
                  <a:lnTo>
                    <a:pt x="353" y="406"/>
                  </a:lnTo>
                  <a:lnTo>
                    <a:pt x="353" y="406"/>
                  </a:lnTo>
                  <a:lnTo>
                    <a:pt x="355" y="403"/>
                  </a:lnTo>
                  <a:lnTo>
                    <a:pt x="355" y="403"/>
                  </a:lnTo>
                  <a:lnTo>
                    <a:pt x="358" y="403"/>
                  </a:lnTo>
                  <a:lnTo>
                    <a:pt x="358" y="400"/>
                  </a:lnTo>
                  <a:lnTo>
                    <a:pt x="358" y="400"/>
                  </a:lnTo>
                  <a:lnTo>
                    <a:pt x="355" y="400"/>
                  </a:lnTo>
                  <a:lnTo>
                    <a:pt x="353" y="400"/>
                  </a:lnTo>
                  <a:lnTo>
                    <a:pt x="353" y="400"/>
                  </a:lnTo>
                  <a:lnTo>
                    <a:pt x="350" y="400"/>
                  </a:lnTo>
                  <a:lnTo>
                    <a:pt x="350" y="398"/>
                  </a:lnTo>
                  <a:lnTo>
                    <a:pt x="347" y="395"/>
                  </a:lnTo>
                  <a:lnTo>
                    <a:pt x="345" y="395"/>
                  </a:lnTo>
                  <a:lnTo>
                    <a:pt x="342" y="392"/>
                  </a:lnTo>
                  <a:lnTo>
                    <a:pt x="339" y="392"/>
                  </a:lnTo>
                  <a:lnTo>
                    <a:pt x="339" y="392"/>
                  </a:lnTo>
                  <a:lnTo>
                    <a:pt x="337" y="395"/>
                  </a:lnTo>
                  <a:lnTo>
                    <a:pt x="337" y="395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7" y="390"/>
                  </a:lnTo>
                  <a:lnTo>
                    <a:pt x="334" y="387"/>
                  </a:lnTo>
                  <a:lnTo>
                    <a:pt x="334" y="384"/>
                  </a:lnTo>
                  <a:lnTo>
                    <a:pt x="334" y="384"/>
                  </a:lnTo>
                  <a:lnTo>
                    <a:pt x="334" y="382"/>
                  </a:lnTo>
                  <a:lnTo>
                    <a:pt x="334" y="379"/>
                  </a:lnTo>
                  <a:lnTo>
                    <a:pt x="337" y="379"/>
                  </a:lnTo>
                  <a:lnTo>
                    <a:pt x="339" y="379"/>
                  </a:lnTo>
                  <a:lnTo>
                    <a:pt x="339" y="376"/>
                  </a:lnTo>
                  <a:lnTo>
                    <a:pt x="342" y="374"/>
                  </a:lnTo>
                  <a:lnTo>
                    <a:pt x="342" y="374"/>
                  </a:lnTo>
                  <a:lnTo>
                    <a:pt x="342" y="371"/>
                  </a:lnTo>
                  <a:lnTo>
                    <a:pt x="342" y="368"/>
                  </a:lnTo>
                  <a:lnTo>
                    <a:pt x="337" y="368"/>
                  </a:lnTo>
                  <a:lnTo>
                    <a:pt x="334" y="366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3" y="371"/>
                  </a:lnTo>
                  <a:lnTo>
                    <a:pt x="326" y="363"/>
                  </a:lnTo>
                  <a:lnTo>
                    <a:pt x="329" y="363"/>
                  </a:lnTo>
                  <a:lnTo>
                    <a:pt x="329" y="363"/>
                  </a:lnTo>
                  <a:lnTo>
                    <a:pt x="323" y="360"/>
                  </a:lnTo>
                  <a:lnTo>
                    <a:pt x="323" y="358"/>
                  </a:lnTo>
                  <a:lnTo>
                    <a:pt x="318" y="355"/>
                  </a:lnTo>
                  <a:lnTo>
                    <a:pt x="315" y="352"/>
                  </a:lnTo>
                  <a:lnTo>
                    <a:pt x="315" y="352"/>
                  </a:lnTo>
                  <a:lnTo>
                    <a:pt x="312" y="352"/>
                  </a:lnTo>
                  <a:lnTo>
                    <a:pt x="310" y="352"/>
                  </a:lnTo>
                  <a:lnTo>
                    <a:pt x="307" y="350"/>
                  </a:lnTo>
                  <a:lnTo>
                    <a:pt x="307" y="347"/>
                  </a:lnTo>
                  <a:lnTo>
                    <a:pt x="304" y="350"/>
                  </a:lnTo>
                  <a:lnTo>
                    <a:pt x="304" y="350"/>
                  </a:lnTo>
                  <a:lnTo>
                    <a:pt x="304" y="347"/>
                  </a:lnTo>
                  <a:lnTo>
                    <a:pt x="304" y="344"/>
                  </a:lnTo>
                  <a:lnTo>
                    <a:pt x="304" y="342"/>
                  </a:lnTo>
                  <a:lnTo>
                    <a:pt x="302" y="339"/>
                  </a:lnTo>
                  <a:lnTo>
                    <a:pt x="302" y="336"/>
                  </a:lnTo>
                  <a:lnTo>
                    <a:pt x="299" y="334"/>
                  </a:lnTo>
                  <a:lnTo>
                    <a:pt x="299" y="331"/>
                  </a:lnTo>
                  <a:lnTo>
                    <a:pt x="299" y="323"/>
                  </a:lnTo>
                  <a:lnTo>
                    <a:pt x="288" y="326"/>
                  </a:lnTo>
                  <a:lnTo>
                    <a:pt x="291" y="334"/>
                  </a:lnTo>
                  <a:lnTo>
                    <a:pt x="288" y="334"/>
                  </a:lnTo>
                  <a:lnTo>
                    <a:pt x="288" y="331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3" y="334"/>
                  </a:lnTo>
                  <a:lnTo>
                    <a:pt x="280" y="336"/>
                  </a:lnTo>
                  <a:lnTo>
                    <a:pt x="280" y="336"/>
                  </a:lnTo>
                  <a:lnTo>
                    <a:pt x="278" y="336"/>
                  </a:lnTo>
                  <a:lnTo>
                    <a:pt x="272" y="339"/>
                  </a:lnTo>
                  <a:lnTo>
                    <a:pt x="272" y="342"/>
                  </a:lnTo>
                  <a:lnTo>
                    <a:pt x="267" y="344"/>
                  </a:lnTo>
                  <a:lnTo>
                    <a:pt x="267" y="342"/>
                  </a:lnTo>
                  <a:lnTo>
                    <a:pt x="264" y="342"/>
                  </a:lnTo>
                  <a:lnTo>
                    <a:pt x="262" y="344"/>
                  </a:lnTo>
                  <a:lnTo>
                    <a:pt x="259" y="344"/>
                  </a:lnTo>
                  <a:lnTo>
                    <a:pt x="256" y="347"/>
                  </a:lnTo>
                  <a:lnTo>
                    <a:pt x="254" y="347"/>
                  </a:lnTo>
                  <a:lnTo>
                    <a:pt x="251" y="344"/>
                  </a:lnTo>
                  <a:lnTo>
                    <a:pt x="243" y="344"/>
                  </a:lnTo>
                  <a:lnTo>
                    <a:pt x="246" y="350"/>
                  </a:lnTo>
                  <a:lnTo>
                    <a:pt x="230" y="358"/>
                  </a:lnTo>
                  <a:lnTo>
                    <a:pt x="230" y="358"/>
                  </a:lnTo>
                  <a:lnTo>
                    <a:pt x="230" y="358"/>
                  </a:lnTo>
                  <a:lnTo>
                    <a:pt x="230" y="363"/>
                  </a:lnTo>
                  <a:lnTo>
                    <a:pt x="224" y="366"/>
                  </a:lnTo>
                  <a:lnTo>
                    <a:pt x="222" y="360"/>
                  </a:lnTo>
                  <a:lnTo>
                    <a:pt x="216" y="366"/>
                  </a:lnTo>
                  <a:lnTo>
                    <a:pt x="216" y="366"/>
                  </a:lnTo>
                  <a:lnTo>
                    <a:pt x="216" y="368"/>
                  </a:lnTo>
                  <a:lnTo>
                    <a:pt x="214" y="371"/>
                  </a:lnTo>
                  <a:lnTo>
                    <a:pt x="211" y="371"/>
                  </a:lnTo>
                  <a:lnTo>
                    <a:pt x="203" y="374"/>
                  </a:lnTo>
                  <a:lnTo>
                    <a:pt x="200" y="371"/>
                  </a:lnTo>
                  <a:lnTo>
                    <a:pt x="195" y="371"/>
                  </a:lnTo>
                  <a:lnTo>
                    <a:pt x="195" y="374"/>
                  </a:lnTo>
                  <a:lnTo>
                    <a:pt x="187" y="371"/>
                  </a:lnTo>
                  <a:lnTo>
                    <a:pt x="184" y="368"/>
                  </a:lnTo>
                  <a:lnTo>
                    <a:pt x="179" y="374"/>
                  </a:lnTo>
                  <a:lnTo>
                    <a:pt x="179" y="368"/>
                  </a:lnTo>
                  <a:lnTo>
                    <a:pt x="168" y="368"/>
                  </a:lnTo>
                  <a:lnTo>
                    <a:pt x="163" y="371"/>
                  </a:lnTo>
                  <a:lnTo>
                    <a:pt x="160" y="368"/>
                  </a:lnTo>
                  <a:lnTo>
                    <a:pt x="158" y="371"/>
                  </a:lnTo>
                  <a:lnTo>
                    <a:pt x="158" y="371"/>
                  </a:lnTo>
                  <a:lnTo>
                    <a:pt x="158" y="374"/>
                  </a:lnTo>
                  <a:lnTo>
                    <a:pt x="158" y="374"/>
                  </a:lnTo>
                  <a:lnTo>
                    <a:pt x="155" y="376"/>
                  </a:lnTo>
                  <a:lnTo>
                    <a:pt x="155" y="379"/>
                  </a:lnTo>
                  <a:lnTo>
                    <a:pt x="155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2" y="382"/>
                  </a:lnTo>
                  <a:lnTo>
                    <a:pt x="150" y="379"/>
                  </a:lnTo>
                  <a:lnTo>
                    <a:pt x="150" y="379"/>
                  </a:lnTo>
                  <a:lnTo>
                    <a:pt x="147" y="379"/>
                  </a:lnTo>
                  <a:lnTo>
                    <a:pt x="147" y="379"/>
                  </a:lnTo>
                  <a:lnTo>
                    <a:pt x="144" y="379"/>
                  </a:lnTo>
                  <a:lnTo>
                    <a:pt x="144" y="382"/>
                  </a:lnTo>
                  <a:lnTo>
                    <a:pt x="142" y="382"/>
                  </a:lnTo>
                  <a:lnTo>
                    <a:pt x="142" y="382"/>
                  </a:lnTo>
                  <a:lnTo>
                    <a:pt x="139" y="382"/>
                  </a:lnTo>
                  <a:lnTo>
                    <a:pt x="136" y="379"/>
                  </a:lnTo>
                  <a:lnTo>
                    <a:pt x="134" y="379"/>
                  </a:lnTo>
                  <a:lnTo>
                    <a:pt x="134" y="379"/>
                  </a:lnTo>
                  <a:lnTo>
                    <a:pt x="134" y="376"/>
                  </a:lnTo>
                  <a:lnTo>
                    <a:pt x="134" y="374"/>
                  </a:lnTo>
                  <a:lnTo>
                    <a:pt x="134" y="374"/>
                  </a:lnTo>
                  <a:lnTo>
                    <a:pt x="134" y="366"/>
                  </a:lnTo>
                  <a:lnTo>
                    <a:pt x="131" y="366"/>
                  </a:lnTo>
                  <a:lnTo>
                    <a:pt x="131" y="368"/>
                  </a:lnTo>
                  <a:lnTo>
                    <a:pt x="131" y="368"/>
                  </a:lnTo>
                  <a:lnTo>
                    <a:pt x="128" y="368"/>
                  </a:lnTo>
                  <a:lnTo>
                    <a:pt x="126" y="368"/>
                  </a:lnTo>
                  <a:lnTo>
                    <a:pt x="126" y="368"/>
                  </a:lnTo>
                  <a:lnTo>
                    <a:pt x="123" y="368"/>
                  </a:lnTo>
                  <a:lnTo>
                    <a:pt x="120" y="368"/>
                  </a:lnTo>
                  <a:lnTo>
                    <a:pt x="118" y="368"/>
                  </a:lnTo>
                  <a:lnTo>
                    <a:pt x="118" y="368"/>
                  </a:lnTo>
                  <a:lnTo>
                    <a:pt x="118" y="371"/>
                  </a:lnTo>
                  <a:lnTo>
                    <a:pt x="115" y="374"/>
                  </a:lnTo>
                  <a:lnTo>
                    <a:pt x="118" y="376"/>
                  </a:lnTo>
                  <a:lnTo>
                    <a:pt x="123" y="379"/>
                  </a:lnTo>
                  <a:lnTo>
                    <a:pt x="123" y="382"/>
                  </a:lnTo>
                  <a:lnTo>
                    <a:pt x="118" y="382"/>
                  </a:lnTo>
                  <a:lnTo>
                    <a:pt x="115" y="382"/>
                  </a:lnTo>
                  <a:lnTo>
                    <a:pt x="115" y="382"/>
                  </a:lnTo>
                  <a:lnTo>
                    <a:pt x="115" y="384"/>
                  </a:lnTo>
                  <a:lnTo>
                    <a:pt x="115" y="384"/>
                  </a:lnTo>
                  <a:lnTo>
                    <a:pt x="115" y="387"/>
                  </a:lnTo>
                  <a:lnTo>
                    <a:pt x="115" y="387"/>
                  </a:lnTo>
                  <a:lnTo>
                    <a:pt x="115" y="390"/>
                  </a:lnTo>
                  <a:lnTo>
                    <a:pt x="112" y="387"/>
                  </a:lnTo>
                  <a:lnTo>
                    <a:pt x="112" y="395"/>
                  </a:lnTo>
                  <a:lnTo>
                    <a:pt x="96" y="376"/>
                  </a:lnTo>
                  <a:lnTo>
                    <a:pt x="51" y="315"/>
                  </a:lnTo>
                  <a:lnTo>
                    <a:pt x="48" y="310"/>
                  </a:lnTo>
                  <a:lnTo>
                    <a:pt x="48" y="310"/>
                  </a:lnTo>
                  <a:lnTo>
                    <a:pt x="48" y="307"/>
                  </a:lnTo>
                  <a:lnTo>
                    <a:pt x="45" y="304"/>
                  </a:lnTo>
                  <a:lnTo>
                    <a:pt x="45" y="302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51" y="299"/>
                  </a:lnTo>
                  <a:lnTo>
                    <a:pt x="53" y="299"/>
                  </a:lnTo>
                  <a:lnTo>
                    <a:pt x="56" y="299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9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61" y="302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4" y="296"/>
                  </a:lnTo>
                  <a:lnTo>
                    <a:pt x="67" y="296"/>
                  </a:lnTo>
                  <a:lnTo>
                    <a:pt x="69" y="296"/>
                  </a:lnTo>
                  <a:lnTo>
                    <a:pt x="69" y="294"/>
                  </a:lnTo>
                  <a:lnTo>
                    <a:pt x="69" y="291"/>
                  </a:lnTo>
                  <a:lnTo>
                    <a:pt x="72" y="291"/>
                  </a:lnTo>
                  <a:lnTo>
                    <a:pt x="72" y="288"/>
                  </a:lnTo>
                  <a:lnTo>
                    <a:pt x="75" y="286"/>
                  </a:lnTo>
                  <a:lnTo>
                    <a:pt x="75" y="283"/>
                  </a:lnTo>
                  <a:lnTo>
                    <a:pt x="72" y="283"/>
                  </a:lnTo>
                  <a:lnTo>
                    <a:pt x="69" y="283"/>
                  </a:lnTo>
                  <a:lnTo>
                    <a:pt x="69" y="280"/>
                  </a:lnTo>
                  <a:lnTo>
                    <a:pt x="72" y="280"/>
                  </a:lnTo>
                  <a:lnTo>
                    <a:pt x="80" y="278"/>
                  </a:lnTo>
                  <a:lnTo>
                    <a:pt x="80" y="275"/>
                  </a:lnTo>
                  <a:lnTo>
                    <a:pt x="75" y="275"/>
                  </a:lnTo>
                  <a:lnTo>
                    <a:pt x="72" y="275"/>
                  </a:lnTo>
                  <a:lnTo>
                    <a:pt x="69" y="275"/>
                  </a:lnTo>
                  <a:lnTo>
                    <a:pt x="69" y="275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4" y="280"/>
                  </a:lnTo>
                  <a:lnTo>
                    <a:pt x="61" y="280"/>
                  </a:lnTo>
                  <a:lnTo>
                    <a:pt x="61" y="280"/>
                  </a:lnTo>
                  <a:lnTo>
                    <a:pt x="59" y="280"/>
                  </a:lnTo>
                  <a:lnTo>
                    <a:pt x="56" y="280"/>
                  </a:lnTo>
                  <a:lnTo>
                    <a:pt x="56" y="283"/>
                  </a:lnTo>
                  <a:lnTo>
                    <a:pt x="53" y="283"/>
                  </a:lnTo>
                  <a:lnTo>
                    <a:pt x="51" y="280"/>
                  </a:lnTo>
                  <a:lnTo>
                    <a:pt x="48" y="280"/>
                  </a:lnTo>
                  <a:lnTo>
                    <a:pt x="45" y="278"/>
                  </a:lnTo>
                  <a:lnTo>
                    <a:pt x="43" y="275"/>
                  </a:lnTo>
                  <a:lnTo>
                    <a:pt x="40" y="275"/>
                  </a:lnTo>
                  <a:lnTo>
                    <a:pt x="40" y="278"/>
                  </a:lnTo>
                  <a:lnTo>
                    <a:pt x="37" y="278"/>
                  </a:lnTo>
                  <a:lnTo>
                    <a:pt x="37" y="280"/>
                  </a:lnTo>
                  <a:lnTo>
                    <a:pt x="37" y="280"/>
                  </a:lnTo>
                  <a:lnTo>
                    <a:pt x="37" y="283"/>
                  </a:lnTo>
                  <a:lnTo>
                    <a:pt x="35" y="286"/>
                  </a:lnTo>
                  <a:lnTo>
                    <a:pt x="5" y="291"/>
                  </a:lnTo>
                  <a:lnTo>
                    <a:pt x="5" y="29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6" name="Freeform 8892">
              <a:extLst>
                <a:ext uri="{FF2B5EF4-FFF2-40B4-BE49-F238E27FC236}">
                  <a16:creationId xmlns:a16="http://schemas.microsoft.com/office/drawing/2014/main" id="{44A38171-6F9F-684F-A146-75602E499B3F}"/>
                </a:ext>
              </a:extLst>
            </p:cNvPr>
            <p:cNvSpPr/>
            <p:nvPr/>
          </p:nvSpPr>
          <p:spPr bwMode="auto">
            <a:xfrm>
              <a:off x="5477667" y="5037139"/>
              <a:ext cx="419100" cy="712787"/>
            </a:xfrm>
            <a:custGeom>
              <a:avLst/>
              <a:gdLst>
                <a:gd name="T0" fmla="*/ 224 w 264"/>
                <a:gd name="T1" fmla="*/ 35 h 449"/>
                <a:gd name="T2" fmla="*/ 248 w 264"/>
                <a:gd name="T3" fmla="*/ 67 h 449"/>
                <a:gd name="T4" fmla="*/ 253 w 264"/>
                <a:gd name="T5" fmla="*/ 80 h 449"/>
                <a:gd name="T6" fmla="*/ 261 w 264"/>
                <a:gd name="T7" fmla="*/ 96 h 449"/>
                <a:gd name="T8" fmla="*/ 256 w 264"/>
                <a:gd name="T9" fmla="*/ 107 h 449"/>
                <a:gd name="T10" fmla="*/ 237 w 264"/>
                <a:gd name="T11" fmla="*/ 115 h 449"/>
                <a:gd name="T12" fmla="*/ 221 w 264"/>
                <a:gd name="T13" fmla="*/ 131 h 449"/>
                <a:gd name="T14" fmla="*/ 208 w 264"/>
                <a:gd name="T15" fmla="*/ 150 h 449"/>
                <a:gd name="T16" fmla="*/ 213 w 264"/>
                <a:gd name="T17" fmla="*/ 177 h 449"/>
                <a:gd name="T18" fmla="*/ 221 w 264"/>
                <a:gd name="T19" fmla="*/ 187 h 449"/>
                <a:gd name="T20" fmla="*/ 213 w 264"/>
                <a:gd name="T21" fmla="*/ 206 h 449"/>
                <a:gd name="T22" fmla="*/ 203 w 264"/>
                <a:gd name="T23" fmla="*/ 235 h 449"/>
                <a:gd name="T24" fmla="*/ 213 w 264"/>
                <a:gd name="T25" fmla="*/ 246 h 449"/>
                <a:gd name="T26" fmla="*/ 224 w 264"/>
                <a:gd name="T27" fmla="*/ 235 h 449"/>
                <a:gd name="T28" fmla="*/ 235 w 264"/>
                <a:gd name="T29" fmla="*/ 246 h 449"/>
                <a:gd name="T30" fmla="*/ 243 w 264"/>
                <a:gd name="T31" fmla="*/ 257 h 449"/>
                <a:gd name="T32" fmla="*/ 229 w 264"/>
                <a:gd name="T33" fmla="*/ 275 h 449"/>
                <a:gd name="T34" fmla="*/ 240 w 264"/>
                <a:gd name="T35" fmla="*/ 283 h 449"/>
                <a:gd name="T36" fmla="*/ 229 w 264"/>
                <a:gd name="T37" fmla="*/ 300 h 449"/>
                <a:gd name="T38" fmla="*/ 216 w 264"/>
                <a:gd name="T39" fmla="*/ 316 h 449"/>
                <a:gd name="T40" fmla="*/ 213 w 264"/>
                <a:gd name="T41" fmla="*/ 334 h 449"/>
                <a:gd name="T42" fmla="*/ 224 w 264"/>
                <a:gd name="T43" fmla="*/ 342 h 449"/>
                <a:gd name="T44" fmla="*/ 227 w 264"/>
                <a:gd name="T45" fmla="*/ 358 h 449"/>
                <a:gd name="T46" fmla="*/ 221 w 264"/>
                <a:gd name="T47" fmla="*/ 377 h 449"/>
                <a:gd name="T48" fmla="*/ 232 w 264"/>
                <a:gd name="T49" fmla="*/ 382 h 449"/>
                <a:gd name="T50" fmla="*/ 224 w 264"/>
                <a:gd name="T51" fmla="*/ 398 h 449"/>
                <a:gd name="T52" fmla="*/ 224 w 264"/>
                <a:gd name="T53" fmla="*/ 412 h 449"/>
                <a:gd name="T54" fmla="*/ 208 w 264"/>
                <a:gd name="T55" fmla="*/ 425 h 449"/>
                <a:gd name="T56" fmla="*/ 200 w 264"/>
                <a:gd name="T57" fmla="*/ 441 h 449"/>
                <a:gd name="T58" fmla="*/ 181 w 264"/>
                <a:gd name="T59" fmla="*/ 446 h 449"/>
                <a:gd name="T60" fmla="*/ 184 w 264"/>
                <a:gd name="T61" fmla="*/ 428 h 449"/>
                <a:gd name="T62" fmla="*/ 176 w 264"/>
                <a:gd name="T63" fmla="*/ 425 h 449"/>
                <a:gd name="T64" fmla="*/ 155 w 264"/>
                <a:gd name="T65" fmla="*/ 409 h 449"/>
                <a:gd name="T66" fmla="*/ 136 w 264"/>
                <a:gd name="T67" fmla="*/ 414 h 449"/>
                <a:gd name="T68" fmla="*/ 120 w 264"/>
                <a:gd name="T69" fmla="*/ 404 h 449"/>
                <a:gd name="T70" fmla="*/ 112 w 264"/>
                <a:gd name="T71" fmla="*/ 390 h 449"/>
                <a:gd name="T72" fmla="*/ 104 w 264"/>
                <a:gd name="T73" fmla="*/ 380 h 449"/>
                <a:gd name="T74" fmla="*/ 107 w 264"/>
                <a:gd name="T75" fmla="*/ 356 h 449"/>
                <a:gd name="T76" fmla="*/ 91 w 264"/>
                <a:gd name="T77" fmla="*/ 342 h 449"/>
                <a:gd name="T78" fmla="*/ 104 w 264"/>
                <a:gd name="T79" fmla="*/ 329 h 449"/>
                <a:gd name="T80" fmla="*/ 107 w 264"/>
                <a:gd name="T81" fmla="*/ 316 h 449"/>
                <a:gd name="T82" fmla="*/ 88 w 264"/>
                <a:gd name="T83" fmla="*/ 308 h 449"/>
                <a:gd name="T84" fmla="*/ 77 w 264"/>
                <a:gd name="T85" fmla="*/ 289 h 449"/>
                <a:gd name="T86" fmla="*/ 64 w 264"/>
                <a:gd name="T87" fmla="*/ 262 h 449"/>
                <a:gd name="T88" fmla="*/ 40 w 264"/>
                <a:gd name="T89" fmla="*/ 238 h 449"/>
                <a:gd name="T90" fmla="*/ 10 w 264"/>
                <a:gd name="T91" fmla="*/ 185 h 449"/>
                <a:gd name="T92" fmla="*/ 18 w 264"/>
                <a:gd name="T93" fmla="*/ 174 h 449"/>
                <a:gd name="T94" fmla="*/ 10 w 264"/>
                <a:gd name="T95" fmla="*/ 158 h 449"/>
                <a:gd name="T96" fmla="*/ 10 w 264"/>
                <a:gd name="T97" fmla="*/ 137 h 449"/>
                <a:gd name="T98" fmla="*/ 10 w 264"/>
                <a:gd name="T99" fmla="*/ 120 h 449"/>
                <a:gd name="T100" fmla="*/ 10 w 264"/>
                <a:gd name="T101" fmla="*/ 107 h 449"/>
                <a:gd name="T102" fmla="*/ 2 w 264"/>
                <a:gd name="T103" fmla="*/ 83 h 449"/>
                <a:gd name="T104" fmla="*/ 0 w 264"/>
                <a:gd name="T105" fmla="*/ 72 h 449"/>
                <a:gd name="T106" fmla="*/ 2 w 264"/>
                <a:gd name="T107" fmla="*/ 59 h 449"/>
                <a:gd name="T108" fmla="*/ 16 w 264"/>
                <a:gd name="T109" fmla="*/ 51 h 449"/>
                <a:gd name="T110" fmla="*/ 34 w 264"/>
                <a:gd name="T111" fmla="*/ 48 h 449"/>
                <a:gd name="T112" fmla="*/ 53 w 264"/>
                <a:gd name="T113" fmla="*/ 46 h 449"/>
                <a:gd name="T114" fmla="*/ 85 w 264"/>
                <a:gd name="T115" fmla="*/ 27 h 449"/>
                <a:gd name="T116" fmla="*/ 107 w 264"/>
                <a:gd name="T117" fmla="*/ 14 h 449"/>
                <a:gd name="T118" fmla="*/ 120 w 264"/>
                <a:gd name="T119" fmla="*/ 11 h 449"/>
                <a:gd name="T120" fmla="*/ 139 w 264"/>
                <a:gd name="T121" fmla="*/ 22 h 449"/>
                <a:gd name="T122" fmla="*/ 163 w 264"/>
                <a:gd name="T123" fmla="*/ 16 h 449"/>
                <a:gd name="T124" fmla="*/ 195 w 264"/>
                <a:gd name="T125" fmla="*/ 1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4" h="449" extrusionOk="0">
                  <a:moveTo>
                    <a:pt x="229" y="0"/>
                  </a:moveTo>
                  <a:lnTo>
                    <a:pt x="227" y="11"/>
                  </a:lnTo>
                  <a:lnTo>
                    <a:pt x="235" y="11"/>
                  </a:lnTo>
                  <a:lnTo>
                    <a:pt x="232" y="16"/>
                  </a:lnTo>
                  <a:lnTo>
                    <a:pt x="229" y="16"/>
                  </a:lnTo>
                  <a:lnTo>
                    <a:pt x="229" y="22"/>
                  </a:lnTo>
                  <a:lnTo>
                    <a:pt x="221" y="22"/>
                  </a:lnTo>
                  <a:lnTo>
                    <a:pt x="219" y="24"/>
                  </a:lnTo>
                  <a:lnTo>
                    <a:pt x="221" y="30"/>
                  </a:lnTo>
                  <a:lnTo>
                    <a:pt x="224" y="30"/>
                  </a:lnTo>
                  <a:lnTo>
                    <a:pt x="224" y="35"/>
                  </a:lnTo>
                  <a:lnTo>
                    <a:pt x="224" y="35"/>
                  </a:lnTo>
                  <a:lnTo>
                    <a:pt x="224" y="40"/>
                  </a:lnTo>
                  <a:lnTo>
                    <a:pt x="229" y="40"/>
                  </a:lnTo>
                  <a:lnTo>
                    <a:pt x="229" y="46"/>
                  </a:lnTo>
                  <a:lnTo>
                    <a:pt x="237" y="46"/>
                  </a:lnTo>
                  <a:lnTo>
                    <a:pt x="240" y="51"/>
                  </a:lnTo>
                  <a:lnTo>
                    <a:pt x="245" y="54"/>
                  </a:lnTo>
                  <a:lnTo>
                    <a:pt x="248" y="54"/>
                  </a:lnTo>
                  <a:lnTo>
                    <a:pt x="245" y="62"/>
                  </a:lnTo>
                  <a:lnTo>
                    <a:pt x="251" y="64"/>
                  </a:lnTo>
                  <a:lnTo>
                    <a:pt x="251" y="64"/>
                  </a:lnTo>
                  <a:lnTo>
                    <a:pt x="248" y="67"/>
                  </a:lnTo>
                  <a:lnTo>
                    <a:pt x="248" y="67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51" y="70"/>
                  </a:lnTo>
                  <a:lnTo>
                    <a:pt x="253" y="70"/>
                  </a:lnTo>
                  <a:lnTo>
                    <a:pt x="253" y="70"/>
                  </a:lnTo>
                  <a:lnTo>
                    <a:pt x="253" y="72"/>
                  </a:lnTo>
                  <a:lnTo>
                    <a:pt x="256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3" y="80"/>
                  </a:lnTo>
                  <a:lnTo>
                    <a:pt x="256" y="80"/>
                  </a:lnTo>
                  <a:lnTo>
                    <a:pt x="256" y="83"/>
                  </a:lnTo>
                  <a:lnTo>
                    <a:pt x="256" y="86"/>
                  </a:lnTo>
                  <a:lnTo>
                    <a:pt x="256" y="86"/>
                  </a:lnTo>
                  <a:lnTo>
                    <a:pt x="256" y="88"/>
                  </a:lnTo>
                  <a:lnTo>
                    <a:pt x="256" y="88"/>
                  </a:lnTo>
                  <a:lnTo>
                    <a:pt x="259" y="91"/>
                  </a:lnTo>
                  <a:lnTo>
                    <a:pt x="259" y="91"/>
                  </a:lnTo>
                  <a:lnTo>
                    <a:pt x="259" y="91"/>
                  </a:lnTo>
                  <a:lnTo>
                    <a:pt x="259" y="94"/>
                  </a:lnTo>
                  <a:lnTo>
                    <a:pt x="261" y="94"/>
                  </a:lnTo>
                  <a:lnTo>
                    <a:pt x="261" y="96"/>
                  </a:lnTo>
                  <a:lnTo>
                    <a:pt x="264" y="96"/>
                  </a:lnTo>
                  <a:lnTo>
                    <a:pt x="264" y="96"/>
                  </a:lnTo>
                  <a:lnTo>
                    <a:pt x="264" y="99"/>
                  </a:lnTo>
                  <a:lnTo>
                    <a:pt x="264" y="102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61" y="102"/>
                  </a:lnTo>
                  <a:lnTo>
                    <a:pt x="261" y="104"/>
                  </a:lnTo>
                  <a:lnTo>
                    <a:pt x="261" y="107"/>
                  </a:lnTo>
                  <a:lnTo>
                    <a:pt x="259" y="107"/>
                  </a:lnTo>
                  <a:lnTo>
                    <a:pt x="256" y="107"/>
                  </a:lnTo>
                  <a:lnTo>
                    <a:pt x="256" y="107"/>
                  </a:lnTo>
                  <a:lnTo>
                    <a:pt x="253" y="107"/>
                  </a:lnTo>
                  <a:lnTo>
                    <a:pt x="253" y="107"/>
                  </a:lnTo>
                  <a:lnTo>
                    <a:pt x="253" y="110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48" y="112"/>
                  </a:lnTo>
                  <a:lnTo>
                    <a:pt x="248" y="112"/>
                  </a:lnTo>
                  <a:lnTo>
                    <a:pt x="248" y="112"/>
                  </a:lnTo>
                  <a:lnTo>
                    <a:pt x="245" y="112"/>
                  </a:lnTo>
                  <a:lnTo>
                    <a:pt x="243" y="115"/>
                  </a:lnTo>
                  <a:lnTo>
                    <a:pt x="240" y="115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5" y="118"/>
                  </a:lnTo>
                  <a:lnTo>
                    <a:pt x="235" y="118"/>
                  </a:lnTo>
                  <a:lnTo>
                    <a:pt x="232" y="120"/>
                  </a:lnTo>
                  <a:lnTo>
                    <a:pt x="229" y="120"/>
                  </a:lnTo>
                  <a:lnTo>
                    <a:pt x="229" y="123"/>
                  </a:lnTo>
                  <a:lnTo>
                    <a:pt x="229" y="123"/>
                  </a:lnTo>
                  <a:lnTo>
                    <a:pt x="227" y="126"/>
                  </a:lnTo>
                  <a:lnTo>
                    <a:pt x="224" y="126"/>
                  </a:lnTo>
                  <a:lnTo>
                    <a:pt x="224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4"/>
                  </a:lnTo>
                  <a:lnTo>
                    <a:pt x="219" y="134"/>
                  </a:lnTo>
                  <a:lnTo>
                    <a:pt x="219" y="137"/>
                  </a:lnTo>
                  <a:lnTo>
                    <a:pt x="219" y="137"/>
                  </a:lnTo>
                  <a:lnTo>
                    <a:pt x="216" y="139"/>
                  </a:lnTo>
                  <a:lnTo>
                    <a:pt x="216" y="142"/>
                  </a:lnTo>
                  <a:lnTo>
                    <a:pt x="216" y="142"/>
                  </a:lnTo>
                  <a:lnTo>
                    <a:pt x="213" y="145"/>
                  </a:lnTo>
                  <a:lnTo>
                    <a:pt x="211" y="147"/>
                  </a:lnTo>
                  <a:lnTo>
                    <a:pt x="211" y="147"/>
                  </a:lnTo>
                  <a:lnTo>
                    <a:pt x="208" y="147"/>
                  </a:lnTo>
                  <a:lnTo>
                    <a:pt x="208" y="150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11" y="155"/>
                  </a:lnTo>
                  <a:lnTo>
                    <a:pt x="211" y="158"/>
                  </a:lnTo>
                  <a:lnTo>
                    <a:pt x="211" y="158"/>
                  </a:lnTo>
                  <a:lnTo>
                    <a:pt x="211" y="161"/>
                  </a:lnTo>
                  <a:lnTo>
                    <a:pt x="211" y="163"/>
                  </a:lnTo>
                  <a:lnTo>
                    <a:pt x="213" y="166"/>
                  </a:lnTo>
                  <a:lnTo>
                    <a:pt x="213" y="166"/>
                  </a:lnTo>
                  <a:lnTo>
                    <a:pt x="213" y="169"/>
                  </a:lnTo>
                  <a:lnTo>
                    <a:pt x="213" y="174"/>
                  </a:lnTo>
                  <a:lnTo>
                    <a:pt x="213" y="177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6" y="182"/>
                  </a:lnTo>
                  <a:lnTo>
                    <a:pt x="219" y="182"/>
                  </a:lnTo>
                  <a:lnTo>
                    <a:pt x="219" y="185"/>
                  </a:lnTo>
                  <a:lnTo>
                    <a:pt x="219" y="185"/>
                  </a:lnTo>
                  <a:lnTo>
                    <a:pt x="216" y="187"/>
                  </a:lnTo>
                  <a:lnTo>
                    <a:pt x="216" y="190"/>
                  </a:lnTo>
                  <a:lnTo>
                    <a:pt x="219" y="190"/>
                  </a:lnTo>
                  <a:lnTo>
                    <a:pt x="219" y="190"/>
                  </a:lnTo>
                  <a:lnTo>
                    <a:pt x="219" y="190"/>
                  </a:lnTo>
                  <a:lnTo>
                    <a:pt x="221" y="187"/>
                  </a:lnTo>
                  <a:lnTo>
                    <a:pt x="221" y="190"/>
                  </a:lnTo>
                  <a:lnTo>
                    <a:pt x="221" y="193"/>
                  </a:lnTo>
                  <a:lnTo>
                    <a:pt x="221" y="193"/>
                  </a:lnTo>
                  <a:lnTo>
                    <a:pt x="221" y="195"/>
                  </a:lnTo>
                  <a:lnTo>
                    <a:pt x="221" y="198"/>
                  </a:lnTo>
                  <a:lnTo>
                    <a:pt x="221" y="201"/>
                  </a:lnTo>
                  <a:lnTo>
                    <a:pt x="219" y="201"/>
                  </a:lnTo>
                  <a:lnTo>
                    <a:pt x="216" y="201"/>
                  </a:lnTo>
                  <a:lnTo>
                    <a:pt x="213" y="201"/>
                  </a:lnTo>
                  <a:lnTo>
                    <a:pt x="213" y="203"/>
                  </a:lnTo>
                  <a:lnTo>
                    <a:pt x="213" y="203"/>
                  </a:lnTo>
                  <a:lnTo>
                    <a:pt x="213" y="206"/>
                  </a:lnTo>
                  <a:lnTo>
                    <a:pt x="213" y="206"/>
                  </a:lnTo>
                  <a:lnTo>
                    <a:pt x="211" y="217"/>
                  </a:lnTo>
                  <a:lnTo>
                    <a:pt x="208" y="219"/>
                  </a:lnTo>
                  <a:lnTo>
                    <a:pt x="211" y="222"/>
                  </a:lnTo>
                  <a:lnTo>
                    <a:pt x="211" y="225"/>
                  </a:lnTo>
                  <a:lnTo>
                    <a:pt x="208" y="227"/>
                  </a:lnTo>
                  <a:lnTo>
                    <a:pt x="208" y="230"/>
                  </a:lnTo>
                  <a:lnTo>
                    <a:pt x="208" y="230"/>
                  </a:lnTo>
                  <a:lnTo>
                    <a:pt x="205" y="233"/>
                  </a:lnTo>
                  <a:lnTo>
                    <a:pt x="205" y="233"/>
                  </a:lnTo>
                  <a:lnTo>
                    <a:pt x="205" y="235"/>
                  </a:lnTo>
                  <a:lnTo>
                    <a:pt x="203" y="235"/>
                  </a:lnTo>
                  <a:lnTo>
                    <a:pt x="200" y="235"/>
                  </a:lnTo>
                  <a:lnTo>
                    <a:pt x="197" y="235"/>
                  </a:lnTo>
                  <a:lnTo>
                    <a:pt x="197" y="238"/>
                  </a:lnTo>
                  <a:lnTo>
                    <a:pt x="197" y="238"/>
                  </a:lnTo>
                  <a:lnTo>
                    <a:pt x="200" y="238"/>
                  </a:lnTo>
                  <a:lnTo>
                    <a:pt x="203" y="241"/>
                  </a:lnTo>
                  <a:lnTo>
                    <a:pt x="205" y="241"/>
                  </a:lnTo>
                  <a:lnTo>
                    <a:pt x="205" y="243"/>
                  </a:lnTo>
                  <a:lnTo>
                    <a:pt x="208" y="243"/>
                  </a:lnTo>
                  <a:lnTo>
                    <a:pt x="208" y="246"/>
                  </a:lnTo>
                  <a:lnTo>
                    <a:pt x="211" y="246"/>
                  </a:lnTo>
                  <a:lnTo>
                    <a:pt x="213" y="246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16" y="243"/>
                  </a:lnTo>
                  <a:lnTo>
                    <a:pt x="216" y="241"/>
                  </a:lnTo>
                  <a:lnTo>
                    <a:pt x="219" y="241"/>
                  </a:lnTo>
                  <a:lnTo>
                    <a:pt x="219" y="238"/>
                  </a:lnTo>
                  <a:lnTo>
                    <a:pt x="219" y="238"/>
                  </a:lnTo>
                  <a:lnTo>
                    <a:pt x="221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4" y="235"/>
                  </a:lnTo>
                  <a:lnTo>
                    <a:pt x="227" y="238"/>
                  </a:lnTo>
                  <a:lnTo>
                    <a:pt x="227" y="238"/>
                  </a:lnTo>
                  <a:lnTo>
                    <a:pt x="229" y="241"/>
                  </a:lnTo>
                  <a:lnTo>
                    <a:pt x="229" y="241"/>
                  </a:lnTo>
                  <a:lnTo>
                    <a:pt x="229" y="243"/>
                  </a:lnTo>
                  <a:lnTo>
                    <a:pt x="229" y="246"/>
                  </a:lnTo>
                  <a:lnTo>
                    <a:pt x="229" y="246"/>
                  </a:lnTo>
                  <a:lnTo>
                    <a:pt x="229" y="246"/>
                  </a:lnTo>
                  <a:lnTo>
                    <a:pt x="232" y="249"/>
                  </a:lnTo>
                  <a:lnTo>
                    <a:pt x="232" y="249"/>
                  </a:lnTo>
                  <a:lnTo>
                    <a:pt x="235" y="246"/>
                  </a:lnTo>
                  <a:lnTo>
                    <a:pt x="235" y="243"/>
                  </a:lnTo>
                  <a:lnTo>
                    <a:pt x="235" y="243"/>
                  </a:lnTo>
                  <a:lnTo>
                    <a:pt x="237" y="243"/>
                  </a:lnTo>
                  <a:lnTo>
                    <a:pt x="237" y="243"/>
                  </a:lnTo>
                  <a:lnTo>
                    <a:pt x="240" y="243"/>
                  </a:lnTo>
                  <a:lnTo>
                    <a:pt x="243" y="246"/>
                  </a:lnTo>
                  <a:lnTo>
                    <a:pt x="243" y="246"/>
                  </a:lnTo>
                  <a:lnTo>
                    <a:pt x="243" y="249"/>
                  </a:lnTo>
                  <a:lnTo>
                    <a:pt x="243" y="251"/>
                  </a:lnTo>
                  <a:lnTo>
                    <a:pt x="243" y="251"/>
                  </a:lnTo>
                  <a:lnTo>
                    <a:pt x="243" y="254"/>
                  </a:lnTo>
                  <a:lnTo>
                    <a:pt x="243" y="257"/>
                  </a:lnTo>
                  <a:lnTo>
                    <a:pt x="240" y="257"/>
                  </a:lnTo>
                  <a:lnTo>
                    <a:pt x="240" y="259"/>
                  </a:lnTo>
                  <a:lnTo>
                    <a:pt x="240" y="262"/>
                  </a:lnTo>
                  <a:lnTo>
                    <a:pt x="240" y="262"/>
                  </a:lnTo>
                  <a:lnTo>
                    <a:pt x="240" y="262"/>
                  </a:lnTo>
                  <a:lnTo>
                    <a:pt x="237" y="265"/>
                  </a:lnTo>
                  <a:lnTo>
                    <a:pt x="235" y="265"/>
                  </a:lnTo>
                  <a:lnTo>
                    <a:pt x="235" y="265"/>
                  </a:lnTo>
                  <a:lnTo>
                    <a:pt x="232" y="265"/>
                  </a:lnTo>
                  <a:lnTo>
                    <a:pt x="232" y="267"/>
                  </a:lnTo>
                  <a:lnTo>
                    <a:pt x="229" y="267"/>
                  </a:lnTo>
                  <a:lnTo>
                    <a:pt x="229" y="275"/>
                  </a:lnTo>
                  <a:lnTo>
                    <a:pt x="232" y="278"/>
                  </a:lnTo>
                  <a:lnTo>
                    <a:pt x="232" y="278"/>
                  </a:lnTo>
                  <a:lnTo>
                    <a:pt x="232" y="281"/>
                  </a:lnTo>
                  <a:lnTo>
                    <a:pt x="232" y="283"/>
                  </a:lnTo>
                  <a:lnTo>
                    <a:pt x="232" y="281"/>
                  </a:lnTo>
                  <a:lnTo>
                    <a:pt x="235" y="281"/>
                  </a:lnTo>
                  <a:lnTo>
                    <a:pt x="235" y="281"/>
                  </a:lnTo>
                  <a:lnTo>
                    <a:pt x="235" y="281"/>
                  </a:lnTo>
                  <a:lnTo>
                    <a:pt x="237" y="281"/>
                  </a:lnTo>
                  <a:lnTo>
                    <a:pt x="237" y="281"/>
                  </a:lnTo>
                  <a:lnTo>
                    <a:pt x="240" y="283"/>
                  </a:lnTo>
                  <a:lnTo>
                    <a:pt x="240" y="283"/>
                  </a:lnTo>
                  <a:lnTo>
                    <a:pt x="240" y="286"/>
                  </a:lnTo>
                  <a:lnTo>
                    <a:pt x="237" y="286"/>
                  </a:lnTo>
                  <a:lnTo>
                    <a:pt x="237" y="289"/>
                  </a:lnTo>
                  <a:lnTo>
                    <a:pt x="240" y="292"/>
                  </a:lnTo>
                  <a:lnTo>
                    <a:pt x="240" y="292"/>
                  </a:lnTo>
                  <a:lnTo>
                    <a:pt x="240" y="294"/>
                  </a:lnTo>
                  <a:lnTo>
                    <a:pt x="240" y="297"/>
                  </a:lnTo>
                  <a:lnTo>
                    <a:pt x="237" y="300"/>
                  </a:lnTo>
                  <a:lnTo>
                    <a:pt x="235" y="300"/>
                  </a:lnTo>
                  <a:lnTo>
                    <a:pt x="232" y="300"/>
                  </a:lnTo>
                  <a:lnTo>
                    <a:pt x="229" y="297"/>
                  </a:lnTo>
                  <a:lnTo>
                    <a:pt x="229" y="300"/>
                  </a:lnTo>
                  <a:lnTo>
                    <a:pt x="227" y="302"/>
                  </a:lnTo>
                  <a:lnTo>
                    <a:pt x="227" y="308"/>
                  </a:lnTo>
                  <a:lnTo>
                    <a:pt x="224" y="308"/>
                  </a:lnTo>
                  <a:lnTo>
                    <a:pt x="224" y="308"/>
                  </a:lnTo>
                  <a:lnTo>
                    <a:pt x="227" y="310"/>
                  </a:lnTo>
                  <a:lnTo>
                    <a:pt x="227" y="310"/>
                  </a:lnTo>
                  <a:lnTo>
                    <a:pt x="224" y="310"/>
                  </a:lnTo>
                  <a:lnTo>
                    <a:pt x="224" y="310"/>
                  </a:lnTo>
                  <a:lnTo>
                    <a:pt x="221" y="310"/>
                  </a:lnTo>
                  <a:lnTo>
                    <a:pt x="219" y="313"/>
                  </a:lnTo>
                  <a:lnTo>
                    <a:pt x="219" y="313"/>
                  </a:lnTo>
                  <a:lnTo>
                    <a:pt x="216" y="316"/>
                  </a:lnTo>
                  <a:lnTo>
                    <a:pt x="216" y="316"/>
                  </a:lnTo>
                  <a:lnTo>
                    <a:pt x="219" y="318"/>
                  </a:lnTo>
                  <a:lnTo>
                    <a:pt x="219" y="318"/>
                  </a:lnTo>
                  <a:lnTo>
                    <a:pt x="219" y="321"/>
                  </a:lnTo>
                  <a:lnTo>
                    <a:pt x="219" y="324"/>
                  </a:lnTo>
                  <a:lnTo>
                    <a:pt x="216" y="326"/>
                  </a:lnTo>
                  <a:lnTo>
                    <a:pt x="216" y="326"/>
                  </a:lnTo>
                  <a:lnTo>
                    <a:pt x="213" y="326"/>
                  </a:lnTo>
                  <a:lnTo>
                    <a:pt x="213" y="329"/>
                  </a:lnTo>
                  <a:lnTo>
                    <a:pt x="216" y="332"/>
                  </a:lnTo>
                  <a:lnTo>
                    <a:pt x="213" y="332"/>
                  </a:lnTo>
                  <a:lnTo>
                    <a:pt x="213" y="334"/>
                  </a:lnTo>
                  <a:lnTo>
                    <a:pt x="213" y="334"/>
                  </a:lnTo>
                  <a:lnTo>
                    <a:pt x="211" y="337"/>
                  </a:lnTo>
                  <a:lnTo>
                    <a:pt x="213" y="340"/>
                  </a:lnTo>
                  <a:lnTo>
                    <a:pt x="213" y="337"/>
                  </a:lnTo>
                  <a:lnTo>
                    <a:pt x="216" y="337"/>
                  </a:lnTo>
                  <a:lnTo>
                    <a:pt x="216" y="334"/>
                  </a:lnTo>
                  <a:lnTo>
                    <a:pt x="219" y="334"/>
                  </a:lnTo>
                  <a:lnTo>
                    <a:pt x="221" y="334"/>
                  </a:lnTo>
                  <a:lnTo>
                    <a:pt x="221" y="337"/>
                  </a:lnTo>
                  <a:lnTo>
                    <a:pt x="221" y="337"/>
                  </a:lnTo>
                  <a:lnTo>
                    <a:pt x="221" y="340"/>
                  </a:lnTo>
                  <a:lnTo>
                    <a:pt x="224" y="342"/>
                  </a:lnTo>
                  <a:lnTo>
                    <a:pt x="224" y="342"/>
                  </a:lnTo>
                  <a:lnTo>
                    <a:pt x="224" y="345"/>
                  </a:lnTo>
                  <a:lnTo>
                    <a:pt x="227" y="345"/>
                  </a:lnTo>
                  <a:lnTo>
                    <a:pt x="227" y="345"/>
                  </a:lnTo>
                  <a:lnTo>
                    <a:pt x="227" y="348"/>
                  </a:lnTo>
                  <a:lnTo>
                    <a:pt x="227" y="350"/>
                  </a:lnTo>
                  <a:lnTo>
                    <a:pt x="227" y="350"/>
                  </a:lnTo>
                  <a:lnTo>
                    <a:pt x="224" y="353"/>
                  </a:lnTo>
                  <a:lnTo>
                    <a:pt x="224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58"/>
                  </a:lnTo>
                  <a:lnTo>
                    <a:pt x="227" y="361"/>
                  </a:lnTo>
                  <a:lnTo>
                    <a:pt x="227" y="361"/>
                  </a:lnTo>
                  <a:lnTo>
                    <a:pt x="224" y="364"/>
                  </a:lnTo>
                  <a:lnTo>
                    <a:pt x="221" y="366"/>
                  </a:lnTo>
                  <a:lnTo>
                    <a:pt x="219" y="366"/>
                  </a:lnTo>
                  <a:lnTo>
                    <a:pt x="219" y="366"/>
                  </a:lnTo>
                  <a:lnTo>
                    <a:pt x="216" y="369"/>
                  </a:lnTo>
                  <a:lnTo>
                    <a:pt x="219" y="369"/>
                  </a:lnTo>
                  <a:lnTo>
                    <a:pt x="216" y="372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1" y="377"/>
                  </a:lnTo>
                  <a:lnTo>
                    <a:pt x="221" y="374"/>
                  </a:lnTo>
                  <a:lnTo>
                    <a:pt x="221" y="374"/>
                  </a:lnTo>
                  <a:lnTo>
                    <a:pt x="224" y="374"/>
                  </a:lnTo>
                  <a:lnTo>
                    <a:pt x="227" y="377"/>
                  </a:lnTo>
                  <a:lnTo>
                    <a:pt x="227" y="377"/>
                  </a:lnTo>
                  <a:lnTo>
                    <a:pt x="229" y="380"/>
                  </a:lnTo>
                  <a:lnTo>
                    <a:pt x="229" y="382"/>
                  </a:lnTo>
                  <a:lnTo>
                    <a:pt x="229" y="385"/>
                  </a:lnTo>
                  <a:lnTo>
                    <a:pt x="229" y="385"/>
                  </a:lnTo>
                  <a:lnTo>
                    <a:pt x="229" y="385"/>
                  </a:lnTo>
                  <a:lnTo>
                    <a:pt x="232" y="382"/>
                  </a:lnTo>
                  <a:lnTo>
                    <a:pt x="232" y="382"/>
                  </a:lnTo>
                  <a:lnTo>
                    <a:pt x="232" y="385"/>
                  </a:lnTo>
                  <a:lnTo>
                    <a:pt x="232" y="385"/>
                  </a:lnTo>
                  <a:lnTo>
                    <a:pt x="235" y="385"/>
                  </a:lnTo>
                  <a:lnTo>
                    <a:pt x="235" y="388"/>
                  </a:lnTo>
                  <a:lnTo>
                    <a:pt x="235" y="390"/>
                  </a:lnTo>
                  <a:lnTo>
                    <a:pt x="235" y="393"/>
                  </a:lnTo>
                  <a:lnTo>
                    <a:pt x="235" y="393"/>
                  </a:lnTo>
                  <a:lnTo>
                    <a:pt x="232" y="393"/>
                  </a:lnTo>
                  <a:lnTo>
                    <a:pt x="229" y="398"/>
                  </a:lnTo>
                  <a:lnTo>
                    <a:pt x="229" y="398"/>
                  </a:lnTo>
                  <a:lnTo>
                    <a:pt x="227" y="401"/>
                  </a:lnTo>
                  <a:lnTo>
                    <a:pt x="224" y="398"/>
                  </a:lnTo>
                  <a:lnTo>
                    <a:pt x="224" y="401"/>
                  </a:lnTo>
                  <a:lnTo>
                    <a:pt x="224" y="401"/>
                  </a:lnTo>
                  <a:lnTo>
                    <a:pt x="224" y="404"/>
                  </a:lnTo>
                  <a:lnTo>
                    <a:pt x="227" y="406"/>
                  </a:lnTo>
                  <a:lnTo>
                    <a:pt x="227" y="406"/>
                  </a:lnTo>
                  <a:lnTo>
                    <a:pt x="227" y="409"/>
                  </a:lnTo>
                  <a:lnTo>
                    <a:pt x="229" y="409"/>
                  </a:lnTo>
                  <a:lnTo>
                    <a:pt x="229" y="412"/>
                  </a:lnTo>
                  <a:lnTo>
                    <a:pt x="227" y="412"/>
                  </a:lnTo>
                  <a:lnTo>
                    <a:pt x="227" y="412"/>
                  </a:lnTo>
                  <a:lnTo>
                    <a:pt x="224" y="412"/>
                  </a:lnTo>
                  <a:lnTo>
                    <a:pt x="224" y="412"/>
                  </a:lnTo>
                  <a:lnTo>
                    <a:pt x="224" y="412"/>
                  </a:lnTo>
                  <a:lnTo>
                    <a:pt x="221" y="414"/>
                  </a:lnTo>
                  <a:lnTo>
                    <a:pt x="221" y="414"/>
                  </a:lnTo>
                  <a:lnTo>
                    <a:pt x="219" y="417"/>
                  </a:lnTo>
                  <a:lnTo>
                    <a:pt x="219" y="417"/>
                  </a:lnTo>
                  <a:lnTo>
                    <a:pt x="219" y="420"/>
                  </a:lnTo>
                  <a:lnTo>
                    <a:pt x="216" y="420"/>
                  </a:lnTo>
                  <a:lnTo>
                    <a:pt x="213" y="422"/>
                  </a:lnTo>
                  <a:lnTo>
                    <a:pt x="213" y="422"/>
                  </a:lnTo>
                  <a:lnTo>
                    <a:pt x="213" y="422"/>
                  </a:lnTo>
                  <a:lnTo>
                    <a:pt x="211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5" y="428"/>
                  </a:lnTo>
                  <a:lnTo>
                    <a:pt x="205" y="428"/>
                  </a:lnTo>
                  <a:lnTo>
                    <a:pt x="203" y="430"/>
                  </a:lnTo>
                  <a:lnTo>
                    <a:pt x="200" y="430"/>
                  </a:lnTo>
                  <a:lnTo>
                    <a:pt x="200" y="433"/>
                  </a:lnTo>
                  <a:lnTo>
                    <a:pt x="200" y="436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0" y="438"/>
                  </a:lnTo>
                  <a:lnTo>
                    <a:pt x="200" y="441"/>
                  </a:lnTo>
                  <a:lnTo>
                    <a:pt x="200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5" y="441"/>
                  </a:lnTo>
                  <a:lnTo>
                    <a:pt x="192" y="444"/>
                  </a:lnTo>
                  <a:lnTo>
                    <a:pt x="192" y="444"/>
                  </a:lnTo>
                  <a:lnTo>
                    <a:pt x="189" y="444"/>
                  </a:lnTo>
                  <a:lnTo>
                    <a:pt x="189" y="446"/>
                  </a:lnTo>
                  <a:lnTo>
                    <a:pt x="187" y="449"/>
                  </a:lnTo>
                  <a:lnTo>
                    <a:pt x="187" y="449"/>
                  </a:lnTo>
                  <a:lnTo>
                    <a:pt x="184" y="449"/>
                  </a:lnTo>
                  <a:lnTo>
                    <a:pt x="181" y="449"/>
                  </a:lnTo>
                  <a:lnTo>
                    <a:pt x="181" y="446"/>
                  </a:lnTo>
                  <a:lnTo>
                    <a:pt x="181" y="446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1" y="438"/>
                  </a:lnTo>
                  <a:lnTo>
                    <a:pt x="181" y="438"/>
                  </a:lnTo>
                  <a:lnTo>
                    <a:pt x="184" y="436"/>
                  </a:lnTo>
                  <a:lnTo>
                    <a:pt x="184" y="433"/>
                  </a:lnTo>
                  <a:lnTo>
                    <a:pt x="187" y="433"/>
                  </a:lnTo>
                  <a:lnTo>
                    <a:pt x="187" y="430"/>
                  </a:lnTo>
                  <a:lnTo>
                    <a:pt x="187" y="430"/>
                  </a:lnTo>
                  <a:lnTo>
                    <a:pt x="184" y="428"/>
                  </a:lnTo>
                  <a:lnTo>
                    <a:pt x="184" y="428"/>
                  </a:lnTo>
                  <a:lnTo>
                    <a:pt x="187" y="425"/>
                  </a:lnTo>
                  <a:lnTo>
                    <a:pt x="187" y="425"/>
                  </a:lnTo>
                  <a:lnTo>
                    <a:pt x="184" y="422"/>
                  </a:lnTo>
                  <a:lnTo>
                    <a:pt x="184" y="422"/>
                  </a:lnTo>
                  <a:lnTo>
                    <a:pt x="181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9" y="422"/>
                  </a:lnTo>
                  <a:lnTo>
                    <a:pt x="176" y="425"/>
                  </a:lnTo>
                  <a:lnTo>
                    <a:pt x="176" y="425"/>
                  </a:lnTo>
                  <a:lnTo>
                    <a:pt x="173" y="425"/>
                  </a:lnTo>
                  <a:lnTo>
                    <a:pt x="168" y="422"/>
                  </a:lnTo>
                  <a:lnTo>
                    <a:pt x="168" y="420"/>
                  </a:lnTo>
                  <a:lnTo>
                    <a:pt x="168" y="420"/>
                  </a:lnTo>
                  <a:lnTo>
                    <a:pt x="165" y="414"/>
                  </a:lnTo>
                  <a:lnTo>
                    <a:pt x="163" y="414"/>
                  </a:lnTo>
                  <a:lnTo>
                    <a:pt x="160" y="412"/>
                  </a:lnTo>
                  <a:lnTo>
                    <a:pt x="160" y="412"/>
                  </a:lnTo>
                  <a:lnTo>
                    <a:pt x="157" y="412"/>
                  </a:lnTo>
                  <a:lnTo>
                    <a:pt x="157" y="409"/>
                  </a:lnTo>
                  <a:lnTo>
                    <a:pt x="157" y="409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52" y="412"/>
                  </a:lnTo>
                  <a:lnTo>
                    <a:pt x="152" y="414"/>
                  </a:lnTo>
                  <a:lnTo>
                    <a:pt x="152" y="414"/>
                  </a:lnTo>
                  <a:lnTo>
                    <a:pt x="149" y="414"/>
                  </a:lnTo>
                  <a:lnTo>
                    <a:pt x="147" y="414"/>
                  </a:lnTo>
                  <a:lnTo>
                    <a:pt x="147" y="417"/>
                  </a:lnTo>
                  <a:lnTo>
                    <a:pt x="144" y="417"/>
                  </a:lnTo>
                  <a:lnTo>
                    <a:pt x="141" y="420"/>
                  </a:lnTo>
                  <a:lnTo>
                    <a:pt x="139" y="420"/>
                  </a:lnTo>
                  <a:lnTo>
                    <a:pt x="139" y="417"/>
                  </a:lnTo>
                  <a:lnTo>
                    <a:pt x="136" y="414"/>
                  </a:lnTo>
                  <a:lnTo>
                    <a:pt x="133" y="414"/>
                  </a:lnTo>
                  <a:lnTo>
                    <a:pt x="131" y="414"/>
                  </a:lnTo>
                  <a:lnTo>
                    <a:pt x="128" y="412"/>
                  </a:lnTo>
                  <a:lnTo>
                    <a:pt x="128" y="412"/>
                  </a:lnTo>
                  <a:lnTo>
                    <a:pt x="125" y="412"/>
                  </a:lnTo>
                  <a:lnTo>
                    <a:pt x="123" y="412"/>
                  </a:lnTo>
                  <a:lnTo>
                    <a:pt x="125" y="409"/>
                  </a:lnTo>
                  <a:lnTo>
                    <a:pt x="125" y="406"/>
                  </a:lnTo>
                  <a:lnTo>
                    <a:pt x="125" y="406"/>
                  </a:lnTo>
                  <a:lnTo>
                    <a:pt x="125" y="404"/>
                  </a:lnTo>
                  <a:lnTo>
                    <a:pt x="120" y="404"/>
                  </a:lnTo>
                  <a:lnTo>
                    <a:pt x="120" y="404"/>
                  </a:lnTo>
                  <a:lnTo>
                    <a:pt x="117" y="404"/>
                  </a:lnTo>
                  <a:lnTo>
                    <a:pt x="117" y="404"/>
                  </a:lnTo>
                  <a:lnTo>
                    <a:pt x="115" y="404"/>
                  </a:lnTo>
                  <a:lnTo>
                    <a:pt x="115" y="401"/>
                  </a:lnTo>
                  <a:lnTo>
                    <a:pt x="115" y="401"/>
                  </a:lnTo>
                  <a:lnTo>
                    <a:pt x="112" y="401"/>
                  </a:lnTo>
                  <a:lnTo>
                    <a:pt x="112" y="401"/>
                  </a:lnTo>
                  <a:lnTo>
                    <a:pt x="115" y="398"/>
                  </a:lnTo>
                  <a:lnTo>
                    <a:pt x="115" y="396"/>
                  </a:lnTo>
                  <a:lnTo>
                    <a:pt x="115" y="393"/>
                  </a:lnTo>
                  <a:lnTo>
                    <a:pt x="115" y="390"/>
                  </a:lnTo>
                  <a:lnTo>
                    <a:pt x="112" y="390"/>
                  </a:lnTo>
                  <a:lnTo>
                    <a:pt x="112" y="393"/>
                  </a:lnTo>
                  <a:lnTo>
                    <a:pt x="112" y="393"/>
                  </a:lnTo>
                  <a:lnTo>
                    <a:pt x="109" y="390"/>
                  </a:lnTo>
                  <a:lnTo>
                    <a:pt x="109" y="388"/>
                  </a:lnTo>
                  <a:lnTo>
                    <a:pt x="107" y="388"/>
                  </a:lnTo>
                  <a:lnTo>
                    <a:pt x="107" y="388"/>
                  </a:lnTo>
                  <a:lnTo>
                    <a:pt x="107" y="388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1" y="382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4" y="377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9" y="364"/>
                  </a:lnTo>
                  <a:lnTo>
                    <a:pt x="112" y="361"/>
                  </a:lnTo>
                  <a:lnTo>
                    <a:pt x="109" y="358"/>
                  </a:lnTo>
                  <a:lnTo>
                    <a:pt x="109" y="358"/>
                  </a:lnTo>
                  <a:lnTo>
                    <a:pt x="109" y="358"/>
                  </a:lnTo>
                  <a:lnTo>
                    <a:pt x="107" y="356"/>
                  </a:lnTo>
                  <a:lnTo>
                    <a:pt x="107" y="356"/>
                  </a:lnTo>
                  <a:lnTo>
                    <a:pt x="104" y="356"/>
                  </a:lnTo>
                  <a:lnTo>
                    <a:pt x="104" y="356"/>
                  </a:lnTo>
                  <a:lnTo>
                    <a:pt x="101" y="356"/>
                  </a:lnTo>
                  <a:lnTo>
                    <a:pt x="101" y="353"/>
                  </a:lnTo>
                  <a:lnTo>
                    <a:pt x="101" y="350"/>
                  </a:lnTo>
                  <a:lnTo>
                    <a:pt x="99" y="348"/>
                  </a:lnTo>
                  <a:lnTo>
                    <a:pt x="99" y="348"/>
                  </a:lnTo>
                  <a:lnTo>
                    <a:pt x="96" y="348"/>
                  </a:lnTo>
                  <a:lnTo>
                    <a:pt x="96" y="348"/>
                  </a:lnTo>
                  <a:lnTo>
                    <a:pt x="93" y="342"/>
                  </a:lnTo>
                  <a:lnTo>
                    <a:pt x="91" y="342"/>
                  </a:lnTo>
                  <a:lnTo>
                    <a:pt x="91" y="337"/>
                  </a:lnTo>
                  <a:lnTo>
                    <a:pt x="93" y="337"/>
                  </a:lnTo>
                  <a:lnTo>
                    <a:pt x="96" y="337"/>
                  </a:lnTo>
                  <a:lnTo>
                    <a:pt x="96" y="337"/>
                  </a:lnTo>
                  <a:lnTo>
                    <a:pt x="99" y="337"/>
                  </a:lnTo>
                  <a:lnTo>
                    <a:pt x="99" y="334"/>
                  </a:lnTo>
                  <a:lnTo>
                    <a:pt x="99" y="334"/>
                  </a:lnTo>
                  <a:lnTo>
                    <a:pt x="101" y="334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4" y="332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7" y="326"/>
                  </a:lnTo>
                  <a:lnTo>
                    <a:pt x="107" y="326"/>
                  </a:lnTo>
                  <a:lnTo>
                    <a:pt x="107" y="324"/>
                  </a:lnTo>
                  <a:lnTo>
                    <a:pt x="109" y="324"/>
                  </a:lnTo>
                  <a:lnTo>
                    <a:pt x="104" y="324"/>
                  </a:lnTo>
                  <a:lnTo>
                    <a:pt x="107" y="321"/>
                  </a:lnTo>
                  <a:lnTo>
                    <a:pt x="109" y="318"/>
                  </a:lnTo>
                  <a:lnTo>
                    <a:pt x="109" y="318"/>
                  </a:lnTo>
                  <a:lnTo>
                    <a:pt x="109" y="316"/>
                  </a:lnTo>
                  <a:lnTo>
                    <a:pt x="109" y="316"/>
                  </a:lnTo>
                  <a:lnTo>
                    <a:pt x="107" y="316"/>
                  </a:lnTo>
                  <a:lnTo>
                    <a:pt x="107" y="316"/>
                  </a:lnTo>
                  <a:lnTo>
                    <a:pt x="104" y="318"/>
                  </a:lnTo>
                  <a:lnTo>
                    <a:pt x="101" y="318"/>
                  </a:lnTo>
                  <a:lnTo>
                    <a:pt x="101" y="318"/>
                  </a:lnTo>
                  <a:lnTo>
                    <a:pt x="99" y="318"/>
                  </a:lnTo>
                  <a:lnTo>
                    <a:pt x="99" y="316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3" y="313"/>
                  </a:lnTo>
                  <a:lnTo>
                    <a:pt x="91" y="313"/>
                  </a:lnTo>
                  <a:lnTo>
                    <a:pt x="88" y="310"/>
                  </a:lnTo>
                  <a:lnTo>
                    <a:pt x="88" y="308"/>
                  </a:lnTo>
                  <a:lnTo>
                    <a:pt x="85" y="305"/>
                  </a:lnTo>
                  <a:lnTo>
                    <a:pt x="85" y="305"/>
                  </a:lnTo>
                  <a:lnTo>
                    <a:pt x="83" y="302"/>
                  </a:lnTo>
                  <a:lnTo>
                    <a:pt x="83" y="302"/>
                  </a:lnTo>
                  <a:lnTo>
                    <a:pt x="80" y="302"/>
                  </a:lnTo>
                  <a:lnTo>
                    <a:pt x="80" y="302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80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89"/>
                  </a:lnTo>
                  <a:lnTo>
                    <a:pt x="77" y="286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5" y="281"/>
                  </a:lnTo>
                  <a:lnTo>
                    <a:pt x="72" y="281"/>
                  </a:lnTo>
                  <a:lnTo>
                    <a:pt x="69" y="278"/>
                  </a:lnTo>
                  <a:lnTo>
                    <a:pt x="69" y="275"/>
                  </a:lnTo>
                  <a:lnTo>
                    <a:pt x="69" y="273"/>
                  </a:lnTo>
                  <a:lnTo>
                    <a:pt x="69" y="267"/>
                  </a:lnTo>
                  <a:lnTo>
                    <a:pt x="69" y="265"/>
                  </a:lnTo>
                  <a:lnTo>
                    <a:pt x="67" y="265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1" y="259"/>
                  </a:lnTo>
                  <a:lnTo>
                    <a:pt x="59" y="259"/>
                  </a:lnTo>
                  <a:lnTo>
                    <a:pt x="56" y="257"/>
                  </a:lnTo>
                  <a:lnTo>
                    <a:pt x="56" y="254"/>
                  </a:lnTo>
                  <a:lnTo>
                    <a:pt x="53" y="254"/>
                  </a:lnTo>
                  <a:lnTo>
                    <a:pt x="48" y="246"/>
                  </a:lnTo>
                  <a:lnTo>
                    <a:pt x="45" y="246"/>
                  </a:lnTo>
                  <a:lnTo>
                    <a:pt x="43" y="238"/>
                  </a:lnTo>
                  <a:lnTo>
                    <a:pt x="40" y="241"/>
                  </a:lnTo>
                  <a:lnTo>
                    <a:pt x="40" y="238"/>
                  </a:lnTo>
                  <a:lnTo>
                    <a:pt x="32" y="241"/>
                  </a:lnTo>
                  <a:lnTo>
                    <a:pt x="21" y="214"/>
                  </a:lnTo>
                  <a:lnTo>
                    <a:pt x="16" y="217"/>
                  </a:lnTo>
                  <a:lnTo>
                    <a:pt x="10" y="198"/>
                  </a:lnTo>
                  <a:lnTo>
                    <a:pt x="16" y="195"/>
                  </a:lnTo>
                  <a:lnTo>
                    <a:pt x="16" y="193"/>
                  </a:lnTo>
                  <a:lnTo>
                    <a:pt x="13" y="193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0" y="190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5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79"/>
                  </a:lnTo>
                  <a:lnTo>
                    <a:pt x="18" y="177"/>
                  </a:lnTo>
                  <a:lnTo>
                    <a:pt x="18" y="174"/>
                  </a:lnTo>
                  <a:lnTo>
                    <a:pt x="21" y="174"/>
                  </a:lnTo>
                  <a:lnTo>
                    <a:pt x="18" y="174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6"/>
                  </a:lnTo>
                  <a:lnTo>
                    <a:pt x="13" y="166"/>
                  </a:lnTo>
                  <a:lnTo>
                    <a:pt x="13" y="163"/>
                  </a:lnTo>
                  <a:lnTo>
                    <a:pt x="10" y="163"/>
                  </a:lnTo>
                  <a:lnTo>
                    <a:pt x="10" y="163"/>
                  </a:lnTo>
                  <a:lnTo>
                    <a:pt x="8" y="161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0"/>
                  </a:lnTo>
                  <a:lnTo>
                    <a:pt x="13" y="147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4"/>
                  </a:lnTo>
                  <a:lnTo>
                    <a:pt x="13" y="134"/>
                  </a:lnTo>
                  <a:lnTo>
                    <a:pt x="13" y="131"/>
                  </a:lnTo>
                  <a:lnTo>
                    <a:pt x="16" y="131"/>
                  </a:lnTo>
                  <a:lnTo>
                    <a:pt x="16" y="126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0" y="123"/>
                  </a:lnTo>
                  <a:lnTo>
                    <a:pt x="10" y="120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5" y="115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2"/>
                  </a:lnTo>
                  <a:lnTo>
                    <a:pt x="8" y="110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8" y="96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8" y="94"/>
                  </a:lnTo>
                  <a:lnTo>
                    <a:pt x="5" y="94"/>
                  </a:lnTo>
                  <a:lnTo>
                    <a:pt x="2" y="94"/>
                  </a:lnTo>
                  <a:lnTo>
                    <a:pt x="2" y="88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2" y="83"/>
                  </a:lnTo>
                  <a:lnTo>
                    <a:pt x="5" y="80"/>
                  </a:lnTo>
                  <a:lnTo>
                    <a:pt x="2" y="80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2" y="78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5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5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8" y="54"/>
                  </a:lnTo>
                  <a:lnTo>
                    <a:pt x="10" y="51"/>
                  </a:lnTo>
                  <a:lnTo>
                    <a:pt x="13" y="51"/>
                  </a:lnTo>
                  <a:lnTo>
                    <a:pt x="16" y="51"/>
                  </a:lnTo>
                  <a:lnTo>
                    <a:pt x="16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4" y="46"/>
                  </a:lnTo>
                  <a:lnTo>
                    <a:pt x="37" y="43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3" y="46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8" y="43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6" y="46"/>
                  </a:lnTo>
                  <a:lnTo>
                    <a:pt x="67" y="46"/>
                  </a:lnTo>
                  <a:lnTo>
                    <a:pt x="67" y="43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75" y="35"/>
                  </a:lnTo>
                  <a:lnTo>
                    <a:pt x="75" y="32"/>
                  </a:lnTo>
                  <a:lnTo>
                    <a:pt x="75" y="30"/>
                  </a:lnTo>
                  <a:lnTo>
                    <a:pt x="75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5" y="27"/>
                  </a:lnTo>
                  <a:lnTo>
                    <a:pt x="85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91" y="19"/>
                  </a:lnTo>
                  <a:lnTo>
                    <a:pt x="93" y="16"/>
                  </a:lnTo>
                  <a:lnTo>
                    <a:pt x="96" y="16"/>
                  </a:lnTo>
                  <a:lnTo>
                    <a:pt x="96" y="14"/>
                  </a:lnTo>
                  <a:lnTo>
                    <a:pt x="99" y="11"/>
                  </a:lnTo>
                  <a:lnTo>
                    <a:pt x="99" y="8"/>
                  </a:lnTo>
                  <a:lnTo>
                    <a:pt x="101" y="8"/>
                  </a:lnTo>
                  <a:lnTo>
                    <a:pt x="104" y="8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2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1"/>
                  </a:lnTo>
                  <a:lnTo>
                    <a:pt x="123" y="11"/>
                  </a:lnTo>
                  <a:lnTo>
                    <a:pt x="128" y="14"/>
                  </a:lnTo>
                  <a:lnTo>
                    <a:pt x="131" y="11"/>
                  </a:lnTo>
                  <a:lnTo>
                    <a:pt x="133" y="14"/>
                  </a:lnTo>
                  <a:lnTo>
                    <a:pt x="131" y="16"/>
                  </a:lnTo>
                  <a:lnTo>
                    <a:pt x="131" y="19"/>
                  </a:lnTo>
                  <a:lnTo>
                    <a:pt x="133" y="22"/>
                  </a:lnTo>
                  <a:lnTo>
                    <a:pt x="136" y="22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22"/>
                  </a:lnTo>
                  <a:lnTo>
                    <a:pt x="141" y="22"/>
                  </a:lnTo>
                  <a:lnTo>
                    <a:pt x="147" y="22"/>
                  </a:lnTo>
                  <a:lnTo>
                    <a:pt x="147" y="22"/>
                  </a:lnTo>
                  <a:lnTo>
                    <a:pt x="149" y="22"/>
                  </a:lnTo>
                  <a:lnTo>
                    <a:pt x="152" y="19"/>
                  </a:lnTo>
                  <a:lnTo>
                    <a:pt x="147" y="11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2" y="14"/>
                  </a:lnTo>
                  <a:lnTo>
                    <a:pt x="157" y="14"/>
                  </a:lnTo>
                  <a:lnTo>
                    <a:pt x="163" y="11"/>
                  </a:lnTo>
                  <a:lnTo>
                    <a:pt x="163" y="16"/>
                  </a:lnTo>
                  <a:lnTo>
                    <a:pt x="157" y="16"/>
                  </a:lnTo>
                  <a:lnTo>
                    <a:pt x="160" y="19"/>
                  </a:lnTo>
                  <a:lnTo>
                    <a:pt x="171" y="11"/>
                  </a:lnTo>
                  <a:lnTo>
                    <a:pt x="173" y="19"/>
                  </a:lnTo>
                  <a:lnTo>
                    <a:pt x="173" y="22"/>
                  </a:lnTo>
                  <a:lnTo>
                    <a:pt x="173" y="24"/>
                  </a:lnTo>
                  <a:lnTo>
                    <a:pt x="179" y="22"/>
                  </a:lnTo>
                  <a:lnTo>
                    <a:pt x="179" y="24"/>
                  </a:lnTo>
                  <a:lnTo>
                    <a:pt x="181" y="24"/>
                  </a:lnTo>
                  <a:lnTo>
                    <a:pt x="187" y="19"/>
                  </a:lnTo>
                  <a:lnTo>
                    <a:pt x="192" y="16"/>
                  </a:lnTo>
                  <a:lnTo>
                    <a:pt x="195" y="14"/>
                  </a:lnTo>
                  <a:lnTo>
                    <a:pt x="200" y="11"/>
                  </a:lnTo>
                  <a:lnTo>
                    <a:pt x="205" y="8"/>
                  </a:lnTo>
                  <a:lnTo>
                    <a:pt x="211" y="3"/>
                  </a:lnTo>
                  <a:lnTo>
                    <a:pt x="216" y="0"/>
                  </a:lnTo>
                  <a:lnTo>
                    <a:pt x="219" y="0"/>
                  </a:lnTo>
                  <a:lnTo>
                    <a:pt x="224" y="6"/>
                  </a:lnTo>
                  <a:lnTo>
                    <a:pt x="227" y="3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7" name="Freeform 8893">
              <a:extLst>
                <a:ext uri="{FF2B5EF4-FFF2-40B4-BE49-F238E27FC236}">
                  <a16:creationId xmlns:a16="http://schemas.microsoft.com/office/drawing/2014/main" id="{CEF3328C-2896-0040-82F5-498C0404AE43}"/>
                </a:ext>
              </a:extLst>
            </p:cNvPr>
            <p:cNvSpPr/>
            <p:nvPr/>
          </p:nvSpPr>
          <p:spPr bwMode="auto">
            <a:xfrm>
              <a:off x="5711030" y="5254625"/>
              <a:ext cx="393700" cy="627063"/>
            </a:xfrm>
            <a:custGeom>
              <a:avLst/>
              <a:gdLst>
                <a:gd name="T0" fmla="*/ 61 w 248"/>
                <a:gd name="T1" fmla="*/ 16 h 395"/>
                <a:gd name="T2" fmla="*/ 66 w 248"/>
                <a:gd name="T3" fmla="*/ 40 h 395"/>
                <a:gd name="T4" fmla="*/ 72 w 248"/>
                <a:gd name="T5" fmla="*/ 53 h 395"/>
                <a:gd name="T6" fmla="*/ 66 w 248"/>
                <a:gd name="T7" fmla="*/ 66 h 395"/>
                <a:gd name="T8" fmla="*/ 58 w 248"/>
                <a:gd name="T9" fmla="*/ 96 h 395"/>
                <a:gd name="T10" fmla="*/ 58 w 248"/>
                <a:gd name="T11" fmla="*/ 106 h 395"/>
                <a:gd name="T12" fmla="*/ 72 w 248"/>
                <a:gd name="T13" fmla="*/ 101 h 395"/>
                <a:gd name="T14" fmla="*/ 82 w 248"/>
                <a:gd name="T15" fmla="*/ 106 h 395"/>
                <a:gd name="T16" fmla="*/ 93 w 248"/>
                <a:gd name="T17" fmla="*/ 106 h 395"/>
                <a:gd name="T18" fmla="*/ 93 w 248"/>
                <a:gd name="T19" fmla="*/ 125 h 395"/>
                <a:gd name="T20" fmla="*/ 85 w 248"/>
                <a:gd name="T21" fmla="*/ 144 h 395"/>
                <a:gd name="T22" fmla="*/ 90 w 248"/>
                <a:gd name="T23" fmla="*/ 149 h 395"/>
                <a:gd name="T24" fmla="*/ 80 w 248"/>
                <a:gd name="T25" fmla="*/ 165 h 395"/>
                <a:gd name="T26" fmla="*/ 69 w 248"/>
                <a:gd name="T27" fmla="*/ 179 h 395"/>
                <a:gd name="T28" fmla="*/ 66 w 248"/>
                <a:gd name="T29" fmla="*/ 195 h 395"/>
                <a:gd name="T30" fmla="*/ 74 w 248"/>
                <a:gd name="T31" fmla="*/ 200 h 395"/>
                <a:gd name="T32" fmla="*/ 77 w 248"/>
                <a:gd name="T33" fmla="*/ 219 h 395"/>
                <a:gd name="T34" fmla="*/ 72 w 248"/>
                <a:gd name="T35" fmla="*/ 232 h 395"/>
                <a:gd name="T36" fmla="*/ 82 w 248"/>
                <a:gd name="T37" fmla="*/ 245 h 395"/>
                <a:gd name="T38" fmla="*/ 88 w 248"/>
                <a:gd name="T39" fmla="*/ 256 h 395"/>
                <a:gd name="T40" fmla="*/ 80 w 248"/>
                <a:gd name="T41" fmla="*/ 269 h 395"/>
                <a:gd name="T42" fmla="*/ 72 w 248"/>
                <a:gd name="T43" fmla="*/ 280 h 395"/>
                <a:gd name="T44" fmla="*/ 58 w 248"/>
                <a:gd name="T45" fmla="*/ 291 h 395"/>
                <a:gd name="T46" fmla="*/ 50 w 248"/>
                <a:gd name="T47" fmla="*/ 304 h 395"/>
                <a:gd name="T48" fmla="*/ 32 w 248"/>
                <a:gd name="T49" fmla="*/ 312 h 395"/>
                <a:gd name="T50" fmla="*/ 24 w 248"/>
                <a:gd name="T51" fmla="*/ 320 h 395"/>
                <a:gd name="T52" fmla="*/ 13 w 248"/>
                <a:gd name="T53" fmla="*/ 328 h 395"/>
                <a:gd name="T54" fmla="*/ 2 w 248"/>
                <a:gd name="T55" fmla="*/ 344 h 395"/>
                <a:gd name="T56" fmla="*/ 10 w 248"/>
                <a:gd name="T57" fmla="*/ 360 h 395"/>
                <a:gd name="T58" fmla="*/ 0 w 248"/>
                <a:gd name="T59" fmla="*/ 371 h 395"/>
                <a:gd name="T60" fmla="*/ 16 w 248"/>
                <a:gd name="T61" fmla="*/ 387 h 395"/>
                <a:gd name="T62" fmla="*/ 37 w 248"/>
                <a:gd name="T63" fmla="*/ 392 h 395"/>
                <a:gd name="T64" fmla="*/ 45 w 248"/>
                <a:gd name="T65" fmla="*/ 374 h 395"/>
                <a:gd name="T66" fmla="*/ 69 w 248"/>
                <a:gd name="T67" fmla="*/ 368 h 395"/>
                <a:gd name="T68" fmla="*/ 80 w 248"/>
                <a:gd name="T69" fmla="*/ 371 h 395"/>
                <a:gd name="T70" fmla="*/ 98 w 248"/>
                <a:gd name="T71" fmla="*/ 374 h 395"/>
                <a:gd name="T72" fmla="*/ 117 w 248"/>
                <a:gd name="T73" fmla="*/ 363 h 395"/>
                <a:gd name="T74" fmla="*/ 130 w 248"/>
                <a:gd name="T75" fmla="*/ 358 h 395"/>
                <a:gd name="T76" fmla="*/ 128 w 248"/>
                <a:gd name="T77" fmla="*/ 336 h 395"/>
                <a:gd name="T78" fmla="*/ 139 w 248"/>
                <a:gd name="T79" fmla="*/ 320 h 395"/>
                <a:gd name="T80" fmla="*/ 155 w 248"/>
                <a:gd name="T81" fmla="*/ 320 h 395"/>
                <a:gd name="T82" fmla="*/ 168 w 248"/>
                <a:gd name="T83" fmla="*/ 304 h 395"/>
                <a:gd name="T84" fmla="*/ 181 w 248"/>
                <a:gd name="T85" fmla="*/ 280 h 395"/>
                <a:gd name="T86" fmla="*/ 211 w 248"/>
                <a:gd name="T87" fmla="*/ 272 h 395"/>
                <a:gd name="T88" fmla="*/ 216 w 248"/>
                <a:gd name="T89" fmla="*/ 253 h 395"/>
                <a:gd name="T90" fmla="*/ 216 w 248"/>
                <a:gd name="T91" fmla="*/ 232 h 395"/>
                <a:gd name="T92" fmla="*/ 237 w 248"/>
                <a:gd name="T93" fmla="*/ 221 h 395"/>
                <a:gd name="T94" fmla="*/ 245 w 248"/>
                <a:gd name="T95" fmla="*/ 200 h 395"/>
                <a:gd name="T96" fmla="*/ 227 w 248"/>
                <a:gd name="T97" fmla="*/ 187 h 395"/>
                <a:gd name="T98" fmla="*/ 219 w 248"/>
                <a:gd name="T99" fmla="*/ 171 h 395"/>
                <a:gd name="T100" fmla="*/ 227 w 248"/>
                <a:gd name="T101" fmla="*/ 144 h 395"/>
                <a:gd name="T102" fmla="*/ 216 w 248"/>
                <a:gd name="T103" fmla="*/ 114 h 395"/>
                <a:gd name="T104" fmla="*/ 203 w 248"/>
                <a:gd name="T105" fmla="*/ 88 h 395"/>
                <a:gd name="T106" fmla="*/ 195 w 248"/>
                <a:gd name="T107" fmla="*/ 66 h 395"/>
                <a:gd name="T108" fmla="*/ 176 w 248"/>
                <a:gd name="T109" fmla="*/ 58 h 395"/>
                <a:gd name="T110" fmla="*/ 165 w 248"/>
                <a:gd name="T111" fmla="*/ 40 h 395"/>
                <a:gd name="T112" fmla="*/ 149 w 248"/>
                <a:gd name="T113" fmla="*/ 37 h 395"/>
                <a:gd name="T114" fmla="*/ 128 w 248"/>
                <a:gd name="T115" fmla="*/ 45 h 395"/>
                <a:gd name="T116" fmla="*/ 112 w 248"/>
                <a:gd name="T117" fmla="*/ 45 h 395"/>
                <a:gd name="T118" fmla="*/ 85 w 248"/>
                <a:gd name="T119" fmla="*/ 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48" h="395" extrusionOk="0">
                  <a:moveTo>
                    <a:pt x="72" y="0"/>
                  </a:moveTo>
                  <a:lnTo>
                    <a:pt x="72" y="0"/>
                  </a:lnTo>
                  <a:lnTo>
                    <a:pt x="69" y="2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6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1" y="10"/>
                  </a:lnTo>
                  <a:lnTo>
                    <a:pt x="61" y="13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4" y="18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4"/>
                  </a:lnTo>
                  <a:lnTo>
                    <a:pt x="64" y="26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6" y="32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9" y="45"/>
                  </a:lnTo>
                  <a:lnTo>
                    <a:pt x="72" y="45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9" y="50"/>
                  </a:lnTo>
                  <a:lnTo>
                    <a:pt x="69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4" y="50"/>
                  </a:lnTo>
                  <a:lnTo>
                    <a:pt x="74" y="53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8"/>
                  </a:lnTo>
                  <a:lnTo>
                    <a:pt x="74" y="61"/>
                  </a:lnTo>
                  <a:lnTo>
                    <a:pt x="74" y="64"/>
                  </a:lnTo>
                  <a:lnTo>
                    <a:pt x="72" y="64"/>
                  </a:lnTo>
                  <a:lnTo>
                    <a:pt x="69" y="64"/>
                  </a:lnTo>
                  <a:lnTo>
                    <a:pt x="66" y="6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4" y="80"/>
                  </a:lnTo>
                  <a:lnTo>
                    <a:pt x="61" y="82"/>
                  </a:lnTo>
                  <a:lnTo>
                    <a:pt x="64" y="85"/>
                  </a:lnTo>
                  <a:lnTo>
                    <a:pt x="64" y="88"/>
                  </a:lnTo>
                  <a:lnTo>
                    <a:pt x="61" y="90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8"/>
                  </a:lnTo>
                  <a:lnTo>
                    <a:pt x="56" y="98"/>
                  </a:lnTo>
                  <a:lnTo>
                    <a:pt x="53" y="98"/>
                  </a:lnTo>
                  <a:lnTo>
                    <a:pt x="50" y="98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3" y="101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6"/>
                  </a:lnTo>
                  <a:lnTo>
                    <a:pt x="61" y="106"/>
                  </a:lnTo>
                  <a:lnTo>
                    <a:pt x="61" y="109"/>
                  </a:lnTo>
                  <a:lnTo>
                    <a:pt x="64" y="109"/>
                  </a:lnTo>
                  <a:lnTo>
                    <a:pt x="66" y="109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9" y="106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4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77" y="98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8" y="109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3" y="106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12"/>
                  </a:lnTo>
                  <a:lnTo>
                    <a:pt x="96" y="114"/>
                  </a:lnTo>
                  <a:lnTo>
                    <a:pt x="96" y="114"/>
                  </a:lnTo>
                  <a:lnTo>
                    <a:pt x="96" y="117"/>
                  </a:lnTo>
                  <a:lnTo>
                    <a:pt x="96" y="120"/>
                  </a:lnTo>
                  <a:lnTo>
                    <a:pt x="93" y="120"/>
                  </a:lnTo>
                  <a:lnTo>
                    <a:pt x="93" y="122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3" y="125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5" y="128"/>
                  </a:lnTo>
                  <a:lnTo>
                    <a:pt x="85" y="130"/>
                  </a:lnTo>
                  <a:lnTo>
                    <a:pt x="82" y="130"/>
                  </a:lnTo>
                  <a:lnTo>
                    <a:pt x="82" y="138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5" y="144"/>
                  </a:lnTo>
                  <a:lnTo>
                    <a:pt x="85" y="146"/>
                  </a:lnTo>
                  <a:lnTo>
                    <a:pt x="85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3" y="146"/>
                  </a:lnTo>
                  <a:lnTo>
                    <a:pt x="93" y="146"/>
                  </a:lnTo>
                  <a:lnTo>
                    <a:pt x="93" y="149"/>
                  </a:lnTo>
                  <a:lnTo>
                    <a:pt x="90" y="149"/>
                  </a:lnTo>
                  <a:lnTo>
                    <a:pt x="90" y="152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3" y="157"/>
                  </a:lnTo>
                  <a:lnTo>
                    <a:pt x="93" y="160"/>
                  </a:lnTo>
                  <a:lnTo>
                    <a:pt x="90" y="163"/>
                  </a:lnTo>
                  <a:lnTo>
                    <a:pt x="88" y="163"/>
                  </a:lnTo>
                  <a:lnTo>
                    <a:pt x="85" y="163"/>
                  </a:lnTo>
                  <a:lnTo>
                    <a:pt x="82" y="160"/>
                  </a:lnTo>
                  <a:lnTo>
                    <a:pt x="82" y="163"/>
                  </a:lnTo>
                  <a:lnTo>
                    <a:pt x="80" y="165"/>
                  </a:lnTo>
                  <a:lnTo>
                    <a:pt x="80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7" y="173"/>
                  </a:lnTo>
                  <a:lnTo>
                    <a:pt x="77" y="173"/>
                  </a:lnTo>
                  <a:lnTo>
                    <a:pt x="74" y="173"/>
                  </a:lnTo>
                  <a:lnTo>
                    <a:pt x="72" y="176"/>
                  </a:lnTo>
                  <a:lnTo>
                    <a:pt x="72" y="17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2" y="187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6" y="189"/>
                  </a:lnTo>
                  <a:lnTo>
                    <a:pt x="66" y="192"/>
                  </a:lnTo>
                  <a:lnTo>
                    <a:pt x="69" y="195"/>
                  </a:lnTo>
                  <a:lnTo>
                    <a:pt x="66" y="195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4" y="200"/>
                  </a:lnTo>
                  <a:lnTo>
                    <a:pt x="66" y="203"/>
                  </a:lnTo>
                  <a:lnTo>
                    <a:pt x="66" y="200"/>
                  </a:lnTo>
                  <a:lnTo>
                    <a:pt x="69" y="200"/>
                  </a:lnTo>
                  <a:lnTo>
                    <a:pt x="69" y="197"/>
                  </a:lnTo>
                  <a:lnTo>
                    <a:pt x="72" y="197"/>
                  </a:lnTo>
                  <a:lnTo>
                    <a:pt x="74" y="197"/>
                  </a:lnTo>
                  <a:lnTo>
                    <a:pt x="74" y="200"/>
                  </a:lnTo>
                  <a:lnTo>
                    <a:pt x="74" y="200"/>
                  </a:lnTo>
                  <a:lnTo>
                    <a:pt x="74" y="203"/>
                  </a:lnTo>
                  <a:lnTo>
                    <a:pt x="77" y="205"/>
                  </a:lnTo>
                  <a:lnTo>
                    <a:pt x="77" y="205"/>
                  </a:lnTo>
                  <a:lnTo>
                    <a:pt x="77" y="208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80" y="211"/>
                  </a:lnTo>
                  <a:lnTo>
                    <a:pt x="80" y="213"/>
                  </a:lnTo>
                  <a:lnTo>
                    <a:pt x="80" y="213"/>
                  </a:lnTo>
                  <a:lnTo>
                    <a:pt x="77" y="216"/>
                  </a:lnTo>
                  <a:lnTo>
                    <a:pt x="77" y="219"/>
                  </a:lnTo>
                  <a:lnTo>
                    <a:pt x="80" y="219"/>
                  </a:lnTo>
                  <a:lnTo>
                    <a:pt x="80" y="221"/>
                  </a:lnTo>
                  <a:lnTo>
                    <a:pt x="80" y="221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77" y="227"/>
                  </a:lnTo>
                  <a:lnTo>
                    <a:pt x="74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69" y="232"/>
                  </a:lnTo>
                  <a:lnTo>
                    <a:pt x="72" y="232"/>
                  </a:lnTo>
                  <a:lnTo>
                    <a:pt x="69" y="235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4" y="240"/>
                  </a:lnTo>
                  <a:lnTo>
                    <a:pt x="74" y="237"/>
                  </a:lnTo>
                  <a:lnTo>
                    <a:pt x="74" y="237"/>
                  </a:lnTo>
                  <a:lnTo>
                    <a:pt x="77" y="237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2" y="243"/>
                  </a:lnTo>
                  <a:lnTo>
                    <a:pt x="82" y="245"/>
                  </a:lnTo>
                  <a:lnTo>
                    <a:pt x="82" y="248"/>
                  </a:lnTo>
                  <a:lnTo>
                    <a:pt x="82" y="248"/>
                  </a:lnTo>
                  <a:lnTo>
                    <a:pt x="82" y="248"/>
                  </a:lnTo>
                  <a:lnTo>
                    <a:pt x="85" y="245"/>
                  </a:lnTo>
                  <a:lnTo>
                    <a:pt x="85" y="245"/>
                  </a:lnTo>
                  <a:lnTo>
                    <a:pt x="85" y="248"/>
                  </a:lnTo>
                  <a:lnTo>
                    <a:pt x="85" y="248"/>
                  </a:lnTo>
                  <a:lnTo>
                    <a:pt x="88" y="248"/>
                  </a:lnTo>
                  <a:lnTo>
                    <a:pt x="88" y="251"/>
                  </a:lnTo>
                  <a:lnTo>
                    <a:pt x="88" y="253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85" y="256"/>
                  </a:lnTo>
                  <a:lnTo>
                    <a:pt x="82" y="261"/>
                  </a:lnTo>
                  <a:lnTo>
                    <a:pt x="82" y="261"/>
                  </a:lnTo>
                  <a:lnTo>
                    <a:pt x="80" y="264"/>
                  </a:lnTo>
                  <a:lnTo>
                    <a:pt x="77" y="261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7"/>
                  </a:lnTo>
                  <a:lnTo>
                    <a:pt x="80" y="269"/>
                  </a:lnTo>
                  <a:lnTo>
                    <a:pt x="80" y="269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5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2" y="280"/>
                  </a:lnTo>
                  <a:lnTo>
                    <a:pt x="72" y="280"/>
                  </a:lnTo>
                  <a:lnTo>
                    <a:pt x="72" y="283"/>
                  </a:lnTo>
                  <a:lnTo>
                    <a:pt x="69" y="283"/>
                  </a:lnTo>
                  <a:lnTo>
                    <a:pt x="66" y="285"/>
                  </a:lnTo>
                  <a:lnTo>
                    <a:pt x="66" y="285"/>
                  </a:lnTo>
                  <a:lnTo>
                    <a:pt x="66" y="285"/>
                  </a:lnTo>
                  <a:lnTo>
                    <a:pt x="64" y="288"/>
                  </a:lnTo>
                  <a:lnTo>
                    <a:pt x="61" y="288"/>
                  </a:lnTo>
                  <a:lnTo>
                    <a:pt x="61" y="288"/>
                  </a:lnTo>
                  <a:lnTo>
                    <a:pt x="58" y="291"/>
                  </a:lnTo>
                  <a:lnTo>
                    <a:pt x="58" y="291"/>
                  </a:lnTo>
                  <a:lnTo>
                    <a:pt x="56" y="293"/>
                  </a:lnTo>
                  <a:lnTo>
                    <a:pt x="53" y="293"/>
                  </a:lnTo>
                  <a:lnTo>
                    <a:pt x="53" y="296"/>
                  </a:lnTo>
                  <a:lnTo>
                    <a:pt x="53" y="299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3" y="301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0" y="304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45" y="307"/>
                  </a:lnTo>
                  <a:lnTo>
                    <a:pt x="45" y="307"/>
                  </a:lnTo>
                  <a:lnTo>
                    <a:pt x="42" y="307"/>
                  </a:lnTo>
                  <a:lnTo>
                    <a:pt x="42" y="309"/>
                  </a:lnTo>
                  <a:lnTo>
                    <a:pt x="40" y="312"/>
                  </a:lnTo>
                  <a:lnTo>
                    <a:pt x="40" y="312"/>
                  </a:lnTo>
                  <a:lnTo>
                    <a:pt x="37" y="312"/>
                  </a:lnTo>
                  <a:lnTo>
                    <a:pt x="34" y="312"/>
                  </a:lnTo>
                  <a:lnTo>
                    <a:pt x="34" y="309"/>
                  </a:lnTo>
                  <a:lnTo>
                    <a:pt x="32" y="312"/>
                  </a:lnTo>
                  <a:lnTo>
                    <a:pt x="32" y="315"/>
                  </a:lnTo>
                  <a:lnTo>
                    <a:pt x="34" y="315"/>
                  </a:lnTo>
                  <a:lnTo>
                    <a:pt x="32" y="315"/>
                  </a:lnTo>
                  <a:lnTo>
                    <a:pt x="29" y="315"/>
                  </a:lnTo>
                  <a:lnTo>
                    <a:pt x="26" y="318"/>
                  </a:lnTo>
                  <a:lnTo>
                    <a:pt x="26" y="318"/>
                  </a:lnTo>
                  <a:lnTo>
                    <a:pt x="24" y="318"/>
                  </a:lnTo>
                  <a:lnTo>
                    <a:pt x="24" y="320"/>
                  </a:lnTo>
                  <a:lnTo>
                    <a:pt x="26" y="320"/>
                  </a:lnTo>
                  <a:lnTo>
                    <a:pt x="24" y="323"/>
                  </a:lnTo>
                  <a:lnTo>
                    <a:pt x="24" y="320"/>
                  </a:lnTo>
                  <a:lnTo>
                    <a:pt x="21" y="323"/>
                  </a:lnTo>
                  <a:lnTo>
                    <a:pt x="21" y="320"/>
                  </a:lnTo>
                  <a:lnTo>
                    <a:pt x="21" y="320"/>
                  </a:lnTo>
                  <a:lnTo>
                    <a:pt x="18" y="318"/>
                  </a:lnTo>
                  <a:lnTo>
                    <a:pt x="18" y="320"/>
                  </a:lnTo>
                  <a:lnTo>
                    <a:pt x="16" y="320"/>
                  </a:lnTo>
                  <a:lnTo>
                    <a:pt x="13" y="323"/>
                  </a:lnTo>
                  <a:lnTo>
                    <a:pt x="13" y="323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3" y="328"/>
                  </a:lnTo>
                  <a:lnTo>
                    <a:pt x="10" y="328"/>
                  </a:lnTo>
                  <a:lnTo>
                    <a:pt x="10" y="328"/>
                  </a:lnTo>
                  <a:lnTo>
                    <a:pt x="8" y="328"/>
                  </a:lnTo>
                  <a:lnTo>
                    <a:pt x="10" y="331"/>
                  </a:lnTo>
                  <a:lnTo>
                    <a:pt x="8" y="336"/>
                  </a:lnTo>
                  <a:lnTo>
                    <a:pt x="5" y="339"/>
                  </a:lnTo>
                  <a:lnTo>
                    <a:pt x="2" y="342"/>
                  </a:lnTo>
                  <a:lnTo>
                    <a:pt x="2" y="342"/>
                  </a:lnTo>
                  <a:lnTo>
                    <a:pt x="0" y="344"/>
                  </a:lnTo>
                  <a:lnTo>
                    <a:pt x="0" y="347"/>
                  </a:lnTo>
                  <a:lnTo>
                    <a:pt x="2" y="344"/>
                  </a:lnTo>
                  <a:lnTo>
                    <a:pt x="8" y="347"/>
                  </a:lnTo>
                  <a:lnTo>
                    <a:pt x="10" y="350"/>
                  </a:lnTo>
                  <a:lnTo>
                    <a:pt x="13" y="350"/>
                  </a:lnTo>
                  <a:lnTo>
                    <a:pt x="16" y="350"/>
                  </a:lnTo>
                  <a:lnTo>
                    <a:pt x="16" y="350"/>
                  </a:lnTo>
                  <a:lnTo>
                    <a:pt x="16" y="352"/>
                  </a:lnTo>
                  <a:lnTo>
                    <a:pt x="13" y="355"/>
                  </a:lnTo>
                  <a:lnTo>
                    <a:pt x="13" y="355"/>
                  </a:lnTo>
                  <a:lnTo>
                    <a:pt x="10" y="355"/>
                  </a:lnTo>
                  <a:lnTo>
                    <a:pt x="10" y="358"/>
                  </a:lnTo>
                  <a:lnTo>
                    <a:pt x="10" y="360"/>
                  </a:lnTo>
                  <a:lnTo>
                    <a:pt x="8" y="360"/>
                  </a:lnTo>
                  <a:lnTo>
                    <a:pt x="8" y="360"/>
                  </a:lnTo>
                  <a:lnTo>
                    <a:pt x="8" y="363"/>
                  </a:lnTo>
                  <a:lnTo>
                    <a:pt x="5" y="363"/>
                  </a:lnTo>
                  <a:lnTo>
                    <a:pt x="2" y="366"/>
                  </a:lnTo>
                  <a:lnTo>
                    <a:pt x="2" y="366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68"/>
                  </a:lnTo>
                  <a:lnTo>
                    <a:pt x="0" y="371"/>
                  </a:lnTo>
                  <a:lnTo>
                    <a:pt x="2" y="374"/>
                  </a:lnTo>
                  <a:lnTo>
                    <a:pt x="2" y="376"/>
                  </a:lnTo>
                  <a:lnTo>
                    <a:pt x="8" y="376"/>
                  </a:lnTo>
                  <a:lnTo>
                    <a:pt x="10" y="379"/>
                  </a:lnTo>
                  <a:lnTo>
                    <a:pt x="13" y="379"/>
                  </a:lnTo>
                  <a:lnTo>
                    <a:pt x="13" y="379"/>
                  </a:lnTo>
                  <a:lnTo>
                    <a:pt x="13" y="382"/>
                  </a:lnTo>
                  <a:lnTo>
                    <a:pt x="13" y="384"/>
                  </a:lnTo>
                  <a:lnTo>
                    <a:pt x="13" y="387"/>
                  </a:lnTo>
                  <a:lnTo>
                    <a:pt x="16" y="387"/>
                  </a:lnTo>
                  <a:lnTo>
                    <a:pt x="16" y="387"/>
                  </a:lnTo>
                  <a:lnTo>
                    <a:pt x="18" y="387"/>
                  </a:lnTo>
                  <a:lnTo>
                    <a:pt x="21" y="390"/>
                  </a:lnTo>
                  <a:lnTo>
                    <a:pt x="24" y="390"/>
                  </a:lnTo>
                  <a:lnTo>
                    <a:pt x="24" y="390"/>
                  </a:lnTo>
                  <a:lnTo>
                    <a:pt x="26" y="392"/>
                  </a:lnTo>
                  <a:lnTo>
                    <a:pt x="29" y="392"/>
                  </a:lnTo>
                  <a:lnTo>
                    <a:pt x="29" y="395"/>
                  </a:lnTo>
                  <a:lnTo>
                    <a:pt x="32" y="392"/>
                  </a:lnTo>
                  <a:lnTo>
                    <a:pt x="34" y="395"/>
                  </a:lnTo>
                  <a:lnTo>
                    <a:pt x="34" y="395"/>
                  </a:lnTo>
                  <a:lnTo>
                    <a:pt x="37" y="392"/>
                  </a:lnTo>
                  <a:lnTo>
                    <a:pt x="40" y="392"/>
                  </a:lnTo>
                  <a:lnTo>
                    <a:pt x="40" y="390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8" y="384"/>
                  </a:lnTo>
                  <a:lnTo>
                    <a:pt x="48" y="382"/>
                  </a:lnTo>
                  <a:lnTo>
                    <a:pt x="48" y="379"/>
                  </a:lnTo>
                  <a:lnTo>
                    <a:pt x="45" y="376"/>
                  </a:lnTo>
                  <a:lnTo>
                    <a:pt x="45" y="374"/>
                  </a:lnTo>
                  <a:lnTo>
                    <a:pt x="48" y="374"/>
                  </a:lnTo>
                  <a:lnTo>
                    <a:pt x="50" y="371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53" y="371"/>
                  </a:lnTo>
                  <a:lnTo>
                    <a:pt x="56" y="371"/>
                  </a:lnTo>
                  <a:lnTo>
                    <a:pt x="58" y="371"/>
                  </a:lnTo>
                  <a:lnTo>
                    <a:pt x="61" y="371"/>
                  </a:lnTo>
                  <a:lnTo>
                    <a:pt x="64" y="371"/>
                  </a:lnTo>
                  <a:lnTo>
                    <a:pt x="66" y="368"/>
                  </a:lnTo>
                  <a:lnTo>
                    <a:pt x="69" y="368"/>
                  </a:lnTo>
                  <a:lnTo>
                    <a:pt x="69" y="368"/>
                  </a:lnTo>
                  <a:lnTo>
                    <a:pt x="72" y="366"/>
                  </a:lnTo>
                  <a:lnTo>
                    <a:pt x="72" y="366"/>
                  </a:lnTo>
                  <a:lnTo>
                    <a:pt x="74" y="366"/>
                  </a:lnTo>
                  <a:lnTo>
                    <a:pt x="74" y="366"/>
                  </a:lnTo>
                  <a:lnTo>
                    <a:pt x="77" y="363"/>
                  </a:lnTo>
                  <a:lnTo>
                    <a:pt x="80" y="363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80" y="368"/>
                  </a:lnTo>
                  <a:lnTo>
                    <a:pt x="80" y="371"/>
                  </a:lnTo>
                  <a:lnTo>
                    <a:pt x="80" y="374"/>
                  </a:lnTo>
                  <a:lnTo>
                    <a:pt x="80" y="374"/>
                  </a:lnTo>
                  <a:lnTo>
                    <a:pt x="82" y="374"/>
                  </a:lnTo>
                  <a:lnTo>
                    <a:pt x="82" y="371"/>
                  </a:lnTo>
                  <a:lnTo>
                    <a:pt x="85" y="371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6" y="374"/>
                  </a:lnTo>
                  <a:lnTo>
                    <a:pt x="98" y="374"/>
                  </a:lnTo>
                  <a:lnTo>
                    <a:pt x="98" y="376"/>
                  </a:lnTo>
                  <a:lnTo>
                    <a:pt x="101" y="376"/>
                  </a:lnTo>
                  <a:lnTo>
                    <a:pt x="101" y="376"/>
                  </a:lnTo>
                  <a:lnTo>
                    <a:pt x="104" y="376"/>
                  </a:lnTo>
                  <a:lnTo>
                    <a:pt x="106" y="374"/>
                  </a:lnTo>
                  <a:lnTo>
                    <a:pt x="112" y="371"/>
                  </a:lnTo>
                  <a:lnTo>
                    <a:pt x="112" y="368"/>
                  </a:lnTo>
                  <a:lnTo>
                    <a:pt x="112" y="368"/>
                  </a:lnTo>
                  <a:lnTo>
                    <a:pt x="114" y="366"/>
                  </a:lnTo>
                  <a:lnTo>
                    <a:pt x="117" y="366"/>
                  </a:lnTo>
                  <a:lnTo>
                    <a:pt x="117" y="363"/>
                  </a:lnTo>
                  <a:lnTo>
                    <a:pt x="120" y="363"/>
                  </a:lnTo>
                  <a:lnTo>
                    <a:pt x="120" y="360"/>
                  </a:lnTo>
                  <a:lnTo>
                    <a:pt x="120" y="360"/>
                  </a:lnTo>
                  <a:lnTo>
                    <a:pt x="122" y="360"/>
                  </a:lnTo>
                  <a:lnTo>
                    <a:pt x="122" y="358"/>
                  </a:lnTo>
                  <a:lnTo>
                    <a:pt x="125" y="358"/>
                  </a:lnTo>
                  <a:lnTo>
                    <a:pt x="125" y="358"/>
                  </a:lnTo>
                  <a:lnTo>
                    <a:pt x="128" y="358"/>
                  </a:lnTo>
                  <a:lnTo>
                    <a:pt x="128" y="360"/>
                  </a:lnTo>
                  <a:lnTo>
                    <a:pt x="130" y="360"/>
                  </a:lnTo>
                  <a:lnTo>
                    <a:pt x="130" y="358"/>
                  </a:lnTo>
                  <a:lnTo>
                    <a:pt x="133" y="358"/>
                  </a:lnTo>
                  <a:lnTo>
                    <a:pt x="133" y="355"/>
                  </a:lnTo>
                  <a:lnTo>
                    <a:pt x="130" y="352"/>
                  </a:lnTo>
                  <a:lnTo>
                    <a:pt x="130" y="347"/>
                  </a:lnTo>
                  <a:lnTo>
                    <a:pt x="130" y="344"/>
                  </a:lnTo>
                  <a:lnTo>
                    <a:pt x="130" y="342"/>
                  </a:lnTo>
                  <a:lnTo>
                    <a:pt x="128" y="342"/>
                  </a:lnTo>
                  <a:lnTo>
                    <a:pt x="128" y="342"/>
                  </a:lnTo>
                  <a:lnTo>
                    <a:pt x="128" y="339"/>
                  </a:lnTo>
                  <a:lnTo>
                    <a:pt x="128" y="336"/>
                  </a:lnTo>
                  <a:lnTo>
                    <a:pt x="128" y="336"/>
                  </a:lnTo>
                  <a:lnTo>
                    <a:pt x="130" y="334"/>
                  </a:lnTo>
                  <a:lnTo>
                    <a:pt x="130" y="334"/>
                  </a:lnTo>
                  <a:lnTo>
                    <a:pt x="130" y="334"/>
                  </a:lnTo>
                  <a:lnTo>
                    <a:pt x="130" y="331"/>
                  </a:lnTo>
                  <a:lnTo>
                    <a:pt x="133" y="331"/>
                  </a:lnTo>
                  <a:lnTo>
                    <a:pt x="133" y="331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36" y="320"/>
                  </a:lnTo>
                  <a:lnTo>
                    <a:pt x="136" y="320"/>
                  </a:lnTo>
                  <a:lnTo>
                    <a:pt x="139" y="320"/>
                  </a:lnTo>
                  <a:lnTo>
                    <a:pt x="139" y="320"/>
                  </a:lnTo>
                  <a:lnTo>
                    <a:pt x="141" y="320"/>
                  </a:lnTo>
                  <a:lnTo>
                    <a:pt x="141" y="320"/>
                  </a:lnTo>
                  <a:lnTo>
                    <a:pt x="144" y="320"/>
                  </a:lnTo>
                  <a:lnTo>
                    <a:pt x="144" y="318"/>
                  </a:lnTo>
                  <a:lnTo>
                    <a:pt x="147" y="318"/>
                  </a:lnTo>
                  <a:lnTo>
                    <a:pt x="147" y="318"/>
                  </a:lnTo>
                  <a:lnTo>
                    <a:pt x="149" y="315"/>
                  </a:lnTo>
                  <a:lnTo>
                    <a:pt x="149" y="318"/>
                  </a:lnTo>
                  <a:lnTo>
                    <a:pt x="152" y="318"/>
                  </a:lnTo>
                  <a:lnTo>
                    <a:pt x="155" y="320"/>
                  </a:lnTo>
                  <a:lnTo>
                    <a:pt x="155" y="318"/>
                  </a:lnTo>
                  <a:lnTo>
                    <a:pt x="155" y="318"/>
                  </a:lnTo>
                  <a:lnTo>
                    <a:pt x="157" y="318"/>
                  </a:lnTo>
                  <a:lnTo>
                    <a:pt x="157" y="315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63" y="309"/>
                  </a:lnTo>
                  <a:lnTo>
                    <a:pt x="163" y="307"/>
                  </a:lnTo>
                  <a:lnTo>
                    <a:pt x="165" y="307"/>
                  </a:lnTo>
                  <a:lnTo>
                    <a:pt x="168" y="304"/>
                  </a:lnTo>
                  <a:lnTo>
                    <a:pt x="168" y="301"/>
                  </a:lnTo>
                  <a:lnTo>
                    <a:pt x="168" y="299"/>
                  </a:lnTo>
                  <a:lnTo>
                    <a:pt x="168" y="296"/>
                  </a:lnTo>
                  <a:lnTo>
                    <a:pt x="171" y="293"/>
                  </a:lnTo>
                  <a:lnTo>
                    <a:pt x="171" y="293"/>
                  </a:lnTo>
                  <a:lnTo>
                    <a:pt x="173" y="291"/>
                  </a:lnTo>
                  <a:lnTo>
                    <a:pt x="173" y="288"/>
                  </a:lnTo>
                  <a:lnTo>
                    <a:pt x="176" y="288"/>
                  </a:lnTo>
                  <a:lnTo>
                    <a:pt x="176" y="285"/>
                  </a:lnTo>
                  <a:lnTo>
                    <a:pt x="179" y="283"/>
                  </a:lnTo>
                  <a:lnTo>
                    <a:pt x="181" y="280"/>
                  </a:lnTo>
                  <a:lnTo>
                    <a:pt x="184" y="280"/>
                  </a:lnTo>
                  <a:lnTo>
                    <a:pt x="187" y="280"/>
                  </a:lnTo>
                  <a:lnTo>
                    <a:pt x="189" y="277"/>
                  </a:lnTo>
                  <a:lnTo>
                    <a:pt x="192" y="277"/>
                  </a:lnTo>
                  <a:lnTo>
                    <a:pt x="195" y="277"/>
                  </a:lnTo>
                  <a:lnTo>
                    <a:pt x="197" y="277"/>
                  </a:lnTo>
                  <a:lnTo>
                    <a:pt x="200" y="277"/>
                  </a:lnTo>
                  <a:lnTo>
                    <a:pt x="203" y="277"/>
                  </a:lnTo>
                  <a:lnTo>
                    <a:pt x="213" y="275"/>
                  </a:lnTo>
                  <a:lnTo>
                    <a:pt x="213" y="272"/>
                  </a:lnTo>
                  <a:lnTo>
                    <a:pt x="211" y="272"/>
                  </a:lnTo>
                  <a:lnTo>
                    <a:pt x="211" y="272"/>
                  </a:lnTo>
                  <a:lnTo>
                    <a:pt x="208" y="269"/>
                  </a:lnTo>
                  <a:lnTo>
                    <a:pt x="208" y="267"/>
                  </a:lnTo>
                  <a:lnTo>
                    <a:pt x="205" y="267"/>
                  </a:lnTo>
                  <a:lnTo>
                    <a:pt x="208" y="264"/>
                  </a:lnTo>
                  <a:lnTo>
                    <a:pt x="208" y="261"/>
                  </a:lnTo>
                  <a:lnTo>
                    <a:pt x="211" y="259"/>
                  </a:lnTo>
                  <a:lnTo>
                    <a:pt x="213" y="259"/>
                  </a:lnTo>
                  <a:lnTo>
                    <a:pt x="216" y="256"/>
                  </a:lnTo>
                  <a:lnTo>
                    <a:pt x="216" y="253"/>
                  </a:lnTo>
                  <a:lnTo>
                    <a:pt x="216" y="253"/>
                  </a:lnTo>
                  <a:lnTo>
                    <a:pt x="216" y="253"/>
                  </a:lnTo>
                  <a:lnTo>
                    <a:pt x="216" y="251"/>
                  </a:lnTo>
                  <a:lnTo>
                    <a:pt x="216" y="248"/>
                  </a:lnTo>
                  <a:lnTo>
                    <a:pt x="219" y="248"/>
                  </a:lnTo>
                  <a:lnTo>
                    <a:pt x="219" y="245"/>
                  </a:lnTo>
                  <a:lnTo>
                    <a:pt x="221" y="243"/>
                  </a:lnTo>
                  <a:lnTo>
                    <a:pt x="216" y="240"/>
                  </a:lnTo>
                  <a:lnTo>
                    <a:pt x="216" y="237"/>
                  </a:lnTo>
                  <a:lnTo>
                    <a:pt x="216" y="235"/>
                  </a:lnTo>
                  <a:lnTo>
                    <a:pt x="216" y="232"/>
                  </a:lnTo>
                  <a:lnTo>
                    <a:pt x="216" y="232"/>
                  </a:lnTo>
                  <a:lnTo>
                    <a:pt x="219" y="229"/>
                  </a:lnTo>
                  <a:lnTo>
                    <a:pt x="219" y="229"/>
                  </a:lnTo>
                  <a:lnTo>
                    <a:pt x="221" y="229"/>
                  </a:lnTo>
                  <a:lnTo>
                    <a:pt x="221" y="229"/>
                  </a:lnTo>
                  <a:lnTo>
                    <a:pt x="224" y="229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32" y="227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7" y="221"/>
                  </a:lnTo>
                  <a:lnTo>
                    <a:pt x="240" y="219"/>
                  </a:lnTo>
                  <a:lnTo>
                    <a:pt x="240" y="216"/>
                  </a:lnTo>
                  <a:lnTo>
                    <a:pt x="243" y="213"/>
                  </a:lnTo>
                  <a:lnTo>
                    <a:pt x="243" y="211"/>
                  </a:lnTo>
                  <a:lnTo>
                    <a:pt x="245" y="211"/>
                  </a:lnTo>
                  <a:lnTo>
                    <a:pt x="245" y="208"/>
                  </a:lnTo>
                  <a:lnTo>
                    <a:pt x="248" y="208"/>
                  </a:lnTo>
                  <a:lnTo>
                    <a:pt x="245" y="205"/>
                  </a:lnTo>
                  <a:lnTo>
                    <a:pt x="245" y="205"/>
                  </a:lnTo>
                  <a:lnTo>
                    <a:pt x="245" y="203"/>
                  </a:lnTo>
                  <a:lnTo>
                    <a:pt x="245" y="200"/>
                  </a:lnTo>
                  <a:lnTo>
                    <a:pt x="243" y="200"/>
                  </a:lnTo>
                  <a:lnTo>
                    <a:pt x="240" y="200"/>
                  </a:lnTo>
                  <a:lnTo>
                    <a:pt x="240" y="200"/>
                  </a:lnTo>
                  <a:lnTo>
                    <a:pt x="237" y="197"/>
                  </a:lnTo>
                  <a:lnTo>
                    <a:pt x="235" y="195"/>
                  </a:lnTo>
                  <a:lnTo>
                    <a:pt x="235" y="195"/>
                  </a:lnTo>
                  <a:lnTo>
                    <a:pt x="232" y="192"/>
                  </a:lnTo>
                  <a:lnTo>
                    <a:pt x="229" y="192"/>
                  </a:lnTo>
                  <a:lnTo>
                    <a:pt x="229" y="189"/>
                  </a:lnTo>
                  <a:lnTo>
                    <a:pt x="229" y="189"/>
                  </a:lnTo>
                  <a:lnTo>
                    <a:pt x="227" y="187"/>
                  </a:lnTo>
                  <a:lnTo>
                    <a:pt x="227" y="184"/>
                  </a:lnTo>
                  <a:lnTo>
                    <a:pt x="227" y="184"/>
                  </a:lnTo>
                  <a:lnTo>
                    <a:pt x="224" y="184"/>
                  </a:lnTo>
                  <a:lnTo>
                    <a:pt x="224" y="181"/>
                  </a:lnTo>
                  <a:lnTo>
                    <a:pt x="224" y="179"/>
                  </a:lnTo>
                  <a:lnTo>
                    <a:pt x="227" y="179"/>
                  </a:lnTo>
                  <a:lnTo>
                    <a:pt x="227" y="176"/>
                  </a:lnTo>
                  <a:lnTo>
                    <a:pt x="227" y="173"/>
                  </a:lnTo>
                  <a:lnTo>
                    <a:pt x="224" y="173"/>
                  </a:lnTo>
                  <a:lnTo>
                    <a:pt x="221" y="173"/>
                  </a:lnTo>
                  <a:lnTo>
                    <a:pt x="219" y="171"/>
                  </a:lnTo>
                  <a:lnTo>
                    <a:pt x="219" y="168"/>
                  </a:lnTo>
                  <a:lnTo>
                    <a:pt x="219" y="165"/>
                  </a:lnTo>
                  <a:lnTo>
                    <a:pt x="219" y="163"/>
                  </a:lnTo>
                  <a:lnTo>
                    <a:pt x="219" y="160"/>
                  </a:lnTo>
                  <a:lnTo>
                    <a:pt x="219" y="160"/>
                  </a:lnTo>
                  <a:lnTo>
                    <a:pt x="219" y="157"/>
                  </a:lnTo>
                  <a:lnTo>
                    <a:pt x="221" y="155"/>
                  </a:lnTo>
                  <a:lnTo>
                    <a:pt x="221" y="152"/>
                  </a:lnTo>
                  <a:lnTo>
                    <a:pt x="224" y="149"/>
                  </a:lnTo>
                  <a:lnTo>
                    <a:pt x="224" y="146"/>
                  </a:lnTo>
                  <a:lnTo>
                    <a:pt x="227" y="144"/>
                  </a:lnTo>
                  <a:lnTo>
                    <a:pt x="227" y="141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7" y="136"/>
                  </a:lnTo>
                  <a:lnTo>
                    <a:pt x="224" y="133"/>
                  </a:lnTo>
                  <a:lnTo>
                    <a:pt x="224" y="130"/>
                  </a:lnTo>
                  <a:lnTo>
                    <a:pt x="224" y="130"/>
                  </a:lnTo>
                  <a:lnTo>
                    <a:pt x="221" y="125"/>
                  </a:lnTo>
                  <a:lnTo>
                    <a:pt x="219" y="120"/>
                  </a:lnTo>
                  <a:lnTo>
                    <a:pt x="219" y="117"/>
                  </a:lnTo>
                  <a:lnTo>
                    <a:pt x="216" y="114"/>
                  </a:lnTo>
                  <a:lnTo>
                    <a:pt x="213" y="109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98"/>
                  </a:lnTo>
                  <a:lnTo>
                    <a:pt x="211" y="96"/>
                  </a:lnTo>
                  <a:lnTo>
                    <a:pt x="208" y="93"/>
                  </a:lnTo>
                  <a:lnTo>
                    <a:pt x="205" y="93"/>
                  </a:lnTo>
                  <a:lnTo>
                    <a:pt x="205" y="90"/>
                  </a:lnTo>
                  <a:lnTo>
                    <a:pt x="203" y="88"/>
                  </a:lnTo>
                  <a:lnTo>
                    <a:pt x="197" y="85"/>
                  </a:lnTo>
                  <a:lnTo>
                    <a:pt x="195" y="82"/>
                  </a:lnTo>
                  <a:lnTo>
                    <a:pt x="195" y="82"/>
                  </a:lnTo>
                  <a:lnTo>
                    <a:pt x="192" y="80"/>
                  </a:lnTo>
                  <a:lnTo>
                    <a:pt x="192" y="77"/>
                  </a:lnTo>
                  <a:lnTo>
                    <a:pt x="192" y="77"/>
                  </a:lnTo>
                  <a:lnTo>
                    <a:pt x="195" y="72"/>
                  </a:lnTo>
                  <a:lnTo>
                    <a:pt x="195" y="69"/>
                  </a:lnTo>
                  <a:lnTo>
                    <a:pt x="195" y="69"/>
                  </a:lnTo>
                  <a:lnTo>
                    <a:pt x="195" y="69"/>
                  </a:lnTo>
                  <a:lnTo>
                    <a:pt x="195" y="66"/>
                  </a:lnTo>
                  <a:lnTo>
                    <a:pt x="195" y="66"/>
                  </a:lnTo>
                  <a:lnTo>
                    <a:pt x="195" y="64"/>
                  </a:lnTo>
                  <a:lnTo>
                    <a:pt x="195" y="64"/>
                  </a:lnTo>
                  <a:lnTo>
                    <a:pt x="192" y="64"/>
                  </a:lnTo>
                  <a:lnTo>
                    <a:pt x="184" y="61"/>
                  </a:lnTo>
                  <a:lnTo>
                    <a:pt x="184" y="58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79" y="58"/>
                  </a:lnTo>
                  <a:lnTo>
                    <a:pt x="176" y="58"/>
                  </a:lnTo>
                  <a:lnTo>
                    <a:pt x="173" y="58"/>
                  </a:lnTo>
                  <a:lnTo>
                    <a:pt x="171" y="58"/>
                  </a:lnTo>
                  <a:lnTo>
                    <a:pt x="168" y="58"/>
                  </a:lnTo>
                  <a:lnTo>
                    <a:pt x="171" y="56"/>
                  </a:lnTo>
                  <a:lnTo>
                    <a:pt x="171" y="53"/>
                  </a:lnTo>
                  <a:lnTo>
                    <a:pt x="173" y="50"/>
                  </a:lnTo>
                  <a:lnTo>
                    <a:pt x="171" y="42"/>
                  </a:lnTo>
                  <a:lnTo>
                    <a:pt x="168" y="40"/>
                  </a:lnTo>
                  <a:lnTo>
                    <a:pt x="168" y="42"/>
                  </a:lnTo>
                  <a:lnTo>
                    <a:pt x="165" y="42"/>
                  </a:lnTo>
                  <a:lnTo>
                    <a:pt x="165" y="40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0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37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2" y="34"/>
                  </a:lnTo>
                  <a:lnTo>
                    <a:pt x="149" y="37"/>
                  </a:lnTo>
                  <a:lnTo>
                    <a:pt x="149" y="37"/>
                  </a:lnTo>
                  <a:lnTo>
                    <a:pt x="147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41" y="37"/>
                  </a:lnTo>
                  <a:lnTo>
                    <a:pt x="139" y="37"/>
                  </a:lnTo>
                  <a:lnTo>
                    <a:pt x="139" y="40"/>
                  </a:lnTo>
                  <a:lnTo>
                    <a:pt x="136" y="40"/>
                  </a:lnTo>
                  <a:lnTo>
                    <a:pt x="130" y="40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5" y="42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2" y="40"/>
                  </a:lnTo>
                  <a:lnTo>
                    <a:pt x="122" y="37"/>
                  </a:lnTo>
                  <a:lnTo>
                    <a:pt x="120" y="37"/>
                  </a:lnTo>
                  <a:lnTo>
                    <a:pt x="120" y="40"/>
                  </a:lnTo>
                  <a:lnTo>
                    <a:pt x="114" y="40"/>
                  </a:lnTo>
                  <a:lnTo>
                    <a:pt x="114" y="45"/>
                  </a:lnTo>
                  <a:lnTo>
                    <a:pt x="112" y="45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101" y="32"/>
                  </a:lnTo>
                  <a:lnTo>
                    <a:pt x="93" y="34"/>
                  </a:lnTo>
                  <a:lnTo>
                    <a:pt x="93" y="32"/>
                  </a:lnTo>
                  <a:lnTo>
                    <a:pt x="96" y="29"/>
                  </a:lnTo>
                  <a:lnTo>
                    <a:pt x="90" y="21"/>
                  </a:lnTo>
                  <a:lnTo>
                    <a:pt x="93" y="13"/>
                  </a:lnTo>
                  <a:lnTo>
                    <a:pt x="85" y="13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5"/>
                  </a:lnTo>
                  <a:lnTo>
                    <a:pt x="82" y="5"/>
                  </a:lnTo>
                  <a:lnTo>
                    <a:pt x="77" y="5"/>
                  </a:lnTo>
                  <a:lnTo>
                    <a:pt x="77" y="2"/>
                  </a:lnTo>
                  <a:lnTo>
                    <a:pt x="77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8" name="Freeform 8894">
              <a:extLst>
                <a:ext uri="{FF2B5EF4-FFF2-40B4-BE49-F238E27FC236}">
                  <a16:creationId xmlns:a16="http://schemas.microsoft.com/office/drawing/2014/main" id="{4C0D2935-04A4-7848-9E8D-016F4F492036}"/>
                </a:ext>
              </a:extLst>
            </p:cNvPr>
            <p:cNvSpPr/>
            <p:nvPr/>
          </p:nvSpPr>
          <p:spPr bwMode="auto">
            <a:xfrm>
              <a:off x="3777455" y="3213102"/>
              <a:ext cx="1911350" cy="1379537"/>
            </a:xfrm>
            <a:custGeom>
              <a:avLst/>
              <a:gdLst>
                <a:gd name="T0" fmla="*/ 748 w 1204"/>
                <a:gd name="T1" fmla="*/ 722 h 869"/>
                <a:gd name="T2" fmla="*/ 766 w 1204"/>
                <a:gd name="T3" fmla="*/ 703 h 869"/>
                <a:gd name="T4" fmla="*/ 772 w 1204"/>
                <a:gd name="T5" fmla="*/ 682 h 869"/>
                <a:gd name="T6" fmla="*/ 801 w 1204"/>
                <a:gd name="T7" fmla="*/ 682 h 869"/>
                <a:gd name="T8" fmla="*/ 849 w 1204"/>
                <a:gd name="T9" fmla="*/ 695 h 869"/>
                <a:gd name="T10" fmla="*/ 868 w 1204"/>
                <a:gd name="T11" fmla="*/ 695 h 869"/>
                <a:gd name="T12" fmla="*/ 876 w 1204"/>
                <a:gd name="T13" fmla="*/ 711 h 869"/>
                <a:gd name="T14" fmla="*/ 945 w 1204"/>
                <a:gd name="T15" fmla="*/ 711 h 869"/>
                <a:gd name="T16" fmla="*/ 1191 w 1204"/>
                <a:gd name="T17" fmla="*/ 695 h 869"/>
                <a:gd name="T18" fmla="*/ 1175 w 1204"/>
                <a:gd name="T19" fmla="*/ 652 h 869"/>
                <a:gd name="T20" fmla="*/ 1143 w 1204"/>
                <a:gd name="T21" fmla="*/ 628 h 869"/>
                <a:gd name="T22" fmla="*/ 1135 w 1204"/>
                <a:gd name="T23" fmla="*/ 585 h 869"/>
                <a:gd name="T24" fmla="*/ 1105 w 1204"/>
                <a:gd name="T25" fmla="*/ 559 h 869"/>
                <a:gd name="T26" fmla="*/ 1033 w 1204"/>
                <a:gd name="T27" fmla="*/ 527 h 869"/>
                <a:gd name="T28" fmla="*/ 1004 w 1204"/>
                <a:gd name="T29" fmla="*/ 503 h 869"/>
                <a:gd name="T30" fmla="*/ 969 w 1204"/>
                <a:gd name="T31" fmla="*/ 492 h 869"/>
                <a:gd name="T32" fmla="*/ 916 w 1204"/>
                <a:gd name="T33" fmla="*/ 521 h 869"/>
                <a:gd name="T34" fmla="*/ 852 w 1204"/>
                <a:gd name="T35" fmla="*/ 521 h 869"/>
                <a:gd name="T36" fmla="*/ 814 w 1204"/>
                <a:gd name="T37" fmla="*/ 473 h 869"/>
                <a:gd name="T38" fmla="*/ 758 w 1204"/>
                <a:gd name="T39" fmla="*/ 436 h 869"/>
                <a:gd name="T40" fmla="*/ 702 w 1204"/>
                <a:gd name="T41" fmla="*/ 433 h 869"/>
                <a:gd name="T42" fmla="*/ 649 w 1204"/>
                <a:gd name="T43" fmla="*/ 380 h 869"/>
                <a:gd name="T44" fmla="*/ 587 w 1204"/>
                <a:gd name="T45" fmla="*/ 382 h 869"/>
                <a:gd name="T46" fmla="*/ 574 w 1204"/>
                <a:gd name="T47" fmla="*/ 332 h 869"/>
                <a:gd name="T48" fmla="*/ 553 w 1204"/>
                <a:gd name="T49" fmla="*/ 294 h 869"/>
                <a:gd name="T50" fmla="*/ 550 w 1204"/>
                <a:gd name="T51" fmla="*/ 254 h 869"/>
                <a:gd name="T52" fmla="*/ 510 w 1204"/>
                <a:gd name="T53" fmla="*/ 227 h 869"/>
                <a:gd name="T54" fmla="*/ 483 w 1204"/>
                <a:gd name="T55" fmla="*/ 249 h 869"/>
                <a:gd name="T56" fmla="*/ 449 w 1204"/>
                <a:gd name="T57" fmla="*/ 246 h 869"/>
                <a:gd name="T58" fmla="*/ 419 w 1204"/>
                <a:gd name="T59" fmla="*/ 243 h 869"/>
                <a:gd name="T60" fmla="*/ 403 w 1204"/>
                <a:gd name="T61" fmla="*/ 222 h 869"/>
                <a:gd name="T62" fmla="*/ 411 w 1204"/>
                <a:gd name="T63" fmla="*/ 193 h 869"/>
                <a:gd name="T64" fmla="*/ 347 w 1204"/>
                <a:gd name="T65" fmla="*/ 166 h 869"/>
                <a:gd name="T66" fmla="*/ 294 w 1204"/>
                <a:gd name="T67" fmla="*/ 169 h 869"/>
                <a:gd name="T68" fmla="*/ 251 w 1204"/>
                <a:gd name="T69" fmla="*/ 136 h 869"/>
                <a:gd name="T70" fmla="*/ 248 w 1204"/>
                <a:gd name="T71" fmla="*/ 107 h 869"/>
                <a:gd name="T72" fmla="*/ 267 w 1204"/>
                <a:gd name="T73" fmla="*/ 64 h 869"/>
                <a:gd name="T74" fmla="*/ 256 w 1204"/>
                <a:gd name="T75" fmla="*/ 8 h 869"/>
                <a:gd name="T76" fmla="*/ 222 w 1204"/>
                <a:gd name="T77" fmla="*/ 16 h 869"/>
                <a:gd name="T78" fmla="*/ 203 w 1204"/>
                <a:gd name="T79" fmla="*/ 40 h 869"/>
                <a:gd name="T80" fmla="*/ 174 w 1204"/>
                <a:gd name="T81" fmla="*/ 56 h 869"/>
                <a:gd name="T82" fmla="*/ 155 w 1204"/>
                <a:gd name="T83" fmla="*/ 32 h 869"/>
                <a:gd name="T84" fmla="*/ 131 w 1204"/>
                <a:gd name="T85" fmla="*/ 46 h 869"/>
                <a:gd name="T86" fmla="*/ 117 w 1204"/>
                <a:gd name="T87" fmla="*/ 64 h 869"/>
                <a:gd name="T88" fmla="*/ 104 w 1204"/>
                <a:gd name="T89" fmla="*/ 91 h 869"/>
                <a:gd name="T90" fmla="*/ 85 w 1204"/>
                <a:gd name="T91" fmla="*/ 134 h 869"/>
                <a:gd name="T92" fmla="*/ 59 w 1204"/>
                <a:gd name="T93" fmla="*/ 174 h 869"/>
                <a:gd name="T94" fmla="*/ 40 w 1204"/>
                <a:gd name="T95" fmla="*/ 203 h 869"/>
                <a:gd name="T96" fmla="*/ 32 w 1204"/>
                <a:gd name="T97" fmla="*/ 235 h 869"/>
                <a:gd name="T98" fmla="*/ 29 w 1204"/>
                <a:gd name="T99" fmla="*/ 267 h 869"/>
                <a:gd name="T100" fmla="*/ 13 w 1204"/>
                <a:gd name="T101" fmla="*/ 289 h 869"/>
                <a:gd name="T102" fmla="*/ 3 w 1204"/>
                <a:gd name="T103" fmla="*/ 321 h 869"/>
                <a:gd name="T104" fmla="*/ 40 w 1204"/>
                <a:gd name="T105" fmla="*/ 358 h 869"/>
                <a:gd name="T106" fmla="*/ 117 w 1204"/>
                <a:gd name="T107" fmla="*/ 561 h 869"/>
                <a:gd name="T108" fmla="*/ 163 w 1204"/>
                <a:gd name="T109" fmla="*/ 679 h 869"/>
                <a:gd name="T110" fmla="*/ 294 w 1204"/>
                <a:gd name="T111" fmla="*/ 719 h 869"/>
                <a:gd name="T112" fmla="*/ 446 w 1204"/>
                <a:gd name="T113" fmla="*/ 700 h 869"/>
                <a:gd name="T114" fmla="*/ 478 w 1204"/>
                <a:gd name="T115" fmla="*/ 719 h 869"/>
                <a:gd name="T116" fmla="*/ 513 w 1204"/>
                <a:gd name="T117" fmla="*/ 772 h 869"/>
                <a:gd name="T118" fmla="*/ 537 w 1204"/>
                <a:gd name="T119" fmla="*/ 826 h 869"/>
                <a:gd name="T120" fmla="*/ 606 w 1204"/>
                <a:gd name="T121" fmla="*/ 855 h 869"/>
                <a:gd name="T122" fmla="*/ 702 w 1204"/>
                <a:gd name="T123" fmla="*/ 794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04" h="869" extrusionOk="0">
                  <a:moveTo>
                    <a:pt x="742" y="743"/>
                  </a:moveTo>
                  <a:lnTo>
                    <a:pt x="742" y="743"/>
                  </a:lnTo>
                  <a:lnTo>
                    <a:pt x="742" y="743"/>
                  </a:lnTo>
                  <a:lnTo>
                    <a:pt x="742" y="740"/>
                  </a:lnTo>
                  <a:lnTo>
                    <a:pt x="745" y="740"/>
                  </a:lnTo>
                  <a:lnTo>
                    <a:pt x="745" y="740"/>
                  </a:lnTo>
                  <a:lnTo>
                    <a:pt x="745" y="738"/>
                  </a:lnTo>
                  <a:lnTo>
                    <a:pt x="748" y="738"/>
                  </a:lnTo>
                  <a:lnTo>
                    <a:pt x="750" y="735"/>
                  </a:lnTo>
                  <a:lnTo>
                    <a:pt x="750" y="732"/>
                  </a:lnTo>
                  <a:lnTo>
                    <a:pt x="750" y="732"/>
                  </a:lnTo>
                  <a:lnTo>
                    <a:pt x="750" y="730"/>
                  </a:lnTo>
                  <a:lnTo>
                    <a:pt x="750" y="730"/>
                  </a:lnTo>
                  <a:lnTo>
                    <a:pt x="750" y="727"/>
                  </a:lnTo>
                  <a:lnTo>
                    <a:pt x="750" y="727"/>
                  </a:lnTo>
                  <a:lnTo>
                    <a:pt x="750" y="724"/>
                  </a:lnTo>
                  <a:lnTo>
                    <a:pt x="750" y="724"/>
                  </a:lnTo>
                  <a:lnTo>
                    <a:pt x="748" y="722"/>
                  </a:lnTo>
                  <a:lnTo>
                    <a:pt x="748" y="722"/>
                  </a:lnTo>
                  <a:lnTo>
                    <a:pt x="748" y="719"/>
                  </a:lnTo>
                  <a:lnTo>
                    <a:pt x="748" y="719"/>
                  </a:lnTo>
                  <a:lnTo>
                    <a:pt x="750" y="716"/>
                  </a:lnTo>
                  <a:lnTo>
                    <a:pt x="750" y="714"/>
                  </a:lnTo>
                  <a:lnTo>
                    <a:pt x="750" y="714"/>
                  </a:lnTo>
                  <a:lnTo>
                    <a:pt x="753" y="711"/>
                  </a:lnTo>
                  <a:lnTo>
                    <a:pt x="753" y="711"/>
                  </a:lnTo>
                  <a:lnTo>
                    <a:pt x="753" y="708"/>
                  </a:lnTo>
                  <a:lnTo>
                    <a:pt x="753" y="708"/>
                  </a:lnTo>
                  <a:lnTo>
                    <a:pt x="756" y="708"/>
                  </a:lnTo>
                  <a:lnTo>
                    <a:pt x="756" y="708"/>
                  </a:lnTo>
                  <a:lnTo>
                    <a:pt x="758" y="708"/>
                  </a:lnTo>
                  <a:lnTo>
                    <a:pt x="761" y="708"/>
                  </a:lnTo>
                  <a:lnTo>
                    <a:pt x="761" y="708"/>
                  </a:lnTo>
                  <a:lnTo>
                    <a:pt x="764" y="708"/>
                  </a:lnTo>
                  <a:lnTo>
                    <a:pt x="766" y="708"/>
                  </a:lnTo>
                  <a:lnTo>
                    <a:pt x="766" y="706"/>
                  </a:lnTo>
                  <a:lnTo>
                    <a:pt x="766" y="703"/>
                  </a:lnTo>
                  <a:lnTo>
                    <a:pt x="766" y="703"/>
                  </a:lnTo>
                  <a:lnTo>
                    <a:pt x="766" y="700"/>
                  </a:lnTo>
                  <a:lnTo>
                    <a:pt x="766" y="698"/>
                  </a:lnTo>
                  <a:lnTo>
                    <a:pt x="766" y="698"/>
                  </a:lnTo>
                  <a:lnTo>
                    <a:pt x="766" y="695"/>
                  </a:lnTo>
                  <a:lnTo>
                    <a:pt x="764" y="695"/>
                  </a:lnTo>
                  <a:lnTo>
                    <a:pt x="764" y="695"/>
                  </a:lnTo>
                  <a:lnTo>
                    <a:pt x="764" y="692"/>
                  </a:lnTo>
                  <a:lnTo>
                    <a:pt x="764" y="692"/>
                  </a:lnTo>
                  <a:lnTo>
                    <a:pt x="766" y="692"/>
                  </a:lnTo>
                  <a:lnTo>
                    <a:pt x="764" y="690"/>
                  </a:lnTo>
                  <a:lnTo>
                    <a:pt x="769" y="687"/>
                  </a:lnTo>
                  <a:lnTo>
                    <a:pt x="769" y="687"/>
                  </a:lnTo>
                  <a:lnTo>
                    <a:pt x="772" y="687"/>
                  </a:lnTo>
                  <a:lnTo>
                    <a:pt x="772" y="684"/>
                  </a:lnTo>
                  <a:lnTo>
                    <a:pt x="772" y="684"/>
                  </a:lnTo>
                  <a:lnTo>
                    <a:pt x="772" y="684"/>
                  </a:lnTo>
                  <a:lnTo>
                    <a:pt x="772" y="682"/>
                  </a:lnTo>
                  <a:lnTo>
                    <a:pt x="772" y="682"/>
                  </a:lnTo>
                  <a:lnTo>
                    <a:pt x="772" y="682"/>
                  </a:lnTo>
                  <a:lnTo>
                    <a:pt x="772" y="679"/>
                  </a:lnTo>
                  <a:lnTo>
                    <a:pt x="772" y="679"/>
                  </a:lnTo>
                  <a:lnTo>
                    <a:pt x="772" y="676"/>
                  </a:lnTo>
                  <a:lnTo>
                    <a:pt x="772" y="676"/>
                  </a:lnTo>
                  <a:lnTo>
                    <a:pt x="774" y="674"/>
                  </a:lnTo>
                  <a:lnTo>
                    <a:pt x="774" y="674"/>
                  </a:lnTo>
                  <a:lnTo>
                    <a:pt x="774" y="674"/>
                  </a:lnTo>
                  <a:lnTo>
                    <a:pt x="777" y="674"/>
                  </a:lnTo>
                  <a:lnTo>
                    <a:pt x="780" y="676"/>
                  </a:lnTo>
                  <a:lnTo>
                    <a:pt x="782" y="676"/>
                  </a:lnTo>
                  <a:lnTo>
                    <a:pt x="782" y="676"/>
                  </a:lnTo>
                  <a:lnTo>
                    <a:pt x="785" y="679"/>
                  </a:lnTo>
                  <a:lnTo>
                    <a:pt x="785" y="682"/>
                  </a:lnTo>
                  <a:lnTo>
                    <a:pt x="788" y="682"/>
                  </a:lnTo>
                  <a:lnTo>
                    <a:pt x="790" y="682"/>
                  </a:lnTo>
                  <a:lnTo>
                    <a:pt x="790" y="682"/>
                  </a:lnTo>
                  <a:lnTo>
                    <a:pt x="793" y="682"/>
                  </a:lnTo>
                  <a:lnTo>
                    <a:pt x="796" y="682"/>
                  </a:lnTo>
                  <a:lnTo>
                    <a:pt x="801" y="682"/>
                  </a:lnTo>
                  <a:lnTo>
                    <a:pt x="804" y="684"/>
                  </a:lnTo>
                  <a:lnTo>
                    <a:pt x="806" y="687"/>
                  </a:lnTo>
                  <a:lnTo>
                    <a:pt x="809" y="690"/>
                  </a:lnTo>
                  <a:lnTo>
                    <a:pt x="812" y="692"/>
                  </a:lnTo>
                  <a:lnTo>
                    <a:pt x="814" y="692"/>
                  </a:lnTo>
                  <a:lnTo>
                    <a:pt x="814" y="692"/>
                  </a:lnTo>
                  <a:lnTo>
                    <a:pt x="817" y="692"/>
                  </a:lnTo>
                  <a:lnTo>
                    <a:pt x="820" y="690"/>
                  </a:lnTo>
                  <a:lnTo>
                    <a:pt x="820" y="690"/>
                  </a:lnTo>
                  <a:lnTo>
                    <a:pt x="822" y="690"/>
                  </a:lnTo>
                  <a:lnTo>
                    <a:pt x="825" y="690"/>
                  </a:lnTo>
                  <a:lnTo>
                    <a:pt x="836" y="695"/>
                  </a:lnTo>
                  <a:lnTo>
                    <a:pt x="838" y="695"/>
                  </a:lnTo>
                  <a:lnTo>
                    <a:pt x="844" y="695"/>
                  </a:lnTo>
                  <a:lnTo>
                    <a:pt x="846" y="692"/>
                  </a:lnTo>
                  <a:lnTo>
                    <a:pt x="849" y="692"/>
                  </a:lnTo>
                  <a:lnTo>
                    <a:pt x="849" y="692"/>
                  </a:lnTo>
                  <a:lnTo>
                    <a:pt x="849" y="692"/>
                  </a:lnTo>
                  <a:lnTo>
                    <a:pt x="849" y="695"/>
                  </a:lnTo>
                  <a:lnTo>
                    <a:pt x="852" y="695"/>
                  </a:lnTo>
                  <a:lnTo>
                    <a:pt x="852" y="698"/>
                  </a:lnTo>
                  <a:lnTo>
                    <a:pt x="852" y="700"/>
                  </a:lnTo>
                  <a:lnTo>
                    <a:pt x="854" y="700"/>
                  </a:lnTo>
                  <a:lnTo>
                    <a:pt x="854" y="700"/>
                  </a:lnTo>
                  <a:lnTo>
                    <a:pt x="857" y="700"/>
                  </a:lnTo>
                  <a:lnTo>
                    <a:pt x="857" y="698"/>
                  </a:lnTo>
                  <a:lnTo>
                    <a:pt x="860" y="698"/>
                  </a:lnTo>
                  <a:lnTo>
                    <a:pt x="860" y="698"/>
                  </a:lnTo>
                  <a:lnTo>
                    <a:pt x="860" y="695"/>
                  </a:lnTo>
                  <a:lnTo>
                    <a:pt x="862" y="695"/>
                  </a:lnTo>
                  <a:lnTo>
                    <a:pt x="862" y="695"/>
                  </a:lnTo>
                  <a:lnTo>
                    <a:pt x="862" y="695"/>
                  </a:lnTo>
                  <a:lnTo>
                    <a:pt x="865" y="698"/>
                  </a:lnTo>
                  <a:lnTo>
                    <a:pt x="865" y="698"/>
                  </a:lnTo>
                  <a:lnTo>
                    <a:pt x="865" y="695"/>
                  </a:lnTo>
                  <a:lnTo>
                    <a:pt x="868" y="698"/>
                  </a:lnTo>
                  <a:lnTo>
                    <a:pt x="868" y="698"/>
                  </a:lnTo>
                  <a:lnTo>
                    <a:pt x="868" y="695"/>
                  </a:lnTo>
                  <a:lnTo>
                    <a:pt x="868" y="695"/>
                  </a:lnTo>
                  <a:lnTo>
                    <a:pt x="870" y="698"/>
                  </a:lnTo>
                  <a:lnTo>
                    <a:pt x="870" y="695"/>
                  </a:lnTo>
                  <a:lnTo>
                    <a:pt x="873" y="695"/>
                  </a:lnTo>
                  <a:lnTo>
                    <a:pt x="873" y="698"/>
                  </a:lnTo>
                  <a:lnTo>
                    <a:pt x="873" y="698"/>
                  </a:lnTo>
                  <a:lnTo>
                    <a:pt x="876" y="700"/>
                  </a:lnTo>
                  <a:lnTo>
                    <a:pt x="879" y="700"/>
                  </a:lnTo>
                  <a:lnTo>
                    <a:pt x="879" y="700"/>
                  </a:lnTo>
                  <a:lnTo>
                    <a:pt x="879" y="700"/>
                  </a:lnTo>
                  <a:lnTo>
                    <a:pt x="879" y="703"/>
                  </a:lnTo>
                  <a:lnTo>
                    <a:pt x="876" y="703"/>
                  </a:lnTo>
                  <a:lnTo>
                    <a:pt x="876" y="703"/>
                  </a:lnTo>
                  <a:lnTo>
                    <a:pt x="876" y="703"/>
                  </a:lnTo>
                  <a:lnTo>
                    <a:pt x="876" y="706"/>
                  </a:lnTo>
                  <a:lnTo>
                    <a:pt x="876" y="706"/>
                  </a:lnTo>
                  <a:lnTo>
                    <a:pt x="876" y="708"/>
                  </a:lnTo>
                  <a:lnTo>
                    <a:pt x="876" y="711"/>
                  </a:lnTo>
                  <a:lnTo>
                    <a:pt x="876" y="711"/>
                  </a:lnTo>
                  <a:lnTo>
                    <a:pt x="879" y="711"/>
                  </a:lnTo>
                  <a:lnTo>
                    <a:pt x="879" y="714"/>
                  </a:lnTo>
                  <a:lnTo>
                    <a:pt x="879" y="716"/>
                  </a:lnTo>
                  <a:lnTo>
                    <a:pt x="881" y="716"/>
                  </a:lnTo>
                  <a:lnTo>
                    <a:pt x="881" y="716"/>
                  </a:lnTo>
                  <a:lnTo>
                    <a:pt x="884" y="716"/>
                  </a:lnTo>
                  <a:lnTo>
                    <a:pt x="884" y="714"/>
                  </a:lnTo>
                  <a:lnTo>
                    <a:pt x="887" y="714"/>
                  </a:lnTo>
                  <a:lnTo>
                    <a:pt x="887" y="714"/>
                  </a:lnTo>
                  <a:lnTo>
                    <a:pt x="889" y="714"/>
                  </a:lnTo>
                  <a:lnTo>
                    <a:pt x="889" y="714"/>
                  </a:lnTo>
                  <a:lnTo>
                    <a:pt x="892" y="714"/>
                  </a:lnTo>
                  <a:lnTo>
                    <a:pt x="892" y="714"/>
                  </a:lnTo>
                  <a:lnTo>
                    <a:pt x="895" y="714"/>
                  </a:lnTo>
                  <a:lnTo>
                    <a:pt x="895" y="716"/>
                  </a:lnTo>
                  <a:lnTo>
                    <a:pt x="919" y="719"/>
                  </a:lnTo>
                  <a:lnTo>
                    <a:pt x="929" y="714"/>
                  </a:lnTo>
                  <a:lnTo>
                    <a:pt x="940" y="716"/>
                  </a:lnTo>
                  <a:lnTo>
                    <a:pt x="945" y="711"/>
                  </a:lnTo>
                  <a:lnTo>
                    <a:pt x="959" y="719"/>
                  </a:lnTo>
                  <a:lnTo>
                    <a:pt x="961" y="719"/>
                  </a:lnTo>
                  <a:lnTo>
                    <a:pt x="961" y="724"/>
                  </a:lnTo>
                  <a:lnTo>
                    <a:pt x="961" y="730"/>
                  </a:lnTo>
                  <a:lnTo>
                    <a:pt x="977" y="738"/>
                  </a:lnTo>
                  <a:lnTo>
                    <a:pt x="985" y="735"/>
                  </a:lnTo>
                  <a:lnTo>
                    <a:pt x="999" y="735"/>
                  </a:lnTo>
                  <a:lnTo>
                    <a:pt x="1012" y="751"/>
                  </a:lnTo>
                  <a:lnTo>
                    <a:pt x="1023" y="743"/>
                  </a:lnTo>
                  <a:lnTo>
                    <a:pt x="1025" y="732"/>
                  </a:lnTo>
                  <a:lnTo>
                    <a:pt x="1065" y="706"/>
                  </a:lnTo>
                  <a:lnTo>
                    <a:pt x="1073" y="706"/>
                  </a:lnTo>
                  <a:lnTo>
                    <a:pt x="1081" y="708"/>
                  </a:lnTo>
                  <a:lnTo>
                    <a:pt x="1103" y="732"/>
                  </a:lnTo>
                  <a:lnTo>
                    <a:pt x="1116" y="730"/>
                  </a:lnTo>
                  <a:lnTo>
                    <a:pt x="1135" y="719"/>
                  </a:lnTo>
                  <a:lnTo>
                    <a:pt x="1138" y="719"/>
                  </a:lnTo>
                  <a:lnTo>
                    <a:pt x="1140" y="719"/>
                  </a:lnTo>
                  <a:lnTo>
                    <a:pt x="1191" y="695"/>
                  </a:lnTo>
                  <a:lnTo>
                    <a:pt x="1191" y="692"/>
                  </a:lnTo>
                  <a:lnTo>
                    <a:pt x="1191" y="692"/>
                  </a:lnTo>
                  <a:lnTo>
                    <a:pt x="1188" y="684"/>
                  </a:lnTo>
                  <a:lnTo>
                    <a:pt x="1196" y="679"/>
                  </a:lnTo>
                  <a:lnTo>
                    <a:pt x="1204" y="679"/>
                  </a:lnTo>
                  <a:lnTo>
                    <a:pt x="1204" y="671"/>
                  </a:lnTo>
                  <a:lnTo>
                    <a:pt x="1199" y="666"/>
                  </a:lnTo>
                  <a:lnTo>
                    <a:pt x="1199" y="666"/>
                  </a:lnTo>
                  <a:lnTo>
                    <a:pt x="1199" y="666"/>
                  </a:lnTo>
                  <a:lnTo>
                    <a:pt x="1196" y="666"/>
                  </a:lnTo>
                  <a:lnTo>
                    <a:pt x="1194" y="666"/>
                  </a:lnTo>
                  <a:lnTo>
                    <a:pt x="1191" y="666"/>
                  </a:lnTo>
                  <a:lnTo>
                    <a:pt x="1183" y="660"/>
                  </a:lnTo>
                  <a:lnTo>
                    <a:pt x="1183" y="658"/>
                  </a:lnTo>
                  <a:lnTo>
                    <a:pt x="1180" y="655"/>
                  </a:lnTo>
                  <a:lnTo>
                    <a:pt x="1180" y="652"/>
                  </a:lnTo>
                  <a:lnTo>
                    <a:pt x="1178" y="652"/>
                  </a:lnTo>
                  <a:lnTo>
                    <a:pt x="1175" y="652"/>
                  </a:lnTo>
                  <a:lnTo>
                    <a:pt x="1175" y="652"/>
                  </a:lnTo>
                  <a:lnTo>
                    <a:pt x="1172" y="652"/>
                  </a:lnTo>
                  <a:lnTo>
                    <a:pt x="1172" y="652"/>
                  </a:lnTo>
                  <a:lnTo>
                    <a:pt x="1170" y="650"/>
                  </a:lnTo>
                  <a:lnTo>
                    <a:pt x="1167" y="650"/>
                  </a:lnTo>
                  <a:lnTo>
                    <a:pt x="1167" y="647"/>
                  </a:lnTo>
                  <a:lnTo>
                    <a:pt x="1167" y="647"/>
                  </a:lnTo>
                  <a:lnTo>
                    <a:pt x="1164" y="644"/>
                  </a:lnTo>
                  <a:lnTo>
                    <a:pt x="1159" y="639"/>
                  </a:lnTo>
                  <a:lnTo>
                    <a:pt x="1156" y="642"/>
                  </a:lnTo>
                  <a:lnTo>
                    <a:pt x="1156" y="642"/>
                  </a:lnTo>
                  <a:lnTo>
                    <a:pt x="1154" y="642"/>
                  </a:lnTo>
                  <a:lnTo>
                    <a:pt x="1154" y="639"/>
                  </a:lnTo>
                  <a:lnTo>
                    <a:pt x="1151" y="639"/>
                  </a:lnTo>
                  <a:lnTo>
                    <a:pt x="1148" y="639"/>
                  </a:lnTo>
                  <a:lnTo>
                    <a:pt x="1148" y="636"/>
                  </a:lnTo>
                  <a:lnTo>
                    <a:pt x="1146" y="636"/>
                  </a:lnTo>
                  <a:lnTo>
                    <a:pt x="1146" y="633"/>
                  </a:lnTo>
                  <a:lnTo>
                    <a:pt x="1146" y="631"/>
                  </a:lnTo>
                  <a:lnTo>
                    <a:pt x="1143" y="628"/>
                  </a:lnTo>
                  <a:lnTo>
                    <a:pt x="1143" y="628"/>
                  </a:lnTo>
                  <a:lnTo>
                    <a:pt x="1140" y="625"/>
                  </a:lnTo>
                  <a:lnTo>
                    <a:pt x="1140" y="623"/>
                  </a:lnTo>
                  <a:lnTo>
                    <a:pt x="1140" y="620"/>
                  </a:lnTo>
                  <a:lnTo>
                    <a:pt x="1143" y="617"/>
                  </a:lnTo>
                  <a:lnTo>
                    <a:pt x="1143" y="617"/>
                  </a:lnTo>
                  <a:lnTo>
                    <a:pt x="1143" y="615"/>
                  </a:lnTo>
                  <a:lnTo>
                    <a:pt x="1140" y="612"/>
                  </a:lnTo>
                  <a:lnTo>
                    <a:pt x="1143" y="612"/>
                  </a:lnTo>
                  <a:lnTo>
                    <a:pt x="1143" y="609"/>
                  </a:lnTo>
                  <a:lnTo>
                    <a:pt x="1143" y="607"/>
                  </a:lnTo>
                  <a:lnTo>
                    <a:pt x="1143" y="599"/>
                  </a:lnTo>
                  <a:lnTo>
                    <a:pt x="1143" y="596"/>
                  </a:lnTo>
                  <a:lnTo>
                    <a:pt x="1140" y="591"/>
                  </a:lnTo>
                  <a:lnTo>
                    <a:pt x="1140" y="591"/>
                  </a:lnTo>
                  <a:lnTo>
                    <a:pt x="1138" y="591"/>
                  </a:lnTo>
                  <a:lnTo>
                    <a:pt x="1138" y="588"/>
                  </a:lnTo>
                  <a:lnTo>
                    <a:pt x="1135" y="588"/>
                  </a:lnTo>
                  <a:lnTo>
                    <a:pt x="1135" y="585"/>
                  </a:lnTo>
                  <a:lnTo>
                    <a:pt x="1135" y="585"/>
                  </a:lnTo>
                  <a:lnTo>
                    <a:pt x="1135" y="583"/>
                  </a:lnTo>
                  <a:lnTo>
                    <a:pt x="1135" y="580"/>
                  </a:lnTo>
                  <a:lnTo>
                    <a:pt x="1135" y="580"/>
                  </a:lnTo>
                  <a:lnTo>
                    <a:pt x="1135" y="577"/>
                  </a:lnTo>
                  <a:lnTo>
                    <a:pt x="1135" y="577"/>
                  </a:lnTo>
                  <a:lnTo>
                    <a:pt x="1132" y="575"/>
                  </a:lnTo>
                  <a:lnTo>
                    <a:pt x="1130" y="577"/>
                  </a:lnTo>
                  <a:lnTo>
                    <a:pt x="1127" y="577"/>
                  </a:lnTo>
                  <a:lnTo>
                    <a:pt x="1124" y="569"/>
                  </a:lnTo>
                  <a:lnTo>
                    <a:pt x="1122" y="569"/>
                  </a:lnTo>
                  <a:lnTo>
                    <a:pt x="1122" y="567"/>
                  </a:lnTo>
                  <a:lnTo>
                    <a:pt x="1122" y="564"/>
                  </a:lnTo>
                  <a:lnTo>
                    <a:pt x="1116" y="553"/>
                  </a:lnTo>
                  <a:lnTo>
                    <a:pt x="1116" y="556"/>
                  </a:lnTo>
                  <a:lnTo>
                    <a:pt x="1114" y="556"/>
                  </a:lnTo>
                  <a:lnTo>
                    <a:pt x="1108" y="561"/>
                  </a:lnTo>
                  <a:lnTo>
                    <a:pt x="1105" y="561"/>
                  </a:lnTo>
                  <a:lnTo>
                    <a:pt x="1105" y="559"/>
                  </a:lnTo>
                  <a:lnTo>
                    <a:pt x="1097" y="561"/>
                  </a:lnTo>
                  <a:lnTo>
                    <a:pt x="1092" y="564"/>
                  </a:lnTo>
                  <a:lnTo>
                    <a:pt x="1081" y="556"/>
                  </a:lnTo>
                  <a:lnTo>
                    <a:pt x="1079" y="556"/>
                  </a:lnTo>
                  <a:lnTo>
                    <a:pt x="1081" y="551"/>
                  </a:lnTo>
                  <a:lnTo>
                    <a:pt x="1081" y="551"/>
                  </a:lnTo>
                  <a:lnTo>
                    <a:pt x="1071" y="540"/>
                  </a:lnTo>
                  <a:lnTo>
                    <a:pt x="1071" y="532"/>
                  </a:lnTo>
                  <a:lnTo>
                    <a:pt x="1060" y="527"/>
                  </a:lnTo>
                  <a:lnTo>
                    <a:pt x="1057" y="527"/>
                  </a:lnTo>
                  <a:lnTo>
                    <a:pt x="1057" y="527"/>
                  </a:lnTo>
                  <a:lnTo>
                    <a:pt x="1055" y="527"/>
                  </a:lnTo>
                  <a:lnTo>
                    <a:pt x="1052" y="527"/>
                  </a:lnTo>
                  <a:lnTo>
                    <a:pt x="1049" y="527"/>
                  </a:lnTo>
                  <a:lnTo>
                    <a:pt x="1049" y="527"/>
                  </a:lnTo>
                  <a:lnTo>
                    <a:pt x="1047" y="524"/>
                  </a:lnTo>
                  <a:lnTo>
                    <a:pt x="1047" y="524"/>
                  </a:lnTo>
                  <a:lnTo>
                    <a:pt x="1044" y="521"/>
                  </a:lnTo>
                  <a:lnTo>
                    <a:pt x="1033" y="527"/>
                  </a:lnTo>
                  <a:lnTo>
                    <a:pt x="1031" y="527"/>
                  </a:lnTo>
                  <a:lnTo>
                    <a:pt x="1031" y="529"/>
                  </a:lnTo>
                  <a:lnTo>
                    <a:pt x="1028" y="529"/>
                  </a:lnTo>
                  <a:lnTo>
                    <a:pt x="1020" y="527"/>
                  </a:lnTo>
                  <a:lnTo>
                    <a:pt x="1020" y="524"/>
                  </a:lnTo>
                  <a:lnTo>
                    <a:pt x="1020" y="524"/>
                  </a:lnTo>
                  <a:lnTo>
                    <a:pt x="1020" y="521"/>
                  </a:lnTo>
                  <a:lnTo>
                    <a:pt x="1020" y="521"/>
                  </a:lnTo>
                  <a:lnTo>
                    <a:pt x="1009" y="516"/>
                  </a:lnTo>
                  <a:lnTo>
                    <a:pt x="1007" y="513"/>
                  </a:lnTo>
                  <a:lnTo>
                    <a:pt x="1007" y="513"/>
                  </a:lnTo>
                  <a:lnTo>
                    <a:pt x="1004" y="511"/>
                  </a:lnTo>
                  <a:lnTo>
                    <a:pt x="1004" y="511"/>
                  </a:lnTo>
                  <a:lnTo>
                    <a:pt x="1004" y="508"/>
                  </a:lnTo>
                  <a:lnTo>
                    <a:pt x="1007" y="508"/>
                  </a:lnTo>
                  <a:lnTo>
                    <a:pt x="1007" y="505"/>
                  </a:lnTo>
                  <a:lnTo>
                    <a:pt x="1007" y="505"/>
                  </a:lnTo>
                  <a:lnTo>
                    <a:pt x="1007" y="503"/>
                  </a:lnTo>
                  <a:lnTo>
                    <a:pt x="1004" y="503"/>
                  </a:lnTo>
                  <a:lnTo>
                    <a:pt x="1004" y="503"/>
                  </a:lnTo>
                  <a:lnTo>
                    <a:pt x="1001" y="500"/>
                  </a:lnTo>
                  <a:lnTo>
                    <a:pt x="999" y="497"/>
                  </a:lnTo>
                  <a:lnTo>
                    <a:pt x="999" y="495"/>
                  </a:lnTo>
                  <a:lnTo>
                    <a:pt x="996" y="489"/>
                  </a:lnTo>
                  <a:lnTo>
                    <a:pt x="996" y="487"/>
                  </a:lnTo>
                  <a:lnTo>
                    <a:pt x="996" y="484"/>
                  </a:lnTo>
                  <a:lnTo>
                    <a:pt x="996" y="479"/>
                  </a:lnTo>
                  <a:lnTo>
                    <a:pt x="993" y="479"/>
                  </a:lnTo>
                  <a:lnTo>
                    <a:pt x="991" y="479"/>
                  </a:lnTo>
                  <a:lnTo>
                    <a:pt x="991" y="479"/>
                  </a:lnTo>
                  <a:lnTo>
                    <a:pt x="985" y="481"/>
                  </a:lnTo>
                  <a:lnTo>
                    <a:pt x="983" y="481"/>
                  </a:lnTo>
                  <a:lnTo>
                    <a:pt x="977" y="484"/>
                  </a:lnTo>
                  <a:lnTo>
                    <a:pt x="975" y="487"/>
                  </a:lnTo>
                  <a:lnTo>
                    <a:pt x="975" y="489"/>
                  </a:lnTo>
                  <a:lnTo>
                    <a:pt x="975" y="492"/>
                  </a:lnTo>
                  <a:lnTo>
                    <a:pt x="972" y="492"/>
                  </a:lnTo>
                  <a:lnTo>
                    <a:pt x="969" y="492"/>
                  </a:lnTo>
                  <a:lnTo>
                    <a:pt x="969" y="495"/>
                  </a:lnTo>
                  <a:lnTo>
                    <a:pt x="967" y="497"/>
                  </a:lnTo>
                  <a:lnTo>
                    <a:pt x="964" y="497"/>
                  </a:lnTo>
                  <a:lnTo>
                    <a:pt x="961" y="500"/>
                  </a:lnTo>
                  <a:lnTo>
                    <a:pt x="959" y="500"/>
                  </a:lnTo>
                  <a:lnTo>
                    <a:pt x="956" y="503"/>
                  </a:lnTo>
                  <a:lnTo>
                    <a:pt x="951" y="505"/>
                  </a:lnTo>
                  <a:lnTo>
                    <a:pt x="948" y="505"/>
                  </a:lnTo>
                  <a:lnTo>
                    <a:pt x="945" y="505"/>
                  </a:lnTo>
                  <a:lnTo>
                    <a:pt x="943" y="508"/>
                  </a:lnTo>
                  <a:lnTo>
                    <a:pt x="940" y="511"/>
                  </a:lnTo>
                  <a:lnTo>
                    <a:pt x="940" y="513"/>
                  </a:lnTo>
                  <a:lnTo>
                    <a:pt x="935" y="527"/>
                  </a:lnTo>
                  <a:lnTo>
                    <a:pt x="924" y="524"/>
                  </a:lnTo>
                  <a:lnTo>
                    <a:pt x="921" y="524"/>
                  </a:lnTo>
                  <a:lnTo>
                    <a:pt x="919" y="521"/>
                  </a:lnTo>
                  <a:lnTo>
                    <a:pt x="919" y="521"/>
                  </a:lnTo>
                  <a:lnTo>
                    <a:pt x="916" y="521"/>
                  </a:lnTo>
                  <a:lnTo>
                    <a:pt x="916" y="521"/>
                  </a:lnTo>
                  <a:lnTo>
                    <a:pt x="913" y="521"/>
                  </a:lnTo>
                  <a:lnTo>
                    <a:pt x="897" y="519"/>
                  </a:lnTo>
                  <a:lnTo>
                    <a:pt x="895" y="519"/>
                  </a:lnTo>
                  <a:lnTo>
                    <a:pt x="895" y="519"/>
                  </a:lnTo>
                  <a:lnTo>
                    <a:pt x="892" y="519"/>
                  </a:lnTo>
                  <a:lnTo>
                    <a:pt x="889" y="516"/>
                  </a:lnTo>
                  <a:lnTo>
                    <a:pt x="887" y="516"/>
                  </a:lnTo>
                  <a:lnTo>
                    <a:pt x="881" y="516"/>
                  </a:lnTo>
                  <a:lnTo>
                    <a:pt x="881" y="516"/>
                  </a:lnTo>
                  <a:lnTo>
                    <a:pt x="876" y="519"/>
                  </a:lnTo>
                  <a:lnTo>
                    <a:pt x="873" y="519"/>
                  </a:lnTo>
                  <a:lnTo>
                    <a:pt x="870" y="519"/>
                  </a:lnTo>
                  <a:lnTo>
                    <a:pt x="868" y="519"/>
                  </a:lnTo>
                  <a:lnTo>
                    <a:pt x="868" y="519"/>
                  </a:lnTo>
                  <a:lnTo>
                    <a:pt x="862" y="519"/>
                  </a:lnTo>
                  <a:lnTo>
                    <a:pt x="862" y="519"/>
                  </a:lnTo>
                  <a:lnTo>
                    <a:pt x="857" y="519"/>
                  </a:lnTo>
                  <a:lnTo>
                    <a:pt x="854" y="521"/>
                  </a:lnTo>
                  <a:lnTo>
                    <a:pt x="852" y="521"/>
                  </a:lnTo>
                  <a:lnTo>
                    <a:pt x="852" y="524"/>
                  </a:lnTo>
                  <a:lnTo>
                    <a:pt x="849" y="524"/>
                  </a:lnTo>
                  <a:lnTo>
                    <a:pt x="849" y="519"/>
                  </a:lnTo>
                  <a:lnTo>
                    <a:pt x="846" y="516"/>
                  </a:lnTo>
                  <a:lnTo>
                    <a:pt x="844" y="513"/>
                  </a:lnTo>
                  <a:lnTo>
                    <a:pt x="841" y="511"/>
                  </a:lnTo>
                  <a:lnTo>
                    <a:pt x="838" y="508"/>
                  </a:lnTo>
                  <a:lnTo>
                    <a:pt x="838" y="508"/>
                  </a:lnTo>
                  <a:lnTo>
                    <a:pt x="836" y="505"/>
                  </a:lnTo>
                  <a:lnTo>
                    <a:pt x="833" y="503"/>
                  </a:lnTo>
                  <a:lnTo>
                    <a:pt x="830" y="500"/>
                  </a:lnTo>
                  <a:lnTo>
                    <a:pt x="825" y="497"/>
                  </a:lnTo>
                  <a:lnTo>
                    <a:pt x="822" y="495"/>
                  </a:lnTo>
                  <a:lnTo>
                    <a:pt x="820" y="492"/>
                  </a:lnTo>
                  <a:lnTo>
                    <a:pt x="817" y="489"/>
                  </a:lnTo>
                  <a:lnTo>
                    <a:pt x="814" y="484"/>
                  </a:lnTo>
                  <a:lnTo>
                    <a:pt x="814" y="481"/>
                  </a:lnTo>
                  <a:lnTo>
                    <a:pt x="814" y="476"/>
                  </a:lnTo>
                  <a:lnTo>
                    <a:pt x="814" y="473"/>
                  </a:lnTo>
                  <a:lnTo>
                    <a:pt x="814" y="470"/>
                  </a:lnTo>
                  <a:lnTo>
                    <a:pt x="814" y="462"/>
                  </a:lnTo>
                  <a:lnTo>
                    <a:pt x="812" y="462"/>
                  </a:lnTo>
                  <a:lnTo>
                    <a:pt x="806" y="460"/>
                  </a:lnTo>
                  <a:lnTo>
                    <a:pt x="804" y="460"/>
                  </a:lnTo>
                  <a:lnTo>
                    <a:pt x="801" y="457"/>
                  </a:lnTo>
                  <a:lnTo>
                    <a:pt x="798" y="454"/>
                  </a:lnTo>
                  <a:lnTo>
                    <a:pt x="798" y="454"/>
                  </a:lnTo>
                  <a:lnTo>
                    <a:pt x="780" y="460"/>
                  </a:lnTo>
                  <a:lnTo>
                    <a:pt x="780" y="452"/>
                  </a:lnTo>
                  <a:lnTo>
                    <a:pt x="780" y="452"/>
                  </a:lnTo>
                  <a:lnTo>
                    <a:pt x="777" y="449"/>
                  </a:lnTo>
                  <a:lnTo>
                    <a:pt x="774" y="449"/>
                  </a:lnTo>
                  <a:lnTo>
                    <a:pt x="772" y="446"/>
                  </a:lnTo>
                  <a:lnTo>
                    <a:pt x="769" y="444"/>
                  </a:lnTo>
                  <a:lnTo>
                    <a:pt x="766" y="444"/>
                  </a:lnTo>
                  <a:lnTo>
                    <a:pt x="766" y="441"/>
                  </a:lnTo>
                  <a:lnTo>
                    <a:pt x="761" y="438"/>
                  </a:lnTo>
                  <a:lnTo>
                    <a:pt x="758" y="436"/>
                  </a:lnTo>
                  <a:lnTo>
                    <a:pt x="758" y="438"/>
                  </a:lnTo>
                  <a:lnTo>
                    <a:pt x="758" y="438"/>
                  </a:lnTo>
                  <a:lnTo>
                    <a:pt x="756" y="438"/>
                  </a:lnTo>
                  <a:lnTo>
                    <a:pt x="753" y="438"/>
                  </a:lnTo>
                  <a:lnTo>
                    <a:pt x="753" y="438"/>
                  </a:lnTo>
                  <a:lnTo>
                    <a:pt x="750" y="438"/>
                  </a:lnTo>
                  <a:lnTo>
                    <a:pt x="748" y="438"/>
                  </a:lnTo>
                  <a:lnTo>
                    <a:pt x="745" y="438"/>
                  </a:lnTo>
                  <a:lnTo>
                    <a:pt x="740" y="436"/>
                  </a:lnTo>
                  <a:lnTo>
                    <a:pt x="737" y="436"/>
                  </a:lnTo>
                  <a:lnTo>
                    <a:pt x="737" y="436"/>
                  </a:lnTo>
                  <a:lnTo>
                    <a:pt x="737" y="436"/>
                  </a:lnTo>
                  <a:lnTo>
                    <a:pt x="734" y="436"/>
                  </a:lnTo>
                  <a:lnTo>
                    <a:pt x="732" y="436"/>
                  </a:lnTo>
                  <a:lnTo>
                    <a:pt x="732" y="436"/>
                  </a:lnTo>
                  <a:lnTo>
                    <a:pt x="729" y="436"/>
                  </a:lnTo>
                  <a:lnTo>
                    <a:pt x="726" y="436"/>
                  </a:lnTo>
                  <a:lnTo>
                    <a:pt x="721" y="438"/>
                  </a:lnTo>
                  <a:lnTo>
                    <a:pt x="702" y="433"/>
                  </a:lnTo>
                  <a:lnTo>
                    <a:pt x="700" y="428"/>
                  </a:lnTo>
                  <a:lnTo>
                    <a:pt x="700" y="425"/>
                  </a:lnTo>
                  <a:lnTo>
                    <a:pt x="697" y="422"/>
                  </a:lnTo>
                  <a:lnTo>
                    <a:pt x="694" y="417"/>
                  </a:lnTo>
                  <a:lnTo>
                    <a:pt x="689" y="417"/>
                  </a:lnTo>
                  <a:lnTo>
                    <a:pt x="686" y="414"/>
                  </a:lnTo>
                  <a:lnTo>
                    <a:pt x="678" y="412"/>
                  </a:lnTo>
                  <a:lnTo>
                    <a:pt x="670" y="409"/>
                  </a:lnTo>
                  <a:lnTo>
                    <a:pt x="665" y="409"/>
                  </a:lnTo>
                  <a:lnTo>
                    <a:pt x="665" y="409"/>
                  </a:lnTo>
                  <a:lnTo>
                    <a:pt x="662" y="409"/>
                  </a:lnTo>
                  <a:lnTo>
                    <a:pt x="660" y="406"/>
                  </a:lnTo>
                  <a:lnTo>
                    <a:pt x="654" y="398"/>
                  </a:lnTo>
                  <a:lnTo>
                    <a:pt x="654" y="396"/>
                  </a:lnTo>
                  <a:lnTo>
                    <a:pt x="654" y="393"/>
                  </a:lnTo>
                  <a:lnTo>
                    <a:pt x="652" y="390"/>
                  </a:lnTo>
                  <a:lnTo>
                    <a:pt x="649" y="385"/>
                  </a:lnTo>
                  <a:lnTo>
                    <a:pt x="649" y="382"/>
                  </a:lnTo>
                  <a:lnTo>
                    <a:pt x="649" y="380"/>
                  </a:lnTo>
                  <a:lnTo>
                    <a:pt x="646" y="377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2"/>
                  </a:lnTo>
                  <a:lnTo>
                    <a:pt x="636" y="385"/>
                  </a:lnTo>
                  <a:lnTo>
                    <a:pt x="625" y="388"/>
                  </a:lnTo>
                  <a:lnTo>
                    <a:pt x="622" y="385"/>
                  </a:lnTo>
                  <a:lnTo>
                    <a:pt x="619" y="385"/>
                  </a:lnTo>
                  <a:lnTo>
                    <a:pt x="617" y="385"/>
                  </a:lnTo>
                  <a:lnTo>
                    <a:pt x="611" y="382"/>
                  </a:lnTo>
                  <a:lnTo>
                    <a:pt x="609" y="382"/>
                  </a:lnTo>
                  <a:lnTo>
                    <a:pt x="606" y="380"/>
                  </a:lnTo>
                  <a:lnTo>
                    <a:pt x="603" y="380"/>
                  </a:lnTo>
                  <a:lnTo>
                    <a:pt x="601" y="382"/>
                  </a:lnTo>
                  <a:lnTo>
                    <a:pt x="598" y="382"/>
                  </a:lnTo>
                  <a:lnTo>
                    <a:pt x="595" y="382"/>
                  </a:lnTo>
                  <a:lnTo>
                    <a:pt x="593" y="382"/>
                  </a:lnTo>
                  <a:lnTo>
                    <a:pt x="590" y="382"/>
                  </a:lnTo>
                  <a:lnTo>
                    <a:pt x="587" y="382"/>
                  </a:lnTo>
                  <a:lnTo>
                    <a:pt x="582" y="385"/>
                  </a:lnTo>
                  <a:lnTo>
                    <a:pt x="577" y="385"/>
                  </a:lnTo>
                  <a:lnTo>
                    <a:pt x="577" y="385"/>
                  </a:lnTo>
                  <a:lnTo>
                    <a:pt x="577" y="382"/>
                  </a:lnTo>
                  <a:lnTo>
                    <a:pt x="577" y="377"/>
                  </a:lnTo>
                  <a:lnTo>
                    <a:pt x="579" y="369"/>
                  </a:lnTo>
                  <a:lnTo>
                    <a:pt x="579" y="364"/>
                  </a:lnTo>
                  <a:lnTo>
                    <a:pt x="582" y="358"/>
                  </a:lnTo>
                  <a:lnTo>
                    <a:pt x="582" y="356"/>
                  </a:lnTo>
                  <a:lnTo>
                    <a:pt x="582" y="353"/>
                  </a:lnTo>
                  <a:lnTo>
                    <a:pt x="585" y="350"/>
                  </a:lnTo>
                  <a:lnTo>
                    <a:pt x="585" y="348"/>
                  </a:lnTo>
                  <a:lnTo>
                    <a:pt x="585" y="342"/>
                  </a:lnTo>
                  <a:lnTo>
                    <a:pt x="582" y="342"/>
                  </a:lnTo>
                  <a:lnTo>
                    <a:pt x="585" y="340"/>
                  </a:lnTo>
                  <a:lnTo>
                    <a:pt x="582" y="334"/>
                  </a:lnTo>
                  <a:lnTo>
                    <a:pt x="579" y="332"/>
                  </a:lnTo>
                  <a:lnTo>
                    <a:pt x="579" y="332"/>
                  </a:lnTo>
                  <a:lnTo>
                    <a:pt x="574" y="332"/>
                  </a:lnTo>
                  <a:lnTo>
                    <a:pt x="571" y="332"/>
                  </a:lnTo>
                  <a:lnTo>
                    <a:pt x="569" y="329"/>
                  </a:lnTo>
                  <a:lnTo>
                    <a:pt x="563" y="329"/>
                  </a:lnTo>
                  <a:lnTo>
                    <a:pt x="561" y="326"/>
                  </a:lnTo>
                  <a:lnTo>
                    <a:pt x="558" y="326"/>
                  </a:lnTo>
                  <a:lnTo>
                    <a:pt x="558" y="324"/>
                  </a:lnTo>
                  <a:lnTo>
                    <a:pt x="558" y="324"/>
                  </a:lnTo>
                  <a:lnTo>
                    <a:pt x="561" y="321"/>
                  </a:lnTo>
                  <a:lnTo>
                    <a:pt x="561" y="318"/>
                  </a:lnTo>
                  <a:lnTo>
                    <a:pt x="561" y="313"/>
                  </a:lnTo>
                  <a:lnTo>
                    <a:pt x="561" y="313"/>
                  </a:lnTo>
                  <a:lnTo>
                    <a:pt x="558" y="310"/>
                  </a:lnTo>
                  <a:lnTo>
                    <a:pt x="558" y="307"/>
                  </a:lnTo>
                  <a:lnTo>
                    <a:pt x="558" y="305"/>
                  </a:lnTo>
                  <a:lnTo>
                    <a:pt x="555" y="302"/>
                  </a:lnTo>
                  <a:lnTo>
                    <a:pt x="555" y="302"/>
                  </a:lnTo>
                  <a:lnTo>
                    <a:pt x="553" y="299"/>
                  </a:lnTo>
                  <a:lnTo>
                    <a:pt x="553" y="297"/>
                  </a:lnTo>
                  <a:lnTo>
                    <a:pt x="553" y="294"/>
                  </a:lnTo>
                  <a:lnTo>
                    <a:pt x="553" y="289"/>
                  </a:lnTo>
                  <a:lnTo>
                    <a:pt x="555" y="289"/>
                  </a:lnTo>
                  <a:lnTo>
                    <a:pt x="558" y="289"/>
                  </a:lnTo>
                  <a:lnTo>
                    <a:pt x="561" y="286"/>
                  </a:lnTo>
                  <a:lnTo>
                    <a:pt x="563" y="286"/>
                  </a:lnTo>
                  <a:lnTo>
                    <a:pt x="563" y="283"/>
                  </a:lnTo>
                  <a:lnTo>
                    <a:pt x="566" y="281"/>
                  </a:lnTo>
                  <a:lnTo>
                    <a:pt x="569" y="275"/>
                  </a:lnTo>
                  <a:lnTo>
                    <a:pt x="569" y="273"/>
                  </a:lnTo>
                  <a:lnTo>
                    <a:pt x="566" y="270"/>
                  </a:lnTo>
                  <a:lnTo>
                    <a:pt x="563" y="270"/>
                  </a:lnTo>
                  <a:lnTo>
                    <a:pt x="561" y="267"/>
                  </a:lnTo>
                  <a:lnTo>
                    <a:pt x="555" y="267"/>
                  </a:lnTo>
                  <a:lnTo>
                    <a:pt x="555" y="265"/>
                  </a:lnTo>
                  <a:lnTo>
                    <a:pt x="555" y="262"/>
                  </a:lnTo>
                  <a:lnTo>
                    <a:pt x="553" y="259"/>
                  </a:lnTo>
                  <a:lnTo>
                    <a:pt x="553" y="257"/>
                  </a:lnTo>
                  <a:lnTo>
                    <a:pt x="553" y="254"/>
                  </a:lnTo>
                  <a:lnTo>
                    <a:pt x="550" y="254"/>
                  </a:lnTo>
                  <a:lnTo>
                    <a:pt x="547" y="251"/>
                  </a:lnTo>
                  <a:lnTo>
                    <a:pt x="547" y="251"/>
                  </a:lnTo>
                  <a:lnTo>
                    <a:pt x="545" y="251"/>
                  </a:lnTo>
                  <a:lnTo>
                    <a:pt x="545" y="254"/>
                  </a:lnTo>
                  <a:lnTo>
                    <a:pt x="545" y="254"/>
                  </a:lnTo>
                  <a:lnTo>
                    <a:pt x="542" y="254"/>
                  </a:lnTo>
                  <a:lnTo>
                    <a:pt x="542" y="254"/>
                  </a:lnTo>
                  <a:lnTo>
                    <a:pt x="539" y="254"/>
                  </a:lnTo>
                  <a:lnTo>
                    <a:pt x="537" y="251"/>
                  </a:lnTo>
                  <a:lnTo>
                    <a:pt x="534" y="251"/>
                  </a:lnTo>
                  <a:lnTo>
                    <a:pt x="531" y="249"/>
                  </a:lnTo>
                  <a:lnTo>
                    <a:pt x="531" y="246"/>
                  </a:lnTo>
                  <a:lnTo>
                    <a:pt x="529" y="241"/>
                  </a:lnTo>
                  <a:lnTo>
                    <a:pt x="523" y="241"/>
                  </a:lnTo>
                  <a:lnTo>
                    <a:pt x="515" y="241"/>
                  </a:lnTo>
                  <a:lnTo>
                    <a:pt x="515" y="238"/>
                  </a:lnTo>
                  <a:lnTo>
                    <a:pt x="515" y="235"/>
                  </a:lnTo>
                  <a:lnTo>
                    <a:pt x="513" y="233"/>
                  </a:lnTo>
                  <a:lnTo>
                    <a:pt x="510" y="227"/>
                  </a:lnTo>
                  <a:lnTo>
                    <a:pt x="510" y="227"/>
                  </a:lnTo>
                  <a:lnTo>
                    <a:pt x="507" y="227"/>
                  </a:lnTo>
                  <a:lnTo>
                    <a:pt x="505" y="227"/>
                  </a:lnTo>
                  <a:lnTo>
                    <a:pt x="505" y="227"/>
                  </a:lnTo>
                  <a:lnTo>
                    <a:pt x="502" y="227"/>
                  </a:lnTo>
                  <a:lnTo>
                    <a:pt x="497" y="227"/>
                  </a:lnTo>
                  <a:lnTo>
                    <a:pt x="494" y="227"/>
                  </a:lnTo>
                  <a:lnTo>
                    <a:pt x="494" y="227"/>
                  </a:lnTo>
                  <a:lnTo>
                    <a:pt x="494" y="227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7" y="235"/>
                  </a:lnTo>
                  <a:lnTo>
                    <a:pt x="497" y="241"/>
                  </a:lnTo>
                  <a:lnTo>
                    <a:pt x="494" y="241"/>
                  </a:lnTo>
                  <a:lnTo>
                    <a:pt x="491" y="243"/>
                  </a:lnTo>
                  <a:lnTo>
                    <a:pt x="489" y="246"/>
                  </a:lnTo>
                  <a:lnTo>
                    <a:pt x="489" y="246"/>
                  </a:lnTo>
                  <a:lnTo>
                    <a:pt x="489" y="249"/>
                  </a:lnTo>
                  <a:lnTo>
                    <a:pt x="483" y="249"/>
                  </a:lnTo>
                  <a:lnTo>
                    <a:pt x="483" y="246"/>
                  </a:lnTo>
                  <a:lnTo>
                    <a:pt x="483" y="243"/>
                  </a:lnTo>
                  <a:lnTo>
                    <a:pt x="481" y="243"/>
                  </a:lnTo>
                  <a:lnTo>
                    <a:pt x="478" y="238"/>
                  </a:lnTo>
                  <a:lnTo>
                    <a:pt x="475" y="238"/>
                  </a:lnTo>
                  <a:lnTo>
                    <a:pt x="473" y="235"/>
                  </a:lnTo>
                  <a:lnTo>
                    <a:pt x="470" y="235"/>
                  </a:lnTo>
                  <a:lnTo>
                    <a:pt x="470" y="235"/>
                  </a:lnTo>
                  <a:lnTo>
                    <a:pt x="467" y="238"/>
                  </a:lnTo>
                  <a:lnTo>
                    <a:pt x="465" y="238"/>
                  </a:lnTo>
                  <a:lnTo>
                    <a:pt x="462" y="241"/>
                  </a:lnTo>
                  <a:lnTo>
                    <a:pt x="459" y="241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4" y="243"/>
                  </a:lnTo>
                  <a:lnTo>
                    <a:pt x="454" y="246"/>
                  </a:lnTo>
                  <a:lnTo>
                    <a:pt x="451" y="246"/>
                  </a:lnTo>
                  <a:lnTo>
                    <a:pt x="449" y="246"/>
                  </a:lnTo>
                  <a:lnTo>
                    <a:pt x="449" y="246"/>
                  </a:lnTo>
                  <a:lnTo>
                    <a:pt x="446" y="246"/>
                  </a:lnTo>
                  <a:lnTo>
                    <a:pt x="443" y="246"/>
                  </a:lnTo>
                  <a:lnTo>
                    <a:pt x="441" y="246"/>
                  </a:lnTo>
                  <a:lnTo>
                    <a:pt x="441" y="249"/>
                  </a:lnTo>
                  <a:lnTo>
                    <a:pt x="438" y="249"/>
                  </a:lnTo>
                  <a:lnTo>
                    <a:pt x="438" y="251"/>
                  </a:lnTo>
                  <a:lnTo>
                    <a:pt x="435" y="251"/>
                  </a:lnTo>
                  <a:lnTo>
                    <a:pt x="435" y="251"/>
                  </a:lnTo>
                  <a:lnTo>
                    <a:pt x="433" y="249"/>
                  </a:lnTo>
                  <a:lnTo>
                    <a:pt x="433" y="246"/>
                  </a:lnTo>
                  <a:lnTo>
                    <a:pt x="430" y="246"/>
                  </a:lnTo>
                  <a:lnTo>
                    <a:pt x="427" y="246"/>
                  </a:lnTo>
                  <a:lnTo>
                    <a:pt x="427" y="246"/>
                  </a:lnTo>
                  <a:lnTo>
                    <a:pt x="425" y="243"/>
                  </a:lnTo>
                  <a:lnTo>
                    <a:pt x="425" y="243"/>
                  </a:lnTo>
                  <a:lnTo>
                    <a:pt x="425" y="243"/>
                  </a:lnTo>
                  <a:lnTo>
                    <a:pt x="422" y="243"/>
                  </a:lnTo>
                  <a:lnTo>
                    <a:pt x="422" y="243"/>
                  </a:lnTo>
                  <a:lnTo>
                    <a:pt x="419" y="243"/>
                  </a:lnTo>
                  <a:lnTo>
                    <a:pt x="419" y="243"/>
                  </a:lnTo>
                  <a:lnTo>
                    <a:pt x="419" y="241"/>
                  </a:lnTo>
                  <a:lnTo>
                    <a:pt x="417" y="241"/>
                  </a:lnTo>
                  <a:lnTo>
                    <a:pt x="417" y="241"/>
                  </a:lnTo>
                  <a:lnTo>
                    <a:pt x="414" y="241"/>
                  </a:lnTo>
                  <a:lnTo>
                    <a:pt x="414" y="241"/>
                  </a:lnTo>
                  <a:lnTo>
                    <a:pt x="414" y="238"/>
                  </a:lnTo>
                  <a:lnTo>
                    <a:pt x="414" y="235"/>
                  </a:lnTo>
                  <a:lnTo>
                    <a:pt x="411" y="235"/>
                  </a:lnTo>
                  <a:lnTo>
                    <a:pt x="414" y="230"/>
                  </a:lnTo>
                  <a:lnTo>
                    <a:pt x="411" y="230"/>
                  </a:lnTo>
                  <a:lnTo>
                    <a:pt x="411" y="230"/>
                  </a:lnTo>
                  <a:lnTo>
                    <a:pt x="409" y="227"/>
                  </a:lnTo>
                  <a:lnTo>
                    <a:pt x="406" y="227"/>
                  </a:lnTo>
                  <a:lnTo>
                    <a:pt x="406" y="225"/>
                  </a:lnTo>
                  <a:lnTo>
                    <a:pt x="403" y="227"/>
                  </a:lnTo>
                  <a:lnTo>
                    <a:pt x="403" y="225"/>
                  </a:lnTo>
                  <a:lnTo>
                    <a:pt x="403" y="225"/>
                  </a:lnTo>
                  <a:lnTo>
                    <a:pt x="403" y="222"/>
                  </a:lnTo>
                  <a:lnTo>
                    <a:pt x="403" y="222"/>
                  </a:lnTo>
                  <a:lnTo>
                    <a:pt x="401" y="219"/>
                  </a:lnTo>
                  <a:lnTo>
                    <a:pt x="401" y="219"/>
                  </a:lnTo>
                  <a:lnTo>
                    <a:pt x="401" y="217"/>
                  </a:lnTo>
                  <a:lnTo>
                    <a:pt x="401" y="214"/>
                  </a:lnTo>
                  <a:lnTo>
                    <a:pt x="401" y="214"/>
                  </a:lnTo>
                  <a:lnTo>
                    <a:pt x="403" y="211"/>
                  </a:lnTo>
                  <a:lnTo>
                    <a:pt x="403" y="211"/>
                  </a:lnTo>
                  <a:lnTo>
                    <a:pt x="403" y="209"/>
                  </a:lnTo>
                  <a:lnTo>
                    <a:pt x="403" y="209"/>
                  </a:lnTo>
                  <a:lnTo>
                    <a:pt x="406" y="209"/>
                  </a:lnTo>
                  <a:lnTo>
                    <a:pt x="406" y="206"/>
                  </a:lnTo>
                  <a:lnTo>
                    <a:pt x="409" y="206"/>
                  </a:lnTo>
                  <a:lnTo>
                    <a:pt x="409" y="203"/>
                  </a:lnTo>
                  <a:lnTo>
                    <a:pt x="411" y="203"/>
                  </a:lnTo>
                  <a:lnTo>
                    <a:pt x="411" y="201"/>
                  </a:lnTo>
                  <a:lnTo>
                    <a:pt x="414" y="198"/>
                  </a:lnTo>
                  <a:lnTo>
                    <a:pt x="414" y="195"/>
                  </a:lnTo>
                  <a:lnTo>
                    <a:pt x="411" y="193"/>
                  </a:lnTo>
                  <a:lnTo>
                    <a:pt x="411" y="190"/>
                  </a:lnTo>
                  <a:lnTo>
                    <a:pt x="411" y="190"/>
                  </a:lnTo>
                  <a:lnTo>
                    <a:pt x="409" y="187"/>
                  </a:lnTo>
                  <a:lnTo>
                    <a:pt x="409" y="187"/>
                  </a:lnTo>
                  <a:lnTo>
                    <a:pt x="406" y="185"/>
                  </a:lnTo>
                  <a:lnTo>
                    <a:pt x="390" y="185"/>
                  </a:lnTo>
                  <a:lnTo>
                    <a:pt x="390" y="182"/>
                  </a:lnTo>
                  <a:lnTo>
                    <a:pt x="390" y="182"/>
                  </a:lnTo>
                  <a:lnTo>
                    <a:pt x="387" y="179"/>
                  </a:lnTo>
                  <a:lnTo>
                    <a:pt x="387" y="179"/>
                  </a:lnTo>
                  <a:lnTo>
                    <a:pt x="384" y="177"/>
                  </a:lnTo>
                  <a:lnTo>
                    <a:pt x="382" y="174"/>
                  </a:lnTo>
                  <a:lnTo>
                    <a:pt x="379" y="174"/>
                  </a:lnTo>
                  <a:lnTo>
                    <a:pt x="376" y="174"/>
                  </a:lnTo>
                  <a:lnTo>
                    <a:pt x="374" y="174"/>
                  </a:lnTo>
                  <a:lnTo>
                    <a:pt x="368" y="174"/>
                  </a:lnTo>
                  <a:lnTo>
                    <a:pt x="363" y="171"/>
                  </a:lnTo>
                  <a:lnTo>
                    <a:pt x="360" y="169"/>
                  </a:lnTo>
                  <a:lnTo>
                    <a:pt x="347" y="166"/>
                  </a:lnTo>
                  <a:lnTo>
                    <a:pt x="339" y="174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1" y="169"/>
                  </a:lnTo>
                  <a:lnTo>
                    <a:pt x="328" y="169"/>
                  </a:lnTo>
                  <a:lnTo>
                    <a:pt x="326" y="169"/>
                  </a:lnTo>
                  <a:lnTo>
                    <a:pt x="323" y="169"/>
                  </a:lnTo>
                  <a:lnTo>
                    <a:pt x="320" y="169"/>
                  </a:lnTo>
                  <a:lnTo>
                    <a:pt x="318" y="169"/>
                  </a:lnTo>
                  <a:lnTo>
                    <a:pt x="315" y="169"/>
                  </a:lnTo>
                  <a:lnTo>
                    <a:pt x="312" y="166"/>
                  </a:lnTo>
                  <a:lnTo>
                    <a:pt x="310" y="169"/>
                  </a:lnTo>
                  <a:lnTo>
                    <a:pt x="310" y="169"/>
                  </a:lnTo>
                  <a:lnTo>
                    <a:pt x="307" y="171"/>
                  </a:lnTo>
                  <a:lnTo>
                    <a:pt x="304" y="171"/>
                  </a:lnTo>
                  <a:lnTo>
                    <a:pt x="304" y="171"/>
                  </a:lnTo>
                  <a:lnTo>
                    <a:pt x="302" y="169"/>
                  </a:lnTo>
                  <a:lnTo>
                    <a:pt x="299" y="169"/>
                  </a:lnTo>
                  <a:lnTo>
                    <a:pt x="294" y="169"/>
                  </a:lnTo>
                  <a:lnTo>
                    <a:pt x="291" y="169"/>
                  </a:lnTo>
                  <a:lnTo>
                    <a:pt x="286" y="166"/>
                  </a:lnTo>
                  <a:lnTo>
                    <a:pt x="286" y="166"/>
                  </a:lnTo>
                  <a:lnTo>
                    <a:pt x="283" y="166"/>
                  </a:lnTo>
                  <a:lnTo>
                    <a:pt x="280" y="166"/>
                  </a:lnTo>
                  <a:lnTo>
                    <a:pt x="280" y="169"/>
                  </a:lnTo>
                  <a:lnTo>
                    <a:pt x="278" y="171"/>
                  </a:lnTo>
                  <a:lnTo>
                    <a:pt x="264" y="169"/>
                  </a:lnTo>
                  <a:lnTo>
                    <a:pt x="264" y="166"/>
                  </a:lnTo>
                  <a:lnTo>
                    <a:pt x="262" y="163"/>
                  </a:lnTo>
                  <a:lnTo>
                    <a:pt x="259" y="158"/>
                  </a:lnTo>
                  <a:lnTo>
                    <a:pt x="264" y="155"/>
                  </a:lnTo>
                  <a:lnTo>
                    <a:pt x="267" y="144"/>
                  </a:lnTo>
                  <a:lnTo>
                    <a:pt x="262" y="144"/>
                  </a:lnTo>
                  <a:lnTo>
                    <a:pt x="259" y="136"/>
                  </a:lnTo>
                  <a:lnTo>
                    <a:pt x="259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1" y="136"/>
                  </a:lnTo>
                  <a:lnTo>
                    <a:pt x="248" y="134"/>
                  </a:lnTo>
                  <a:lnTo>
                    <a:pt x="248" y="134"/>
                  </a:lnTo>
                  <a:lnTo>
                    <a:pt x="243" y="136"/>
                  </a:lnTo>
                  <a:lnTo>
                    <a:pt x="240" y="131"/>
                  </a:lnTo>
                  <a:lnTo>
                    <a:pt x="235" y="131"/>
                  </a:lnTo>
                  <a:lnTo>
                    <a:pt x="235" y="128"/>
                  </a:lnTo>
                  <a:lnTo>
                    <a:pt x="235" y="128"/>
                  </a:lnTo>
                  <a:lnTo>
                    <a:pt x="232" y="126"/>
                  </a:lnTo>
                  <a:lnTo>
                    <a:pt x="230" y="123"/>
                  </a:lnTo>
                  <a:lnTo>
                    <a:pt x="232" y="120"/>
                  </a:lnTo>
                  <a:lnTo>
                    <a:pt x="232" y="120"/>
                  </a:lnTo>
                  <a:lnTo>
                    <a:pt x="235" y="118"/>
                  </a:lnTo>
                  <a:lnTo>
                    <a:pt x="235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6" y="112"/>
                  </a:lnTo>
                  <a:lnTo>
                    <a:pt x="246" y="110"/>
                  </a:lnTo>
                  <a:lnTo>
                    <a:pt x="248" y="107"/>
                  </a:lnTo>
                  <a:lnTo>
                    <a:pt x="248" y="107"/>
                  </a:lnTo>
                  <a:lnTo>
                    <a:pt x="251" y="104"/>
                  </a:lnTo>
                  <a:lnTo>
                    <a:pt x="251" y="104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4" y="99"/>
                  </a:lnTo>
                  <a:lnTo>
                    <a:pt x="251" y="96"/>
                  </a:lnTo>
                  <a:lnTo>
                    <a:pt x="251" y="96"/>
                  </a:lnTo>
                  <a:lnTo>
                    <a:pt x="248" y="94"/>
                  </a:lnTo>
                  <a:lnTo>
                    <a:pt x="251" y="91"/>
                  </a:lnTo>
                  <a:lnTo>
                    <a:pt x="251" y="88"/>
                  </a:lnTo>
                  <a:lnTo>
                    <a:pt x="254" y="88"/>
                  </a:lnTo>
                  <a:lnTo>
                    <a:pt x="256" y="86"/>
                  </a:lnTo>
                  <a:lnTo>
                    <a:pt x="259" y="83"/>
                  </a:lnTo>
                  <a:lnTo>
                    <a:pt x="259" y="80"/>
                  </a:lnTo>
                  <a:lnTo>
                    <a:pt x="262" y="75"/>
                  </a:lnTo>
                  <a:lnTo>
                    <a:pt x="264" y="72"/>
                  </a:lnTo>
                  <a:lnTo>
                    <a:pt x="264" y="70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70" y="59"/>
                  </a:lnTo>
                  <a:lnTo>
                    <a:pt x="272" y="56"/>
                  </a:lnTo>
                  <a:lnTo>
                    <a:pt x="270" y="54"/>
                  </a:lnTo>
                  <a:lnTo>
                    <a:pt x="267" y="54"/>
                  </a:lnTo>
                  <a:lnTo>
                    <a:pt x="264" y="51"/>
                  </a:lnTo>
                  <a:lnTo>
                    <a:pt x="256" y="46"/>
                  </a:lnTo>
                  <a:lnTo>
                    <a:pt x="256" y="43"/>
                  </a:lnTo>
                  <a:lnTo>
                    <a:pt x="256" y="38"/>
                  </a:lnTo>
                  <a:lnTo>
                    <a:pt x="256" y="32"/>
                  </a:lnTo>
                  <a:lnTo>
                    <a:pt x="259" y="30"/>
                  </a:lnTo>
                  <a:lnTo>
                    <a:pt x="262" y="27"/>
                  </a:lnTo>
                  <a:lnTo>
                    <a:pt x="262" y="27"/>
                  </a:lnTo>
                  <a:lnTo>
                    <a:pt x="259" y="24"/>
                  </a:lnTo>
                  <a:lnTo>
                    <a:pt x="259" y="22"/>
                  </a:lnTo>
                  <a:lnTo>
                    <a:pt x="259" y="16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6" y="8"/>
                  </a:lnTo>
                  <a:lnTo>
                    <a:pt x="251" y="3"/>
                  </a:lnTo>
                  <a:lnTo>
                    <a:pt x="248" y="3"/>
                  </a:lnTo>
                  <a:lnTo>
                    <a:pt x="246" y="0"/>
                  </a:lnTo>
                  <a:lnTo>
                    <a:pt x="246" y="3"/>
                  </a:lnTo>
                  <a:lnTo>
                    <a:pt x="246" y="3"/>
                  </a:lnTo>
                  <a:lnTo>
                    <a:pt x="243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38" y="6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5" y="11"/>
                  </a:lnTo>
                  <a:lnTo>
                    <a:pt x="232" y="8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27" y="11"/>
                  </a:lnTo>
                  <a:lnTo>
                    <a:pt x="224" y="14"/>
                  </a:lnTo>
                  <a:lnTo>
                    <a:pt x="222" y="16"/>
                  </a:lnTo>
                  <a:lnTo>
                    <a:pt x="219" y="19"/>
                  </a:lnTo>
                  <a:lnTo>
                    <a:pt x="219" y="22"/>
                  </a:lnTo>
                  <a:lnTo>
                    <a:pt x="216" y="24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1" y="27"/>
                  </a:lnTo>
                  <a:lnTo>
                    <a:pt x="208" y="27"/>
                  </a:lnTo>
                  <a:lnTo>
                    <a:pt x="208" y="30"/>
                  </a:lnTo>
                  <a:lnTo>
                    <a:pt x="208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5"/>
                  </a:lnTo>
                  <a:lnTo>
                    <a:pt x="211" y="35"/>
                  </a:lnTo>
                  <a:lnTo>
                    <a:pt x="211" y="38"/>
                  </a:lnTo>
                  <a:lnTo>
                    <a:pt x="208" y="38"/>
                  </a:lnTo>
                  <a:lnTo>
                    <a:pt x="206" y="38"/>
                  </a:lnTo>
                  <a:lnTo>
                    <a:pt x="203" y="38"/>
                  </a:lnTo>
                  <a:lnTo>
                    <a:pt x="203" y="40"/>
                  </a:lnTo>
                  <a:lnTo>
                    <a:pt x="200" y="40"/>
                  </a:lnTo>
                  <a:lnTo>
                    <a:pt x="198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2" y="43"/>
                  </a:lnTo>
                  <a:lnTo>
                    <a:pt x="192" y="46"/>
                  </a:lnTo>
                  <a:lnTo>
                    <a:pt x="190" y="48"/>
                  </a:lnTo>
                  <a:lnTo>
                    <a:pt x="190" y="48"/>
                  </a:lnTo>
                  <a:lnTo>
                    <a:pt x="187" y="48"/>
                  </a:lnTo>
                  <a:lnTo>
                    <a:pt x="187" y="51"/>
                  </a:lnTo>
                  <a:lnTo>
                    <a:pt x="184" y="51"/>
                  </a:lnTo>
                  <a:lnTo>
                    <a:pt x="182" y="51"/>
                  </a:lnTo>
                  <a:lnTo>
                    <a:pt x="182" y="48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51"/>
                  </a:lnTo>
                  <a:lnTo>
                    <a:pt x="174" y="54"/>
                  </a:lnTo>
                  <a:lnTo>
                    <a:pt x="174" y="56"/>
                  </a:lnTo>
                  <a:lnTo>
                    <a:pt x="174" y="56"/>
                  </a:lnTo>
                  <a:lnTo>
                    <a:pt x="171" y="59"/>
                  </a:lnTo>
                  <a:lnTo>
                    <a:pt x="171" y="56"/>
                  </a:lnTo>
                  <a:lnTo>
                    <a:pt x="168" y="56"/>
                  </a:lnTo>
                  <a:lnTo>
                    <a:pt x="166" y="56"/>
                  </a:lnTo>
                  <a:lnTo>
                    <a:pt x="166" y="59"/>
                  </a:lnTo>
                  <a:lnTo>
                    <a:pt x="163" y="56"/>
                  </a:lnTo>
                  <a:lnTo>
                    <a:pt x="166" y="54"/>
                  </a:lnTo>
                  <a:lnTo>
                    <a:pt x="166" y="51"/>
                  </a:lnTo>
                  <a:lnTo>
                    <a:pt x="163" y="48"/>
                  </a:lnTo>
                  <a:lnTo>
                    <a:pt x="163" y="46"/>
                  </a:lnTo>
                  <a:lnTo>
                    <a:pt x="163" y="46"/>
                  </a:lnTo>
                  <a:lnTo>
                    <a:pt x="163" y="43"/>
                  </a:lnTo>
                  <a:lnTo>
                    <a:pt x="163" y="43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3" y="38"/>
                  </a:lnTo>
                  <a:lnTo>
                    <a:pt x="160" y="38"/>
                  </a:lnTo>
                  <a:lnTo>
                    <a:pt x="158" y="35"/>
                  </a:lnTo>
                  <a:lnTo>
                    <a:pt x="155" y="32"/>
                  </a:lnTo>
                  <a:lnTo>
                    <a:pt x="152" y="35"/>
                  </a:lnTo>
                  <a:lnTo>
                    <a:pt x="152" y="35"/>
                  </a:lnTo>
                  <a:lnTo>
                    <a:pt x="149" y="35"/>
                  </a:lnTo>
                  <a:lnTo>
                    <a:pt x="147" y="35"/>
                  </a:lnTo>
                  <a:lnTo>
                    <a:pt x="147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6" y="43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3" y="46"/>
                  </a:lnTo>
                  <a:lnTo>
                    <a:pt x="133" y="43"/>
                  </a:lnTo>
                  <a:lnTo>
                    <a:pt x="131" y="43"/>
                  </a:lnTo>
                  <a:lnTo>
                    <a:pt x="131" y="46"/>
                  </a:lnTo>
                  <a:lnTo>
                    <a:pt x="128" y="46"/>
                  </a:lnTo>
                  <a:lnTo>
                    <a:pt x="125" y="48"/>
                  </a:lnTo>
                  <a:lnTo>
                    <a:pt x="125" y="51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0" y="51"/>
                  </a:lnTo>
                  <a:lnTo>
                    <a:pt x="123" y="51"/>
                  </a:lnTo>
                  <a:lnTo>
                    <a:pt x="123" y="54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20" y="56"/>
                  </a:lnTo>
                  <a:lnTo>
                    <a:pt x="120" y="59"/>
                  </a:lnTo>
                  <a:lnTo>
                    <a:pt x="120" y="62"/>
                  </a:lnTo>
                  <a:lnTo>
                    <a:pt x="120" y="64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17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2" y="67"/>
                  </a:lnTo>
                  <a:lnTo>
                    <a:pt x="112" y="70"/>
                  </a:lnTo>
                  <a:lnTo>
                    <a:pt x="109" y="70"/>
                  </a:lnTo>
                  <a:lnTo>
                    <a:pt x="109" y="72"/>
                  </a:lnTo>
                  <a:lnTo>
                    <a:pt x="107" y="75"/>
                  </a:lnTo>
                  <a:lnTo>
                    <a:pt x="104" y="75"/>
                  </a:lnTo>
                  <a:lnTo>
                    <a:pt x="101" y="75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7" y="80"/>
                  </a:lnTo>
                  <a:lnTo>
                    <a:pt x="109" y="83"/>
                  </a:lnTo>
                  <a:lnTo>
                    <a:pt x="107" y="86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4" y="91"/>
                  </a:lnTo>
                  <a:lnTo>
                    <a:pt x="101" y="94"/>
                  </a:lnTo>
                  <a:lnTo>
                    <a:pt x="101" y="96"/>
                  </a:lnTo>
                  <a:lnTo>
                    <a:pt x="99" y="102"/>
                  </a:lnTo>
                  <a:lnTo>
                    <a:pt x="96" y="102"/>
                  </a:lnTo>
                  <a:lnTo>
                    <a:pt x="99" y="104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99" y="112"/>
                  </a:lnTo>
                  <a:lnTo>
                    <a:pt x="99" y="115"/>
                  </a:lnTo>
                  <a:lnTo>
                    <a:pt x="101" y="115"/>
                  </a:lnTo>
                  <a:lnTo>
                    <a:pt x="104" y="118"/>
                  </a:lnTo>
                  <a:lnTo>
                    <a:pt x="101" y="123"/>
                  </a:lnTo>
                  <a:lnTo>
                    <a:pt x="99" y="123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3" y="131"/>
                  </a:lnTo>
                  <a:lnTo>
                    <a:pt x="91" y="131"/>
                  </a:lnTo>
                  <a:lnTo>
                    <a:pt x="88" y="134"/>
                  </a:lnTo>
                  <a:lnTo>
                    <a:pt x="85" y="134"/>
                  </a:lnTo>
                  <a:lnTo>
                    <a:pt x="83" y="134"/>
                  </a:lnTo>
                  <a:lnTo>
                    <a:pt x="83" y="134"/>
                  </a:lnTo>
                  <a:lnTo>
                    <a:pt x="80" y="136"/>
                  </a:lnTo>
                  <a:lnTo>
                    <a:pt x="80" y="139"/>
                  </a:lnTo>
                  <a:lnTo>
                    <a:pt x="80" y="142"/>
                  </a:lnTo>
                  <a:lnTo>
                    <a:pt x="77" y="142"/>
                  </a:lnTo>
                  <a:lnTo>
                    <a:pt x="77" y="144"/>
                  </a:lnTo>
                  <a:lnTo>
                    <a:pt x="75" y="142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7"/>
                  </a:lnTo>
                  <a:lnTo>
                    <a:pt x="75" y="150"/>
                  </a:lnTo>
                  <a:lnTo>
                    <a:pt x="72" y="152"/>
                  </a:lnTo>
                  <a:lnTo>
                    <a:pt x="69" y="155"/>
                  </a:lnTo>
                  <a:lnTo>
                    <a:pt x="69" y="158"/>
                  </a:lnTo>
                  <a:lnTo>
                    <a:pt x="67" y="161"/>
                  </a:lnTo>
                  <a:lnTo>
                    <a:pt x="64" y="166"/>
                  </a:lnTo>
                  <a:lnTo>
                    <a:pt x="61" y="169"/>
                  </a:lnTo>
                  <a:lnTo>
                    <a:pt x="59" y="174"/>
                  </a:lnTo>
                  <a:lnTo>
                    <a:pt x="56" y="177"/>
                  </a:lnTo>
                  <a:lnTo>
                    <a:pt x="53" y="177"/>
                  </a:lnTo>
                  <a:lnTo>
                    <a:pt x="51" y="179"/>
                  </a:lnTo>
                  <a:lnTo>
                    <a:pt x="51" y="182"/>
                  </a:lnTo>
                  <a:lnTo>
                    <a:pt x="53" y="182"/>
                  </a:lnTo>
                  <a:lnTo>
                    <a:pt x="51" y="185"/>
                  </a:lnTo>
                  <a:lnTo>
                    <a:pt x="48" y="182"/>
                  </a:lnTo>
                  <a:lnTo>
                    <a:pt x="48" y="185"/>
                  </a:lnTo>
                  <a:lnTo>
                    <a:pt x="48" y="187"/>
                  </a:lnTo>
                  <a:lnTo>
                    <a:pt x="48" y="190"/>
                  </a:lnTo>
                  <a:lnTo>
                    <a:pt x="48" y="193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3" y="195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3" y="198"/>
                  </a:lnTo>
                  <a:lnTo>
                    <a:pt x="43" y="201"/>
                  </a:lnTo>
                  <a:lnTo>
                    <a:pt x="40" y="203"/>
                  </a:lnTo>
                  <a:lnTo>
                    <a:pt x="40" y="206"/>
                  </a:lnTo>
                  <a:lnTo>
                    <a:pt x="37" y="206"/>
                  </a:lnTo>
                  <a:lnTo>
                    <a:pt x="35" y="206"/>
                  </a:lnTo>
                  <a:lnTo>
                    <a:pt x="35" y="206"/>
                  </a:lnTo>
                  <a:lnTo>
                    <a:pt x="35" y="209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4"/>
                  </a:lnTo>
                  <a:lnTo>
                    <a:pt x="32" y="217"/>
                  </a:lnTo>
                  <a:lnTo>
                    <a:pt x="32" y="219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37" y="227"/>
                  </a:lnTo>
                  <a:lnTo>
                    <a:pt x="37" y="230"/>
                  </a:lnTo>
                  <a:lnTo>
                    <a:pt x="35" y="233"/>
                  </a:lnTo>
                  <a:lnTo>
                    <a:pt x="35" y="233"/>
                  </a:lnTo>
                  <a:lnTo>
                    <a:pt x="32" y="235"/>
                  </a:lnTo>
                  <a:lnTo>
                    <a:pt x="32" y="238"/>
                  </a:lnTo>
                  <a:lnTo>
                    <a:pt x="29" y="241"/>
                  </a:lnTo>
                  <a:lnTo>
                    <a:pt x="27" y="241"/>
                  </a:lnTo>
                  <a:lnTo>
                    <a:pt x="27" y="243"/>
                  </a:lnTo>
                  <a:lnTo>
                    <a:pt x="27" y="246"/>
                  </a:lnTo>
                  <a:lnTo>
                    <a:pt x="27" y="246"/>
                  </a:lnTo>
                  <a:lnTo>
                    <a:pt x="27" y="249"/>
                  </a:lnTo>
                  <a:lnTo>
                    <a:pt x="27" y="251"/>
                  </a:lnTo>
                  <a:lnTo>
                    <a:pt x="27" y="254"/>
                  </a:lnTo>
                  <a:lnTo>
                    <a:pt x="24" y="257"/>
                  </a:lnTo>
                  <a:lnTo>
                    <a:pt x="24" y="259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5"/>
                  </a:lnTo>
                  <a:lnTo>
                    <a:pt x="29" y="265"/>
                  </a:lnTo>
                  <a:lnTo>
                    <a:pt x="32" y="265"/>
                  </a:lnTo>
                  <a:lnTo>
                    <a:pt x="32" y="265"/>
                  </a:lnTo>
                  <a:lnTo>
                    <a:pt x="32" y="265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9" y="270"/>
                  </a:lnTo>
                  <a:lnTo>
                    <a:pt x="29" y="273"/>
                  </a:lnTo>
                  <a:lnTo>
                    <a:pt x="27" y="273"/>
                  </a:lnTo>
                  <a:lnTo>
                    <a:pt x="27" y="273"/>
                  </a:lnTo>
                  <a:lnTo>
                    <a:pt x="27" y="275"/>
                  </a:lnTo>
                  <a:lnTo>
                    <a:pt x="24" y="275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4" y="278"/>
                  </a:lnTo>
                  <a:lnTo>
                    <a:pt x="24" y="281"/>
                  </a:lnTo>
                  <a:lnTo>
                    <a:pt x="21" y="281"/>
                  </a:lnTo>
                  <a:lnTo>
                    <a:pt x="21" y="283"/>
                  </a:lnTo>
                  <a:lnTo>
                    <a:pt x="16" y="283"/>
                  </a:lnTo>
                  <a:lnTo>
                    <a:pt x="16" y="283"/>
                  </a:lnTo>
                  <a:lnTo>
                    <a:pt x="16" y="286"/>
                  </a:lnTo>
                  <a:lnTo>
                    <a:pt x="16" y="286"/>
                  </a:lnTo>
                  <a:lnTo>
                    <a:pt x="13" y="289"/>
                  </a:lnTo>
                  <a:lnTo>
                    <a:pt x="13" y="291"/>
                  </a:lnTo>
                  <a:lnTo>
                    <a:pt x="11" y="291"/>
                  </a:lnTo>
                  <a:lnTo>
                    <a:pt x="11" y="291"/>
                  </a:lnTo>
                  <a:lnTo>
                    <a:pt x="8" y="294"/>
                  </a:lnTo>
                  <a:lnTo>
                    <a:pt x="8" y="297"/>
                  </a:lnTo>
                  <a:lnTo>
                    <a:pt x="5" y="297"/>
                  </a:lnTo>
                  <a:lnTo>
                    <a:pt x="5" y="299"/>
                  </a:lnTo>
                  <a:lnTo>
                    <a:pt x="3" y="299"/>
                  </a:lnTo>
                  <a:lnTo>
                    <a:pt x="3" y="302"/>
                  </a:lnTo>
                  <a:lnTo>
                    <a:pt x="3" y="305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0" y="310"/>
                  </a:lnTo>
                  <a:lnTo>
                    <a:pt x="0" y="313"/>
                  </a:lnTo>
                  <a:lnTo>
                    <a:pt x="0" y="315"/>
                  </a:lnTo>
                  <a:lnTo>
                    <a:pt x="0" y="318"/>
                  </a:lnTo>
                  <a:lnTo>
                    <a:pt x="0" y="318"/>
                  </a:lnTo>
                  <a:lnTo>
                    <a:pt x="3" y="321"/>
                  </a:lnTo>
                  <a:lnTo>
                    <a:pt x="3" y="321"/>
                  </a:lnTo>
                  <a:lnTo>
                    <a:pt x="5" y="324"/>
                  </a:lnTo>
                  <a:lnTo>
                    <a:pt x="5" y="324"/>
                  </a:lnTo>
                  <a:lnTo>
                    <a:pt x="11" y="324"/>
                  </a:lnTo>
                  <a:lnTo>
                    <a:pt x="11" y="324"/>
                  </a:lnTo>
                  <a:lnTo>
                    <a:pt x="13" y="326"/>
                  </a:lnTo>
                  <a:lnTo>
                    <a:pt x="16" y="329"/>
                  </a:lnTo>
                  <a:lnTo>
                    <a:pt x="19" y="329"/>
                  </a:lnTo>
                  <a:lnTo>
                    <a:pt x="19" y="332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7"/>
                  </a:lnTo>
                  <a:lnTo>
                    <a:pt x="16" y="337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6" y="342"/>
                  </a:lnTo>
                  <a:lnTo>
                    <a:pt x="13" y="345"/>
                  </a:lnTo>
                  <a:lnTo>
                    <a:pt x="16" y="350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3" y="361"/>
                  </a:lnTo>
                  <a:lnTo>
                    <a:pt x="48" y="364"/>
                  </a:lnTo>
                  <a:lnTo>
                    <a:pt x="51" y="366"/>
                  </a:lnTo>
                  <a:lnTo>
                    <a:pt x="56" y="369"/>
                  </a:lnTo>
                  <a:lnTo>
                    <a:pt x="59" y="372"/>
                  </a:lnTo>
                  <a:lnTo>
                    <a:pt x="64" y="374"/>
                  </a:lnTo>
                  <a:lnTo>
                    <a:pt x="88" y="409"/>
                  </a:lnTo>
                  <a:lnTo>
                    <a:pt x="85" y="412"/>
                  </a:lnTo>
                  <a:lnTo>
                    <a:pt x="109" y="436"/>
                  </a:lnTo>
                  <a:lnTo>
                    <a:pt x="112" y="446"/>
                  </a:lnTo>
                  <a:lnTo>
                    <a:pt x="112" y="468"/>
                  </a:lnTo>
                  <a:lnTo>
                    <a:pt x="104" y="479"/>
                  </a:lnTo>
                  <a:lnTo>
                    <a:pt x="101" y="500"/>
                  </a:lnTo>
                  <a:lnTo>
                    <a:pt x="107" y="540"/>
                  </a:lnTo>
                  <a:lnTo>
                    <a:pt x="101" y="545"/>
                  </a:lnTo>
                  <a:lnTo>
                    <a:pt x="115" y="561"/>
                  </a:lnTo>
                  <a:lnTo>
                    <a:pt x="115" y="561"/>
                  </a:lnTo>
                  <a:lnTo>
                    <a:pt x="117" y="561"/>
                  </a:lnTo>
                  <a:lnTo>
                    <a:pt x="117" y="561"/>
                  </a:lnTo>
                  <a:lnTo>
                    <a:pt x="117" y="561"/>
                  </a:lnTo>
                  <a:lnTo>
                    <a:pt x="117" y="564"/>
                  </a:lnTo>
                  <a:lnTo>
                    <a:pt x="117" y="564"/>
                  </a:lnTo>
                  <a:lnTo>
                    <a:pt x="117" y="564"/>
                  </a:lnTo>
                  <a:lnTo>
                    <a:pt x="115" y="599"/>
                  </a:lnTo>
                  <a:lnTo>
                    <a:pt x="112" y="604"/>
                  </a:lnTo>
                  <a:lnTo>
                    <a:pt x="107" y="628"/>
                  </a:lnTo>
                  <a:lnTo>
                    <a:pt x="109" y="633"/>
                  </a:lnTo>
                  <a:lnTo>
                    <a:pt x="109" y="639"/>
                  </a:lnTo>
                  <a:lnTo>
                    <a:pt x="117" y="642"/>
                  </a:lnTo>
                  <a:lnTo>
                    <a:pt x="158" y="663"/>
                  </a:lnTo>
                  <a:lnTo>
                    <a:pt x="158" y="671"/>
                  </a:lnTo>
                  <a:lnTo>
                    <a:pt x="158" y="671"/>
                  </a:lnTo>
                  <a:lnTo>
                    <a:pt x="158" y="674"/>
                  </a:lnTo>
                  <a:lnTo>
                    <a:pt x="158" y="674"/>
                  </a:lnTo>
                  <a:lnTo>
                    <a:pt x="158" y="676"/>
                  </a:lnTo>
                  <a:lnTo>
                    <a:pt x="160" y="676"/>
                  </a:lnTo>
                  <a:lnTo>
                    <a:pt x="163" y="676"/>
                  </a:lnTo>
                  <a:lnTo>
                    <a:pt x="163" y="679"/>
                  </a:lnTo>
                  <a:lnTo>
                    <a:pt x="160" y="708"/>
                  </a:lnTo>
                  <a:lnTo>
                    <a:pt x="160" y="711"/>
                  </a:lnTo>
                  <a:lnTo>
                    <a:pt x="160" y="719"/>
                  </a:lnTo>
                  <a:lnTo>
                    <a:pt x="166" y="738"/>
                  </a:lnTo>
                  <a:lnTo>
                    <a:pt x="179" y="743"/>
                  </a:lnTo>
                  <a:lnTo>
                    <a:pt x="192" y="748"/>
                  </a:lnTo>
                  <a:lnTo>
                    <a:pt x="195" y="751"/>
                  </a:lnTo>
                  <a:lnTo>
                    <a:pt x="198" y="754"/>
                  </a:lnTo>
                  <a:lnTo>
                    <a:pt x="206" y="754"/>
                  </a:lnTo>
                  <a:lnTo>
                    <a:pt x="211" y="754"/>
                  </a:lnTo>
                  <a:lnTo>
                    <a:pt x="222" y="754"/>
                  </a:lnTo>
                  <a:lnTo>
                    <a:pt x="227" y="727"/>
                  </a:lnTo>
                  <a:lnTo>
                    <a:pt x="240" y="724"/>
                  </a:lnTo>
                  <a:lnTo>
                    <a:pt x="243" y="732"/>
                  </a:lnTo>
                  <a:lnTo>
                    <a:pt x="256" y="727"/>
                  </a:lnTo>
                  <a:lnTo>
                    <a:pt x="270" y="727"/>
                  </a:lnTo>
                  <a:lnTo>
                    <a:pt x="283" y="716"/>
                  </a:lnTo>
                  <a:lnTo>
                    <a:pt x="288" y="719"/>
                  </a:lnTo>
                  <a:lnTo>
                    <a:pt x="294" y="719"/>
                  </a:lnTo>
                  <a:lnTo>
                    <a:pt x="299" y="722"/>
                  </a:lnTo>
                  <a:lnTo>
                    <a:pt x="304" y="722"/>
                  </a:lnTo>
                  <a:lnTo>
                    <a:pt x="307" y="722"/>
                  </a:lnTo>
                  <a:lnTo>
                    <a:pt x="312" y="719"/>
                  </a:lnTo>
                  <a:lnTo>
                    <a:pt x="318" y="719"/>
                  </a:lnTo>
                  <a:lnTo>
                    <a:pt x="326" y="706"/>
                  </a:lnTo>
                  <a:lnTo>
                    <a:pt x="334" y="695"/>
                  </a:lnTo>
                  <a:lnTo>
                    <a:pt x="342" y="698"/>
                  </a:lnTo>
                  <a:lnTo>
                    <a:pt x="376" y="687"/>
                  </a:lnTo>
                  <a:lnTo>
                    <a:pt x="368" y="671"/>
                  </a:lnTo>
                  <a:lnTo>
                    <a:pt x="376" y="666"/>
                  </a:lnTo>
                  <a:lnTo>
                    <a:pt x="387" y="668"/>
                  </a:lnTo>
                  <a:lnTo>
                    <a:pt x="395" y="671"/>
                  </a:lnTo>
                  <a:lnTo>
                    <a:pt x="392" y="679"/>
                  </a:lnTo>
                  <a:lnTo>
                    <a:pt x="401" y="682"/>
                  </a:lnTo>
                  <a:lnTo>
                    <a:pt x="403" y="684"/>
                  </a:lnTo>
                  <a:lnTo>
                    <a:pt x="403" y="682"/>
                  </a:lnTo>
                  <a:lnTo>
                    <a:pt x="430" y="698"/>
                  </a:lnTo>
                  <a:lnTo>
                    <a:pt x="446" y="700"/>
                  </a:lnTo>
                  <a:lnTo>
                    <a:pt x="449" y="698"/>
                  </a:lnTo>
                  <a:lnTo>
                    <a:pt x="449" y="698"/>
                  </a:lnTo>
                  <a:lnTo>
                    <a:pt x="451" y="700"/>
                  </a:lnTo>
                  <a:lnTo>
                    <a:pt x="451" y="703"/>
                  </a:lnTo>
                  <a:lnTo>
                    <a:pt x="454" y="703"/>
                  </a:lnTo>
                  <a:lnTo>
                    <a:pt x="454" y="706"/>
                  </a:lnTo>
                  <a:lnTo>
                    <a:pt x="457" y="706"/>
                  </a:lnTo>
                  <a:lnTo>
                    <a:pt x="457" y="706"/>
                  </a:lnTo>
                  <a:lnTo>
                    <a:pt x="459" y="706"/>
                  </a:lnTo>
                  <a:lnTo>
                    <a:pt x="462" y="703"/>
                  </a:lnTo>
                  <a:lnTo>
                    <a:pt x="462" y="703"/>
                  </a:lnTo>
                  <a:lnTo>
                    <a:pt x="465" y="700"/>
                  </a:lnTo>
                  <a:lnTo>
                    <a:pt x="467" y="700"/>
                  </a:lnTo>
                  <a:lnTo>
                    <a:pt x="467" y="700"/>
                  </a:lnTo>
                  <a:lnTo>
                    <a:pt x="470" y="714"/>
                  </a:lnTo>
                  <a:lnTo>
                    <a:pt x="473" y="714"/>
                  </a:lnTo>
                  <a:lnTo>
                    <a:pt x="475" y="716"/>
                  </a:lnTo>
                  <a:lnTo>
                    <a:pt x="475" y="719"/>
                  </a:lnTo>
                  <a:lnTo>
                    <a:pt x="478" y="719"/>
                  </a:lnTo>
                  <a:lnTo>
                    <a:pt x="478" y="722"/>
                  </a:lnTo>
                  <a:lnTo>
                    <a:pt x="478" y="724"/>
                  </a:lnTo>
                  <a:lnTo>
                    <a:pt x="481" y="724"/>
                  </a:lnTo>
                  <a:lnTo>
                    <a:pt x="481" y="727"/>
                  </a:lnTo>
                  <a:lnTo>
                    <a:pt x="483" y="730"/>
                  </a:lnTo>
                  <a:lnTo>
                    <a:pt x="489" y="732"/>
                  </a:lnTo>
                  <a:lnTo>
                    <a:pt x="491" y="732"/>
                  </a:lnTo>
                  <a:lnTo>
                    <a:pt x="491" y="738"/>
                  </a:lnTo>
                  <a:lnTo>
                    <a:pt x="491" y="740"/>
                  </a:lnTo>
                  <a:lnTo>
                    <a:pt x="491" y="740"/>
                  </a:lnTo>
                  <a:lnTo>
                    <a:pt x="494" y="743"/>
                  </a:lnTo>
                  <a:lnTo>
                    <a:pt x="497" y="743"/>
                  </a:lnTo>
                  <a:lnTo>
                    <a:pt x="499" y="743"/>
                  </a:lnTo>
                  <a:lnTo>
                    <a:pt x="499" y="746"/>
                  </a:lnTo>
                  <a:lnTo>
                    <a:pt x="502" y="746"/>
                  </a:lnTo>
                  <a:lnTo>
                    <a:pt x="502" y="751"/>
                  </a:lnTo>
                  <a:lnTo>
                    <a:pt x="502" y="754"/>
                  </a:lnTo>
                  <a:lnTo>
                    <a:pt x="505" y="756"/>
                  </a:lnTo>
                  <a:lnTo>
                    <a:pt x="513" y="772"/>
                  </a:lnTo>
                  <a:lnTo>
                    <a:pt x="513" y="775"/>
                  </a:lnTo>
                  <a:lnTo>
                    <a:pt x="513" y="778"/>
                  </a:lnTo>
                  <a:lnTo>
                    <a:pt x="510" y="780"/>
                  </a:lnTo>
                  <a:lnTo>
                    <a:pt x="510" y="783"/>
                  </a:lnTo>
                  <a:lnTo>
                    <a:pt x="513" y="786"/>
                  </a:lnTo>
                  <a:lnTo>
                    <a:pt x="513" y="788"/>
                  </a:lnTo>
                  <a:lnTo>
                    <a:pt x="515" y="788"/>
                  </a:lnTo>
                  <a:lnTo>
                    <a:pt x="515" y="791"/>
                  </a:lnTo>
                  <a:lnTo>
                    <a:pt x="521" y="794"/>
                  </a:lnTo>
                  <a:lnTo>
                    <a:pt x="529" y="791"/>
                  </a:lnTo>
                  <a:lnTo>
                    <a:pt x="537" y="799"/>
                  </a:lnTo>
                  <a:lnTo>
                    <a:pt x="531" y="805"/>
                  </a:lnTo>
                  <a:lnTo>
                    <a:pt x="539" y="815"/>
                  </a:lnTo>
                  <a:lnTo>
                    <a:pt x="537" y="818"/>
                  </a:lnTo>
                  <a:lnTo>
                    <a:pt x="531" y="821"/>
                  </a:lnTo>
                  <a:lnTo>
                    <a:pt x="531" y="821"/>
                  </a:lnTo>
                  <a:lnTo>
                    <a:pt x="531" y="823"/>
                  </a:lnTo>
                  <a:lnTo>
                    <a:pt x="531" y="823"/>
                  </a:lnTo>
                  <a:lnTo>
                    <a:pt x="537" y="826"/>
                  </a:lnTo>
                  <a:lnTo>
                    <a:pt x="550" y="834"/>
                  </a:lnTo>
                  <a:lnTo>
                    <a:pt x="563" y="831"/>
                  </a:lnTo>
                  <a:lnTo>
                    <a:pt x="569" y="837"/>
                  </a:lnTo>
                  <a:lnTo>
                    <a:pt x="571" y="839"/>
                  </a:lnTo>
                  <a:lnTo>
                    <a:pt x="577" y="839"/>
                  </a:lnTo>
                  <a:lnTo>
                    <a:pt x="579" y="842"/>
                  </a:lnTo>
                  <a:lnTo>
                    <a:pt x="579" y="845"/>
                  </a:lnTo>
                  <a:lnTo>
                    <a:pt x="579" y="847"/>
                  </a:lnTo>
                  <a:lnTo>
                    <a:pt x="582" y="850"/>
                  </a:lnTo>
                  <a:lnTo>
                    <a:pt x="582" y="850"/>
                  </a:lnTo>
                  <a:lnTo>
                    <a:pt x="585" y="853"/>
                  </a:lnTo>
                  <a:lnTo>
                    <a:pt x="587" y="853"/>
                  </a:lnTo>
                  <a:lnTo>
                    <a:pt x="590" y="853"/>
                  </a:lnTo>
                  <a:lnTo>
                    <a:pt x="593" y="853"/>
                  </a:lnTo>
                  <a:lnTo>
                    <a:pt x="595" y="855"/>
                  </a:lnTo>
                  <a:lnTo>
                    <a:pt x="598" y="855"/>
                  </a:lnTo>
                  <a:lnTo>
                    <a:pt x="603" y="853"/>
                  </a:lnTo>
                  <a:lnTo>
                    <a:pt x="603" y="855"/>
                  </a:lnTo>
                  <a:lnTo>
                    <a:pt x="606" y="855"/>
                  </a:lnTo>
                  <a:lnTo>
                    <a:pt x="609" y="855"/>
                  </a:lnTo>
                  <a:lnTo>
                    <a:pt x="611" y="855"/>
                  </a:lnTo>
                  <a:lnTo>
                    <a:pt x="614" y="858"/>
                  </a:lnTo>
                  <a:lnTo>
                    <a:pt x="617" y="858"/>
                  </a:lnTo>
                  <a:lnTo>
                    <a:pt x="617" y="861"/>
                  </a:lnTo>
                  <a:lnTo>
                    <a:pt x="619" y="861"/>
                  </a:lnTo>
                  <a:lnTo>
                    <a:pt x="619" y="861"/>
                  </a:lnTo>
                  <a:lnTo>
                    <a:pt x="622" y="861"/>
                  </a:lnTo>
                  <a:lnTo>
                    <a:pt x="625" y="861"/>
                  </a:lnTo>
                  <a:lnTo>
                    <a:pt x="627" y="863"/>
                  </a:lnTo>
                  <a:lnTo>
                    <a:pt x="630" y="869"/>
                  </a:lnTo>
                  <a:lnTo>
                    <a:pt x="660" y="850"/>
                  </a:lnTo>
                  <a:lnTo>
                    <a:pt x="668" y="842"/>
                  </a:lnTo>
                  <a:lnTo>
                    <a:pt x="668" y="821"/>
                  </a:lnTo>
                  <a:lnTo>
                    <a:pt x="678" y="818"/>
                  </a:lnTo>
                  <a:lnTo>
                    <a:pt x="686" y="802"/>
                  </a:lnTo>
                  <a:lnTo>
                    <a:pt x="686" y="802"/>
                  </a:lnTo>
                  <a:lnTo>
                    <a:pt x="689" y="805"/>
                  </a:lnTo>
                  <a:lnTo>
                    <a:pt x="702" y="794"/>
                  </a:lnTo>
                  <a:lnTo>
                    <a:pt x="705" y="794"/>
                  </a:lnTo>
                  <a:lnTo>
                    <a:pt x="708" y="794"/>
                  </a:lnTo>
                  <a:lnTo>
                    <a:pt x="713" y="796"/>
                  </a:lnTo>
                  <a:lnTo>
                    <a:pt x="718" y="796"/>
                  </a:lnTo>
                  <a:lnTo>
                    <a:pt x="724" y="796"/>
                  </a:lnTo>
                  <a:lnTo>
                    <a:pt x="726" y="794"/>
                  </a:lnTo>
                  <a:lnTo>
                    <a:pt x="726" y="794"/>
                  </a:lnTo>
                  <a:lnTo>
                    <a:pt x="729" y="791"/>
                  </a:lnTo>
                  <a:lnTo>
                    <a:pt x="729" y="786"/>
                  </a:lnTo>
                  <a:lnTo>
                    <a:pt x="729" y="783"/>
                  </a:lnTo>
                  <a:lnTo>
                    <a:pt x="732" y="783"/>
                  </a:lnTo>
                  <a:lnTo>
                    <a:pt x="734" y="783"/>
                  </a:lnTo>
                  <a:lnTo>
                    <a:pt x="734" y="772"/>
                  </a:lnTo>
                  <a:lnTo>
                    <a:pt x="740" y="759"/>
                  </a:lnTo>
                  <a:lnTo>
                    <a:pt x="742" y="748"/>
                  </a:lnTo>
                  <a:lnTo>
                    <a:pt x="740" y="743"/>
                  </a:lnTo>
                  <a:lnTo>
                    <a:pt x="742" y="7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79" name="Freeform 8896">
              <a:extLst>
                <a:ext uri="{FF2B5EF4-FFF2-40B4-BE49-F238E27FC236}">
                  <a16:creationId xmlns:a16="http://schemas.microsoft.com/office/drawing/2014/main" id="{43152873-E6CD-0349-8675-6B6439FDBC3C}"/>
                </a:ext>
              </a:extLst>
            </p:cNvPr>
            <p:cNvSpPr/>
            <p:nvPr/>
          </p:nvSpPr>
          <p:spPr bwMode="auto">
            <a:xfrm>
              <a:off x="2429667" y="4549775"/>
              <a:ext cx="890588" cy="831850"/>
            </a:xfrm>
            <a:custGeom>
              <a:avLst/>
              <a:gdLst>
                <a:gd name="T0" fmla="*/ 456 w 561"/>
                <a:gd name="T1" fmla="*/ 331 h 524"/>
                <a:gd name="T2" fmla="*/ 488 w 561"/>
                <a:gd name="T3" fmla="*/ 337 h 524"/>
                <a:gd name="T4" fmla="*/ 502 w 561"/>
                <a:gd name="T5" fmla="*/ 369 h 524"/>
                <a:gd name="T6" fmla="*/ 496 w 561"/>
                <a:gd name="T7" fmla="*/ 401 h 524"/>
                <a:gd name="T8" fmla="*/ 512 w 561"/>
                <a:gd name="T9" fmla="*/ 419 h 524"/>
                <a:gd name="T10" fmla="*/ 561 w 561"/>
                <a:gd name="T11" fmla="*/ 489 h 524"/>
                <a:gd name="T12" fmla="*/ 432 w 561"/>
                <a:gd name="T13" fmla="*/ 508 h 524"/>
                <a:gd name="T14" fmla="*/ 414 w 561"/>
                <a:gd name="T15" fmla="*/ 497 h 524"/>
                <a:gd name="T16" fmla="*/ 398 w 561"/>
                <a:gd name="T17" fmla="*/ 481 h 524"/>
                <a:gd name="T18" fmla="*/ 379 w 561"/>
                <a:gd name="T19" fmla="*/ 452 h 524"/>
                <a:gd name="T20" fmla="*/ 368 w 561"/>
                <a:gd name="T21" fmla="*/ 419 h 524"/>
                <a:gd name="T22" fmla="*/ 350 w 561"/>
                <a:gd name="T23" fmla="*/ 417 h 524"/>
                <a:gd name="T24" fmla="*/ 326 w 561"/>
                <a:gd name="T25" fmla="*/ 422 h 524"/>
                <a:gd name="T26" fmla="*/ 299 w 561"/>
                <a:gd name="T27" fmla="*/ 395 h 524"/>
                <a:gd name="T28" fmla="*/ 269 w 561"/>
                <a:gd name="T29" fmla="*/ 387 h 524"/>
                <a:gd name="T30" fmla="*/ 237 w 561"/>
                <a:gd name="T31" fmla="*/ 395 h 524"/>
                <a:gd name="T32" fmla="*/ 203 w 561"/>
                <a:gd name="T33" fmla="*/ 403 h 524"/>
                <a:gd name="T34" fmla="*/ 184 w 561"/>
                <a:gd name="T35" fmla="*/ 358 h 524"/>
                <a:gd name="T36" fmla="*/ 163 w 561"/>
                <a:gd name="T37" fmla="*/ 339 h 524"/>
                <a:gd name="T38" fmla="*/ 157 w 561"/>
                <a:gd name="T39" fmla="*/ 363 h 524"/>
                <a:gd name="T40" fmla="*/ 139 w 561"/>
                <a:gd name="T41" fmla="*/ 366 h 524"/>
                <a:gd name="T42" fmla="*/ 147 w 561"/>
                <a:gd name="T43" fmla="*/ 345 h 524"/>
                <a:gd name="T44" fmla="*/ 144 w 561"/>
                <a:gd name="T45" fmla="*/ 318 h 524"/>
                <a:gd name="T46" fmla="*/ 128 w 561"/>
                <a:gd name="T47" fmla="*/ 299 h 524"/>
                <a:gd name="T48" fmla="*/ 131 w 561"/>
                <a:gd name="T49" fmla="*/ 283 h 524"/>
                <a:gd name="T50" fmla="*/ 123 w 561"/>
                <a:gd name="T51" fmla="*/ 264 h 524"/>
                <a:gd name="T52" fmla="*/ 107 w 561"/>
                <a:gd name="T53" fmla="*/ 256 h 524"/>
                <a:gd name="T54" fmla="*/ 91 w 561"/>
                <a:gd name="T55" fmla="*/ 248 h 524"/>
                <a:gd name="T56" fmla="*/ 77 w 561"/>
                <a:gd name="T57" fmla="*/ 238 h 524"/>
                <a:gd name="T58" fmla="*/ 67 w 561"/>
                <a:gd name="T59" fmla="*/ 216 h 524"/>
                <a:gd name="T60" fmla="*/ 34 w 561"/>
                <a:gd name="T61" fmla="*/ 222 h 524"/>
                <a:gd name="T62" fmla="*/ 26 w 561"/>
                <a:gd name="T63" fmla="*/ 216 h 524"/>
                <a:gd name="T64" fmla="*/ 8 w 561"/>
                <a:gd name="T65" fmla="*/ 187 h 524"/>
                <a:gd name="T66" fmla="*/ 29 w 561"/>
                <a:gd name="T67" fmla="*/ 166 h 524"/>
                <a:gd name="T68" fmla="*/ 69 w 561"/>
                <a:gd name="T69" fmla="*/ 134 h 524"/>
                <a:gd name="T70" fmla="*/ 88 w 561"/>
                <a:gd name="T71" fmla="*/ 123 h 524"/>
                <a:gd name="T72" fmla="*/ 136 w 561"/>
                <a:gd name="T73" fmla="*/ 85 h 524"/>
                <a:gd name="T74" fmla="*/ 149 w 561"/>
                <a:gd name="T75" fmla="*/ 59 h 524"/>
                <a:gd name="T76" fmla="*/ 181 w 561"/>
                <a:gd name="T77" fmla="*/ 13 h 524"/>
                <a:gd name="T78" fmla="*/ 203 w 561"/>
                <a:gd name="T79" fmla="*/ 3 h 524"/>
                <a:gd name="T80" fmla="*/ 221 w 561"/>
                <a:gd name="T81" fmla="*/ 19 h 524"/>
                <a:gd name="T82" fmla="*/ 219 w 561"/>
                <a:gd name="T83" fmla="*/ 27 h 524"/>
                <a:gd name="T84" fmla="*/ 227 w 561"/>
                <a:gd name="T85" fmla="*/ 48 h 524"/>
                <a:gd name="T86" fmla="*/ 235 w 561"/>
                <a:gd name="T87" fmla="*/ 69 h 524"/>
                <a:gd name="T88" fmla="*/ 240 w 561"/>
                <a:gd name="T89" fmla="*/ 120 h 524"/>
                <a:gd name="T90" fmla="*/ 267 w 561"/>
                <a:gd name="T91" fmla="*/ 152 h 524"/>
                <a:gd name="T92" fmla="*/ 272 w 561"/>
                <a:gd name="T93" fmla="*/ 179 h 524"/>
                <a:gd name="T94" fmla="*/ 280 w 561"/>
                <a:gd name="T95" fmla="*/ 200 h 524"/>
                <a:gd name="T96" fmla="*/ 272 w 561"/>
                <a:gd name="T97" fmla="*/ 208 h 524"/>
                <a:gd name="T98" fmla="*/ 275 w 561"/>
                <a:gd name="T99" fmla="*/ 224 h 524"/>
                <a:gd name="T100" fmla="*/ 272 w 561"/>
                <a:gd name="T101" fmla="*/ 246 h 524"/>
                <a:gd name="T102" fmla="*/ 296 w 561"/>
                <a:gd name="T103" fmla="*/ 243 h 524"/>
                <a:gd name="T104" fmla="*/ 310 w 561"/>
                <a:gd name="T105" fmla="*/ 235 h 524"/>
                <a:gd name="T106" fmla="*/ 323 w 561"/>
                <a:gd name="T107" fmla="*/ 262 h 524"/>
                <a:gd name="T108" fmla="*/ 302 w 561"/>
                <a:gd name="T109" fmla="*/ 278 h 524"/>
                <a:gd name="T110" fmla="*/ 312 w 561"/>
                <a:gd name="T111" fmla="*/ 310 h 524"/>
                <a:gd name="T112" fmla="*/ 307 w 561"/>
                <a:gd name="T113" fmla="*/ 337 h 524"/>
                <a:gd name="T114" fmla="*/ 320 w 561"/>
                <a:gd name="T115" fmla="*/ 337 h 524"/>
                <a:gd name="T116" fmla="*/ 334 w 561"/>
                <a:gd name="T117" fmla="*/ 355 h 524"/>
                <a:gd name="T118" fmla="*/ 358 w 561"/>
                <a:gd name="T119" fmla="*/ 353 h 524"/>
                <a:gd name="T120" fmla="*/ 376 w 561"/>
                <a:gd name="T121" fmla="*/ 355 h 524"/>
                <a:gd name="T122" fmla="*/ 392 w 561"/>
                <a:gd name="T123" fmla="*/ 369 h 524"/>
                <a:gd name="T124" fmla="*/ 427 w 561"/>
                <a:gd name="T125" fmla="*/ 34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1" h="524" extrusionOk="0">
                  <a:moveTo>
                    <a:pt x="448" y="321"/>
                  </a:moveTo>
                  <a:lnTo>
                    <a:pt x="451" y="321"/>
                  </a:lnTo>
                  <a:lnTo>
                    <a:pt x="454" y="323"/>
                  </a:lnTo>
                  <a:lnTo>
                    <a:pt x="454" y="321"/>
                  </a:lnTo>
                  <a:lnTo>
                    <a:pt x="456" y="323"/>
                  </a:lnTo>
                  <a:lnTo>
                    <a:pt x="456" y="323"/>
                  </a:lnTo>
                  <a:lnTo>
                    <a:pt x="456" y="326"/>
                  </a:lnTo>
                  <a:lnTo>
                    <a:pt x="459" y="326"/>
                  </a:lnTo>
                  <a:lnTo>
                    <a:pt x="459" y="326"/>
                  </a:lnTo>
                  <a:lnTo>
                    <a:pt x="459" y="326"/>
                  </a:lnTo>
                  <a:lnTo>
                    <a:pt x="456" y="326"/>
                  </a:lnTo>
                  <a:lnTo>
                    <a:pt x="456" y="326"/>
                  </a:lnTo>
                  <a:lnTo>
                    <a:pt x="456" y="329"/>
                  </a:lnTo>
                  <a:lnTo>
                    <a:pt x="456" y="329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1"/>
                  </a:lnTo>
                  <a:lnTo>
                    <a:pt x="456" y="334"/>
                  </a:lnTo>
                  <a:lnTo>
                    <a:pt x="456" y="334"/>
                  </a:lnTo>
                  <a:lnTo>
                    <a:pt x="462" y="342"/>
                  </a:lnTo>
                  <a:lnTo>
                    <a:pt x="464" y="342"/>
                  </a:lnTo>
                  <a:lnTo>
                    <a:pt x="467" y="334"/>
                  </a:lnTo>
                  <a:lnTo>
                    <a:pt x="467" y="331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5" y="326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1"/>
                  </a:lnTo>
                  <a:lnTo>
                    <a:pt x="483" y="334"/>
                  </a:lnTo>
                  <a:lnTo>
                    <a:pt x="486" y="337"/>
                  </a:lnTo>
                  <a:lnTo>
                    <a:pt x="486" y="339"/>
                  </a:lnTo>
                  <a:lnTo>
                    <a:pt x="486" y="339"/>
                  </a:lnTo>
                  <a:lnTo>
                    <a:pt x="488" y="337"/>
                  </a:lnTo>
                  <a:lnTo>
                    <a:pt x="494" y="339"/>
                  </a:lnTo>
                  <a:lnTo>
                    <a:pt x="494" y="342"/>
                  </a:lnTo>
                  <a:lnTo>
                    <a:pt x="496" y="342"/>
                  </a:lnTo>
                  <a:lnTo>
                    <a:pt x="504" y="339"/>
                  </a:lnTo>
                  <a:lnTo>
                    <a:pt x="507" y="347"/>
                  </a:lnTo>
                  <a:lnTo>
                    <a:pt x="510" y="350"/>
                  </a:lnTo>
                  <a:lnTo>
                    <a:pt x="515" y="350"/>
                  </a:lnTo>
                  <a:lnTo>
                    <a:pt x="515" y="350"/>
                  </a:lnTo>
                  <a:lnTo>
                    <a:pt x="520" y="355"/>
                  </a:lnTo>
                  <a:lnTo>
                    <a:pt x="512" y="366"/>
                  </a:lnTo>
                  <a:lnTo>
                    <a:pt x="512" y="366"/>
                  </a:lnTo>
                  <a:lnTo>
                    <a:pt x="510" y="369"/>
                  </a:lnTo>
                  <a:lnTo>
                    <a:pt x="507" y="369"/>
                  </a:lnTo>
                  <a:lnTo>
                    <a:pt x="507" y="369"/>
                  </a:lnTo>
                  <a:lnTo>
                    <a:pt x="504" y="369"/>
                  </a:lnTo>
                  <a:lnTo>
                    <a:pt x="504" y="371"/>
                  </a:lnTo>
                  <a:lnTo>
                    <a:pt x="502" y="369"/>
                  </a:lnTo>
                  <a:lnTo>
                    <a:pt x="502" y="369"/>
                  </a:lnTo>
                  <a:lnTo>
                    <a:pt x="499" y="371"/>
                  </a:lnTo>
                  <a:lnTo>
                    <a:pt x="499" y="371"/>
                  </a:lnTo>
                  <a:lnTo>
                    <a:pt x="499" y="374"/>
                  </a:lnTo>
                  <a:lnTo>
                    <a:pt x="496" y="377"/>
                  </a:lnTo>
                  <a:lnTo>
                    <a:pt x="494" y="377"/>
                  </a:lnTo>
                  <a:lnTo>
                    <a:pt x="494" y="379"/>
                  </a:lnTo>
                  <a:lnTo>
                    <a:pt x="496" y="382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90"/>
                  </a:lnTo>
                  <a:lnTo>
                    <a:pt x="494" y="393"/>
                  </a:lnTo>
                  <a:lnTo>
                    <a:pt x="494" y="395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398"/>
                  </a:lnTo>
                  <a:lnTo>
                    <a:pt x="494" y="401"/>
                  </a:lnTo>
                  <a:lnTo>
                    <a:pt x="496" y="401"/>
                  </a:lnTo>
                  <a:lnTo>
                    <a:pt x="496" y="401"/>
                  </a:lnTo>
                  <a:lnTo>
                    <a:pt x="496" y="403"/>
                  </a:lnTo>
                  <a:lnTo>
                    <a:pt x="496" y="403"/>
                  </a:lnTo>
                  <a:lnTo>
                    <a:pt x="499" y="401"/>
                  </a:lnTo>
                  <a:lnTo>
                    <a:pt x="499" y="401"/>
                  </a:lnTo>
                  <a:lnTo>
                    <a:pt x="499" y="398"/>
                  </a:lnTo>
                  <a:lnTo>
                    <a:pt x="499" y="398"/>
                  </a:lnTo>
                  <a:lnTo>
                    <a:pt x="502" y="401"/>
                  </a:lnTo>
                  <a:lnTo>
                    <a:pt x="504" y="403"/>
                  </a:lnTo>
                  <a:lnTo>
                    <a:pt x="507" y="406"/>
                  </a:lnTo>
                  <a:lnTo>
                    <a:pt x="510" y="411"/>
                  </a:lnTo>
                  <a:lnTo>
                    <a:pt x="512" y="411"/>
                  </a:lnTo>
                  <a:lnTo>
                    <a:pt x="515" y="414"/>
                  </a:lnTo>
                  <a:lnTo>
                    <a:pt x="515" y="414"/>
                  </a:lnTo>
                  <a:lnTo>
                    <a:pt x="515" y="417"/>
                  </a:lnTo>
                  <a:lnTo>
                    <a:pt x="515" y="417"/>
                  </a:lnTo>
                  <a:lnTo>
                    <a:pt x="512" y="417"/>
                  </a:lnTo>
                  <a:lnTo>
                    <a:pt x="512" y="419"/>
                  </a:lnTo>
                  <a:lnTo>
                    <a:pt x="510" y="419"/>
                  </a:lnTo>
                  <a:lnTo>
                    <a:pt x="510" y="419"/>
                  </a:lnTo>
                  <a:lnTo>
                    <a:pt x="507" y="419"/>
                  </a:lnTo>
                  <a:lnTo>
                    <a:pt x="504" y="422"/>
                  </a:lnTo>
                  <a:lnTo>
                    <a:pt x="504" y="422"/>
                  </a:lnTo>
                  <a:lnTo>
                    <a:pt x="504" y="425"/>
                  </a:lnTo>
                  <a:lnTo>
                    <a:pt x="507" y="427"/>
                  </a:lnTo>
                  <a:lnTo>
                    <a:pt x="510" y="427"/>
                  </a:lnTo>
                  <a:lnTo>
                    <a:pt x="510" y="430"/>
                  </a:lnTo>
                  <a:lnTo>
                    <a:pt x="510" y="430"/>
                  </a:lnTo>
                  <a:lnTo>
                    <a:pt x="512" y="430"/>
                  </a:lnTo>
                  <a:lnTo>
                    <a:pt x="515" y="433"/>
                  </a:lnTo>
                  <a:lnTo>
                    <a:pt x="531" y="441"/>
                  </a:lnTo>
                  <a:lnTo>
                    <a:pt x="531" y="444"/>
                  </a:lnTo>
                  <a:lnTo>
                    <a:pt x="529" y="446"/>
                  </a:lnTo>
                  <a:lnTo>
                    <a:pt x="555" y="470"/>
                  </a:lnTo>
                  <a:lnTo>
                    <a:pt x="555" y="481"/>
                  </a:lnTo>
                  <a:lnTo>
                    <a:pt x="561" y="489"/>
                  </a:lnTo>
                  <a:lnTo>
                    <a:pt x="553" y="489"/>
                  </a:lnTo>
                  <a:lnTo>
                    <a:pt x="531" y="524"/>
                  </a:lnTo>
                  <a:lnTo>
                    <a:pt x="488" y="521"/>
                  </a:lnTo>
                  <a:lnTo>
                    <a:pt x="464" y="508"/>
                  </a:lnTo>
                  <a:lnTo>
                    <a:pt x="459" y="494"/>
                  </a:lnTo>
                  <a:lnTo>
                    <a:pt x="462" y="492"/>
                  </a:lnTo>
                  <a:lnTo>
                    <a:pt x="456" y="486"/>
                  </a:lnTo>
                  <a:lnTo>
                    <a:pt x="448" y="492"/>
                  </a:lnTo>
                  <a:lnTo>
                    <a:pt x="446" y="500"/>
                  </a:lnTo>
                  <a:lnTo>
                    <a:pt x="446" y="500"/>
                  </a:lnTo>
                  <a:lnTo>
                    <a:pt x="443" y="502"/>
                  </a:lnTo>
                  <a:lnTo>
                    <a:pt x="443" y="502"/>
                  </a:lnTo>
                  <a:lnTo>
                    <a:pt x="440" y="502"/>
                  </a:lnTo>
                  <a:lnTo>
                    <a:pt x="438" y="502"/>
                  </a:lnTo>
                  <a:lnTo>
                    <a:pt x="438" y="505"/>
                  </a:lnTo>
                  <a:lnTo>
                    <a:pt x="435" y="505"/>
                  </a:lnTo>
                  <a:lnTo>
                    <a:pt x="432" y="508"/>
                  </a:lnTo>
                  <a:lnTo>
                    <a:pt x="432" y="508"/>
                  </a:lnTo>
                  <a:lnTo>
                    <a:pt x="430" y="510"/>
                  </a:lnTo>
                  <a:lnTo>
                    <a:pt x="427" y="508"/>
                  </a:lnTo>
                  <a:lnTo>
                    <a:pt x="422" y="508"/>
                  </a:lnTo>
                  <a:lnTo>
                    <a:pt x="422" y="505"/>
                  </a:lnTo>
                  <a:lnTo>
                    <a:pt x="419" y="505"/>
                  </a:lnTo>
                  <a:lnTo>
                    <a:pt x="416" y="505"/>
                  </a:lnTo>
                  <a:lnTo>
                    <a:pt x="414" y="505"/>
                  </a:lnTo>
                  <a:lnTo>
                    <a:pt x="411" y="505"/>
                  </a:lnTo>
                  <a:lnTo>
                    <a:pt x="411" y="505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1" y="502"/>
                  </a:lnTo>
                  <a:lnTo>
                    <a:pt x="411" y="500"/>
                  </a:lnTo>
                  <a:lnTo>
                    <a:pt x="411" y="500"/>
                  </a:lnTo>
                  <a:lnTo>
                    <a:pt x="411" y="497"/>
                  </a:lnTo>
                  <a:lnTo>
                    <a:pt x="411" y="497"/>
                  </a:lnTo>
                  <a:lnTo>
                    <a:pt x="414" y="497"/>
                  </a:lnTo>
                  <a:lnTo>
                    <a:pt x="414" y="497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497"/>
                  </a:lnTo>
                  <a:lnTo>
                    <a:pt x="416" y="497"/>
                  </a:lnTo>
                  <a:lnTo>
                    <a:pt x="416" y="494"/>
                  </a:lnTo>
                  <a:lnTo>
                    <a:pt x="414" y="494"/>
                  </a:lnTo>
                  <a:lnTo>
                    <a:pt x="414" y="492"/>
                  </a:lnTo>
                  <a:lnTo>
                    <a:pt x="411" y="492"/>
                  </a:lnTo>
                  <a:lnTo>
                    <a:pt x="411" y="492"/>
                  </a:lnTo>
                  <a:lnTo>
                    <a:pt x="408" y="489"/>
                  </a:lnTo>
                  <a:lnTo>
                    <a:pt x="406" y="489"/>
                  </a:lnTo>
                  <a:lnTo>
                    <a:pt x="403" y="489"/>
                  </a:lnTo>
                  <a:lnTo>
                    <a:pt x="403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0" y="484"/>
                  </a:lnTo>
                  <a:lnTo>
                    <a:pt x="398" y="481"/>
                  </a:lnTo>
                  <a:lnTo>
                    <a:pt x="398" y="481"/>
                  </a:lnTo>
                  <a:lnTo>
                    <a:pt x="395" y="481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0" y="478"/>
                  </a:lnTo>
                  <a:lnTo>
                    <a:pt x="384" y="476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2" y="470"/>
                  </a:lnTo>
                  <a:lnTo>
                    <a:pt x="382" y="468"/>
                  </a:lnTo>
                  <a:lnTo>
                    <a:pt x="382" y="468"/>
                  </a:lnTo>
                  <a:lnTo>
                    <a:pt x="382" y="465"/>
                  </a:lnTo>
                  <a:lnTo>
                    <a:pt x="382" y="462"/>
                  </a:lnTo>
                  <a:lnTo>
                    <a:pt x="382" y="462"/>
                  </a:lnTo>
                  <a:lnTo>
                    <a:pt x="376" y="460"/>
                  </a:lnTo>
                  <a:lnTo>
                    <a:pt x="379" y="457"/>
                  </a:lnTo>
                  <a:lnTo>
                    <a:pt x="379" y="457"/>
                  </a:lnTo>
                  <a:lnTo>
                    <a:pt x="379" y="452"/>
                  </a:lnTo>
                  <a:lnTo>
                    <a:pt x="376" y="452"/>
                  </a:lnTo>
                  <a:lnTo>
                    <a:pt x="376" y="444"/>
                  </a:lnTo>
                  <a:lnTo>
                    <a:pt x="379" y="444"/>
                  </a:lnTo>
                  <a:lnTo>
                    <a:pt x="379" y="444"/>
                  </a:lnTo>
                  <a:lnTo>
                    <a:pt x="382" y="441"/>
                  </a:lnTo>
                  <a:lnTo>
                    <a:pt x="382" y="441"/>
                  </a:lnTo>
                  <a:lnTo>
                    <a:pt x="382" y="438"/>
                  </a:lnTo>
                  <a:lnTo>
                    <a:pt x="382" y="436"/>
                  </a:lnTo>
                  <a:lnTo>
                    <a:pt x="379" y="433"/>
                  </a:lnTo>
                  <a:lnTo>
                    <a:pt x="376" y="433"/>
                  </a:lnTo>
                  <a:lnTo>
                    <a:pt x="371" y="430"/>
                  </a:lnTo>
                  <a:lnTo>
                    <a:pt x="374" y="427"/>
                  </a:lnTo>
                  <a:lnTo>
                    <a:pt x="374" y="425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4" y="419"/>
                  </a:lnTo>
                  <a:lnTo>
                    <a:pt x="371" y="419"/>
                  </a:lnTo>
                  <a:lnTo>
                    <a:pt x="368" y="419"/>
                  </a:lnTo>
                  <a:lnTo>
                    <a:pt x="366" y="419"/>
                  </a:lnTo>
                  <a:lnTo>
                    <a:pt x="366" y="419"/>
                  </a:lnTo>
                  <a:lnTo>
                    <a:pt x="363" y="419"/>
                  </a:lnTo>
                  <a:lnTo>
                    <a:pt x="363" y="422"/>
                  </a:lnTo>
                  <a:lnTo>
                    <a:pt x="363" y="422"/>
                  </a:lnTo>
                  <a:lnTo>
                    <a:pt x="360" y="422"/>
                  </a:lnTo>
                  <a:lnTo>
                    <a:pt x="358" y="425"/>
                  </a:lnTo>
                  <a:lnTo>
                    <a:pt x="358" y="425"/>
                  </a:lnTo>
                  <a:lnTo>
                    <a:pt x="358" y="422"/>
                  </a:lnTo>
                  <a:lnTo>
                    <a:pt x="355" y="422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0" y="417"/>
                  </a:lnTo>
                  <a:lnTo>
                    <a:pt x="350" y="417"/>
                  </a:lnTo>
                  <a:lnTo>
                    <a:pt x="347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1"/>
                  </a:lnTo>
                  <a:lnTo>
                    <a:pt x="342" y="411"/>
                  </a:lnTo>
                  <a:lnTo>
                    <a:pt x="342" y="409"/>
                  </a:lnTo>
                  <a:lnTo>
                    <a:pt x="342" y="409"/>
                  </a:lnTo>
                  <a:lnTo>
                    <a:pt x="339" y="409"/>
                  </a:lnTo>
                  <a:lnTo>
                    <a:pt x="339" y="411"/>
                  </a:lnTo>
                  <a:lnTo>
                    <a:pt x="336" y="414"/>
                  </a:lnTo>
                  <a:lnTo>
                    <a:pt x="334" y="417"/>
                  </a:lnTo>
                  <a:lnTo>
                    <a:pt x="334" y="422"/>
                  </a:lnTo>
                  <a:lnTo>
                    <a:pt x="331" y="425"/>
                  </a:lnTo>
                  <a:lnTo>
                    <a:pt x="331" y="427"/>
                  </a:lnTo>
                  <a:lnTo>
                    <a:pt x="328" y="427"/>
                  </a:lnTo>
                  <a:lnTo>
                    <a:pt x="328" y="425"/>
                  </a:lnTo>
                  <a:lnTo>
                    <a:pt x="326" y="422"/>
                  </a:lnTo>
                  <a:lnTo>
                    <a:pt x="326" y="422"/>
                  </a:lnTo>
                  <a:lnTo>
                    <a:pt x="323" y="422"/>
                  </a:lnTo>
                  <a:lnTo>
                    <a:pt x="323" y="422"/>
                  </a:lnTo>
                  <a:lnTo>
                    <a:pt x="320" y="422"/>
                  </a:lnTo>
                  <a:lnTo>
                    <a:pt x="318" y="422"/>
                  </a:lnTo>
                  <a:lnTo>
                    <a:pt x="315" y="425"/>
                  </a:lnTo>
                  <a:lnTo>
                    <a:pt x="315" y="425"/>
                  </a:lnTo>
                  <a:lnTo>
                    <a:pt x="312" y="422"/>
                  </a:lnTo>
                  <a:lnTo>
                    <a:pt x="312" y="422"/>
                  </a:lnTo>
                  <a:lnTo>
                    <a:pt x="310" y="419"/>
                  </a:lnTo>
                  <a:lnTo>
                    <a:pt x="310" y="417"/>
                  </a:lnTo>
                  <a:lnTo>
                    <a:pt x="310" y="414"/>
                  </a:lnTo>
                  <a:lnTo>
                    <a:pt x="307" y="401"/>
                  </a:lnTo>
                  <a:lnTo>
                    <a:pt x="307" y="395"/>
                  </a:lnTo>
                  <a:lnTo>
                    <a:pt x="307" y="395"/>
                  </a:lnTo>
                  <a:lnTo>
                    <a:pt x="304" y="398"/>
                  </a:lnTo>
                  <a:lnTo>
                    <a:pt x="302" y="398"/>
                  </a:lnTo>
                  <a:lnTo>
                    <a:pt x="299" y="395"/>
                  </a:lnTo>
                  <a:lnTo>
                    <a:pt x="296" y="395"/>
                  </a:lnTo>
                  <a:lnTo>
                    <a:pt x="294" y="395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1" y="393"/>
                  </a:lnTo>
                  <a:lnTo>
                    <a:pt x="288" y="393"/>
                  </a:lnTo>
                  <a:lnTo>
                    <a:pt x="283" y="387"/>
                  </a:lnTo>
                  <a:lnTo>
                    <a:pt x="283" y="387"/>
                  </a:lnTo>
                  <a:lnTo>
                    <a:pt x="280" y="387"/>
                  </a:lnTo>
                  <a:lnTo>
                    <a:pt x="277" y="387"/>
                  </a:lnTo>
                  <a:lnTo>
                    <a:pt x="277" y="390"/>
                  </a:lnTo>
                  <a:lnTo>
                    <a:pt x="277" y="393"/>
                  </a:lnTo>
                  <a:lnTo>
                    <a:pt x="280" y="395"/>
                  </a:lnTo>
                  <a:lnTo>
                    <a:pt x="277" y="395"/>
                  </a:lnTo>
                  <a:lnTo>
                    <a:pt x="272" y="393"/>
                  </a:lnTo>
                  <a:lnTo>
                    <a:pt x="272" y="393"/>
                  </a:lnTo>
                  <a:lnTo>
                    <a:pt x="272" y="390"/>
                  </a:lnTo>
                  <a:lnTo>
                    <a:pt x="269" y="387"/>
                  </a:lnTo>
                  <a:lnTo>
                    <a:pt x="269" y="385"/>
                  </a:lnTo>
                  <a:lnTo>
                    <a:pt x="269" y="382"/>
                  </a:lnTo>
                  <a:lnTo>
                    <a:pt x="269" y="382"/>
                  </a:lnTo>
                  <a:lnTo>
                    <a:pt x="267" y="382"/>
                  </a:lnTo>
                  <a:lnTo>
                    <a:pt x="264" y="387"/>
                  </a:lnTo>
                  <a:lnTo>
                    <a:pt x="261" y="390"/>
                  </a:lnTo>
                  <a:lnTo>
                    <a:pt x="259" y="390"/>
                  </a:lnTo>
                  <a:lnTo>
                    <a:pt x="259" y="387"/>
                  </a:lnTo>
                  <a:lnTo>
                    <a:pt x="256" y="390"/>
                  </a:lnTo>
                  <a:lnTo>
                    <a:pt x="259" y="390"/>
                  </a:lnTo>
                  <a:lnTo>
                    <a:pt x="256" y="393"/>
                  </a:lnTo>
                  <a:lnTo>
                    <a:pt x="256" y="393"/>
                  </a:lnTo>
                  <a:lnTo>
                    <a:pt x="253" y="393"/>
                  </a:lnTo>
                  <a:lnTo>
                    <a:pt x="253" y="393"/>
                  </a:lnTo>
                  <a:lnTo>
                    <a:pt x="253" y="393"/>
                  </a:lnTo>
                  <a:lnTo>
                    <a:pt x="245" y="387"/>
                  </a:lnTo>
                  <a:lnTo>
                    <a:pt x="237" y="395"/>
                  </a:lnTo>
                  <a:lnTo>
                    <a:pt x="237" y="395"/>
                  </a:lnTo>
                  <a:lnTo>
                    <a:pt x="237" y="398"/>
                  </a:lnTo>
                  <a:lnTo>
                    <a:pt x="237" y="401"/>
                  </a:lnTo>
                  <a:lnTo>
                    <a:pt x="235" y="401"/>
                  </a:lnTo>
                  <a:lnTo>
                    <a:pt x="232" y="403"/>
                  </a:lnTo>
                  <a:lnTo>
                    <a:pt x="229" y="403"/>
                  </a:lnTo>
                  <a:lnTo>
                    <a:pt x="227" y="403"/>
                  </a:lnTo>
                  <a:lnTo>
                    <a:pt x="224" y="403"/>
                  </a:lnTo>
                  <a:lnTo>
                    <a:pt x="221" y="406"/>
                  </a:lnTo>
                  <a:lnTo>
                    <a:pt x="219" y="406"/>
                  </a:lnTo>
                  <a:lnTo>
                    <a:pt x="216" y="406"/>
                  </a:lnTo>
                  <a:lnTo>
                    <a:pt x="213" y="403"/>
                  </a:lnTo>
                  <a:lnTo>
                    <a:pt x="213" y="406"/>
                  </a:lnTo>
                  <a:lnTo>
                    <a:pt x="211" y="406"/>
                  </a:lnTo>
                  <a:lnTo>
                    <a:pt x="208" y="406"/>
                  </a:lnTo>
                  <a:lnTo>
                    <a:pt x="208" y="409"/>
                  </a:lnTo>
                  <a:lnTo>
                    <a:pt x="205" y="409"/>
                  </a:lnTo>
                  <a:lnTo>
                    <a:pt x="203" y="406"/>
                  </a:lnTo>
                  <a:lnTo>
                    <a:pt x="203" y="403"/>
                  </a:lnTo>
                  <a:lnTo>
                    <a:pt x="203" y="403"/>
                  </a:lnTo>
                  <a:lnTo>
                    <a:pt x="203" y="401"/>
                  </a:lnTo>
                  <a:lnTo>
                    <a:pt x="203" y="401"/>
                  </a:lnTo>
                  <a:lnTo>
                    <a:pt x="200" y="398"/>
                  </a:lnTo>
                  <a:lnTo>
                    <a:pt x="197" y="395"/>
                  </a:lnTo>
                  <a:lnTo>
                    <a:pt x="200" y="395"/>
                  </a:lnTo>
                  <a:lnTo>
                    <a:pt x="200" y="393"/>
                  </a:lnTo>
                  <a:lnTo>
                    <a:pt x="200" y="393"/>
                  </a:lnTo>
                  <a:lnTo>
                    <a:pt x="197" y="390"/>
                  </a:lnTo>
                  <a:lnTo>
                    <a:pt x="197" y="390"/>
                  </a:lnTo>
                  <a:lnTo>
                    <a:pt x="195" y="390"/>
                  </a:lnTo>
                  <a:lnTo>
                    <a:pt x="192" y="390"/>
                  </a:lnTo>
                  <a:lnTo>
                    <a:pt x="192" y="390"/>
                  </a:lnTo>
                  <a:lnTo>
                    <a:pt x="187" y="374"/>
                  </a:lnTo>
                  <a:lnTo>
                    <a:pt x="181" y="369"/>
                  </a:lnTo>
                  <a:lnTo>
                    <a:pt x="187" y="366"/>
                  </a:lnTo>
                  <a:lnTo>
                    <a:pt x="187" y="358"/>
                  </a:lnTo>
                  <a:lnTo>
                    <a:pt x="184" y="358"/>
                  </a:lnTo>
                  <a:lnTo>
                    <a:pt x="181" y="358"/>
                  </a:lnTo>
                  <a:lnTo>
                    <a:pt x="181" y="358"/>
                  </a:lnTo>
                  <a:lnTo>
                    <a:pt x="179" y="358"/>
                  </a:lnTo>
                  <a:lnTo>
                    <a:pt x="179" y="355"/>
                  </a:lnTo>
                  <a:lnTo>
                    <a:pt x="179" y="353"/>
                  </a:lnTo>
                  <a:lnTo>
                    <a:pt x="179" y="350"/>
                  </a:lnTo>
                  <a:lnTo>
                    <a:pt x="176" y="350"/>
                  </a:lnTo>
                  <a:lnTo>
                    <a:pt x="176" y="347"/>
                  </a:lnTo>
                  <a:lnTo>
                    <a:pt x="173" y="345"/>
                  </a:lnTo>
                  <a:lnTo>
                    <a:pt x="171" y="337"/>
                  </a:lnTo>
                  <a:lnTo>
                    <a:pt x="171" y="337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68" y="339"/>
                  </a:lnTo>
                  <a:lnTo>
                    <a:pt x="168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3" y="339"/>
                  </a:lnTo>
                  <a:lnTo>
                    <a:pt x="163" y="339"/>
                  </a:lnTo>
                  <a:lnTo>
                    <a:pt x="163" y="342"/>
                  </a:lnTo>
                  <a:lnTo>
                    <a:pt x="163" y="342"/>
                  </a:lnTo>
                  <a:lnTo>
                    <a:pt x="160" y="345"/>
                  </a:lnTo>
                  <a:lnTo>
                    <a:pt x="157" y="345"/>
                  </a:lnTo>
                  <a:lnTo>
                    <a:pt x="160" y="345"/>
                  </a:lnTo>
                  <a:lnTo>
                    <a:pt x="160" y="347"/>
                  </a:lnTo>
                  <a:lnTo>
                    <a:pt x="163" y="347"/>
                  </a:lnTo>
                  <a:lnTo>
                    <a:pt x="163" y="347"/>
                  </a:lnTo>
                  <a:lnTo>
                    <a:pt x="165" y="350"/>
                  </a:lnTo>
                  <a:lnTo>
                    <a:pt x="163" y="353"/>
                  </a:lnTo>
                  <a:lnTo>
                    <a:pt x="163" y="355"/>
                  </a:lnTo>
                  <a:lnTo>
                    <a:pt x="160" y="358"/>
                  </a:lnTo>
                  <a:lnTo>
                    <a:pt x="160" y="358"/>
                  </a:lnTo>
                  <a:lnTo>
                    <a:pt x="160" y="361"/>
                  </a:lnTo>
                  <a:lnTo>
                    <a:pt x="160" y="363"/>
                  </a:lnTo>
                  <a:lnTo>
                    <a:pt x="157" y="363"/>
                  </a:lnTo>
                  <a:lnTo>
                    <a:pt x="157" y="366"/>
                  </a:lnTo>
                  <a:lnTo>
                    <a:pt x="157" y="369"/>
                  </a:lnTo>
                  <a:lnTo>
                    <a:pt x="157" y="371"/>
                  </a:lnTo>
                  <a:lnTo>
                    <a:pt x="155" y="374"/>
                  </a:lnTo>
                  <a:lnTo>
                    <a:pt x="152" y="377"/>
                  </a:lnTo>
                  <a:lnTo>
                    <a:pt x="149" y="377"/>
                  </a:lnTo>
                  <a:lnTo>
                    <a:pt x="147" y="379"/>
                  </a:lnTo>
                  <a:lnTo>
                    <a:pt x="147" y="379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1" y="377"/>
                  </a:lnTo>
                  <a:lnTo>
                    <a:pt x="141" y="374"/>
                  </a:lnTo>
                  <a:lnTo>
                    <a:pt x="139" y="374"/>
                  </a:lnTo>
                  <a:lnTo>
                    <a:pt x="139" y="369"/>
                  </a:lnTo>
                  <a:lnTo>
                    <a:pt x="139" y="366"/>
                  </a:lnTo>
                  <a:lnTo>
                    <a:pt x="139" y="366"/>
                  </a:lnTo>
                  <a:lnTo>
                    <a:pt x="139" y="363"/>
                  </a:lnTo>
                  <a:lnTo>
                    <a:pt x="141" y="363"/>
                  </a:lnTo>
                  <a:lnTo>
                    <a:pt x="141" y="363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7" y="358"/>
                  </a:lnTo>
                  <a:lnTo>
                    <a:pt x="147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52" y="353"/>
                  </a:lnTo>
                  <a:lnTo>
                    <a:pt x="155" y="353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2" y="347"/>
                  </a:lnTo>
                  <a:lnTo>
                    <a:pt x="152" y="347"/>
                  </a:lnTo>
                  <a:lnTo>
                    <a:pt x="152" y="345"/>
                  </a:lnTo>
                  <a:lnTo>
                    <a:pt x="149" y="345"/>
                  </a:lnTo>
                  <a:lnTo>
                    <a:pt x="147" y="345"/>
                  </a:lnTo>
                  <a:lnTo>
                    <a:pt x="147" y="342"/>
                  </a:lnTo>
                  <a:lnTo>
                    <a:pt x="144" y="342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4" y="339"/>
                  </a:lnTo>
                  <a:lnTo>
                    <a:pt x="144" y="337"/>
                  </a:lnTo>
                  <a:lnTo>
                    <a:pt x="144" y="334"/>
                  </a:lnTo>
                  <a:lnTo>
                    <a:pt x="141" y="331"/>
                  </a:lnTo>
                  <a:lnTo>
                    <a:pt x="141" y="331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1" y="326"/>
                  </a:lnTo>
                  <a:lnTo>
                    <a:pt x="144" y="326"/>
                  </a:lnTo>
                  <a:lnTo>
                    <a:pt x="144" y="323"/>
                  </a:lnTo>
                  <a:lnTo>
                    <a:pt x="144" y="321"/>
                  </a:lnTo>
                  <a:lnTo>
                    <a:pt x="144" y="321"/>
                  </a:lnTo>
                  <a:lnTo>
                    <a:pt x="144" y="318"/>
                  </a:lnTo>
                  <a:lnTo>
                    <a:pt x="144" y="318"/>
                  </a:lnTo>
                  <a:lnTo>
                    <a:pt x="141" y="315"/>
                  </a:lnTo>
                  <a:lnTo>
                    <a:pt x="141" y="315"/>
                  </a:lnTo>
                  <a:lnTo>
                    <a:pt x="139" y="313"/>
                  </a:lnTo>
                  <a:lnTo>
                    <a:pt x="139" y="313"/>
                  </a:lnTo>
                  <a:lnTo>
                    <a:pt x="141" y="313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39" y="307"/>
                  </a:lnTo>
                  <a:lnTo>
                    <a:pt x="139" y="307"/>
                  </a:lnTo>
                  <a:lnTo>
                    <a:pt x="139" y="305"/>
                  </a:lnTo>
                  <a:lnTo>
                    <a:pt x="136" y="305"/>
                  </a:lnTo>
                  <a:lnTo>
                    <a:pt x="136" y="305"/>
                  </a:lnTo>
                  <a:lnTo>
                    <a:pt x="133" y="305"/>
                  </a:lnTo>
                  <a:lnTo>
                    <a:pt x="133" y="302"/>
                  </a:lnTo>
                  <a:lnTo>
                    <a:pt x="131" y="302"/>
                  </a:lnTo>
                  <a:lnTo>
                    <a:pt x="131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5" y="297"/>
                  </a:lnTo>
                  <a:lnTo>
                    <a:pt x="125" y="297"/>
                  </a:lnTo>
                  <a:lnTo>
                    <a:pt x="125" y="294"/>
                  </a:lnTo>
                  <a:lnTo>
                    <a:pt x="125" y="294"/>
                  </a:lnTo>
                  <a:lnTo>
                    <a:pt x="125" y="291"/>
                  </a:lnTo>
                  <a:lnTo>
                    <a:pt x="125" y="291"/>
                  </a:lnTo>
                  <a:lnTo>
                    <a:pt x="125" y="289"/>
                  </a:lnTo>
                  <a:lnTo>
                    <a:pt x="125" y="289"/>
                  </a:lnTo>
                  <a:lnTo>
                    <a:pt x="125" y="286"/>
                  </a:lnTo>
                  <a:lnTo>
                    <a:pt x="125" y="286"/>
                  </a:lnTo>
                  <a:lnTo>
                    <a:pt x="128" y="286"/>
                  </a:lnTo>
                  <a:lnTo>
                    <a:pt x="128" y="283"/>
                  </a:lnTo>
                  <a:lnTo>
                    <a:pt x="125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31" y="283"/>
                  </a:lnTo>
                  <a:lnTo>
                    <a:pt x="131" y="281"/>
                  </a:lnTo>
                  <a:lnTo>
                    <a:pt x="131" y="281"/>
                  </a:lnTo>
                  <a:lnTo>
                    <a:pt x="128" y="278"/>
                  </a:lnTo>
                  <a:lnTo>
                    <a:pt x="128" y="278"/>
                  </a:lnTo>
                  <a:lnTo>
                    <a:pt x="128" y="278"/>
                  </a:lnTo>
                  <a:lnTo>
                    <a:pt x="128" y="275"/>
                  </a:lnTo>
                  <a:lnTo>
                    <a:pt x="128" y="275"/>
                  </a:lnTo>
                  <a:lnTo>
                    <a:pt x="125" y="275"/>
                  </a:lnTo>
                  <a:lnTo>
                    <a:pt x="125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3" y="262"/>
                  </a:lnTo>
                  <a:lnTo>
                    <a:pt x="117" y="264"/>
                  </a:lnTo>
                  <a:lnTo>
                    <a:pt x="115" y="262"/>
                  </a:lnTo>
                  <a:lnTo>
                    <a:pt x="115" y="262"/>
                  </a:lnTo>
                  <a:lnTo>
                    <a:pt x="115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6"/>
                  </a:lnTo>
                  <a:lnTo>
                    <a:pt x="112" y="256"/>
                  </a:lnTo>
                  <a:lnTo>
                    <a:pt x="109" y="256"/>
                  </a:lnTo>
                  <a:lnTo>
                    <a:pt x="109" y="256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07" y="259"/>
                  </a:lnTo>
                  <a:lnTo>
                    <a:pt x="107" y="256"/>
                  </a:lnTo>
                  <a:lnTo>
                    <a:pt x="104" y="256"/>
                  </a:lnTo>
                  <a:lnTo>
                    <a:pt x="104" y="256"/>
                  </a:lnTo>
                  <a:lnTo>
                    <a:pt x="101" y="256"/>
                  </a:lnTo>
                  <a:lnTo>
                    <a:pt x="101" y="256"/>
                  </a:lnTo>
                  <a:lnTo>
                    <a:pt x="99" y="256"/>
                  </a:lnTo>
                  <a:lnTo>
                    <a:pt x="99" y="256"/>
                  </a:lnTo>
                  <a:lnTo>
                    <a:pt x="99" y="256"/>
                  </a:lnTo>
                  <a:lnTo>
                    <a:pt x="96" y="256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1"/>
                  </a:lnTo>
                  <a:lnTo>
                    <a:pt x="96" y="251"/>
                  </a:lnTo>
                  <a:lnTo>
                    <a:pt x="93" y="251"/>
                  </a:lnTo>
                  <a:lnTo>
                    <a:pt x="93" y="251"/>
                  </a:lnTo>
                  <a:lnTo>
                    <a:pt x="93" y="251"/>
                  </a:lnTo>
                  <a:lnTo>
                    <a:pt x="91" y="248"/>
                  </a:lnTo>
                  <a:lnTo>
                    <a:pt x="91" y="248"/>
                  </a:lnTo>
                  <a:lnTo>
                    <a:pt x="91" y="248"/>
                  </a:lnTo>
                  <a:lnTo>
                    <a:pt x="88" y="248"/>
                  </a:lnTo>
                  <a:lnTo>
                    <a:pt x="88" y="248"/>
                  </a:lnTo>
                  <a:lnTo>
                    <a:pt x="85" y="248"/>
                  </a:lnTo>
                  <a:lnTo>
                    <a:pt x="85" y="248"/>
                  </a:lnTo>
                  <a:lnTo>
                    <a:pt x="83" y="248"/>
                  </a:lnTo>
                  <a:lnTo>
                    <a:pt x="83" y="251"/>
                  </a:lnTo>
                  <a:lnTo>
                    <a:pt x="83" y="248"/>
                  </a:lnTo>
                  <a:lnTo>
                    <a:pt x="83" y="248"/>
                  </a:lnTo>
                  <a:lnTo>
                    <a:pt x="83" y="248"/>
                  </a:lnTo>
                  <a:lnTo>
                    <a:pt x="80" y="248"/>
                  </a:lnTo>
                  <a:lnTo>
                    <a:pt x="80" y="248"/>
                  </a:lnTo>
                  <a:lnTo>
                    <a:pt x="80" y="246"/>
                  </a:lnTo>
                  <a:lnTo>
                    <a:pt x="77" y="246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80" y="232"/>
                  </a:lnTo>
                  <a:lnTo>
                    <a:pt x="80" y="230"/>
                  </a:lnTo>
                  <a:lnTo>
                    <a:pt x="80" y="227"/>
                  </a:lnTo>
                  <a:lnTo>
                    <a:pt x="77" y="227"/>
                  </a:lnTo>
                  <a:lnTo>
                    <a:pt x="77" y="224"/>
                  </a:lnTo>
                  <a:lnTo>
                    <a:pt x="77" y="222"/>
                  </a:lnTo>
                  <a:lnTo>
                    <a:pt x="80" y="216"/>
                  </a:lnTo>
                  <a:lnTo>
                    <a:pt x="80" y="214"/>
                  </a:lnTo>
                  <a:lnTo>
                    <a:pt x="77" y="214"/>
                  </a:lnTo>
                  <a:lnTo>
                    <a:pt x="77" y="216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72" y="216"/>
                  </a:lnTo>
                  <a:lnTo>
                    <a:pt x="72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4" y="216"/>
                  </a:lnTo>
                  <a:lnTo>
                    <a:pt x="61" y="216"/>
                  </a:lnTo>
                  <a:lnTo>
                    <a:pt x="59" y="216"/>
                  </a:lnTo>
                  <a:lnTo>
                    <a:pt x="59" y="214"/>
                  </a:lnTo>
                  <a:lnTo>
                    <a:pt x="56" y="211"/>
                  </a:lnTo>
                  <a:lnTo>
                    <a:pt x="51" y="211"/>
                  </a:lnTo>
                  <a:lnTo>
                    <a:pt x="51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45" y="214"/>
                  </a:lnTo>
                  <a:lnTo>
                    <a:pt x="45" y="214"/>
                  </a:lnTo>
                  <a:lnTo>
                    <a:pt x="42" y="214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34" y="222"/>
                  </a:lnTo>
                  <a:lnTo>
                    <a:pt x="34" y="224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29" y="222"/>
                  </a:lnTo>
                  <a:lnTo>
                    <a:pt x="29" y="219"/>
                  </a:lnTo>
                  <a:lnTo>
                    <a:pt x="32" y="219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16"/>
                  </a:lnTo>
                  <a:lnTo>
                    <a:pt x="32" y="214"/>
                  </a:lnTo>
                  <a:lnTo>
                    <a:pt x="32" y="214"/>
                  </a:lnTo>
                  <a:lnTo>
                    <a:pt x="32" y="214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9" y="216"/>
                  </a:lnTo>
                  <a:lnTo>
                    <a:pt x="29" y="216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18" y="216"/>
                  </a:lnTo>
                  <a:lnTo>
                    <a:pt x="16" y="211"/>
                  </a:lnTo>
                  <a:lnTo>
                    <a:pt x="13" y="211"/>
                  </a:lnTo>
                  <a:lnTo>
                    <a:pt x="16" y="206"/>
                  </a:lnTo>
                  <a:lnTo>
                    <a:pt x="13" y="206"/>
                  </a:lnTo>
                  <a:lnTo>
                    <a:pt x="13" y="203"/>
                  </a:lnTo>
                  <a:lnTo>
                    <a:pt x="21" y="206"/>
                  </a:lnTo>
                  <a:lnTo>
                    <a:pt x="24" y="200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6" y="192"/>
                  </a:lnTo>
                  <a:lnTo>
                    <a:pt x="16" y="190"/>
                  </a:lnTo>
                  <a:lnTo>
                    <a:pt x="13" y="190"/>
                  </a:lnTo>
                  <a:lnTo>
                    <a:pt x="13" y="190"/>
                  </a:lnTo>
                  <a:lnTo>
                    <a:pt x="10" y="190"/>
                  </a:lnTo>
                  <a:lnTo>
                    <a:pt x="8" y="187"/>
                  </a:lnTo>
                  <a:lnTo>
                    <a:pt x="8" y="187"/>
                  </a:lnTo>
                  <a:lnTo>
                    <a:pt x="5" y="184"/>
                  </a:lnTo>
                  <a:lnTo>
                    <a:pt x="0" y="182"/>
                  </a:lnTo>
                  <a:lnTo>
                    <a:pt x="0" y="179"/>
                  </a:lnTo>
                  <a:lnTo>
                    <a:pt x="0" y="179"/>
                  </a:lnTo>
                  <a:lnTo>
                    <a:pt x="0" y="176"/>
                  </a:lnTo>
                  <a:lnTo>
                    <a:pt x="0" y="174"/>
                  </a:lnTo>
                  <a:lnTo>
                    <a:pt x="0" y="171"/>
                  </a:lnTo>
                  <a:lnTo>
                    <a:pt x="2" y="171"/>
                  </a:lnTo>
                  <a:lnTo>
                    <a:pt x="5" y="171"/>
                  </a:lnTo>
                  <a:lnTo>
                    <a:pt x="8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3" y="168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8" y="166"/>
                  </a:lnTo>
                  <a:lnTo>
                    <a:pt x="24" y="168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32" y="166"/>
                  </a:lnTo>
                  <a:lnTo>
                    <a:pt x="34" y="163"/>
                  </a:lnTo>
                  <a:lnTo>
                    <a:pt x="37" y="163"/>
                  </a:lnTo>
                  <a:lnTo>
                    <a:pt x="40" y="163"/>
                  </a:lnTo>
                  <a:lnTo>
                    <a:pt x="42" y="163"/>
                  </a:lnTo>
                  <a:lnTo>
                    <a:pt x="48" y="160"/>
                  </a:lnTo>
                  <a:lnTo>
                    <a:pt x="51" y="158"/>
                  </a:lnTo>
                  <a:lnTo>
                    <a:pt x="53" y="155"/>
                  </a:lnTo>
                  <a:lnTo>
                    <a:pt x="56" y="152"/>
                  </a:lnTo>
                  <a:lnTo>
                    <a:pt x="53" y="150"/>
                  </a:lnTo>
                  <a:lnTo>
                    <a:pt x="56" y="144"/>
                  </a:lnTo>
                  <a:lnTo>
                    <a:pt x="56" y="139"/>
                  </a:lnTo>
                  <a:lnTo>
                    <a:pt x="61" y="142"/>
                  </a:lnTo>
                  <a:lnTo>
                    <a:pt x="64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4"/>
                  </a:lnTo>
                  <a:lnTo>
                    <a:pt x="69" y="134"/>
                  </a:lnTo>
                  <a:lnTo>
                    <a:pt x="69" y="131"/>
                  </a:lnTo>
                  <a:lnTo>
                    <a:pt x="69" y="131"/>
                  </a:lnTo>
                  <a:lnTo>
                    <a:pt x="67" y="128"/>
                  </a:lnTo>
                  <a:lnTo>
                    <a:pt x="72" y="123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75" y="126"/>
                  </a:lnTo>
                  <a:lnTo>
                    <a:pt x="75" y="123"/>
                  </a:lnTo>
                  <a:lnTo>
                    <a:pt x="72" y="120"/>
                  </a:lnTo>
                  <a:lnTo>
                    <a:pt x="75" y="118"/>
                  </a:lnTo>
                  <a:lnTo>
                    <a:pt x="77" y="120"/>
                  </a:lnTo>
                  <a:lnTo>
                    <a:pt x="77" y="115"/>
                  </a:lnTo>
                  <a:lnTo>
                    <a:pt x="80" y="115"/>
                  </a:lnTo>
                  <a:lnTo>
                    <a:pt x="83" y="118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8" y="123"/>
                  </a:lnTo>
                  <a:lnTo>
                    <a:pt x="96" y="112"/>
                  </a:lnTo>
                  <a:lnTo>
                    <a:pt x="96" y="109"/>
                  </a:lnTo>
                  <a:lnTo>
                    <a:pt x="99" y="104"/>
                  </a:lnTo>
                  <a:lnTo>
                    <a:pt x="101" y="109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2" y="101"/>
                  </a:lnTo>
                  <a:lnTo>
                    <a:pt x="120" y="104"/>
                  </a:lnTo>
                  <a:lnTo>
                    <a:pt x="120" y="101"/>
                  </a:lnTo>
                  <a:lnTo>
                    <a:pt x="120" y="101"/>
                  </a:lnTo>
                  <a:lnTo>
                    <a:pt x="123" y="96"/>
                  </a:lnTo>
                  <a:lnTo>
                    <a:pt x="128" y="99"/>
                  </a:lnTo>
                  <a:lnTo>
                    <a:pt x="128" y="96"/>
                  </a:lnTo>
                  <a:lnTo>
                    <a:pt x="125" y="93"/>
                  </a:lnTo>
                  <a:lnTo>
                    <a:pt x="125" y="91"/>
                  </a:lnTo>
                  <a:lnTo>
                    <a:pt x="131" y="91"/>
                  </a:lnTo>
                  <a:lnTo>
                    <a:pt x="133" y="85"/>
                  </a:lnTo>
                  <a:lnTo>
                    <a:pt x="136" y="85"/>
                  </a:lnTo>
                  <a:lnTo>
                    <a:pt x="136" y="80"/>
                  </a:lnTo>
                  <a:lnTo>
                    <a:pt x="139" y="80"/>
                  </a:lnTo>
                  <a:lnTo>
                    <a:pt x="141" y="77"/>
                  </a:lnTo>
                  <a:lnTo>
                    <a:pt x="144" y="75"/>
                  </a:lnTo>
                  <a:lnTo>
                    <a:pt x="141" y="72"/>
                  </a:lnTo>
                  <a:lnTo>
                    <a:pt x="141" y="69"/>
                  </a:lnTo>
                  <a:lnTo>
                    <a:pt x="141" y="67"/>
                  </a:lnTo>
                  <a:lnTo>
                    <a:pt x="141" y="67"/>
                  </a:lnTo>
                  <a:lnTo>
                    <a:pt x="141" y="64"/>
                  </a:lnTo>
                  <a:lnTo>
                    <a:pt x="144" y="64"/>
                  </a:lnTo>
                  <a:lnTo>
                    <a:pt x="144" y="61"/>
                  </a:lnTo>
                  <a:lnTo>
                    <a:pt x="141" y="61"/>
                  </a:lnTo>
                  <a:lnTo>
                    <a:pt x="141" y="61"/>
                  </a:lnTo>
                  <a:lnTo>
                    <a:pt x="144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7" y="59"/>
                  </a:lnTo>
                  <a:lnTo>
                    <a:pt x="149" y="59"/>
                  </a:lnTo>
                  <a:lnTo>
                    <a:pt x="152" y="59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79" y="35"/>
                  </a:lnTo>
                  <a:lnTo>
                    <a:pt x="179" y="32"/>
                  </a:lnTo>
                  <a:lnTo>
                    <a:pt x="176" y="32"/>
                  </a:lnTo>
                  <a:lnTo>
                    <a:pt x="179" y="29"/>
                  </a:lnTo>
                  <a:lnTo>
                    <a:pt x="181" y="27"/>
                  </a:lnTo>
                  <a:lnTo>
                    <a:pt x="184" y="27"/>
                  </a:lnTo>
                  <a:lnTo>
                    <a:pt x="189" y="24"/>
                  </a:lnTo>
                  <a:lnTo>
                    <a:pt x="189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4" y="21"/>
                  </a:lnTo>
                  <a:lnTo>
                    <a:pt x="187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8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9" y="8"/>
                  </a:lnTo>
                  <a:lnTo>
                    <a:pt x="189" y="8"/>
                  </a:lnTo>
                  <a:lnTo>
                    <a:pt x="192" y="5"/>
                  </a:lnTo>
                  <a:lnTo>
                    <a:pt x="192" y="3"/>
                  </a:lnTo>
                  <a:lnTo>
                    <a:pt x="192" y="3"/>
                  </a:lnTo>
                  <a:lnTo>
                    <a:pt x="192" y="0"/>
                  </a:lnTo>
                  <a:lnTo>
                    <a:pt x="195" y="0"/>
                  </a:lnTo>
                  <a:lnTo>
                    <a:pt x="197" y="0"/>
                  </a:lnTo>
                  <a:lnTo>
                    <a:pt x="197" y="3"/>
                  </a:lnTo>
                  <a:lnTo>
                    <a:pt x="200" y="3"/>
                  </a:lnTo>
                  <a:lnTo>
                    <a:pt x="200" y="3"/>
                  </a:lnTo>
                  <a:lnTo>
                    <a:pt x="203" y="3"/>
                  </a:lnTo>
                  <a:lnTo>
                    <a:pt x="205" y="0"/>
                  </a:lnTo>
                  <a:lnTo>
                    <a:pt x="208" y="3"/>
                  </a:lnTo>
                  <a:lnTo>
                    <a:pt x="208" y="5"/>
                  </a:lnTo>
                  <a:lnTo>
                    <a:pt x="211" y="5"/>
                  </a:lnTo>
                  <a:lnTo>
                    <a:pt x="213" y="5"/>
                  </a:lnTo>
                  <a:lnTo>
                    <a:pt x="213" y="8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9" y="11"/>
                  </a:lnTo>
                  <a:lnTo>
                    <a:pt x="219" y="13"/>
                  </a:lnTo>
                  <a:lnTo>
                    <a:pt x="219" y="13"/>
                  </a:lnTo>
                  <a:lnTo>
                    <a:pt x="221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9"/>
                  </a:lnTo>
                  <a:lnTo>
                    <a:pt x="219" y="19"/>
                  </a:lnTo>
                  <a:lnTo>
                    <a:pt x="221" y="19"/>
                  </a:lnTo>
                  <a:lnTo>
                    <a:pt x="221" y="19"/>
                  </a:lnTo>
                  <a:lnTo>
                    <a:pt x="224" y="19"/>
                  </a:lnTo>
                  <a:lnTo>
                    <a:pt x="224" y="19"/>
                  </a:lnTo>
                  <a:lnTo>
                    <a:pt x="227" y="16"/>
                  </a:lnTo>
                  <a:lnTo>
                    <a:pt x="229" y="16"/>
                  </a:lnTo>
                  <a:lnTo>
                    <a:pt x="229" y="21"/>
                  </a:lnTo>
                  <a:lnTo>
                    <a:pt x="229" y="24"/>
                  </a:lnTo>
                  <a:lnTo>
                    <a:pt x="229" y="27"/>
                  </a:lnTo>
                  <a:lnTo>
                    <a:pt x="227" y="27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21" y="24"/>
                  </a:lnTo>
                  <a:lnTo>
                    <a:pt x="221" y="21"/>
                  </a:lnTo>
                  <a:lnTo>
                    <a:pt x="219" y="21"/>
                  </a:lnTo>
                  <a:lnTo>
                    <a:pt x="216" y="21"/>
                  </a:lnTo>
                  <a:lnTo>
                    <a:pt x="219" y="24"/>
                  </a:lnTo>
                  <a:lnTo>
                    <a:pt x="216" y="27"/>
                  </a:lnTo>
                  <a:lnTo>
                    <a:pt x="219" y="27"/>
                  </a:lnTo>
                  <a:lnTo>
                    <a:pt x="219" y="29"/>
                  </a:lnTo>
                  <a:lnTo>
                    <a:pt x="219" y="32"/>
                  </a:lnTo>
                  <a:lnTo>
                    <a:pt x="219" y="32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19" y="35"/>
                  </a:lnTo>
                  <a:lnTo>
                    <a:pt x="219" y="37"/>
                  </a:lnTo>
                  <a:lnTo>
                    <a:pt x="216" y="37"/>
                  </a:lnTo>
                  <a:lnTo>
                    <a:pt x="216" y="40"/>
                  </a:lnTo>
                  <a:lnTo>
                    <a:pt x="219" y="37"/>
                  </a:lnTo>
                  <a:lnTo>
                    <a:pt x="221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9" y="43"/>
                  </a:lnTo>
                  <a:lnTo>
                    <a:pt x="227" y="48"/>
                  </a:lnTo>
                  <a:lnTo>
                    <a:pt x="229" y="48"/>
                  </a:lnTo>
                  <a:lnTo>
                    <a:pt x="227" y="51"/>
                  </a:lnTo>
                  <a:lnTo>
                    <a:pt x="227" y="53"/>
                  </a:lnTo>
                  <a:lnTo>
                    <a:pt x="229" y="53"/>
                  </a:lnTo>
                  <a:lnTo>
                    <a:pt x="229" y="53"/>
                  </a:lnTo>
                  <a:lnTo>
                    <a:pt x="232" y="53"/>
                  </a:lnTo>
                  <a:lnTo>
                    <a:pt x="232" y="51"/>
                  </a:lnTo>
                  <a:lnTo>
                    <a:pt x="235" y="51"/>
                  </a:lnTo>
                  <a:lnTo>
                    <a:pt x="235" y="51"/>
                  </a:lnTo>
                  <a:lnTo>
                    <a:pt x="237" y="51"/>
                  </a:lnTo>
                  <a:lnTo>
                    <a:pt x="237" y="53"/>
                  </a:lnTo>
                  <a:lnTo>
                    <a:pt x="237" y="53"/>
                  </a:lnTo>
                  <a:lnTo>
                    <a:pt x="237" y="59"/>
                  </a:lnTo>
                  <a:lnTo>
                    <a:pt x="237" y="61"/>
                  </a:lnTo>
                  <a:lnTo>
                    <a:pt x="237" y="61"/>
                  </a:lnTo>
                  <a:lnTo>
                    <a:pt x="237" y="64"/>
                  </a:lnTo>
                  <a:lnTo>
                    <a:pt x="237" y="67"/>
                  </a:lnTo>
                  <a:lnTo>
                    <a:pt x="235" y="69"/>
                  </a:lnTo>
                  <a:lnTo>
                    <a:pt x="235" y="72"/>
                  </a:lnTo>
                  <a:lnTo>
                    <a:pt x="235" y="75"/>
                  </a:lnTo>
                  <a:lnTo>
                    <a:pt x="235" y="75"/>
                  </a:lnTo>
                  <a:lnTo>
                    <a:pt x="232" y="77"/>
                  </a:lnTo>
                  <a:lnTo>
                    <a:pt x="232" y="80"/>
                  </a:lnTo>
                  <a:lnTo>
                    <a:pt x="232" y="80"/>
                  </a:lnTo>
                  <a:lnTo>
                    <a:pt x="235" y="83"/>
                  </a:lnTo>
                  <a:lnTo>
                    <a:pt x="235" y="83"/>
                  </a:lnTo>
                  <a:lnTo>
                    <a:pt x="235" y="85"/>
                  </a:lnTo>
                  <a:lnTo>
                    <a:pt x="237" y="88"/>
                  </a:lnTo>
                  <a:lnTo>
                    <a:pt x="237" y="88"/>
                  </a:lnTo>
                  <a:lnTo>
                    <a:pt x="240" y="91"/>
                  </a:lnTo>
                  <a:lnTo>
                    <a:pt x="240" y="96"/>
                  </a:lnTo>
                  <a:lnTo>
                    <a:pt x="240" y="109"/>
                  </a:lnTo>
                  <a:lnTo>
                    <a:pt x="240" y="109"/>
                  </a:lnTo>
                  <a:lnTo>
                    <a:pt x="243" y="112"/>
                  </a:lnTo>
                  <a:lnTo>
                    <a:pt x="243" y="112"/>
                  </a:lnTo>
                  <a:lnTo>
                    <a:pt x="240" y="120"/>
                  </a:lnTo>
                  <a:lnTo>
                    <a:pt x="245" y="128"/>
                  </a:lnTo>
                  <a:lnTo>
                    <a:pt x="248" y="128"/>
                  </a:lnTo>
                  <a:lnTo>
                    <a:pt x="251" y="128"/>
                  </a:lnTo>
                  <a:lnTo>
                    <a:pt x="253" y="128"/>
                  </a:lnTo>
                  <a:lnTo>
                    <a:pt x="253" y="131"/>
                  </a:lnTo>
                  <a:lnTo>
                    <a:pt x="261" y="139"/>
                  </a:lnTo>
                  <a:lnTo>
                    <a:pt x="261" y="142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61" y="147"/>
                  </a:lnTo>
                  <a:lnTo>
                    <a:pt x="261" y="150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52"/>
                  </a:lnTo>
                  <a:lnTo>
                    <a:pt x="264" y="152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72" y="155"/>
                  </a:lnTo>
                  <a:lnTo>
                    <a:pt x="272" y="155"/>
                  </a:lnTo>
                  <a:lnTo>
                    <a:pt x="272" y="158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2" y="163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2" y="168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4"/>
                  </a:lnTo>
                  <a:lnTo>
                    <a:pt x="272" y="174"/>
                  </a:lnTo>
                  <a:lnTo>
                    <a:pt x="272" y="176"/>
                  </a:lnTo>
                  <a:lnTo>
                    <a:pt x="272" y="176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69" y="182"/>
                  </a:lnTo>
                  <a:lnTo>
                    <a:pt x="269" y="187"/>
                  </a:lnTo>
                  <a:lnTo>
                    <a:pt x="269" y="187"/>
                  </a:lnTo>
                  <a:lnTo>
                    <a:pt x="272" y="190"/>
                  </a:lnTo>
                  <a:lnTo>
                    <a:pt x="272" y="192"/>
                  </a:lnTo>
                  <a:lnTo>
                    <a:pt x="272" y="192"/>
                  </a:lnTo>
                  <a:lnTo>
                    <a:pt x="269" y="195"/>
                  </a:lnTo>
                  <a:lnTo>
                    <a:pt x="269" y="195"/>
                  </a:lnTo>
                  <a:lnTo>
                    <a:pt x="269" y="198"/>
                  </a:lnTo>
                  <a:lnTo>
                    <a:pt x="267" y="198"/>
                  </a:lnTo>
                  <a:lnTo>
                    <a:pt x="269" y="200"/>
                  </a:lnTo>
                  <a:lnTo>
                    <a:pt x="272" y="198"/>
                  </a:lnTo>
                  <a:lnTo>
                    <a:pt x="275" y="200"/>
                  </a:lnTo>
                  <a:lnTo>
                    <a:pt x="275" y="198"/>
                  </a:lnTo>
                  <a:lnTo>
                    <a:pt x="277" y="198"/>
                  </a:lnTo>
                  <a:lnTo>
                    <a:pt x="277" y="200"/>
                  </a:lnTo>
                  <a:lnTo>
                    <a:pt x="280" y="200"/>
                  </a:lnTo>
                  <a:lnTo>
                    <a:pt x="283" y="200"/>
                  </a:lnTo>
                  <a:lnTo>
                    <a:pt x="283" y="200"/>
                  </a:lnTo>
                  <a:lnTo>
                    <a:pt x="283" y="206"/>
                  </a:lnTo>
                  <a:lnTo>
                    <a:pt x="283" y="206"/>
                  </a:lnTo>
                  <a:lnTo>
                    <a:pt x="283" y="206"/>
                  </a:lnTo>
                  <a:lnTo>
                    <a:pt x="283" y="208"/>
                  </a:lnTo>
                  <a:lnTo>
                    <a:pt x="283" y="211"/>
                  </a:lnTo>
                  <a:lnTo>
                    <a:pt x="277" y="216"/>
                  </a:lnTo>
                  <a:lnTo>
                    <a:pt x="277" y="216"/>
                  </a:lnTo>
                  <a:lnTo>
                    <a:pt x="277" y="216"/>
                  </a:lnTo>
                  <a:lnTo>
                    <a:pt x="275" y="216"/>
                  </a:lnTo>
                  <a:lnTo>
                    <a:pt x="275" y="214"/>
                  </a:lnTo>
                  <a:lnTo>
                    <a:pt x="275" y="214"/>
                  </a:lnTo>
                  <a:lnTo>
                    <a:pt x="275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08"/>
                  </a:lnTo>
                  <a:lnTo>
                    <a:pt x="272" y="208"/>
                  </a:lnTo>
                  <a:lnTo>
                    <a:pt x="269" y="211"/>
                  </a:lnTo>
                  <a:lnTo>
                    <a:pt x="269" y="211"/>
                  </a:lnTo>
                  <a:lnTo>
                    <a:pt x="269" y="211"/>
                  </a:lnTo>
                  <a:lnTo>
                    <a:pt x="269" y="216"/>
                  </a:lnTo>
                  <a:lnTo>
                    <a:pt x="269" y="216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2" y="219"/>
                  </a:lnTo>
                  <a:lnTo>
                    <a:pt x="272" y="219"/>
                  </a:lnTo>
                  <a:lnTo>
                    <a:pt x="275" y="216"/>
                  </a:lnTo>
                  <a:lnTo>
                    <a:pt x="275" y="216"/>
                  </a:lnTo>
                  <a:lnTo>
                    <a:pt x="275" y="216"/>
                  </a:lnTo>
                  <a:lnTo>
                    <a:pt x="277" y="219"/>
                  </a:lnTo>
                  <a:lnTo>
                    <a:pt x="277" y="222"/>
                  </a:lnTo>
                  <a:lnTo>
                    <a:pt x="277" y="222"/>
                  </a:lnTo>
                  <a:lnTo>
                    <a:pt x="277" y="224"/>
                  </a:lnTo>
                  <a:lnTo>
                    <a:pt x="275" y="224"/>
                  </a:lnTo>
                  <a:lnTo>
                    <a:pt x="275" y="224"/>
                  </a:lnTo>
                  <a:lnTo>
                    <a:pt x="275" y="227"/>
                  </a:lnTo>
                  <a:lnTo>
                    <a:pt x="280" y="227"/>
                  </a:lnTo>
                  <a:lnTo>
                    <a:pt x="280" y="227"/>
                  </a:lnTo>
                  <a:lnTo>
                    <a:pt x="280" y="230"/>
                  </a:lnTo>
                  <a:lnTo>
                    <a:pt x="277" y="230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2"/>
                  </a:lnTo>
                  <a:lnTo>
                    <a:pt x="275" y="232"/>
                  </a:lnTo>
                  <a:lnTo>
                    <a:pt x="275" y="232"/>
                  </a:lnTo>
                  <a:lnTo>
                    <a:pt x="277" y="235"/>
                  </a:lnTo>
                  <a:lnTo>
                    <a:pt x="275" y="235"/>
                  </a:lnTo>
                  <a:lnTo>
                    <a:pt x="275" y="235"/>
                  </a:lnTo>
                  <a:lnTo>
                    <a:pt x="272" y="238"/>
                  </a:lnTo>
                  <a:lnTo>
                    <a:pt x="275" y="238"/>
                  </a:lnTo>
                  <a:lnTo>
                    <a:pt x="275" y="240"/>
                  </a:lnTo>
                  <a:lnTo>
                    <a:pt x="272" y="243"/>
                  </a:lnTo>
                  <a:lnTo>
                    <a:pt x="272" y="246"/>
                  </a:lnTo>
                  <a:lnTo>
                    <a:pt x="275" y="248"/>
                  </a:lnTo>
                  <a:lnTo>
                    <a:pt x="275" y="248"/>
                  </a:lnTo>
                  <a:lnTo>
                    <a:pt x="277" y="251"/>
                  </a:lnTo>
                  <a:lnTo>
                    <a:pt x="280" y="248"/>
                  </a:lnTo>
                  <a:lnTo>
                    <a:pt x="280" y="248"/>
                  </a:lnTo>
                  <a:lnTo>
                    <a:pt x="280" y="254"/>
                  </a:lnTo>
                  <a:lnTo>
                    <a:pt x="283" y="254"/>
                  </a:lnTo>
                  <a:lnTo>
                    <a:pt x="283" y="254"/>
                  </a:lnTo>
                  <a:lnTo>
                    <a:pt x="285" y="254"/>
                  </a:lnTo>
                  <a:lnTo>
                    <a:pt x="285" y="254"/>
                  </a:lnTo>
                  <a:lnTo>
                    <a:pt x="288" y="256"/>
                  </a:lnTo>
                  <a:lnTo>
                    <a:pt x="291" y="254"/>
                  </a:lnTo>
                  <a:lnTo>
                    <a:pt x="291" y="251"/>
                  </a:lnTo>
                  <a:lnTo>
                    <a:pt x="291" y="251"/>
                  </a:lnTo>
                  <a:lnTo>
                    <a:pt x="291" y="248"/>
                  </a:lnTo>
                  <a:lnTo>
                    <a:pt x="294" y="246"/>
                  </a:lnTo>
                  <a:lnTo>
                    <a:pt x="294" y="243"/>
                  </a:lnTo>
                  <a:lnTo>
                    <a:pt x="296" y="243"/>
                  </a:lnTo>
                  <a:lnTo>
                    <a:pt x="296" y="240"/>
                  </a:lnTo>
                  <a:lnTo>
                    <a:pt x="299" y="240"/>
                  </a:lnTo>
                  <a:lnTo>
                    <a:pt x="299" y="243"/>
                  </a:lnTo>
                  <a:lnTo>
                    <a:pt x="296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3"/>
                  </a:lnTo>
                  <a:lnTo>
                    <a:pt x="302" y="243"/>
                  </a:lnTo>
                  <a:lnTo>
                    <a:pt x="302" y="243"/>
                  </a:lnTo>
                  <a:lnTo>
                    <a:pt x="304" y="243"/>
                  </a:lnTo>
                  <a:lnTo>
                    <a:pt x="304" y="240"/>
                  </a:lnTo>
                  <a:lnTo>
                    <a:pt x="307" y="240"/>
                  </a:lnTo>
                  <a:lnTo>
                    <a:pt x="307" y="240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8"/>
                  </a:lnTo>
                  <a:lnTo>
                    <a:pt x="310" y="235"/>
                  </a:lnTo>
                  <a:lnTo>
                    <a:pt x="312" y="238"/>
                  </a:lnTo>
                  <a:lnTo>
                    <a:pt x="312" y="243"/>
                  </a:lnTo>
                  <a:lnTo>
                    <a:pt x="315" y="243"/>
                  </a:lnTo>
                  <a:lnTo>
                    <a:pt x="318" y="248"/>
                  </a:lnTo>
                  <a:lnTo>
                    <a:pt x="326" y="248"/>
                  </a:lnTo>
                  <a:lnTo>
                    <a:pt x="328" y="251"/>
                  </a:lnTo>
                  <a:lnTo>
                    <a:pt x="326" y="251"/>
                  </a:lnTo>
                  <a:lnTo>
                    <a:pt x="326" y="254"/>
                  </a:lnTo>
                  <a:lnTo>
                    <a:pt x="323" y="251"/>
                  </a:lnTo>
                  <a:lnTo>
                    <a:pt x="323" y="254"/>
                  </a:lnTo>
                  <a:lnTo>
                    <a:pt x="320" y="254"/>
                  </a:lnTo>
                  <a:lnTo>
                    <a:pt x="320" y="256"/>
                  </a:lnTo>
                  <a:lnTo>
                    <a:pt x="318" y="259"/>
                  </a:lnTo>
                  <a:lnTo>
                    <a:pt x="318" y="262"/>
                  </a:lnTo>
                  <a:lnTo>
                    <a:pt x="318" y="262"/>
                  </a:lnTo>
                  <a:lnTo>
                    <a:pt x="320" y="262"/>
                  </a:lnTo>
                  <a:lnTo>
                    <a:pt x="320" y="262"/>
                  </a:lnTo>
                  <a:lnTo>
                    <a:pt x="323" y="262"/>
                  </a:lnTo>
                  <a:lnTo>
                    <a:pt x="323" y="259"/>
                  </a:lnTo>
                  <a:lnTo>
                    <a:pt x="326" y="262"/>
                  </a:lnTo>
                  <a:lnTo>
                    <a:pt x="323" y="262"/>
                  </a:lnTo>
                  <a:lnTo>
                    <a:pt x="320" y="264"/>
                  </a:lnTo>
                  <a:lnTo>
                    <a:pt x="320" y="264"/>
                  </a:lnTo>
                  <a:lnTo>
                    <a:pt x="318" y="267"/>
                  </a:lnTo>
                  <a:lnTo>
                    <a:pt x="318" y="270"/>
                  </a:lnTo>
                  <a:lnTo>
                    <a:pt x="315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07" y="275"/>
                  </a:lnTo>
                  <a:lnTo>
                    <a:pt x="307" y="275"/>
                  </a:lnTo>
                  <a:lnTo>
                    <a:pt x="307" y="278"/>
                  </a:lnTo>
                  <a:lnTo>
                    <a:pt x="307" y="278"/>
                  </a:lnTo>
                  <a:lnTo>
                    <a:pt x="304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302" y="278"/>
                  </a:lnTo>
                  <a:lnTo>
                    <a:pt x="299" y="281"/>
                  </a:lnTo>
                  <a:lnTo>
                    <a:pt x="299" y="283"/>
                  </a:lnTo>
                  <a:lnTo>
                    <a:pt x="296" y="283"/>
                  </a:lnTo>
                  <a:lnTo>
                    <a:pt x="299" y="286"/>
                  </a:lnTo>
                  <a:lnTo>
                    <a:pt x="304" y="289"/>
                  </a:lnTo>
                  <a:lnTo>
                    <a:pt x="307" y="283"/>
                  </a:lnTo>
                  <a:lnTo>
                    <a:pt x="312" y="283"/>
                  </a:lnTo>
                  <a:lnTo>
                    <a:pt x="315" y="286"/>
                  </a:lnTo>
                  <a:lnTo>
                    <a:pt x="310" y="286"/>
                  </a:lnTo>
                  <a:lnTo>
                    <a:pt x="310" y="289"/>
                  </a:lnTo>
                  <a:lnTo>
                    <a:pt x="312" y="289"/>
                  </a:lnTo>
                  <a:lnTo>
                    <a:pt x="315" y="291"/>
                  </a:lnTo>
                  <a:lnTo>
                    <a:pt x="318" y="294"/>
                  </a:lnTo>
                  <a:lnTo>
                    <a:pt x="315" y="297"/>
                  </a:lnTo>
                  <a:lnTo>
                    <a:pt x="318" y="297"/>
                  </a:lnTo>
                  <a:lnTo>
                    <a:pt x="320" y="302"/>
                  </a:lnTo>
                  <a:lnTo>
                    <a:pt x="312" y="310"/>
                  </a:lnTo>
                  <a:lnTo>
                    <a:pt x="318" y="313"/>
                  </a:lnTo>
                  <a:lnTo>
                    <a:pt x="315" y="315"/>
                  </a:lnTo>
                  <a:lnTo>
                    <a:pt x="315" y="315"/>
                  </a:lnTo>
                  <a:lnTo>
                    <a:pt x="315" y="315"/>
                  </a:lnTo>
                  <a:lnTo>
                    <a:pt x="312" y="315"/>
                  </a:lnTo>
                  <a:lnTo>
                    <a:pt x="310" y="315"/>
                  </a:lnTo>
                  <a:lnTo>
                    <a:pt x="304" y="321"/>
                  </a:lnTo>
                  <a:lnTo>
                    <a:pt x="307" y="323"/>
                  </a:lnTo>
                  <a:lnTo>
                    <a:pt x="307" y="323"/>
                  </a:lnTo>
                  <a:lnTo>
                    <a:pt x="307" y="326"/>
                  </a:lnTo>
                  <a:lnTo>
                    <a:pt x="307" y="326"/>
                  </a:lnTo>
                  <a:lnTo>
                    <a:pt x="310" y="326"/>
                  </a:lnTo>
                  <a:lnTo>
                    <a:pt x="310" y="329"/>
                  </a:lnTo>
                  <a:lnTo>
                    <a:pt x="310" y="329"/>
                  </a:lnTo>
                  <a:lnTo>
                    <a:pt x="310" y="331"/>
                  </a:lnTo>
                  <a:lnTo>
                    <a:pt x="310" y="331"/>
                  </a:lnTo>
                  <a:lnTo>
                    <a:pt x="307" y="334"/>
                  </a:lnTo>
                  <a:lnTo>
                    <a:pt x="307" y="337"/>
                  </a:lnTo>
                  <a:lnTo>
                    <a:pt x="307" y="339"/>
                  </a:lnTo>
                  <a:lnTo>
                    <a:pt x="307" y="339"/>
                  </a:lnTo>
                  <a:lnTo>
                    <a:pt x="304" y="342"/>
                  </a:lnTo>
                  <a:lnTo>
                    <a:pt x="304" y="342"/>
                  </a:lnTo>
                  <a:lnTo>
                    <a:pt x="302" y="345"/>
                  </a:lnTo>
                  <a:lnTo>
                    <a:pt x="302" y="345"/>
                  </a:lnTo>
                  <a:lnTo>
                    <a:pt x="307" y="347"/>
                  </a:lnTo>
                  <a:lnTo>
                    <a:pt x="307" y="345"/>
                  </a:lnTo>
                  <a:lnTo>
                    <a:pt x="310" y="347"/>
                  </a:lnTo>
                  <a:lnTo>
                    <a:pt x="312" y="345"/>
                  </a:lnTo>
                  <a:lnTo>
                    <a:pt x="312" y="342"/>
                  </a:lnTo>
                  <a:lnTo>
                    <a:pt x="315" y="337"/>
                  </a:lnTo>
                  <a:lnTo>
                    <a:pt x="312" y="331"/>
                  </a:lnTo>
                  <a:lnTo>
                    <a:pt x="312" y="331"/>
                  </a:lnTo>
                  <a:lnTo>
                    <a:pt x="315" y="331"/>
                  </a:lnTo>
                  <a:lnTo>
                    <a:pt x="315" y="334"/>
                  </a:lnTo>
                  <a:lnTo>
                    <a:pt x="318" y="337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3" y="339"/>
                  </a:lnTo>
                  <a:lnTo>
                    <a:pt x="320" y="342"/>
                  </a:lnTo>
                  <a:lnTo>
                    <a:pt x="320" y="345"/>
                  </a:lnTo>
                  <a:lnTo>
                    <a:pt x="320" y="345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6" y="347"/>
                  </a:lnTo>
                  <a:lnTo>
                    <a:pt x="323" y="350"/>
                  </a:lnTo>
                  <a:lnTo>
                    <a:pt x="323" y="353"/>
                  </a:lnTo>
                  <a:lnTo>
                    <a:pt x="326" y="355"/>
                  </a:lnTo>
                  <a:lnTo>
                    <a:pt x="326" y="355"/>
                  </a:lnTo>
                  <a:lnTo>
                    <a:pt x="326" y="358"/>
                  </a:lnTo>
                  <a:lnTo>
                    <a:pt x="328" y="355"/>
                  </a:lnTo>
                  <a:lnTo>
                    <a:pt x="331" y="355"/>
                  </a:lnTo>
                  <a:lnTo>
                    <a:pt x="331" y="355"/>
                  </a:lnTo>
                  <a:lnTo>
                    <a:pt x="334" y="355"/>
                  </a:lnTo>
                  <a:lnTo>
                    <a:pt x="334" y="355"/>
                  </a:lnTo>
                  <a:lnTo>
                    <a:pt x="334" y="355"/>
                  </a:lnTo>
                  <a:lnTo>
                    <a:pt x="336" y="355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42" y="353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7"/>
                  </a:lnTo>
                  <a:lnTo>
                    <a:pt x="344" y="347"/>
                  </a:lnTo>
                  <a:lnTo>
                    <a:pt x="344" y="350"/>
                  </a:lnTo>
                  <a:lnTo>
                    <a:pt x="347" y="350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2" y="353"/>
                  </a:lnTo>
                  <a:lnTo>
                    <a:pt x="355" y="353"/>
                  </a:lnTo>
                  <a:lnTo>
                    <a:pt x="358" y="353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58" y="347"/>
                  </a:lnTo>
                  <a:lnTo>
                    <a:pt x="358" y="347"/>
                  </a:lnTo>
                  <a:lnTo>
                    <a:pt x="360" y="347"/>
                  </a:lnTo>
                  <a:lnTo>
                    <a:pt x="363" y="345"/>
                  </a:lnTo>
                  <a:lnTo>
                    <a:pt x="360" y="345"/>
                  </a:lnTo>
                  <a:lnTo>
                    <a:pt x="360" y="345"/>
                  </a:lnTo>
                  <a:lnTo>
                    <a:pt x="363" y="342"/>
                  </a:lnTo>
                  <a:lnTo>
                    <a:pt x="363" y="345"/>
                  </a:lnTo>
                  <a:lnTo>
                    <a:pt x="366" y="345"/>
                  </a:lnTo>
                  <a:lnTo>
                    <a:pt x="366" y="345"/>
                  </a:lnTo>
                  <a:lnTo>
                    <a:pt x="366" y="347"/>
                  </a:lnTo>
                  <a:lnTo>
                    <a:pt x="371" y="350"/>
                  </a:lnTo>
                  <a:lnTo>
                    <a:pt x="374" y="350"/>
                  </a:lnTo>
                  <a:lnTo>
                    <a:pt x="376" y="353"/>
                  </a:lnTo>
                  <a:lnTo>
                    <a:pt x="376" y="353"/>
                  </a:lnTo>
                  <a:lnTo>
                    <a:pt x="376" y="355"/>
                  </a:lnTo>
                  <a:lnTo>
                    <a:pt x="376" y="355"/>
                  </a:lnTo>
                  <a:lnTo>
                    <a:pt x="379" y="358"/>
                  </a:lnTo>
                  <a:lnTo>
                    <a:pt x="379" y="358"/>
                  </a:lnTo>
                  <a:lnTo>
                    <a:pt x="382" y="358"/>
                  </a:lnTo>
                  <a:lnTo>
                    <a:pt x="382" y="358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2" y="363"/>
                  </a:lnTo>
                  <a:lnTo>
                    <a:pt x="382" y="363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4" y="366"/>
                  </a:lnTo>
                  <a:lnTo>
                    <a:pt x="387" y="366"/>
                  </a:lnTo>
                  <a:lnTo>
                    <a:pt x="387" y="369"/>
                  </a:lnTo>
                  <a:lnTo>
                    <a:pt x="387" y="369"/>
                  </a:lnTo>
                  <a:lnTo>
                    <a:pt x="390" y="369"/>
                  </a:lnTo>
                  <a:lnTo>
                    <a:pt x="390" y="366"/>
                  </a:lnTo>
                  <a:lnTo>
                    <a:pt x="392" y="369"/>
                  </a:lnTo>
                  <a:lnTo>
                    <a:pt x="392" y="369"/>
                  </a:lnTo>
                  <a:lnTo>
                    <a:pt x="395" y="366"/>
                  </a:lnTo>
                  <a:lnTo>
                    <a:pt x="395" y="366"/>
                  </a:lnTo>
                  <a:lnTo>
                    <a:pt x="395" y="366"/>
                  </a:lnTo>
                  <a:lnTo>
                    <a:pt x="398" y="366"/>
                  </a:lnTo>
                  <a:lnTo>
                    <a:pt x="406" y="371"/>
                  </a:lnTo>
                  <a:lnTo>
                    <a:pt x="406" y="371"/>
                  </a:lnTo>
                  <a:lnTo>
                    <a:pt x="408" y="371"/>
                  </a:lnTo>
                  <a:lnTo>
                    <a:pt x="411" y="371"/>
                  </a:lnTo>
                  <a:lnTo>
                    <a:pt x="414" y="369"/>
                  </a:lnTo>
                  <a:lnTo>
                    <a:pt x="414" y="369"/>
                  </a:lnTo>
                  <a:lnTo>
                    <a:pt x="416" y="369"/>
                  </a:lnTo>
                  <a:lnTo>
                    <a:pt x="416" y="363"/>
                  </a:lnTo>
                  <a:lnTo>
                    <a:pt x="419" y="363"/>
                  </a:lnTo>
                  <a:lnTo>
                    <a:pt x="424" y="353"/>
                  </a:lnTo>
                  <a:lnTo>
                    <a:pt x="427" y="353"/>
                  </a:lnTo>
                  <a:lnTo>
                    <a:pt x="427" y="350"/>
                  </a:lnTo>
                  <a:lnTo>
                    <a:pt x="427" y="347"/>
                  </a:lnTo>
                  <a:lnTo>
                    <a:pt x="427" y="342"/>
                  </a:lnTo>
                  <a:lnTo>
                    <a:pt x="427" y="339"/>
                  </a:lnTo>
                  <a:lnTo>
                    <a:pt x="430" y="337"/>
                  </a:lnTo>
                  <a:lnTo>
                    <a:pt x="435" y="331"/>
                  </a:lnTo>
                  <a:lnTo>
                    <a:pt x="438" y="331"/>
                  </a:lnTo>
                  <a:lnTo>
                    <a:pt x="438" y="334"/>
                  </a:lnTo>
                  <a:lnTo>
                    <a:pt x="443" y="337"/>
                  </a:lnTo>
                  <a:lnTo>
                    <a:pt x="446" y="337"/>
                  </a:lnTo>
                  <a:lnTo>
                    <a:pt x="446" y="337"/>
                  </a:lnTo>
                  <a:lnTo>
                    <a:pt x="448" y="337"/>
                  </a:lnTo>
                  <a:lnTo>
                    <a:pt x="448" y="337"/>
                  </a:lnTo>
                  <a:lnTo>
                    <a:pt x="448" y="334"/>
                  </a:lnTo>
                  <a:lnTo>
                    <a:pt x="451" y="334"/>
                  </a:lnTo>
                  <a:lnTo>
                    <a:pt x="451" y="334"/>
                  </a:lnTo>
                  <a:lnTo>
                    <a:pt x="451" y="331"/>
                  </a:lnTo>
                  <a:lnTo>
                    <a:pt x="446" y="329"/>
                  </a:lnTo>
                  <a:lnTo>
                    <a:pt x="448" y="3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0" name="Freeform 8897">
              <a:extLst>
                <a:ext uri="{FF2B5EF4-FFF2-40B4-BE49-F238E27FC236}">
                  <a16:creationId xmlns:a16="http://schemas.microsoft.com/office/drawing/2014/main" id="{F51C2B6D-3E54-0845-B441-06926E89217A}"/>
                </a:ext>
              </a:extLst>
            </p:cNvPr>
            <p:cNvSpPr/>
            <p:nvPr/>
          </p:nvSpPr>
          <p:spPr bwMode="auto">
            <a:xfrm>
              <a:off x="3137692" y="4519614"/>
              <a:ext cx="500063" cy="654049"/>
            </a:xfrm>
            <a:custGeom>
              <a:avLst/>
              <a:gdLst>
                <a:gd name="T0" fmla="*/ 291 w 315"/>
                <a:gd name="T1" fmla="*/ 281 h 412"/>
                <a:gd name="T2" fmla="*/ 267 w 315"/>
                <a:gd name="T3" fmla="*/ 278 h 412"/>
                <a:gd name="T4" fmla="*/ 248 w 315"/>
                <a:gd name="T5" fmla="*/ 281 h 412"/>
                <a:gd name="T6" fmla="*/ 229 w 315"/>
                <a:gd name="T7" fmla="*/ 267 h 412"/>
                <a:gd name="T8" fmla="*/ 200 w 315"/>
                <a:gd name="T9" fmla="*/ 254 h 412"/>
                <a:gd name="T10" fmla="*/ 176 w 315"/>
                <a:gd name="T11" fmla="*/ 257 h 412"/>
                <a:gd name="T12" fmla="*/ 179 w 315"/>
                <a:gd name="T13" fmla="*/ 273 h 412"/>
                <a:gd name="T14" fmla="*/ 165 w 315"/>
                <a:gd name="T15" fmla="*/ 286 h 412"/>
                <a:gd name="T16" fmla="*/ 187 w 315"/>
                <a:gd name="T17" fmla="*/ 305 h 412"/>
                <a:gd name="T18" fmla="*/ 165 w 315"/>
                <a:gd name="T19" fmla="*/ 305 h 412"/>
                <a:gd name="T20" fmla="*/ 181 w 315"/>
                <a:gd name="T21" fmla="*/ 332 h 412"/>
                <a:gd name="T22" fmla="*/ 203 w 315"/>
                <a:gd name="T23" fmla="*/ 358 h 412"/>
                <a:gd name="T24" fmla="*/ 165 w 315"/>
                <a:gd name="T25" fmla="*/ 348 h 412"/>
                <a:gd name="T26" fmla="*/ 139 w 315"/>
                <a:gd name="T27" fmla="*/ 342 h 412"/>
                <a:gd name="T28" fmla="*/ 112 w 315"/>
                <a:gd name="T29" fmla="*/ 366 h 412"/>
                <a:gd name="T30" fmla="*/ 115 w 315"/>
                <a:gd name="T31" fmla="*/ 398 h 412"/>
                <a:gd name="T32" fmla="*/ 80 w 315"/>
                <a:gd name="T33" fmla="*/ 404 h 412"/>
                <a:gd name="T34" fmla="*/ 61 w 315"/>
                <a:gd name="T35" fmla="*/ 388 h 412"/>
                <a:gd name="T36" fmla="*/ 40 w 315"/>
                <a:gd name="T37" fmla="*/ 356 h 412"/>
                <a:gd name="T38" fmla="*/ 10 w 315"/>
                <a:gd name="T39" fmla="*/ 350 h 412"/>
                <a:gd name="T40" fmla="*/ 2 w 315"/>
                <a:gd name="T41" fmla="*/ 337 h 412"/>
                <a:gd name="T42" fmla="*/ 16 w 315"/>
                <a:gd name="T43" fmla="*/ 302 h 412"/>
                <a:gd name="T44" fmla="*/ 48 w 315"/>
                <a:gd name="T45" fmla="*/ 246 h 412"/>
                <a:gd name="T46" fmla="*/ 61 w 315"/>
                <a:gd name="T47" fmla="*/ 219 h 412"/>
                <a:gd name="T48" fmla="*/ 77 w 315"/>
                <a:gd name="T49" fmla="*/ 211 h 412"/>
                <a:gd name="T50" fmla="*/ 101 w 315"/>
                <a:gd name="T51" fmla="*/ 201 h 412"/>
                <a:gd name="T52" fmla="*/ 120 w 315"/>
                <a:gd name="T53" fmla="*/ 193 h 412"/>
                <a:gd name="T54" fmla="*/ 131 w 315"/>
                <a:gd name="T55" fmla="*/ 174 h 412"/>
                <a:gd name="T56" fmla="*/ 149 w 315"/>
                <a:gd name="T57" fmla="*/ 150 h 412"/>
                <a:gd name="T58" fmla="*/ 131 w 315"/>
                <a:gd name="T59" fmla="*/ 145 h 412"/>
                <a:gd name="T60" fmla="*/ 109 w 315"/>
                <a:gd name="T61" fmla="*/ 158 h 412"/>
                <a:gd name="T62" fmla="*/ 80 w 315"/>
                <a:gd name="T63" fmla="*/ 153 h 412"/>
                <a:gd name="T64" fmla="*/ 37 w 315"/>
                <a:gd name="T65" fmla="*/ 147 h 412"/>
                <a:gd name="T66" fmla="*/ 29 w 315"/>
                <a:gd name="T67" fmla="*/ 126 h 412"/>
                <a:gd name="T68" fmla="*/ 10 w 315"/>
                <a:gd name="T69" fmla="*/ 96 h 412"/>
                <a:gd name="T70" fmla="*/ 26 w 315"/>
                <a:gd name="T71" fmla="*/ 62 h 412"/>
                <a:gd name="T72" fmla="*/ 42 w 315"/>
                <a:gd name="T73" fmla="*/ 54 h 412"/>
                <a:gd name="T74" fmla="*/ 74 w 315"/>
                <a:gd name="T75" fmla="*/ 80 h 412"/>
                <a:gd name="T76" fmla="*/ 56 w 315"/>
                <a:gd name="T77" fmla="*/ 102 h 412"/>
                <a:gd name="T78" fmla="*/ 83 w 315"/>
                <a:gd name="T79" fmla="*/ 91 h 412"/>
                <a:gd name="T80" fmla="*/ 85 w 315"/>
                <a:gd name="T81" fmla="*/ 110 h 412"/>
                <a:gd name="T82" fmla="*/ 96 w 315"/>
                <a:gd name="T83" fmla="*/ 96 h 412"/>
                <a:gd name="T84" fmla="*/ 133 w 315"/>
                <a:gd name="T85" fmla="*/ 86 h 412"/>
                <a:gd name="T86" fmla="*/ 160 w 315"/>
                <a:gd name="T87" fmla="*/ 83 h 412"/>
                <a:gd name="T88" fmla="*/ 149 w 315"/>
                <a:gd name="T89" fmla="*/ 67 h 412"/>
                <a:gd name="T90" fmla="*/ 157 w 315"/>
                <a:gd name="T91" fmla="*/ 35 h 412"/>
                <a:gd name="T92" fmla="*/ 163 w 315"/>
                <a:gd name="T93" fmla="*/ 11 h 412"/>
                <a:gd name="T94" fmla="*/ 195 w 315"/>
                <a:gd name="T95" fmla="*/ 27 h 412"/>
                <a:gd name="T96" fmla="*/ 232 w 315"/>
                <a:gd name="T97" fmla="*/ 40 h 412"/>
                <a:gd name="T98" fmla="*/ 256 w 315"/>
                <a:gd name="T99" fmla="*/ 54 h 412"/>
                <a:gd name="T100" fmla="*/ 275 w 315"/>
                <a:gd name="T101" fmla="*/ 48 h 412"/>
                <a:gd name="T102" fmla="*/ 288 w 315"/>
                <a:gd name="T103" fmla="*/ 54 h 412"/>
                <a:gd name="T104" fmla="*/ 307 w 315"/>
                <a:gd name="T105" fmla="*/ 83 h 412"/>
                <a:gd name="T106" fmla="*/ 307 w 315"/>
                <a:gd name="T107" fmla="*/ 112 h 412"/>
                <a:gd name="T108" fmla="*/ 307 w 315"/>
                <a:gd name="T109" fmla="*/ 139 h 412"/>
                <a:gd name="T110" fmla="*/ 285 w 315"/>
                <a:gd name="T111" fmla="*/ 153 h 412"/>
                <a:gd name="T112" fmla="*/ 277 w 315"/>
                <a:gd name="T113" fmla="*/ 171 h 412"/>
                <a:gd name="T114" fmla="*/ 261 w 315"/>
                <a:gd name="T115" fmla="*/ 190 h 412"/>
                <a:gd name="T116" fmla="*/ 261 w 315"/>
                <a:gd name="T117" fmla="*/ 214 h 412"/>
                <a:gd name="T118" fmla="*/ 280 w 315"/>
                <a:gd name="T119" fmla="*/ 219 h 412"/>
                <a:gd name="T120" fmla="*/ 307 w 315"/>
                <a:gd name="T121" fmla="*/ 230 h 412"/>
                <a:gd name="T122" fmla="*/ 307 w 315"/>
                <a:gd name="T123" fmla="*/ 251 h 412"/>
                <a:gd name="T124" fmla="*/ 301 w 315"/>
                <a:gd name="T125" fmla="*/ 27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412" extrusionOk="0">
                  <a:moveTo>
                    <a:pt x="304" y="281"/>
                  </a:moveTo>
                  <a:lnTo>
                    <a:pt x="304" y="281"/>
                  </a:lnTo>
                  <a:lnTo>
                    <a:pt x="304" y="278"/>
                  </a:lnTo>
                  <a:lnTo>
                    <a:pt x="301" y="278"/>
                  </a:lnTo>
                  <a:lnTo>
                    <a:pt x="301" y="278"/>
                  </a:lnTo>
                  <a:lnTo>
                    <a:pt x="299" y="278"/>
                  </a:lnTo>
                  <a:lnTo>
                    <a:pt x="299" y="278"/>
                  </a:lnTo>
                  <a:lnTo>
                    <a:pt x="299" y="278"/>
                  </a:lnTo>
                  <a:lnTo>
                    <a:pt x="296" y="278"/>
                  </a:lnTo>
                  <a:lnTo>
                    <a:pt x="296" y="278"/>
                  </a:lnTo>
                  <a:lnTo>
                    <a:pt x="293" y="275"/>
                  </a:lnTo>
                  <a:lnTo>
                    <a:pt x="293" y="278"/>
                  </a:lnTo>
                  <a:lnTo>
                    <a:pt x="293" y="278"/>
                  </a:lnTo>
                  <a:lnTo>
                    <a:pt x="293" y="278"/>
                  </a:lnTo>
                  <a:lnTo>
                    <a:pt x="293" y="281"/>
                  </a:lnTo>
                  <a:lnTo>
                    <a:pt x="293" y="281"/>
                  </a:lnTo>
                  <a:lnTo>
                    <a:pt x="291" y="281"/>
                  </a:lnTo>
                  <a:lnTo>
                    <a:pt x="291" y="281"/>
                  </a:lnTo>
                  <a:lnTo>
                    <a:pt x="288" y="283"/>
                  </a:lnTo>
                  <a:lnTo>
                    <a:pt x="288" y="283"/>
                  </a:lnTo>
                  <a:lnTo>
                    <a:pt x="285" y="281"/>
                  </a:lnTo>
                  <a:lnTo>
                    <a:pt x="285" y="281"/>
                  </a:lnTo>
                  <a:lnTo>
                    <a:pt x="283" y="281"/>
                  </a:lnTo>
                  <a:lnTo>
                    <a:pt x="280" y="281"/>
                  </a:lnTo>
                  <a:lnTo>
                    <a:pt x="280" y="281"/>
                  </a:lnTo>
                  <a:lnTo>
                    <a:pt x="277" y="278"/>
                  </a:lnTo>
                  <a:lnTo>
                    <a:pt x="277" y="278"/>
                  </a:lnTo>
                  <a:lnTo>
                    <a:pt x="275" y="278"/>
                  </a:lnTo>
                  <a:lnTo>
                    <a:pt x="275" y="278"/>
                  </a:lnTo>
                  <a:lnTo>
                    <a:pt x="272" y="278"/>
                  </a:lnTo>
                  <a:lnTo>
                    <a:pt x="272" y="278"/>
                  </a:lnTo>
                  <a:lnTo>
                    <a:pt x="269" y="278"/>
                  </a:lnTo>
                  <a:lnTo>
                    <a:pt x="269" y="278"/>
                  </a:lnTo>
                  <a:lnTo>
                    <a:pt x="267" y="278"/>
                  </a:lnTo>
                  <a:lnTo>
                    <a:pt x="267" y="275"/>
                  </a:lnTo>
                  <a:lnTo>
                    <a:pt x="267" y="275"/>
                  </a:lnTo>
                  <a:lnTo>
                    <a:pt x="264" y="275"/>
                  </a:lnTo>
                  <a:lnTo>
                    <a:pt x="261" y="275"/>
                  </a:lnTo>
                  <a:lnTo>
                    <a:pt x="259" y="278"/>
                  </a:lnTo>
                  <a:lnTo>
                    <a:pt x="259" y="278"/>
                  </a:lnTo>
                  <a:lnTo>
                    <a:pt x="259" y="283"/>
                  </a:lnTo>
                  <a:lnTo>
                    <a:pt x="253" y="289"/>
                  </a:lnTo>
                  <a:lnTo>
                    <a:pt x="253" y="289"/>
                  </a:lnTo>
                  <a:lnTo>
                    <a:pt x="251" y="291"/>
                  </a:lnTo>
                  <a:lnTo>
                    <a:pt x="251" y="289"/>
                  </a:lnTo>
                  <a:lnTo>
                    <a:pt x="251" y="289"/>
                  </a:lnTo>
                  <a:lnTo>
                    <a:pt x="248" y="286"/>
                  </a:lnTo>
                  <a:lnTo>
                    <a:pt x="248" y="286"/>
                  </a:lnTo>
                  <a:lnTo>
                    <a:pt x="248" y="283"/>
                  </a:lnTo>
                  <a:lnTo>
                    <a:pt x="248" y="281"/>
                  </a:lnTo>
                  <a:lnTo>
                    <a:pt x="248" y="281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3" y="278"/>
                  </a:lnTo>
                  <a:lnTo>
                    <a:pt x="253" y="278"/>
                  </a:lnTo>
                  <a:lnTo>
                    <a:pt x="251" y="275"/>
                  </a:lnTo>
                  <a:lnTo>
                    <a:pt x="251" y="275"/>
                  </a:lnTo>
                  <a:lnTo>
                    <a:pt x="251" y="275"/>
                  </a:lnTo>
                  <a:lnTo>
                    <a:pt x="248" y="275"/>
                  </a:lnTo>
                  <a:lnTo>
                    <a:pt x="245" y="275"/>
                  </a:lnTo>
                  <a:lnTo>
                    <a:pt x="243" y="273"/>
                  </a:lnTo>
                  <a:lnTo>
                    <a:pt x="240" y="273"/>
                  </a:lnTo>
                  <a:lnTo>
                    <a:pt x="240" y="273"/>
                  </a:lnTo>
                  <a:lnTo>
                    <a:pt x="237" y="273"/>
                  </a:lnTo>
                  <a:lnTo>
                    <a:pt x="235" y="270"/>
                  </a:lnTo>
                  <a:lnTo>
                    <a:pt x="232" y="270"/>
                  </a:lnTo>
                  <a:lnTo>
                    <a:pt x="232" y="270"/>
                  </a:lnTo>
                  <a:lnTo>
                    <a:pt x="229" y="267"/>
                  </a:lnTo>
                  <a:lnTo>
                    <a:pt x="227" y="275"/>
                  </a:lnTo>
                  <a:lnTo>
                    <a:pt x="219" y="270"/>
                  </a:lnTo>
                  <a:lnTo>
                    <a:pt x="221" y="267"/>
                  </a:lnTo>
                  <a:lnTo>
                    <a:pt x="219" y="265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3" y="265"/>
                  </a:lnTo>
                  <a:lnTo>
                    <a:pt x="213" y="265"/>
                  </a:lnTo>
                  <a:lnTo>
                    <a:pt x="208" y="262"/>
                  </a:lnTo>
                  <a:lnTo>
                    <a:pt x="205" y="265"/>
                  </a:lnTo>
                  <a:lnTo>
                    <a:pt x="205" y="265"/>
                  </a:lnTo>
                  <a:lnTo>
                    <a:pt x="205" y="262"/>
                  </a:lnTo>
                  <a:lnTo>
                    <a:pt x="203" y="262"/>
                  </a:lnTo>
                  <a:lnTo>
                    <a:pt x="203" y="259"/>
                  </a:lnTo>
                  <a:lnTo>
                    <a:pt x="200" y="259"/>
                  </a:lnTo>
                  <a:lnTo>
                    <a:pt x="200" y="257"/>
                  </a:lnTo>
                  <a:lnTo>
                    <a:pt x="200" y="254"/>
                  </a:lnTo>
                  <a:lnTo>
                    <a:pt x="203" y="251"/>
                  </a:lnTo>
                  <a:lnTo>
                    <a:pt x="192" y="249"/>
                  </a:lnTo>
                  <a:lnTo>
                    <a:pt x="187" y="249"/>
                  </a:lnTo>
                  <a:lnTo>
                    <a:pt x="187" y="251"/>
                  </a:lnTo>
                  <a:lnTo>
                    <a:pt x="189" y="254"/>
                  </a:lnTo>
                  <a:lnTo>
                    <a:pt x="189" y="257"/>
                  </a:lnTo>
                  <a:lnTo>
                    <a:pt x="187" y="259"/>
                  </a:lnTo>
                  <a:lnTo>
                    <a:pt x="187" y="262"/>
                  </a:lnTo>
                  <a:lnTo>
                    <a:pt x="187" y="262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1" y="259"/>
                  </a:lnTo>
                  <a:lnTo>
                    <a:pt x="184" y="259"/>
                  </a:lnTo>
                  <a:lnTo>
                    <a:pt x="184" y="257"/>
                  </a:lnTo>
                  <a:lnTo>
                    <a:pt x="181" y="257"/>
                  </a:lnTo>
                  <a:lnTo>
                    <a:pt x="179" y="257"/>
                  </a:lnTo>
                  <a:lnTo>
                    <a:pt x="176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1" y="259"/>
                  </a:lnTo>
                  <a:lnTo>
                    <a:pt x="171" y="259"/>
                  </a:lnTo>
                  <a:lnTo>
                    <a:pt x="173" y="259"/>
                  </a:lnTo>
                  <a:lnTo>
                    <a:pt x="173" y="262"/>
                  </a:lnTo>
                  <a:lnTo>
                    <a:pt x="176" y="262"/>
                  </a:lnTo>
                  <a:lnTo>
                    <a:pt x="179" y="262"/>
                  </a:lnTo>
                  <a:lnTo>
                    <a:pt x="179" y="265"/>
                  </a:lnTo>
                  <a:lnTo>
                    <a:pt x="179" y="267"/>
                  </a:lnTo>
                  <a:lnTo>
                    <a:pt x="179" y="267"/>
                  </a:lnTo>
                  <a:lnTo>
                    <a:pt x="181" y="267"/>
                  </a:lnTo>
                  <a:lnTo>
                    <a:pt x="181" y="270"/>
                  </a:lnTo>
                  <a:lnTo>
                    <a:pt x="181" y="270"/>
                  </a:lnTo>
                  <a:lnTo>
                    <a:pt x="181" y="273"/>
                  </a:lnTo>
                  <a:lnTo>
                    <a:pt x="179" y="273"/>
                  </a:lnTo>
                  <a:lnTo>
                    <a:pt x="179" y="273"/>
                  </a:lnTo>
                  <a:lnTo>
                    <a:pt x="176" y="273"/>
                  </a:lnTo>
                  <a:lnTo>
                    <a:pt x="173" y="273"/>
                  </a:lnTo>
                  <a:lnTo>
                    <a:pt x="173" y="275"/>
                  </a:lnTo>
                  <a:lnTo>
                    <a:pt x="171" y="275"/>
                  </a:lnTo>
                  <a:lnTo>
                    <a:pt x="171" y="278"/>
                  </a:lnTo>
                  <a:lnTo>
                    <a:pt x="168" y="278"/>
                  </a:lnTo>
                  <a:lnTo>
                    <a:pt x="168" y="278"/>
                  </a:lnTo>
                  <a:lnTo>
                    <a:pt x="165" y="278"/>
                  </a:lnTo>
                  <a:lnTo>
                    <a:pt x="165" y="278"/>
                  </a:lnTo>
                  <a:lnTo>
                    <a:pt x="165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57" y="278"/>
                  </a:lnTo>
                  <a:lnTo>
                    <a:pt x="157" y="281"/>
                  </a:lnTo>
                  <a:lnTo>
                    <a:pt x="165" y="286"/>
                  </a:lnTo>
                  <a:lnTo>
                    <a:pt x="165" y="286"/>
                  </a:lnTo>
                  <a:lnTo>
                    <a:pt x="165" y="289"/>
                  </a:lnTo>
                  <a:lnTo>
                    <a:pt x="165" y="289"/>
                  </a:lnTo>
                  <a:lnTo>
                    <a:pt x="179" y="297"/>
                  </a:lnTo>
                  <a:lnTo>
                    <a:pt x="179" y="294"/>
                  </a:lnTo>
                  <a:lnTo>
                    <a:pt x="181" y="294"/>
                  </a:lnTo>
                  <a:lnTo>
                    <a:pt x="184" y="294"/>
                  </a:lnTo>
                  <a:lnTo>
                    <a:pt x="184" y="297"/>
                  </a:lnTo>
                  <a:lnTo>
                    <a:pt x="187" y="297"/>
                  </a:lnTo>
                  <a:lnTo>
                    <a:pt x="189" y="297"/>
                  </a:lnTo>
                  <a:lnTo>
                    <a:pt x="189" y="300"/>
                  </a:lnTo>
                  <a:lnTo>
                    <a:pt x="189" y="302"/>
                  </a:lnTo>
                  <a:lnTo>
                    <a:pt x="189" y="302"/>
                  </a:lnTo>
                  <a:lnTo>
                    <a:pt x="189" y="302"/>
                  </a:lnTo>
                  <a:lnTo>
                    <a:pt x="189" y="305"/>
                  </a:lnTo>
                  <a:lnTo>
                    <a:pt x="187" y="305"/>
                  </a:lnTo>
                  <a:lnTo>
                    <a:pt x="187" y="305"/>
                  </a:lnTo>
                  <a:lnTo>
                    <a:pt x="184" y="308"/>
                  </a:lnTo>
                  <a:lnTo>
                    <a:pt x="184" y="305"/>
                  </a:lnTo>
                  <a:lnTo>
                    <a:pt x="184" y="305"/>
                  </a:lnTo>
                  <a:lnTo>
                    <a:pt x="181" y="308"/>
                  </a:lnTo>
                  <a:lnTo>
                    <a:pt x="181" y="308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6" y="308"/>
                  </a:lnTo>
                  <a:lnTo>
                    <a:pt x="176" y="305"/>
                  </a:lnTo>
                  <a:lnTo>
                    <a:pt x="176" y="302"/>
                  </a:lnTo>
                  <a:lnTo>
                    <a:pt x="173" y="302"/>
                  </a:lnTo>
                  <a:lnTo>
                    <a:pt x="173" y="300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68" y="302"/>
                  </a:lnTo>
                  <a:lnTo>
                    <a:pt x="168" y="302"/>
                  </a:lnTo>
                  <a:lnTo>
                    <a:pt x="165" y="305"/>
                  </a:lnTo>
                  <a:lnTo>
                    <a:pt x="163" y="305"/>
                  </a:lnTo>
                  <a:lnTo>
                    <a:pt x="163" y="308"/>
                  </a:lnTo>
                  <a:lnTo>
                    <a:pt x="160" y="308"/>
                  </a:lnTo>
                  <a:lnTo>
                    <a:pt x="160" y="313"/>
                  </a:lnTo>
                  <a:lnTo>
                    <a:pt x="160" y="316"/>
                  </a:lnTo>
                  <a:lnTo>
                    <a:pt x="160" y="316"/>
                  </a:lnTo>
                  <a:lnTo>
                    <a:pt x="163" y="318"/>
                  </a:lnTo>
                  <a:lnTo>
                    <a:pt x="163" y="318"/>
                  </a:lnTo>
                  <a:lnTo>
                    <a:pt x="168" y="321"/>
                  </a:lnTo>
                  <a:lnTo>
                    <a:pt x="171" y="321"/>
                  </a:lnTo>
                  <a:lnTo>
                    <a:pt x="171" y="324"/>
                  </a:lnTo>
                  <a:lnTo>
                    <a:pt x="171" y="326"/>
                  </a:lnTo>
                  <a:lnTo>
                    <a:pt x="173" y="329"/>
                  </a:lnTo>
                  <a:lnTo>
                    <a:pt x="173" y="332"/>
                  </a:lnTo>
                  <a:lnTo>
                    <a:pt x="176" y="332"/>
                  </a:lnTo>
                  <a:lnTo>
                    <a:pt x="179" y="332"/>
                  </a:lnTo>
                  <a:lnTo>
                    <a:pt x="181" y="332"/>
                  </a:lnTo>
                  <a:lnTo>
                    <a:pt x="181" y="329"/>
                  </a:lnTo>
                  <a:lnTo>
                    <a:pt x="184" y="329"/>
                  </a:lnTo>
                  <a:lnTo>
                    <a:pt x="184" y="332"/>
                  </a:lnTo>
                  <a:lnTo>
                    <a:pt x="187" y="334"/>
                  </a:lnTo>
                  <a:lnTo>
                    <a:pt x="187" y="337"/>
                  </a:lnTo>
                  <a:lnTo>
                    <a:pt x="187" y="340"/>
                  </a:lnTo>
                  <a:lnTo>
                    <a:pt x="187" y="342"/>
                  </a:lnTo>
                  <a:lnTo>
                    <a:pt x="189" y="345"/>
                  </a:lnTo>
                  <a:lnTo>
                    <a:pt x="192" y="348"/>
                  </a:lnTo>
                  <a:lnTo>
                    <a:pt x="195" y="348"/>
                  </a:lnTo>
                  <a:lnTo>
                    <a:pt x="197" y="348"/>
                  </a:lnTo>
                  <a:lnTo>
                    <a:pt x="197" y="348"/>
                  </a:lnTo>
                  <a:lnTo>
                    <a:pt x="200" y="348"/>
                  </a:lnTo>
                  <a:lnTo>
                    <a:pt x="200" y="350"/>
                  </a:lnTo>
                  <a:lnTo>
                    <a:pt x="203" y="353"/>
                  </a:lnTo>
                  <a:lnTo>
                    <a:pt x="203" y="356"/>
                  </a:lnTo>
                  <a:lnTo>
                    <a:pt x="203" y="358"/>
                  </a:lnTo>
                  <a:lnTo>
                    <a:pt x="200" y="358"/>
                  </a:lnTo>
                  <a:lnTo>
                    <a:pt x="200" y="361"/>
                  </a:lnTo>
                  <a:lnTo>
                    <a:pt x="197" y="361"/>
                  </a:lnTo>
                  <a:lnTo>
                    <a:pt x="197" y="364"/>
                  </a:lnTo>
                  <a:lnTo>
                    <a:pt x="195" y="364"/>
                  </a:lnTo>
                  <a:lnTo>
                    <a:pt x="192" y="364"/>
                  </a:lnTo>
                  <a:lnTo>
                    <a:pt x="187" y="364"/>
                  </a:lnTo>
                  <a:lnTo>
                    <a:pt x="184" y="361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76" y="353"/>
                  </a:lnTo>
                  <a:lnTo>
                    <a:pt x="173" y="356"/>
                  </a:lnTo>
                  <a:lnTo>
                    <a:pt x="173" y="356"/>
                  </a:lnTo>
                  <a:lnTo>
                    <a:pt x="171" y="356"/>
                  </a:lnTo>
                  <a:lnTo>
                    <a:pt x="171" y="350"/>
                  </a:lnTo>
                  <a:lnTo>
                    <a:pt x="168" y="350"/>
                  </a:lnTo>
                  <a:lnTo>
                    <a:pt x="165" y="348"/>
                  </a:lnTo>
                  <a:lnTo>
                    <a:pt x="165" y="345"/>
                  </a:lnTo>
                  <a:lnTo>
                    <a:pt x="163" y="345"/>
                  </a:lnTo>
                  <a:lnTo>
                    <a:pt x="157" y="348"/>
                  </a:lnTo>
                  <a:lnTo>
                    <a:pt x="155" y="348"/>
                  </a:lnTo>
                  <a:lnTo>
                    <a:pt x="155" y="345"/>
                  </a:lnTo>
                  <a:lnTo>
                    <a:pt x="155" y="345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0"/>
                  </a:lnTo>
                  <a:lnTo>
                    <a:pt x="149" y="342"/>
                  </a:lnTo>
                  <a:lnTo>
                    <a:pt x="147" y="342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4" y="342"/>
                  </a:lnTo>
                  <a:lnTo>
                    <a:pt x="141" y="342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5"/>
                  </a:lnTo>
                  <a:lnTo>
                    <a:pt x="139" y="345"/>
                  </a:lnTo>
                  <a:lnTo>
                    <a:pt x="139" y="345"/>
                  </a:lnTo>
                  <a:lnTo>
                    <a:pt x="139" y="348"/>
                  </a:lnTo>
                  <a:lnTo>
                    <a:pt x="131" y="350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5" y="353"/>
                  </a:lnTo>
                  <a:lnTo>
                    <a:pt x="125" y="353"/>
                  </a:lnTo>
                  <a:lnTo>
                    <a:pt x="123" y="356"/>
                  </a:lnTo>
                  <a:lnTo>
                    <a:pt x="120" y="356"/>
                  </a:lnTo>
                  <a:lnTo>
                    <a:pt x="115" y="353"/>
                  </a:lnTo>
                  <a:lnTo>
                    <a:pt x="112" y="361"/>
                  </a:lnTo>
                  <a:lnTo>
                    <a:pt x="112" y="361"/>
                  </a:lnTo>
                  <a:lnTo>
                    <a:pt x="112" y="364"/>
                  </a:lnTo>
                  <a:lnTo>
                    <a:pt x="112" y="364"/>
                  </a:lnTo>
                  <a:lnTo>
                    <a:pt x="112" y="366"/>
                  </a:lnTo>
                  <a:lnTo>
                    <a:pt x="112" y="366"/>
                  </a:lnTo>
                  <a:lnTo>
                    <a:pt x="115" y="366"/>
                  </a:lnTo>
                  <a:lnTo>
                    <a:pt x="117" y="366"/>
                  </a:lnTo>
                  <a:lnTo>
                    <a:pt x="115" y="374"/>
                  </a:lnTo>
                  <a:lnTo>
                    <a:pt x="115" y="377"/>
                  </a:lnTo>
                  <a:lnTo>
                    <a:pt x="117" y="380"/>
                  </a:lnTo>
                  <a:lnTo>
                    <a:pt x="117" y="380"/>
                  </a:lnTo>
                  <a:lnTo>
                    <a:pt x="120" y="382"/>
                  </a:lnTo>
                  <a:lnTo>
                    <a:pt x="120" y="382"/>
                  </a:lnTo>
                  <a:lnTo>
                    <a:pt x="120" y="385"/>
                  </a:lnTo>
                  <a:lnTo>
                    <a:pt x="117" y="388"/>
                  </a:lnTo>
                  <a:lnTo>
                    <a:pt x="117" y="390"/>
                  </a:lnTo>
                  <a:lnTo>
                    <a:pt x="117" y="390"/>
                  </a:lnTo>
                  <a:lnTo>
                    <a:pt x="117" y="393"/>
                  </a:lnTo>
                  <a:lnTo>
                    <a:pt x="120" y="396"/>
                  </a:lnTo>
                  <a:lnTo>
                    <a:pt x="117" y="398"/>
                  </a:lnTo>
                  <a:lnTo>
                    <a:pt x="115" y="398"/>
                  </a:lnTo>
                  <a:lnTo>
                    <a:pt x="112" y="398"/>
                  </a:lnTo>
                  <a:lnTo>
                    <a:pt x="112" y="401"/>
                  </a:lnTo>
                  <a:lnTo>
                    <a:pt x="109" y="401"/>
                  </a:lnTo>
                  <a:lnTo>
                    <a:pt x="109" y="401"/>
                  </a:lnTo>
                  <a:lnTo>
                    <a:pt x="104" y="401"/>
                  </a:lnTo>
                  <a:lnTo>
                    <a:pt x="101" y="404"/>
                  </a:lnTo>
                  <a:lnTo>
                    <a:pt x="101" y="401"/>
                  </a:lnTo>
                  <a:lnTo>
                    <a:pt x="99" y="404"/>
                  </a:lnTo>
                  <a:lnTo>
                    <a:pt x="99" y="404"/>
                  </a:lnTo>
                  <a:lnTo>
                    <a:pt x="96" y="406"/>
                  </a:lnTo>
                  <a:lnTo>
                    <a:pt x="93" y="406"/>
                  </a:lnTo>
                  <a:lnTo>
                    <a:pt x="91" y="406"/>
                  </a:lnTo>
                  <a:lnTo>
                    <a:pt x="88" y="404"/>
                  </a:lnTo>
                  <a:lnTo>
                    <a:pt x="85" y="404"/>
                  </a:lnTo>
                  <a:lnTo>
                    <a:pt x="83" y="404"/>
                  </a:lnTo>
                  <a:lnTo>
                    <a:pt x="83" y="404"/>
                  </a:lnTo>
                  <a:lnTo>
                    <a:pt x="80" y="404"/>
                  </a:lnTo>
                  <a:lnTo>
                    <a:pt x="64" y="409"/>
                  </a:lnTo>
                  <a:lnTo>
                    <a:pt x="61" y="412"/>
                  </a:lnTo>
                  <a:lnTo>
                    <a:pt x="61" y="412"/>
                  </a:lnTo>
                  <a:lnTo>
                    <a:pt x="58" y="412"/>
                  </a:lnTo>
                  <a:lnTo>
                    <a:pt x="50" y="406"/>
                  </a:lnTo>
                  <a:lnTo>
                    <a:pt x="50" y="401"/>
                  </a:lnTo>
                  <a:lnTo>
                    <a:pt x="48" y="398"/>
                  </a:lnTo>
                  <a:lnTo>
                    <a:pt x="48" y="396"/>
                  </a:lnTo>
                  <a:lnTo>
                    <a:pt x="50" y="396"/>
                  </a:lnTo>
                  <a:lnTo>
                    <a:pt x="53" y="393"/>
                  </a:lnTo>
                  <a:lnTo>
                    <a:pt x="53" y="390"/>
                  </a:lnTo>
                  <a:lnTo>
                    <a:pt x="53" y="390"/>
                  </a:lnTo>
                  <a:lnTo>
                    <a:pt x="56" y="388"/>
                  </a:lnTo>
                  <a:lnTo>
                    <a:pt x="56" y="388"/>
                  </a:lnTo>
                  <a:lnTo>
                    <a:pt x="58" y="390"/>
                  </a:lnTo>
                  <a:lnTo>
                    <a:pt x="58" y="388"/>
                  </a:lnTo>
                  <a:lnTo>
                    <a:pt x="61" y="388"/>
                  </a:lnTo>
                  <a:lnTo>
                    <a:pt x="61" y="388"/>
                  </a:lnTo>
                  <a:lnTo>
                    <a:pt x="64" y="388"/>
                  </a:lnTo>
                  <a:lnTo>
                    <a:pt x="66" y="385"/>
                  </a:lnTo>
                  <a:lnTo>
                    <a:pt x="66" y="385"/>
                  </a:lnTo>
                  <a:lnTo>
                    <a:pt x="74" y="374"/>
                  </a:lnTo>
                  <a:lnTo>
                    <a:pt x="69" y="369"/>
                  </a:lnTo>
                  <a:lnTo>
                    <a:pt x="69" y="369"/>
                  </a:lnTo>
                  <a:lnTo>
                    <a:pt x="64" y="369"/>
                  </a:lnTo>
                  <a:lnTo>
                    <a:pt x="61" y="366"/>
                  </a:lnTo>
                  <a:lnTo>
                    <a:pt x="58" y="358"/>
                  </a:lnTo>
                  <a:lnTo>
                    <a:pt x="50" y="361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42" y="356"/>
                  </a:lnTo>
                  <a:lnTo>
                    <a:pt x="40" y="358"/>
                  </a:lnTo>
                  <a:lnTo>
                    <a:pt x="40" y="358"/>
                  </a:lnTo>
                  <a:lnTo>
                    <a:pt x="40" y="356"/>
                  </a:lnTo>
                  <a:lnTo>
                    <a:pt x="37" y="353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37" y="350"/>
                  </a:lnTo>
                  <a:lnTo>
                    <a:pt x="29" y="345"/>
                  </a:lnTo>
                  <a:lnTo>
                    <a:pt x="24" y="348"/>
                  </a:lnTo>
                  <a:lnTo>
                    <a:pt x="24" y="350"/>
                  </a:lnTo>
                  <a:lnTo>
                    <a:pt x="21" y="350"/>
                  </a:lnTo>
                  <a:lnTo>
                    <a:pt x="21" y="353"/>
                  </a:lnTo>
                  <a:lnTo>
                    <a:pt x="18" y="361"/>
                  </a:lnTo>
                  <a:lnTo>
                    <a:pt x="16" y="361"/>
                  </a:lnTo>
                  <a:lnTo>
                    <a:pt x="10" y="353"/>
                  </a:lnTo>
                  <a:lnTo>
                    <a:pt x="10" y="353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10" y="348"/>
                  </a:lnTo>
                  <a:lnTo>
                    <a:pt x="10" y="345"/>
                  </a:lnTo>
                  <a:lnTo>
                    <a:pt x="10" y="345"/>
                  </a:lnTo>
                  <a:lnTo>
                    <a:pt x="13" y="345"/>
                  </a:lnTo>
                  <a:lnTo>
                    <a:pt x="13" y="345"/>
                  </a:lnTo>
                  <a:lnTo>
                    <a:pt x="13" y="345"/>
                  </a:lnTo>
                  <a:lnTo>
                    <a:pt x="10" y="345"/>
                  </a:lnTo>
                  <a:lnTo>
                    <a:pt x="10" y="342"/>
                  </a:lnTo>
                  <a:lnTo>
                    <a:pt x="10" y="342"/>
                  </a:lnTo>
                  <a:lnTo>
                    <a:pt x="8" y="340"/>
                  </a:lnTo>
                  <a:lnTo>
                    <a:pt x="8" y="342"/>
                  </a:lnTo>
                  <a:lnTo>
                    <a:pt x="5" y="340"/>
                  </a:lnTo>
                  <a:lnTo>
                    <a:pt x="2" y="340"/>
                  </a:lnTo>
                  <a:lnTo>
                    <a:pt x="0" y="340"/>
                  </a:lnTo>
                  <a:lnTo>
                    <a:pt x="2" y="337"/>
                  </a:lnTo>
                  <a:lnTo>
                    <a:pt x="0" y="334"/>
                  </a:lnTo>
                  <a:lnTo>
                    <a:pt x="2" y="332"/>
                  </a:lnTo>
                  <a:lnTo>
                    <a:pt x="5" y="332"/>
                  </a:lnTo>
                  <a:lnTo>
                    <a:pt x="8" y="329"/>
                  </a:lnTo>
                  <a:lnTo>
                    <a:pt x="8" y="329"/>
                  </a:lnTo>
                  <a:lnTo>
                    <a:pt x="8" y="326"/>
                  </a:lnTo>
                  <a:lnTo>
                    <a:pt x="5" y="324"/>
                  </a:lnTo>
                  <a:lnTo>
                    <a:pt x="8" y="324"/>
                  </a:lnTo>
                  <a:lnTo>
                    <a:pt x="5" y="321"/>
                  </a:lnTo>
                  <a:lnTo>
                    <a:pt x="8" y="318"/>
                  </a:lnTo>
                  <a:lnTo>
                    <a:pt x="8" y="318"/>
                  </a:lnTo>
                  <a:lnTo>
                    <a:pt x="8" y="316"/>
                  </a:lnTo>
                  <a:lnTo>
                    <a:pt x="10" y="316"/>
                  </a:lnTo>
                  <a:lnTo>
                    <a:pt x="13" y="308"/>
                  </a:lnTo>
                  <a:lnTo>
                    <a:pt x="13" y="305"/>
                  </a:lnTo>
                  <a:lnTo>
                    <a:pt x="13" y="305"/>
                  </a:lnTo>
                  <a:lnTo>
                    <a:pt x="16" y="302"/>
                  </a:lnTo>
                  <a:lnTo>
                    <a:pt x="16" y="300"/>
                  </a:lnTo>
                  <a:lnTo>
                    <a:pt x="18" y="300"/>
                  </a:lnTo>
                  <a:lnTo>
                    <a:pt x="18" y="297"/>
                  </a:lnTo>
                  <a:lnTo>
                    <a:pt x="21" y="297"/>
                  </a:lnTo>
                  <a:lnTo>
                    <a:pt x="21" y="294"/>
                  </a:lnTo>
                  <a:lnTo>
                    <a:pt x="24" y="294"/>
                  </a:lnTo>
                  <a:lnTo>
                    <a:pt x="26" y="289"/>
                  </a:lnTo>
                  <a:lnTo>
                    <a:pt x="32" y="291"/>
                  </a:lnTo>
                  <a:lnTo>
                    <a:pt x="34" y="291"/>
                  </a:lnTo>
                  <a:lnTo>
                    <a:pt x="34" y="289"/>
                  </a:lnTo>
                  <a:lnTo>
                    <a:pt x="32" y="286"/>
                  </a:lnTo>
                  <a:lnTo>
                    <a:pt x="37" y="275"/>
                  </a:lnTo>
                  <a:lnTo>
                    <a:pt x="34" y="273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48" y="249"/>
                  </a:lnTo>
                  <a:lnTo>
                    <a:pt x="48" y="246"/>
                  </a:lnTo>
                  <a:lnTo>
                    <a:pt x="48" y="243"/>
                  </a:lnTo>
                  <a:lnTo>
                    <a:pt x="45" y="241"/>
                  </a:lnTo>
                  <a:lnTo>
                    <a:pt x="45" y="238"/>
                  </a:lnTo>
                  <a:lnTo>
                    <a:pt x="48" y="238"/>
                  </a:lnTo>
                  <a:lnTo>
                    <a:pt x="48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3" y="233"/>
                  </a:lnTo>
                  <a:lnTo>
                    <a:pt x="53" y="230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1" y="222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7"/>
                  </a:lnTo>
                  <a:lnTo>
                    <a:pt x="64" y="217"/>
                  </a:lnTo>
                  <a:lnTo>
                    <a:pt x="64" y="214"/>
                  </a:lnTo>
                  <a:lnTo>
                    <a:pt x="66" y="214"/>
                  </a:lnTo>
                  <a:lnTo>
                    <a:pt x="66" y="211"/>
                  </a:lnTo>
                  <a:lnTo>
                    <a:pt x="66" y="211"/>
                  </a:lnTo>
                  <a:lnTo>
                    <a:pt x="64" y="211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9" y="209"/>
                  </a:lnTo>
                  <a:lnTo>
                    <a:pt x="69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4" y="211"/>
                  </a:lnTo>
                  <a:lnTo>
                    <a:pt x="74" y="214"/>
                  </a:lnTo>
                  <a:lnTo>
                    <a:pt x="74" y="214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3" y="209"/>
                  </a:lnTo>
                  <a:lnTo>
                    <a:pt x="83" y="209"/>
                  </a:lnTo>
                  <a:lnTo>
                    <a:pt x="85" y="209"/>
                  </a:lnTo>
                  <a:lnTo>
                    <a:pt x="88" y="206"/>
                  </a:lnTo>
                  <a:lnTo>
                    <a:pt x="88" y="203"/>
                  </a:lnTo>
                  <a:lnTo>
                    <a:pt x="91" y="203"/>
                  </a:lnTo>
                  <a:lnTo>
                    <a:pt x="91" y="201"/>
                  </a:lnTo>
                  <a:lnTo>
                    <a:pt x="93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9" y="201"/>
                  </a:lnTo>
                  <a:lnTo>
                    <a:pt x="101" y="201"/>
                  </a:lnTo>
                  <a:lnTo>
                    <a:pt x="104" y="201"/>
                  </a:lnTo>
                  <a:lnTo>
                    <a:pt x="107" y="201"/>
                  </a:lnTo>
                  <a:lnTo>
                    <a:pt x="109" y="203"/>
                  </a:lnTo>
                  <a:lnTo>
                    <a:pt x="109" y="203"/>
                  </a:lnTo>
                  <a:lnTo>
                    <a:pt x="109" y="206"/>
                  </a:lnTo>
                  <a:lnTo>
                    <a:pt x="109" y="206"/>
                  </a:lnTo>
                  <a:lnTo>
                    <a:pt x="112" y="211"/>
                  </a:lnTo>
                  <a:lnTo>
                    <a:pt x="115" y="209"/>
                  </a:lnTo>
                  <a:lnTo>
                    <a:pt x="115" y="209"/>
                  </a:lnTo>
                  <a:lnTo>
                    <a:pt x="117" y="206"/>
                  </a:lnTo>
                  <a:lnTo>
                    <a:pt x="117" y="203"/>
                  </a:lnTo>
                  <a:lnTo>
                    <a:pt x="120" y="203"/>
                  </a:lnTo>
                  <a:lnTo>
                    <a:pt x="123" y="203"/>
                  </a:lnTo>
                  <a:lnTo>
                    <a:pt x="123" y="198"/>
                  </a:lnTo>
                  <a:lnTo>
                    <a:pt x="123" y="195"/>
                  </a:lnTo>
                  <a:lnTo>
                    <a:pt x="120" y="193"/>
                  </a:lnTo>
                  <a:lnTo>
                    <a:pt x="120" y="193"/>
                  </a:lnTo>
                  <a:lnTo>
                    <a:pt x="120" y="190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5" y="182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5" y="177"/>
                  </a:lnTo>
                  <a:lnTo>
                    <a:pt x="128" y="174"/>
                  </a:lnTo>
                  <a:lnTo>
                    <a:pt x="128" y="174"/>
                  </a:lnTo>
                  <a:lnTo>
                    <a:pt x="131" y="174"/>
                  </a:lnTo>
                  <a:lnTo>
                    <a:pt x="131" y="174"/>
                  </a:lnTo>
                  <a:lnTo>
                    <a:pt x="133" y="174"/>
                  </a:lnTo>
                  <a:lnTo>
                    <a:pt x="136" y="174"/>
                  </a:lnTo>
                  <a:lnTo>
                    <a:pt x="139" y="171"/>
                  </a:lnTo>
                  <a:lnTo>
                    <a:pt x="141" y="171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49" y="161"/>
                  </a:lnTo>
                  <a:lnTo>
                    <a:pt x="149" y="158"/>
                  </a:lnTo>
                  <a:lnTo>
                    <a:pt x="147" y="155"/>
                  </a:lnTo>
                  <a:lnTo>
                    <a:pt x="149" y="155"/>
                  </a:lnTo>
                  <a:lnTo>
                    <a:pt x="152" y="153"/>
                  </a:lnTo>
                  <a:lnTo>
                    <a:pt x="152" y="153"/>
                  </a:lnTo>
                  <a:lnTo>
                    <a:pt x="155" y="153"/>
                  </a:lnTo>
                  <a:lnTo>
                    <a:pt x="155" y="150"/>
                  </a:lnTo>
                  <a:lnTo>
                    <a:pt x="152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7" y="150"/>
                  </a:lnTo>
                  <a:lnTo>
                    <a:pt x="147" y="150"/>
                  </a:lnTo>
                  <a:lnTo>
                    <a:pt x="144" y="147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6" y="142"/>
                  </a:lnTo>
                  <a:lnTo>
                    <a:pt x="136" y="145"/>
                  </a:lnTo>
                  <a:lnTo>
                    <a:pt x="136" y="145"/>
                  </a:lnTo>
                  <a:lnTo>
                    <a:pt x="133" y="145"/>
                  </a:lnTo>
                  <a:lnTo>
                    <a:pt x="131" y="145"/>
                  </a:lnTo>
                  <a:lnTo>
                    <a:pt x="131" y="145"/>
                  </a:lnTo>
                  <a:lnTo>
                    <a:pt x="131" y="145"/>
                  </a:lnTo>
                  <a:lnTo>
                    <a:pt x="128" y="145"/>
                  </a:lnTo>
                  <a:lnTo>
                    <a:pt x="128" y="147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3" y="153"/>
                  </a:lnTo>
                  <a:lnTo>
                    <a:pt x="120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5" y="153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2" y="158"/>
                  </a:lnTo>
                  <a:lnTo>
                    <a:pt x="109" y="158"/>
                  </a:lnTo>
                  <a:lnTo>
                    <a:pt x="109" y="158"/>
                  </a:lnTo>
                  <a:lnTo>
                    <a:pt x="107" y="155"/>
                  </a:lnTo>
                  <a:lnTo>
                    <a:pt x="104" y="155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99" y="153"/>
                  </a:lnTo>
                  <a:lnTo>
                    <a:pt x="96" y="153"/>
                  </a:lnTo>
                  <a:lnTo>
                    <a:pt x="93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88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0" y="153"/>
                  </a:lnTo>
                  <a:lnTo>
                    <a:pt x="80" y="153"/>
                  </a:lnTo>
                  <a:lnTo>
                    <a:pt x="77" y="153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4" y="158"/>
                  </a:lnTo>
                  <a:lnTo>
                    <a:pt x="69" y="155"/>
                  </a:lnTo>
                  <a:lnTo>
                    <a:pt x="61" y="145"/>
                  </a:lnTo>
                  <a:lnTo>
                    <a:pt x="56" y="145"/>
                  </a:lnTo>
                  <a:lnTo>
                    <a:pt x="56" y="145"/>
                  </a:lnTo>
                  <a:lnTo>
                    <a:pt x="53" y="145"/>
                  </a:lnTo>
                  <a:lnTo>
                    <a:pt x="50" y="145"/>
                  </a:lnTo>
                  <a:lnTo>
                    <a:pt x="50" y="142"/>
                  </a:lnTo>
                  <a:lnTo>
                    <a:pt x="48" y="145"/>
                  </a:lnTo>
                  <a:lnTo>
                    <a:pt x="48" y="145"/>
                  </a:lnTo>
                  <a:lnTo>
                    <a:pt x="45" y="145"/>
                  </a:lnTo>
                  <a:lnTo>
                    <a:pt x="42" y="147"/>
                  </a:lnTo>
                  <a:lnTo>
                    <a:pt x="40" y="147"/>
                  </a:lnTo>
                  <a:lnTo>
                    <a:pt x="37" y="147"/>
                  </a:lnTo>
                  <a:lnTo>
                    <a:pt x="34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2" y="142"/>
                  </a:lnTo>
                  <a:lnTo>
                    <a:pt x="32" y="142"/>
                  </a:lnTo>
                  <a:lnTo>
                    <a:pt x="29" y="139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6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4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4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1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3" y="86"/>
                  </a:lnTo>
                  <a:lnTo>
                    <a:pt x="16" y="86"/>
                  </a:lnTo>
                  <a:lnTo>
                    <a:pt x="18" y="83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8" y="80"/>
                  </a:lnTo>
                  <a:lnTo>
                    <a:pt x="18" y="70"/>
                  </a:lnTo>
                  <a:lnTo>
                    <a:pt x="21" y="67"/>
                  </a:lnTo>
                  <a:lnTo>
                    <a:pt x="21" y="64"/>
                  </a:lnTo>
                  <a:lnTo>
                    <a:pt x="24" y="64"/>
                  </a:lnTo>
                  <a:lnTo>
                    <a:pt x="26" y="64"/>
                  </a:lnTo>
                  <a:lnTo>
                    <a:pt x="29" y="62"/>
                  </a:lnTo>
                  <a:lnTo>
                    <a:pt x="26" y="62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6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40" y="56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9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6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66" y="70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72" y="72"/>
                  </a:lnTo>
                  <a:lnTo>
                    <a:pt x="72" y="75"/>
                  </a:lnTo>
                  <a:lnTo>
                    <a:pt x="72" y="78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4" y="86"/>
                  </a:lnTo>
                  <a:lnTo>
                    <a:pt x="61" y="86"/>
                  </a:lnTo>
                  <a:lnTo>
                    <a:pt x="64" y="88"/>
                  </a:lnTo>
                  <a:lnTo>
                    <a:pt x="64" y="91"/>
                  </a:lnTo>
                  <a:lnTo>
                    <a:pt x="61" y="91"/>
                  </a:lnTo>
                  <a:lnTo>
                    <a:pt x="61" y="94"/>
                  </a:lnTo>
                  <a:lnTo>
                    <a:pt x="58" y="96"/>
                  </a:lnTo>
                  <a:lnTo>
                    <a:pt x="56" y="99"/>
                  </a:lnTo>
                  <a:lnTo>
                    <a:pt x="53" y="99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61" y="104"/>
                  </a:lnTo>
                  <a:lnTo>
                    <a:pt x="61" y="104"/>
                  </a:lnTo>
                  <a:lnTo>
                    <a:pt x="64" y="102"/>
                  </a:lnTo>
                  <a:lnTo>
                    <a:pt x="64" y="99"/>
                  </a:lnTo>
                  <a:lnTo>
                    <a:pt x="64" y="96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4" y="86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80" y="86"/>
                  </a:lnTo>
                  <a:lnTo>
                    <a:pt x="83" y="88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6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102"/>
                  </a:lnTo>
                  <a:lnTo>
                    <a:pt x="83" y="104"/>
                  </a:lnTo>
                  <a:lnTo>
                    <a:pt x="80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5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7"/>
                  </a:lnTo>
                  <a:lnTo>
                    <a:pt x="85" y="107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8" y="112"/>
                  </a:lnTo>
                  <a:lnTo>
                    <a:pt x="91" y="115"/>
                  </a:lnTo>
                  <a:lnTo>
                    <a:pt x="93" y="112"/>
                  </a:lnTo>
                  <a:lnTo>
                    <a:pt x="93" y="115"/>
                  </a:lnTo>
                  <a:lnTo>
                    <a:pt x="96" y="112"/>
                  </a:lnTo>
                  <a:lnTo>
                    <a:pt x="99" y="112"/>
                  </a:lnTo>
                  <a:lnTo>
                    <a:pt x="101" y="112"/>
                  </a:lnTo>
                  <a:lnTo>
                    <a:pt x="104" y="112"/>
                  </a:lnTo>
                  <a:lnTo>
                    <a:pt x="107" y="110"/>
                  </a:lnTo>
                  <a:lnTo>
                    <a:pt x="104" y="110"/>
                  </a:lnTo>
                  <a:lnTo>
                    <a:pt x="104" y="110"/>
                  </a:lnTo>
                  <a:lnTo>
                    <a:pt x="101" y="107"/>
                  </a:lnTo>
                  <a:lnTo>
                    <a:pt x="104" y="104"/>
                  </a:lnTo>
                  <a:lnTo>
                    <a:pt x="104" y="102"/>
                  </a:lnTo>
                  <a:lnTo>
                    <a:pt x="101" y="102"/>
                  </a:lnTo>
                  <a:lnTo>
                    <a:pt x="99" y="99"/>
                  </a:lnTo>
                  <a:lnTo>
                    <a:pt x="96" y="96"/>
                  </a:lnTo>
                  <a:lnTo>
                    <a:pt x="101" y="99"/>
                  </a:lnTo>
                  <a:lnTo>
                    <a:pt x="107" y="94"/>
                  </a:lnTo>
                  <a:lnTo>
                    <a:pt x="104" y="91"/>
                  </a:lnTo>
                  <a:lnTo>
                    <a:pt x="107" y="86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2" y="88"/>
                  </a:lnTo>
                  <a:lnTo>
                    <a:pt x="115" y="86"/>
                  </a:lnTo>
                  <a:lnTo>
                    <a:pt x="115" y="86"/>
                  </a:lnTo>
                  <a:lnTo>
                    <a:pt x="117" y="88"/>
                  </a:lnTo>
                  <a:lnTo>
                    <a:pt x="120" y="91"/>
                  </a:lnTo>
                  <a:lnTo>
                    <a:pt x="117" y="94"/>
                  </a:lnTo>
                  <a:lnTo>
                    <a:pt x="131" y="91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1" y="86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6" y="86"/>
                  </a:lnTo>
                  <a:lnTo>
                    <a:pt x="136" y="83"/>
                  </a:lnTo>
                  <a:lnTo>
                    <a:pt x="136" y="80"/>
                  </a:lnTo>
                  <a:lnTo>
                    <a:pt x="144" y="83"/>
                  </a:lnTo>
                  <a:lnTo>
                    <a:pt x="147" y="86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9" y="83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52" y="86"/>
                  </a:lnTo>
                  <a:lnTo>
                    <a:pt x="152" y="83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60" y="83"/>
                  </a:lnTo>
                  <a:lnTo>
                    <a:pt x="160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5" y="80"/>
                  </a:lnTo>
                  <a:lnTo>
                    <a:pt x="165" y="78"/>
                  </a:lnTo>
                  <a:lnTo>
                    <a:pt x="157" y="78"/>
                  </a:lnTo>
                  <a:lnTo>
                    <a:pt x="157" y="75"/>
                  </a:lnTo>
                  <a:lnTo>
                    <a:pt x="157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7" y="72"/>
                  </a:lnTo>
                  <a:lnTo>
                    <a:pt x="147" y="70"/>
                  </a:lnTo>
                  <a:lnTo>
                    <a:pt x="147" y="70"/>
                  </a:lnTo>
                  <a:lnTo>
                    <a:pt x="149" y="70"/>
                  </a:lnTo>
                  <a:lnTo>
                    <a:pt x="149" y="67"/>
                  </a:lnTo>
                  <a:lnTo>
                    <a:pt x="149" y="67"/>
                  </a:lnTo>
                  <a:lnTo>
                    <a:pt x="152" y="67"/>
                  </a:lnTo>
                  <a:lnTo>
                    <a:pt x="152" y="64"/>
                  </a:lnTo>
                  <a:lnTo>
                    <a:pt x="149" y="64"/>
                  </a:lnTo>
                  <a:lnTo>
                    <a:pt x="152" y="64"/>
                  </a:lnTo>
                  <a:lnTo>
                    <a:pt x="152" y="62"/>
                  </a:lnTo>
                  <a:lnTo>
                    <a:pt x="152" y="59"/>
                  </a:lnTo>
                  <a:lnTo>
                    <a:pt x="155" y="59"/>
                  </a:lnTo>
                  <a:lnTo>
                    <a:pt x="157" y="56"/>
                  </a:lnTo>
                  <a:lnTo>
                    <a:pt x="147" y="51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2" y="4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35"/>
                  </a:lnTo>
                  <a:lnTo>
                    <a:pt x="157" y="35"/>
                  </a:lnTo>
                  <a:lnTo>
                    <a:pt x="157" y="32"/>
                  </a:lnTo>
                  <a:lnTo>
                    <a:pt x="157" y="30"/>
                  </a:lnTo>
                  <a:lnTo>
                    <a:pt x="163" y="32"/>
                  </a:lnTo>
                  <a:lnTo>
                    <a:pt x="173" y="22"/>
                  </a:lnTo>
                  <a:lnTo>
                    <a:pt x="171" y="19"/>
                  </a:lnTo>
                  <a:lnTo>
                    <a:pt x="168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3" y="22"/>
                  </a:lnTo>
                  <a:lnTo>
                    <a:pt x="163" y="22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57" y="16"/>
                  </a:lnTo>
                  <a:lnTo>
                    <a:pt x="157" y="14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63" y="11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8" y="11"/>
                  </a:lnTo>
                  <a:lnTo>
                    <a:pt x="168" y="3"/>
                  </a:lnTo>
                  <a:lnTo>
                    <a:pt x="173" y="0"/>
                  </a:lnTo>
                  <a:lnTo>
                    <a:pt x="173" y="3"/>
                  </a:lnTo>
                  <a:lnTo>
                    <a:pt x="176" y="3"/>
                  </a:lnTo>
                  <a:lnTo>
                    <a:pt x="176" y="6"/>
                  </a:lnTo>
                  <a:lnTo>
                    <a:pt x="179" y="8"/>
                  </a:lnTo>
                  <a:lnTo>
                    <a:pt x="179" y="8"/>
                  </a:lnTo>
                  <a:lnTo>
                    <a:pt x="181" y="11"/>
                  </a:lnTo>
                  <a:lnTo>
                    <a:pt x="181" y="8"/>
                  </a:lnTo>
                  <a:lnTo>
                    <a:pt x="189" y="14"/>
                  </a:lnTo>
                  <a:lnTo>
                    <a:pt x="189" y="14"/>
                  </a:lnTo>
                  <a:lnTo>
                    <a:pt x="192" y="16"/>
                  </a:lnTo>
                  <a:lnTo>
                    <a:pt x="189" y="19"/>
                  </a:lnTo>
                  <a:lnTo>
                    <a:pt x="195" y="27"/>
                  </a:lnTo>
                  <a:lnTo>
                    <a:pt x="200" y="24"/>
                  </a:lnTo>
                  <a:lnTo>
                    <a:pt x="203" y="24"/>
                  </a:lnTo>
                  <a:lnTo>
                    <a:pt x="205" y="27"/>
                  </a:lnTo>
                  <a:lnTo>
                    <a:pt x="208" y="30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3" y="35"/>
                  </a:lnTo>
                  <a:lnTo>
                    <a:pt x="216" y="38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21" y="35"/>
                  </a:lnTo>
                  <a:lnTo>
                    <a:pt x="221" y="35"/>
                  </a:lnTo>
                  <a:lnTo>
                    <a:pt x="224" y="35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9" y="38"/>
                  </a:lnTo>
                  <a:lnTo>
                    <a:pt x="232" y="40"/>
                  </a:lnTo>
                  <a:lnTo>
                    <a:pt x="235" y="40"/>
                  </a:lnTo>
                  <a:lnTo>
                    <a:pt x="235" y="43"/>
                  </a:lnTo>
                  <a:lnTo>
                    <a:pt x="235" y="43"/>
                  </a:lnTo>
                  <a:lnTo>
                    <a:pt x="237" y="43"/>
                  </a:lnTo>
                  <a:lnTo>
                    <a:pt x="240" y="43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5" y="43"/>
                  </a:lnTo>
                  <a:lnTo>
                    <a:pt x="245" y="46"/>
                  </a:lnTo>
                  <a:lnTo>
                    <a:pt x="245" y="46"/>
                  </a:lnTo>
                  <a:lnTo>
                    <a:pt x="248" y="48"/>
                  </a:lnTo>
                  <a:lnTo>
                    <a:pt x="251" y="48"/>
                  </a:lnTo>
                  <a:lnTo>
                    <a:pt x="251" y="51"/>
                  </a:lnTo>
                  <a:lnTo>
                    <a:pt x="251" y="54"/>
                  </a:lnTo>
                  <a:lnTo>
                    <a:pt x="253" y="51"/>
                  </a:lnTo>
                  <a:lnTo>
                    <a:pt x="253" y="54"/>
                  </a:lnTo>
                  <a:lnTo>
                    <a:pt x="256" y="54"/>
                  </a:lnTo>
                  <a:lnTo>
                    <a:pt x="256" y="54"/>
                  </a:lnTo>
                  <a:lnTo>
                    <a:pt x="259" y="54"/>
                  </a:lnTo>
                  <a:lnTo>
                    <a:pt x="261" y="56"/>
                  </a:lnTo>
                  <a:lnTo>
                    <a:pt x="264" y="56"/>
                  </a:lnTo>
                  <a:lnTo>
                    <a:pt x="264" y="54"/>
                  </a:lnTo>
                  <a:lnTo>
                    <a:pt x="264" y="51"/>
                  </a:lnTo>
                  <a:lnTo>
                    <a:pt x="264" y="48"/>
                  </a:lnTo>
                  <a:lnTo>
                    <a:pt x="264" y="46"/>
                  </a:lnTo>
                  <a:lnTo>
                    <a:pt x="264" y="43"/>
                  </a:lnTo>
                  <a:lnTo>
                    <a:pt x="264" y="40"/>
                  </a:lnTo>
                  <a:lnTo>
                    <a:pt x="267" y="40"/>
                  </a:lnTo>
                  <a:lnTo>
                    <a:pt x="269" y="40"/>
                  </a:lnTo>
                  <a:lnTo>
                    <a:pt x="272" y="43"/>
                  </a:lnTo>
                  <a:lnTo>
                    <a:pt x="272" y="46"/>
                  </a:lnTo>
                  <a:lnTo>
                    <a:pt x="275" y="46"/>
                  </a:lnTo>
                  <a:lnTo>
                    <a:pt x="275" y="48"/>
                  </a:lnTo>
                  <a:lnTo>
                    <a:pt x="275" y="48"/>
                  </a:lnTo>
                  <a:lnTo>
                    <a:pt x="277" y="46"/>
                  </a:lnTo>
                  <a:lnTo>
                    <a:pt x="277" y="48"/>
                  </a:lnTo>
                  <a:lnTo>
                    <a:pt x="280" y="48"/>
                  </a:lnTo>
                  <a:lnTo>
                    <a:pt x="280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5" y="54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8" y="54"/>
                  </a:lnTo>
                  <a:lnTo>
                    <a:pt x="288" y="54"/>
                  </a:lnTo>
                  <a:lnTo>
                    <a:pt x="288" y="54"/>
                  </a:lnTo>
                  <a:lnTo>
                    <a:pt x="291" y="54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9"/>
                  </a:lnTo>
                  <a:lnTo>
                    <a:pt x="293" y="59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3" y="64"/>
                  </a:lnTo>
                  <a:lnTo>
                    <a:pt x="296" y="64"/>
                  </a:lnTo>
                  <a:lnTo>
                    <a:pt x="296" y="64"/>
                  </a:lnTo>
                  <a:lnTo>
                    <a:pt x="299" y="67"/>
                  </a:lnTo>
                  <a:lnTo>
                    <a:pt x="299" y="67"/>
                  </a:lnTo>
                  <a:lnTo>
                    <a:pt x="299" y="70"/>
                  </a:lnTo>
                  <a:lnTo>
                    <a:pt x="296" y="72"/>
                  </a:lnTo>
                  <a:lnTo>
                    <a:pt x="307" y="80"/>
                  </a:lnTo>
                  <a:lnTo>
                    <a:pt x="304" y="80"/>
                  </a:lnTo>
                  <a:lnTo>
                    <a:pt x="307" y="83"/>
                  </a:lnTo>
                  <a:lnTo>
                    <a:pt x="309" y="83"/>
                  </a:lnTo>
                  <a:lnTo>
                    <a:pt x="309" y="86"/>
                  </a:lnTo>
                  <a:lnTo>
                    <a:pt x="307" y="86"/>
                  </a:lnTo>
                  <a:lnTo>
                    <a:pt x="307" y="86"/>
                  </a:lnTo>
                  <a:lnTo>
                    <a:pt x="309" y="88"/>
                  </a:lnTo>
                  <a:lnTo>
                    <a:pt x="309" y="91"/>
                  </a:lnTo>
                  <a:lnTo>
                    <a:pt x="307" y="99"/>
                  </a:lnTo>
                  <a:lnTo>
                    <a:pt x="307" y="102"/>
                  </a:lnTo>
                  <a:lnTo>
                    <a:pt x="312" y="102"/>
                  </a:lnTo>
                  <a:lnTo>
                    <a:pt x="315" y="104"/>
                  </a:lnTo>
                  <a:lnTo>
                    <a:pt x="315" y="107"/>
                  </a:lnTo>
                  <a:lnTo>
                    <a:pt x="315" y="107"/>
                  </a:lnTo>
                  <a:lnTo>
                    <a:pt x="312" y="107"/>
                  </a:lnTo>
                  <a:lnTo>
                    <a:pt x="309" y="107"/>
                  </a:lnTo>
                  <a:lnTo>
                    <a:pt x="309" y="107"/>
                  </a:lnTo>
                  <a:lnTo>
                    <a:pt x="307" y="107"/>
                  </a:lnTo>
                  <a:lnTo>
                    <a:pt x="307" y="112"/>
                  </a:lnTo>
                  <a:lnTo>
                    <a:pt x="309" y="112"/>
                  </a:lnTo>
                  <a:lnTo>
                    <a:pt x="312" y="112"/>
                  </a:lnTo>
                  <a:lnTo>
                    <a:pt x="312" y="112"/>
                  </a:lnTo>
                  <a:lnTo>
                    <a:pt x="312" y="115"/>
                  </a:lnTo>
                  <a:lnTo>
                    <a:pt x="315" y="120"/>
                  </a:lnTo>
                  <a:lnTo>
                    <a:pt x="315" y="120"/>
                  </a:lnTo>
                  <a:lnTo>
                    <a:pt x="315" y="123"/>
                  </a:lnTo>
                  <a:lnTo>
                    <a:pt x="315" y="123"/>
                  </a:lnTo>
                  <a:lnTo>
                    <a:pt x="315" y="126"/>
                  </a:lnTo>
                  <a:lnTo>
                    <a:pt x="312" y="128"/>
                  </a:lnTo>
                  <a:lnTo>
                    <a:pt x="312" y="131"/>
                  </a:lnTo>
                  <a:lnTo>
                    <a:pt x="312" y="131"/>
                  </a:lnTo>
                  <a:lnTo>
                    <a:pt x="315" y="134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09" y="139"/>
                  </a:lnTo>
                  <a:lnTo>
                    <a:pt x="307" y="139"/>
                  </a:lnTo>
                  <a:lnTo>
                    <a:pt x="307" y="139"/>
                  </a:lnTo>
                  <a:lnTo>
                    <a:pt x="309" y="139"/>
                  </a:lnTo>
                  <a:lnTo>
                    <a:pt x="312" y="150"/>
                  </a:lnTo>
                  <a:lnTo>
                    <a:pt x="307" y="150"/>
                  </a:lnTo>
                  <a:lnTo>
                    <a:pt x="307" y="150"/>
                  </a:lnTo>
                  <a:lnTo>
                    <a:pt x="301" y="150"/>
                  </a:lnTo>
                  <a:lnTo>
                    <a:pt x="301" y="150"/>
                  </a:lnTo>
                  <a:lnTo>
                    <a:pt x="296" y="150"/>
                  </a:lnTo>
                  <a:lnTo>
                    <a:pt x="296" y="153"/>
                  </a:lnTo>
                  <a:lnTo>
                    <a:pt x="293" y="150"/>
                  </a:lnTo>
                  <a:lnTo>
                    <a:pt x="293" y="150"/>
                  </a:lnTo>
                  <a:lnTo>
                    <a:pt x="291" y="150"/>
                  </a:lnTo>
                  <a:lnTo>
                    <a:pt x="291" y="147"/>
                  </a:lnTo>
                  <a:lnTo>
                    <a:pt x="288" y="145"/>
                  </a:lnTo>
                  <a:lnTo>
                    <a:pt x="285" y="150"/>
                  </a:lnTo>
                  <a:lnTo>
                    <a:pt x="285" y="150"/>
                  </a:lnTo>
                  <a:lnTo>
                    <a:pt x="285" y="153"/>
                  </a:lnTo>
                  <a:lnTo>
                    <a:pt x="285" y="155"/>
                  </a:lnTo>
                  <a:lnTo>
                    <a:pt x="285" y="155"/>
                  </a:lnTo>
                  <a:lnTo>
                    <a:pt x="285" y="155"/>
                  </a:lnTo>
                  <a:lnTo>
                    <a:pt x="283" y="155"/>
                  </a:lnTo>
                  <a:lnTo>
                    <a:pt x="280" y="155"/>
                  </a:lnTo>
                  <a:lnTo>
                    <a:pt x="280" y="155"/>
                  </a:lnTo>
                  <a:lnTo>
                    <a:pt x="277" y="155"/>
                  </a:lnTo>
                  <a:lnTo>
                    <a:pt x="275" y="155"/>
                  </a:lnTo>
                  <a:lnTo>
                    <a:pt x="275" y="158"/>
                  </a:lnTo>
                  <a:lnTo>
                    <a:pt x="275" y="161"/>
                  </a:lnTo>
                  <a:lnTo>
                    <a:pt x="277" y="161"/>
                  </a:lnTo>
                  <a:lnTo>
                    <a:pt x="277" y="163"/>
                  </a:lnTo>
                  <a:lnTo>
                    <a:pt x="280" y="163"/>
                  </a:lnTo>
                  <a:lnTo>
                    <a:pt x="280" y="166"/>
                  </a:lnTo>
                  <a:lnTo>
                    <a:pt x="280" y="166"/>
                  </a:lnTo>
                  <a:lnTo>
                    <a:pt x="280" y="169"/>
                  </a:lnTo>
                  <a:lnTo>
                    <a:pt x="277" y="171"/>
                  </a:lnTo>
                  <a:lnTo>
                    <a:pt x="277" y="174"/>
                  </a:lnTo>
                  <a:lnTo>
                    <a:pt x="277" y="174"/>
                  </a:lnTo>
                  <a:lnTo>
                    <a:pt x="277" y="177"/>
                  </a:lnTo>
                  <a:lnTo>
                    <a:pt x="280" y="179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2" y="185"/>
                  </a:lnTo>
                  <a:lnTo>
                    <a:pt x="269" y="179"/>
                  </a:lnTo>
                  <a:lnTo>
                    <a:pt x="269" y="179"/>
                  </a:lnTo>
                  <a:lnTo>
                    <a:pt x="267" y="182"/>
                  </a:lnTo>
                  <a:lnTo>
                    <a:pt x="267" y="179"/>
                  </a:lnTo>
                  <a:lnTo>
                    <a:pt x="264" y="179"/>
                  </a:lnTo>
                  <a:lnTo>
                    <a:pt x="261" y="177"/>
                  </a:lnTo>
                  <a:lnTo>
                    <a:pt x="259" y="179"/>
                  </a:lnTo>
                  <a:lnTo>
                    <a:pt x="259" y="187"/>
                  </a:lnTo>
                  <a:lnTo>
                    <a:pt x="259" y="190"/>
                  </a:lnTo>
                  <a:lnTo>
                    <a:pt x="261" y="190"/>
                  </a:lnTo>
                  <a:lnTo>
                    <a:pt x="261" y="193"/>
                  </a:lnTo>
                  <a:lnTo>
                    <a:pt x="261" y="195"/>
                  </a:lnTo>
                  <a:lnTo>
                    <a:pt x="261" y="198"/>
                  </a:lnTo>
                  <a:lnTo>
                    <a:pt x="261" y="201"/>
                  </a:lnTo>
                  <a:lnTo>
                    <a:pt x="261" y="201"/>
                  </a:lnTo>
                  <a:lnTo>
                    <a:pt x="259" y="201"/>
                  </a:lnTo>
                  <a:lnTo>
                    <a:pt x="259" y="201"/>
                  </a:lnTo>
                  <a:lnTo>
                    <a:pt x="256" y="203"/>
                  </a:lnTo>
                  <a:lnTo>
                    <a:pt x="253" y="203"/>
                  </a:lnTo>
                  <a:lnTo>
                    <a:pt x="253" y="206"/>
                  </a:lnTo>
                  <a:lnTo>
                    <a:pt x="253" y="209"/>
                  </a:lnTo>
                  <a:lnTo>
                    <a:pt x="256" y="209"/>
                  </a:lnTo>
                  <a:lnTo>
                    <a:pt x="256" y="211"/>
                  </a:lnTo>
                  <a:lnTo>
                    <a:pt x="256" y="214"/>
                  </a:lnTo>
                  <a:lnTo>
                    <a:pt x="259" y="214"/>
                  </a:lnTo>
                  <a:lnTo>
                    <a:pt x="259" y="214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264" y="214"/>
                  </a:lnTo>
                  <a:lnTo>
                    <a:pt x="264" y="214"/>
                  </a:lnTo>
                  <a:lnTo>
                    <a:pt x="267" y="214"/>
                  </a:lnTo>
                  <a:lnTo>
                    <a:pt x="267" y="217"/>
                  </a:lnTo>
                  <a:lnTo>
                    <a:pt x="267" y="217"/>
                  </a:lnTo>
                  <a:lnTo>
                    <a:pt x="269" y="217"/>
                  </a:lnTo>
                  <a:lnTo>
                    <a:pt x="272" y="217"/>
                  </a:lnTo>
                  <a:lnTo>
                    <a:pt x="272" y="214"/>
                  </a:lnTo>
                  <a:lnTo>
                    <a:pt x="272" y="214"/>
                  </a:lnTo>
                  <a:lnTo>
                    <a:pt x="275" y="217"/>
                  </a:lnTo>
                  <a:lnTo>
                    <a:pt x="275" y="217"/>
                  </a:lnTo>
                  <a:lnTo>
                    <a:pt x="277" y="217"/>
                  </a:lnTo>
                  <a:lnTo>
                    <a:pt x="280" y="217"/>
                  </a:lnTo>
                  <a:lnTo>
                    <a:pt x="283" y="217"/>
                  </a:lnTo>
                  <a:lnTo>
                    <a:pt x="283" y="219"/>
                  </a:lnTo>
                  <a:lnTo>
                    <a:pt x="280" y="219"/>
                  </a:lnTo>
                  <a:lnTo>
                    <a:pt x="280" y="219"/>
                  </a:lnTo>
                  <a:lnTo>
                    <a:pt x="280" y="219"/>
                  </a:lnTo>
                  <a:lnTo>
                    <a:pt x="280" y="222"/>
                  </a:lnTo>
                  <a:lnTo>
                    <a:pt x="277" y="225"/>
                  </a:lnTo>
                  <a:lnTo>
                    <a:pt x="280" y="227"/>
                  </a:lnTo>
                  <a:lnTo>
                    <a:pt x="283" y="225"/>
                  </a:lnTo>
                  <a:lnTo>
                    <a:pt x="283" y="225"/>
                  </a:lnTo>
                  <a:lnTo>
                    <a:pt x="283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96" y="227"/>
                  </a:lnTo>
                  <a:lnTo>
                    <a:pt x="296" y="227"/>
                  </a:lnTo>
                  <a:lnTo>
                    <a:pt x="301" y="227"/>
                  </a:lnTo>
                  <a:lnTo>
                    <a:pt x="301" y="227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7" y="230"/>
                  </a:lnTo>
                  <a:lnTo>
                    <a:pt x="309" y="233"/>
                  </a:lnTo>
                  <a:lnTo>
                    <a:pt x="312" y="233"/>
                  </a:lnTo>
                  <a:lnTo>
                    <a:pt x="312" y="233"/>
                  </a:lnTo>
                  <a:lnTo>
                    <a:pt x="312" y="235"/>
                  </a:lnTo>
                  <a:lnTo>
                    <a:pt x="312" y="238"/>
                  </a:lnTo>
                  <a:lnTo>
                    <a:pt x="312" y="238"/>
                  </a:lnTo>
                  <a:lnTo>
                    <a:pt x="312" y="241"/>
                  </a:lnTo>
                  <a:lnTo>
                    <a:pt x="312" y="243"/>
                  </a:lnTo>
                  <a:lnTo>
                    <a:pt x="312" y="243"/>
                  </a:lnTo>
                  <a:lnTo>
                    <a:pt x="315" y="243"/>
                  </a:lnTo>
                  <a:lnTo>
                    <a:pt x="315" y="246"/>
                  </a:lnTo>
                  <a:lnTo>
                    <a:pt x="315" y="246"/>
                  </a:lnTo>
                  <a:lnTo>
                    <a:pt x="315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09" y="251"/>
                  </a:lnTo>
                  <a:lnTo>
                    <a:pt x="307" y="251"/>
                  </a:lnTo>
                  <a:lnTo>
                    <a:pt x="307" y="251"/>
                  </a:lnTo>
                  <a:lnTo>
                    <a:pt x="307" y="254"/>
                  </a:lnTo>
                  <a:lnTo>
                    <a:pt x="304" y="251"/>
                  </a:lnTo>
                  <a:lnTo>
                    <a:pt x="304" y="251"/>
                  </a:lnTo>
                  <a:lnTo>
                    <a:pt x="304" y="249"/>
                  </a:lnTo>
                  <a:lnTo>
                    <a:pt x="301" y="254"/>
                  </a:lnTo>
                  <a:lnTo>
                    <a:pt x="304" y="257"/>
                  </a:lnTo>
                  <a:lnTo>
                    <a:pt x="301" y="259"/>
                  </a:lnTo>
                  <a:lnTo>
                    <a:pt x="301" y="257"/>
                  </a:lnTo>
                  <a:lnTo>
                    <a:pt x="299" y="259"/>
                  </a:lnTo>
                  <a:lnTo>
                    <a:pt x="299" y="262"/>
                  </a:lnTo>
                  <a:lnTo>
                    <a:pt x="296" y="265"/>
                  </a:lnTo>
                  <a:lnTo>
                    <a:pt x="299" y="265"/>
                  </a:lnTo>
                  <a:lnTo>
                    <a:pt x="299" y="267"/>
                  </a:lnTo>
                  <a:lnTo>
                    <a:pt x="299" y="267"/>
                  </a:lnTo>
                  <a:lnTo>
                    <a:pt x="301" y="267"/>
                  </a:lnTo>
                  <a:lnTo>
                    <a:pt x="301" y="270"/>
                  </a:lnTo>
                  <a:lnTo>
                    <a:pt x="301" y="270"/>
                  </a:lnTo>
                  <a:lnTo>
                    <a:pt x="301" y="275"/>
                  </a:lnTo>
                  <a:lnTo>
                    <a:pt x="304" y="273"/>
                  </a:lnTo>
                  <a:lnTo>
                    <a:pt x="304" y="273"/>
                  </a:lnTo>
                  <a:lnTo>
                    <a:pt x="307" y="273"/>
                  </a:lnTo>
                  <a:lnTo>
                    <a:pt x="307" y="275"/>
                  </a:lnTo>
                  <a:lnTo>
                    <a:pt x="307" y="275"/>
                  </a:lnTo>
                  <a:lnTo>
                    <a:pt x="307" y="278"/>
                  </a:lnTo>
                  <a:lnTo>
                    <a:pt x="307" y="278"/>
                  </a:lnTo>
                  <a:lnTo>
                    <a:pt x="304" y="281"/>
                  </a:lnTo>
                  <a:lnTo>
                    <a:pt x="304" y="28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1" name="Freeform 8898">
              <a:extLst>
                <a:ext uri="{FF2B5EF4-FFF2-40B4-BE49-F238E27FC236}">
                  <a16:creationId xmlns:a16="http://schemas.microsoft.com/office/drawing/2014/main" id="{9C1C3342-C8B9-284C-A5EC-F25328AA1E11}"/>
                </a:ext>
              </a:extLst>
            </p:cNvPr>
            <p:cNvSpPr/>
            <p:nvPr/>
          </p:nvSpPr>
          <p:spPr bwMode="auto">
            <a:xfrm>
              <a:off x="3264692" y="3717927"/>
              <a:ext cx="796925" cy="946150"/>
            </a:xfrm>
            <a:custGeom>
              <a:avLst/>
              <a:gdLst>
                <a:gd name="T0" fmla="*/ 213 w 502"/>
                <a:gd name="T1" fmla="*/ 564 h 596"/>
                <a:gd name="T2" fmla="*/ 205 w 502"/>
                <a:gd name="T3" fmla="*/ 556 h 596"/>
                <a:gd name="T4" fmla="*/ 192 w 502"/>
                <a:gd name="T5" fmla="*/ 551 h 596"/>
                <a:gd name="T6" fmla="*/ 179 w 502"/>
                <a:gd name="T7" fmla="*/ 559 h 596"/>
                <a:gd name="T8" fmla="*/ 163 w 502"/>
                <a:gd name="T9" fmla="*/ 548 h 596"/>
                <a:gd name="T10" fmla="*/ 141 w 502"/>
                <a:gd name="T11" fmla="*/ 540 h 596"/>
                <a:gd name="T12" fmla="*/ 115 w 502"/>
                <a:gd name="T13" fmla="*/ 532 h 596"/>
                <a:gd name="T14" fmla="*/ 93 w 502"/>
                <a:gd name="T15" fmla="*/ 505 h 596"/>
                <a:gd name="T16" fmla="*/ 72 w 502"/>
                <a:gd name="T17" fmla="*/ 524 h 596"/>
                <a:gd name="T18" fmla="*/ 53 w 502"/>
                <a:gd name="T19" fmla="*/ 511 h 596"/>
                <a:gd name="T20" fmla="*/ 40 w 502"/>
                <a:gd name="T21" fmla="*/ 511 h 596"/>
                <a:gd name="T22" fmla="*/ 27 w 502"/>
                <a:gd name="T23" fmla="*/ 503 h 596"/>
                <a:gd name="T24" fmla="*/ 3 w 502"/>
                <a:gd name="T25" fmla="*/ 465 h 596"/>
                <a:gd name="T26" fmla="*/ 19 w 502"/>
                <a:gd name="T27" fmla="*/ 441 h 596"/>
                <a:gd name="T28" fmla="*/ 16 w 502"/>
                <a:gd name="T29" fmla="*/ 417 h 596"/>
                <a:gd name="T30" fmla="*/ 29 w 502"/>
                <a:gd name="T31" fmla="*/ 417 h 596"/>
                <a:gd name="T32" fmla="*/ 45 w 502"/>
                <a:gd name="T33" fmla="*/ 420 h 596"/>
                <a:gd name="T34" fmla="*/ 59 w 502"/>
                <a:gd name="T35" fmla="*/ 417 h 596"/>
                <a:gd name="T36" fmla="*/ 61 w 502"/>
                <a:gd name="T37" fmla="*/ 417 h 596"/>
                <a:gd name="T38" fmla="*/ 67 w 502"/>
                <a:gd name="T39" fmla="*/ 414 h 596"/>
                <a:gd name="T40" fmla="*/ 67 w 502"/>
                <a:gd name="T41" fmla="*/ 404 h 596"/>
                <a:gd name="T42" fmla="*/ 83 w 502"/>
                <a:gd name="T43" fmla="*/ 369 h 596"/>
                <a:gd name="T44" fmla="*/ 107 w 502"/>
                <a:gd name="T45" fmla="*/ 372 h 596"/>
                <a:gd name="T46" fmla="*/ 128 w 502"/>
                <a:gd name="T47" fmla="*/ 364 h 596"/>
                <a:gd name="T48" fmla="*/ 133 w 502"/>
                <a:gd name="T49" fmla="*/ 337 h 596"/>
                <a:gd name="T50" fmla="*/ 152 w 502"/>
                <a:gd name="T51" fmla="*/ 329 h 596"/>
                <a:gd name="T52" fmla="*/ 173 w 502"/>
                <a:gd name="T53" fmla="*/ 326 h 596"/>
                <a:gd name="T54" fmla="*/ 192 w 502"/>
                <a:gd name="T55" fmla="*/ 299 h 596"/>
                <a:gd name="T56" fmla="*/ 192 w 502"/>
                <a:gd name="T57" fmla="*/ 273 h 596"/>
                <a:gd name="T58" fmla="*/ 181 w 502"/>
                <a:gd name="T59" fmla="*/ 233 h 596"/>
                <a:gd name="T60" fmla="*/ 195 w 502"/>
                <a:gd name="T61" fmla="*/ 187 h 596"/>
                <a:gd name="T62" fmla="*/ 232 w 502"/>
                <a:gd name="T63" fmla="*/ 166 h 596"/>
                <a:gd name="T64" fmla="*/ 246 w 502"/>
                <a:gd name="T65" fmla="*/ 142 h 596"/>
                <a:gd name="T66" fmla="*/ 270 w 502"/>
                <a:gd name="T67" fmla="*/ 118 h 596"/>
                <a:gd name="T68" fmla="*/ 283 w 502"/>
                <a:gd name="T69" fmla="*/ 78 h 596"/>
                <a:gd name="T70" fmla="*/ 294 w 502"/>
                <a:gd name="T71" fmla="*/ 51 h 596"/>
                <a:gd name="T72" fmla="*/ 307 w 502"/>
                <a:gd name="T73" fmla="*/ 30 h 596"/>
                <a:gd name="T74" fmla="*/ 312 w 502"/>
                <a:gd name="T75" fmla="*/ 8 h 596"/>
                <a:gd name="T76" fmla="*/ 336 w 502"/>
                <a:gd name="T77" fmla="*/ 8 h 596"/>
                <a:gd name="T78" fmla="*/ 339 w 502"/>
                <a:gd name="T79" fmla="*/ 32 h 596"/>
                <a:gd name="T80" fmla="*/ 435 w 502"/>
                <a:gd name="T81" fmla="*/ 128 h 596"/>
                <a:gd name="T82" fmla="*/ 440 w 502"/>
                <a:gd name="T83" fmla="*/ 246 h 596"/>
                <a:gd name="T84" fmla="*/ 481 w 502"/>
                <a:gd name="T85" fmla="*/ 356 h 596"/>
                <a:gd name="T86" fmla="*/ 494 w 502"/>
                <a:gd name="T87" fmla="*/ 487 h 596"/>
                <a:gd name="T88" fmla="*/ 472 w 502"/>
                <a:gd name="T89" fmla="*/ 487 h 596"/>
                <a:gd name="T90" fmla="*/ 456 w 502"/>
                <a:gd name="T91" fmla="*/ 497 h 596"/>
                <a:gd name="T92" fmla="*/ 448 w 502"/>
                <a:gd name="T93" fmla="*/ 489 h 596"/>
                <a:gd name="T94" fmla="*/ 419 w 502"/>
                <a:gd name="T95" fmla="*/ 508 h 596"/>
                <a:gd name="T96" fmla="*/ 408 w 502"/>
                <a:gd name="T97" fmla="*/ 524 h 596"/>
                <a:gd name="T98" fmla="*/ 408 w 502"/>
                <a:gd name="T99" fmla="*/ 535 h 596"/>
                <a:gd name="T100" fmla="*/ 403 w 502"/>
                <a:gd name="T101" fmla="*/ 561 h 596"/>
                <a:gd name="T102" fmla="*/ 408 w 502"/>
                <a:gd name="T103" fmla="*/ 577 h 596"/>
                <a:gd name="T104" fmla="*/ 358 w 502"/>
                <a:gd name="T105" fmla="*/ 572 h 596"/>
                <a:gd name="T106" fmla="*/ 350 w 502"/>
                <a:gd name="T107" fmla="*/ 588 h 596"/>
                <a:gd name="T108" fmla="*/ 328 w 502"/>
                <a:gd name="T109" fmla="*/ 588 h 596"/>
                <a:gd name="T110" fmla="*/ 310 w 502"/>
                <a:gd name="T111" fmla="*/ 567 h 596"/>
                <a:gd name="T112" fmla="*/ 299 w 502"/>
                <a:gd name="T113" fmla="*/ 567 h 596"/>
                <a:gd name="T114" fmla="*/ 267 w 502"/>
                <a:gd name="T115" fmla="*/ 564 h 596"/>
                <a:gd name="T116" fmla="*/ 254 w 502"/>
                <a:gd name="T117" fmla="*/ 559 h 596"/>
                <a:gd name="T118" fmla="*/ 229 w 502"/>
                <a:gd name="T119" fmla="*/ 575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2" h="596" extrusionOk="0">
                  <a:moveTo>
                    <a:pt x="227" y="585"/>
                  </a:moveTo>
                  <a:lnTo>
                    <a:pt x="216" y="577"/>
                  </a:lnTo>
                  <a:lnTo>
                    <a:pt x="219" y="575"/>
                  </a:lnTo>
                  <a:lnTo>
                    <a:pt x="219" y="572"/>
                  </a:lnTo>
                  <a:lnTo>
                    <a:pt x="219" y="572"/>
                  </a:lnTo>
                  <a:lnTo>
                    <a:pt x="216" y="569"/>
                  </a:lnTo>
                  <a:lnTo>
                    <a:pt x="216" y="569"/>
                  </a:lnTo>
                  <a:lnTo>
                    <a:pt x="213" y="569"/>
                  </a:lnTo>
                  <a:lnTo>
                    <a:pt x="213" y="567"/>
                  </a:lnTo>
                  <a:lnTo>
                    <a:pt x="213" y="567"/>
                  </a:lnTo>
                  <a:lnTo>
                    <a:pt x="213" y="564"/>
                  </a:lnTo>
                  <a:lnTo>
                    <a:pt x="213" y="564"/>
                  </a:lnTo>
                  <a:lnTo>
                    <a:pt x="213" y="561"/>
                  </a:lnTo>
                  <a:lnTo>
                    <a:pt x="213" y="561"/>
                  </a:lnTo>
                  <a:lnTo>
                    <a:pt x="211" y="559"/>
                  </a:lnTo>
                  <a:lnTo>
                    <a:pt x="208" y="559"/>
                  </a:lnTo>
                  <a:lnTo>
                    <a:pt x="208" y="559"/>
                  </a:lnTo>
                  <a:lnTo>
                    <a:pt x="208" y="559"/>
                  </a:lnTo>
                  <a:lnTo>
                    <a:pt x="205" y="561"/>
                  </a:lnTo>
                  <a:lnTo>
                    <a:pt x="205" y="561"/>
                  </a:lnTo>
                  <a:lnTo>
                    <a:pt x="205" y="559"/>
                  </a:lnTo>
                  <a:lnTo>
                    <a:pt x="205" y="559"/>
                  </a:lnTo>
                  <a:lnTo>
                    <a:pt x="205" y="559"/>
                  </a:lnTo>
                  <a:lnTo>
                    <a:pt x="205" y="556"/>
                  </a:lnTo>
                  <a:lnTo>
                    <a:pt x="205" y="556"/>
                  </a:lnTo>
                  <a:lnTo>
                    <a:pt x="205" y="553"/>
                  </a:lnTo>
                  <a:lnTo>
                    <a:pt x="203" y="553"/>
                  </a:lnTo>
                  <a:lnTo>
                    <a:pt x="203" y="553"/>
                  </a:lnTo>
                  <a:lnTo>
                    <a:pt x="200" y="553"/>
                  </a:lnTo>
                  <a:lnTo>
                    <a:pt x="200" y="553"/>
                  </a:lnTo>
                  <a:lnTo>
                    <a:pt x="197" y="553"/>
                  </a:lnTo>
                  <a:lnTo>
                    <a:pt x="197" y="551"/>
                  </a:lnTo>
                  <a:lnTo>
                    <a:pt x="195" y="553"/>
                  </a:lnTo>
                  <a:lnTo>
                    <a:pt x="195" y="553"/>
                  </a:lnTo>
                  <a:lnTo>
                    <a:pt x="195" y="551"/>
                  </a:lnTo>
                  <a:lnTo>
                    <a:pt x="192" y="551"/>
                  </a:lnTo>
                  <a:lnTo>
                    <a:pt x="192" y="548"/>
                  </a:lnTo>
                  <a:lnTo>
                    <a:pt x="189" y="545"/>
                  </a:lnTo>
                  <a:lnTo>
                    <a:pt x="187" y="545"/>
                  </a:lnTo>
                  <a:lnTo>
                    <a:pt x="184" y="545"/>
                  </a:lnTo>
                  <a:lnTo>
                    <a:pt x="184" y="548"/>
                  </a:lnTo>
                  <a:lnTo>
                    <a:pt x="184" y="551"/>
                  </a:lnTo>
                  <a:lnTo>
                    <a:pt x="184" y="553"/>
                  </a:lnTo>
                  <a:lnTo>
                    <a:pt x="184" y="556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1" y="561"/>
                  </a:lnTo>
                  <a:lnTo>
                    <a:pt x="179" y="559"/>
                  </a:lnTo>
                  <a:lnTo>
                    <a:pt x="176" y="559"/>
                  </a:lnTo>
                  <a:lnTo>
                    <a:pt x="176" y="559"/>
                  </a:lnTo>
                  <a:lnTo>
                    <a:pt x="173" y="559"/>
                  </a:lnTo>
                  <a:lnTo>
                    <a:pt x="173" y="556"/>
                  </a:lnTo>
                  <a:lnTo>
                    <a:pt x="171" y="559"/>
                  </a:lnTo>
                  <a:lnTo>
                    <a:pt x="171" y="556"/>
                  </a:lnTo>
                  <a:lnTo>
                    <a:pt x="171" y="553"/>
                  </a:lnTo>
                  <a:lnTo>
                    <a:pt x="168" y="553"/>
                  </a:lnTo>
                  <a:lnTo>
                    <a:pt x="165" y="551"/>
                  </a:lnTo>
                  <a:lnTo>
                    <a:pt x="165" y="551"/>
                  </a:lnTo>
                  <a:lnTo>
                    <a:pt x="165" y="548"/>
                  </a:lnTo>
                  <a:lnTo>
                    <a:pt x="163" y="548"/>
                  </a:lnTo>
                  <a:lnTo>
                    <a:pt x="163" y="548"/>
                  </a:lnTo>
                  <a:lnTo>
                    <a:pt x="160" y="548"/>
                  </a:lnTo>
                  <a:lnTo>
                    <a:pt x="157" y="548"/>
                  </a:lnTo>
                  <a:lnTo>
                    <a:pt x="155" y="548"/>
                  </a:lnTo>
                  <a:lnTo>
                    <a:pt x="155" y="548"/>
                  </a:lnTo>
                  <a:lnTo>
                    <a:pt x="155" y="545"/>
                  </a:lnTo>
                  <a:lnTo>
                    <a:pt x="152" y="545"/>
                  </a:lnTo>
                  <a:lnTo>
                    <a:pt x="149" y="543"/>
                  </a:lnTo>
                  <a:lnTo>
                    <a:pt x="147" y="543"/>
                  </a:lnTo>
                  <a:lnTo>
                    <a:pt x="147" y="543"/>
                  </a:lnTo>
                  <a:lnTo>
                    <a:pt x="144" y="540"/>
                  </a:lnTo>
                  <a:lnTo>
                    <a:pt x="141" y="540"/>
                  </a:lnTo>
                  <a:lnTo>
                    <a:pt x="141" y="540"/>
                  </a:lnTo>
                  <a:lnTo>
                    <a:pt x="139" y="540"/>
                  </a:lnTo>
                  <a:lnTo>
                    <a:pt x="139" y="540"/>
                  </a:lnTo>
                  <a:lnTo>
                    <a:pt x="136" y="543"/>
                  </a:lnTo>
                  <a:lnTo>
                    <a:pt x="133" y="540"/>
                  </a:lnTo>
                  <a:lnTo>
                    <a:pt x="131" y="537"/>
                  </a:lnTo>
                  <a:lnTo>
                    <a:pt x="131" y="537"/>
                  </a:lnTo>
                  <a:lnTo>
                    <a:pt x="128" y="535"/>
                  </a:lnTo>
                  <a:lnTo>
                    <a:pt x="125" y="532"/>
                  </a:lnTo>
                  <a:lnTo>
                    <a:pt x="123" y="529"/>
                  </a:lnTo>
                  <a:lnTo>
                    <a:pt x="120" y="529"/>
                  </a:lnTo>
                  <a:lnTo>
                    <a:pt x="115" y="532"/>
                  </a:lnTo>
                  <a:lnTo>
                    <a:pt x="109" y="524"/>
                  </a:lnTo>
                  <a:lnTo>
                    <a:pt x="112" y="521"/>
                  </a:lnTo>
                  <a:lnTo>
                    <a:pt x="109" y="519"/>
                  </a:lnTo>
                  <a:lnTo>
                    <a:pt x="109" y="519"/>
                  </a:lnTo>
                  <a:lnTo>
                    <a:pt x="101" y="513"/>
                  </a:lnTo>
                  <a:lnTo>
                    <a:pt x="101" y="516"/>
                  </a:lnTo>
                  <a:lnTo>
                    <a:pt x="99" y="513"/>
                  </a:lnTo>
                  <a:lnTo>
                    <a:pt x="99" y="513"/>
                  </a:lnTo>
                  <a:lnTo>
                    <a:pt x="96" y="511"/>
                  </a:lnTo>
                  <a:lnTo>
                    <a:pt x="96" y="508"/>
                  </a:lnTo>
                  <a:lnTo>
                    <a:pt x="93" y="508"/>
                  </a:lnTo>
                  <a:lnTo>
                    <a:pt x="93" y="505"/>
                  </a:lnTo>
                  <a:lnTo>
                    <a:pt x="88" y="508"/>
                  </a:lnTo>
                  <a:lnTo>
                    <a:pt x="88" y="516"/>
                  </a:lnTo>
                  <a:lnTo>
                    <a:pt x="85" y="519"/>
                  </a:lnTo>
                  <a:lnTo>
                    <a:pt x="85" y="519"/>
                  </a:lnTo>
                  <a:lnTo>
                    <a:pt x="83" y="516"/>
                  </a:lnTo>
                  <a:lnTo>
                    <a:pt x="77" y="516"/>
                  </a:lnTo>
                  <a:lnTo>
                    <a:pt x="77" y="516"/>
                  </a:lnTo>
                  <a:lnTo>
                    <a:pt x="77" y="519"/>
                  </a:lnTo>
                  <a:lnTo>
                    <a:pt x="77" y="519"/>
                  </a:lnTo>
                  <a:lnTo>
                    <a:pt x="75" y="521"/>
                  </a:lnTo>
                  <a:lnTo>
                    <a:pt x="75" y="524"/>
                  </a:lnTo>
                  <a:lnTo>
                    <a:pt x="72" y="524"/>
                  </a:lnTo>
                  <a:lnTo>
                    <a:pt x="72" y="527"/>
                  </a:lnTo>
                  <a:lnTo>
                    <a:pt x="67" y="527"/>
                  </a:lnTo>
                  <a:lnTo>
                    <a:pt x="64" y="527"/>
                  </a:lnTo>
                  <a:lnTo>
                    <a:pt x="67" y="524"/>
                  </a:lnTo>
                  <a:lnTo>
                    <a:pt x="64" y="524"/>
                  </a:lnTo>
                  <a:lnTo>
                    <a:pt x="64" y="521"/>
                  </a:lnTo>
                  <a:lnTo>
                    <a:pt x="59" y="519"/>
                  </a:lnTo>
                  <a:lnTo>
                    <a:pt x="59" y="516"/>
                  </a:lnTo>
                  <a:lnTo>
                    <a:pt x="56" y="516"/>
                  </a:lnTo>
                  <a:lnTo>
                    <a:pt x="56" y="513"/>
                  </a:lnTo>
                  <a:lnTo>
                    <a:pt x="56" y="513"/>
                  </a:lnTo>
                  <a:lnTo>
                    <a:pt x="53" y="511"/>
                  </a:lnTo>
                  <a:lnTo>
                    <a:pt x="53" y="508"/>
                  </a:lnTo>
                  <a:lnTo>
                    <a:pt x="51" y="508"/>
                  </a:lnTo>
                  <a:lnTo>
                    <a:pt x="51" y="508"/>
                  </a:lnTo>
                  <a:lnTo>
                    <a:pt x="51" y="508"/>
                  </a:lnTo>
                  <a:lnTo>
                    <a:pt x="48" y="508"/>
                  </a:lnTo>
                  <a:lnTo>
                    <a:pt x="48" y="511"/>
                  </a:lnTo>
                  <a:lnTo>
                    <a:pt x="45" y="511"/>
                  </a:lnTo>
                  <a:lnTo>
                    <a:pt x="43" y="511"/>
                  </a:lnTo>
                  <a:lnTo>
                    <a:pt x="43" y="511"/>
                  </a:lnTo>
                  <a:lnTo>
                    <a:pt x="40" y="511"/>
                  </a:lnTo>
                  <a:lnTo>
                    <a:pt x="37" y="511"/>
                  </a:lnTo>
                  <a:lnTo>
                    <a:pt x="40" y="511"/>
                  </a:lnTo>
                  <a:lnTo>
                    <a:pt x="40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5" y="508"/>
                  </a:lnTo>
                  <a:lnTo>
                    <a:pt x="35" y="508"/>
                  </a:lnTo>
                  <a:lnTo>
                    <a:pt x="35" y="505"/>
                  </a:lnTo>
                  <a:lnTo>
                    <a:pt x="32" y="505"/>
                  </a:lnTo>
                  <a:lnTo>
                    <a:pt x="32" y="505"/>
                  </a:lnTo>
                  <a:lnTo>
                    <a:pt x="32" y="503"/>
                  </a:lnTo>
                  <a:lnTo>
                    <a:pt x="29" y="503"/>
                  </a:lnTo>
                  <a:lnTo>
                    <a:pt x="29" y="503"/>
                  </a:lnTo>
                  <a:lnTo>
                    <a:pt x="27" y="503"/>
                  </a:lnTo>
                  <a:lnTo>
                    <a:pt x="21" y="503"/>
                  </a:lnTo>
                  <a:lnTo>
                    <a:pt x="19" y="500"/>
                  </a:lnTo>
                  <a:lnTo>
                    <a:pt x="19" y="497"/>
                  </a:lnTo>
                  <a:lnTo>
                    <a:pt x="19" y="497"/>
                  </a:lnTo>
                  <a:lnTo>
                    <a:pt x="16" y="495"/>
                  </a:lnTo>
                  <a:lnTo>
                    <a:pt x="13" y="495"/>
                  </a:lnTo>
                  <a:lnTo>
                    <a:pt x="0" y="473"/>
                  </a:lnTo>
                  <a:lnTo>
                    <a:pt x="0" y="473"/>
                  </a:lnTo>
                  <a:lnTo>
                    <a:pt x="3" y="473"/>
                  </a:lnTo>
                  <a:lnTo>
                    <a:pt x="3" y="470"/>
                  </a:lnTo>
                  <a:lnTo>
                    <a:pt x="3" y="470"/>
                  </a:lnTo>
                  <a:lnTo>
                    <a:pt x="3" y="465"/>
                  </a:lnTo>
                  <a:lnTo>
                    <a:pt x="0" y="465"/>
                  </a:lnTo>
                  <a:lnTo>
                    <a:pt x="0" y="462"/>
                  </a:lnTo>
                  <a:lnTo>
                    <a:pt x="5" y="460"/>
                  </a:lnTo>
                  <a:lnTo>
                    <a:pt x="8" y="452"/>
                  </a:lnTo>
                  <a:lnTo>
                    <a:pt x="11" y="449"/>
                  </a:lnTo>
                  <a:lnTo>
                    <a:pt x="11" y="449"/>
                  </a:lnTo>
                  <a:lnTo>
                    <a:pt x="13" y="444"/>
                  </a:lnTo>
                  <a:lnTo>
                    <a:pt x="11" y="444"/>
                  </a:lnTo>
                  <a:lnTo>
                    <a:pt x="13" y="444"/>
                  </a:lnTo>
                  <a:lnTo>
                    <a:pt x="13" y="441"/>
                  </a:lnTo>
                  <a:lnTo>
                    <a:pt x="16" y="444"/>
                  </a:lnTo>
                  <a:lnTo>
                    <a:pt x="19" y="441"/>
                  </a:lnTo>
                  <a:lnTo>
                    <a:pt x="16" y="438"/>
                  </a:lnTo>
                  <a:lnTo>
                    <a:pt x="16" y="436"/>
                  </a:lnTo>
                  <a:lnTo>
                    <a:pt x="16" y="430"/>
                  </a:lnTo>
                  <a:lnTo>
                    <a:pt x="16" y="425"/>
                  </a:lnTo>
                  <a:lnTo>
                    <a:pt x="16" y="425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2"/>
                  </a:lnTo>
                  <a:lnTo>
                    <a:pt x="16" y="420"/>
                  </a:lnTo>
                  <a:lnTo>
                    <a:pt x="16" y="420"/>
                  </a:lnTo>
                  <a:lnTo>
                    <a:pt x="16" y="417"/>
                  </a:lnTo>
                  <a:lnTo>
                    <a:pt x="19" y="417"/>
                  </a:lnTo>
                  <a:lnTo>
                    <a:pt x="19" y="417"/>
                  </a:lnTo>
                  <a:lnTo>
                    <a:pt x="21" y="414"/>
                  </a:lnTo>
                  <a:lnTo>
                    <a:pt x="24" y="414"/>
                  </a:lnTo>
                  <a:lnTo>
                    <a:pt x="24" y="414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7" y="417"/>
                  </a:lnTo>
                  <a:lnTo>
                    <a:pt x="27" y="417"/>
                  </a:lnTo>
                  <a:lnTo>
                    <a:pt x="27" y="417"/>
                  </a:lnTo>
                  <a:lnTo>
                    <a:pt x="29" y="414"/>
                  </a:lnTo>
                  <a:lnTo>
                    <a:pt x="29" y="417"/>
                  </a:lnTo>
                  <a:lnTo>
                    <a:pt x="29" y="420"/>
                  </a:lnTo>
                  <a:lnTo>
                    <a:pt x="35" y="422"/>
                  </a:lnTo>
                  <a:lnTo>
                    <a:pt x="35" y="422"/>
                  </a:lnTo>
                  <a:lnTo>
                    <a:pt x="37" y="422"/>
                  </a:lnTo>
                  <a:lnTo>
                    <a:pt x="37" y="422"/>
                  </a:lnTo>
                  <a:lnTo>
                    <a:pt x="37" y="422"/>
                  </a:lnTo>
                  <a:lnTo>
                    <a:pt x="40" y="422"/>
                  </a:lnTo>
                  <a:lnTo>
                    <a:pt x="40" y="422"/>
                  </a:lnTo>
                  <a:lnTo>
                    <a:pt x="43" y="420"/>
                  </a:lnTo>
                  <a:lnTo>
                    <a:pt x="43" y="422"/>
                  </a:lnTo>
                  <a:lnTo>
                    <a:pt x="45" y="422"/>
                  </a:lnTo>
                  <a:lnTo>
                    <a:pt x="45" y="420"/>
                  </a:lnTo>
                  <a:lnTo>
                    <a:pt x="45" y="420"/>
                  </a:lnTo>
                  <a:lnTo>
                    <a:pt x="45" y="420"/>
                  </a:lnTo>
                  <a:lnTo>
                    <a:pt x="48" y="417"/>
                  </a:lnTo>
                  <a:lnTo>
                    <a:pt x="48" y="420"/>
                  </a:lnTo>
                  <a:lnTo>
                    <a:pt x="48" y="422"/>
                  </a:lnTo>
                  <a:lnTo>
                    <a:pt x="51" y="422"/>
                  </a:lnTo>
                  <a:lnTo>
                    <a:pt x="51" y="420"/>
                  </a:lnTo>
                  <a:lnTo>
                    <a:pt x="51" y="417"/>
                  </a:lnTo>
                  <a:lnTo>
                    <a:pt x="53" y="417"/>
                  </a:lnTo>
                  <a:lnTo>
                    <a:pt x="53" y="414"/>
                  </a:lnTo>
                  <a:lnTo>
                    <a:pt x="56" y="414"/>
                  </a:lnTo>
                  <a:lnTo>
                    <a:pt x="59" y="417"/>
                  </a:lnTo>
                  <a:lnTo>
                    <a:pt x="61" y="414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59" y="417"/>
                  </a:lnTo>
                  <a:lnTo>
                    <a:pt x="59" y="417"/>
                  </a:lnTo>
                  <a:lnTo>
                    <a:pt x="59" y="420"/>
                  </a:lnTo>
                  <a:lnTo>
                    <a:pt x="59" y="420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1" y="420"/>
                  </a:lnTo>
                  <a:lnTo>
                    <a:pt x="61" y="420"/>
                  </a:lnTo>
                  <a:lnTo>
                    <a:pt x="61" y="420"/>
                  </a:lnTo>
                  <a:lnTo>
                    <a:pt x="64" y="417"/>
                  </a:lnTo>
                  <a:lnTo>
                    <a:pt x="64" y="417"/>
                  </a:lnTo>
                  <a:lnTo>
                    <a:pt x="64" y="420"/>
                  </a:lnTo>
                  <a:lnTo>
                    <a:pt x="64" y="420"/>
                  </a:lnTo>
                  <a:lnTo>
                    <a:pt x="67" y="417"/>
                  </a:lnTo>
                  <a:lnTo>
                    <a:pt x="64" y="414"/>
                  </a:lnTo>
                  <a:lnTo>
                    <a:pt x="64" y="414"/>
                  </a:lnTo>
                  <a:lnTo>
                    <a:pt x="67" y="414"/>
                  </a:lnTo>
                  <a:lnTo>
                    <a:pt x="67" y="414"/>
                  </a:lnTo>
                  <a:lnTo>
                    <a:pt x="69" y="414"/>
                  </a:lnTo>
                  <a:lnTo>
                    <a:pt x="69" y="414"/>
                  </a:lnTo>
                  <a:lnTo>
                    <a:pt x="67" y="412"/>
                  </a:lnTo>
                  <a:lnTo>
                    <a:pt x="67" y="409"/>
                  </a:lnTo>
                  <a:lnTo>
                    <a:pt x="69" y="409"/>
                  </a:lnTo>
                  <a:lnTo>
                    <a:pt x="69" y="409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6"/>
                  </a:lnTo>
                  <a:lnTo>
                    <a:pt x="64" y="406"/>
                  </a:lnTo>
                  <a:lnTo>
                    <a:pt x="67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1"/>
                  </a:lnTo>
                  <a:lnTo>
                    <a:pt x="72" y="398"/>
                  </a:lnTo>
                  <a:lnTo>
                    <a:pt x="72" y="398"/>
                  </a:lnTo>
                  <a:lnTo>
                    <a:pt x="69" y="393"/>
                  </a:lnTo>
                  <a:lnTo>
                    <a:pt x="72" y="393"/>
                  </a:lnTo>
                  <a:lnTo>
                    <a:pt x="69" y="393"/>
                  </a:lnTo>
                  <a:lnTo>
                    <a:pt x="77" y="380"/>
                  </a:lnTo>
                  <a:lnTo>
                    <a:pt x="80" y="377"/>
                  </a:lnTo>
                  <a:lnTo>
                    <a:pt x="77" y="374"/>
                  </a:lnTo>
                  <a:lnTo>
                    <a:pt x="83" y="369"/>
                  </a:lnTo>
                  <a:lnTo>
                    <a:pt x="83" y="369"/>
                  </a:lnTo>
                  <a:lnTo>
                    <a:pt x="83" y="372"/>
                  </a:lnTo>
                  <a:lnTo>
                    <a:pt x="88" y="372"/>
                  </a:lnTo>
                  <a:lnTo>
                    <a:pt x="88" y="366"/>
                  </a:lnTo>
                  <a:lnTo>
                    <a:pt x="91" y="366"/>
                  </a:lnTo>
                  <a:lnTo>
                    <a:pt x="91" y="364"/>
                  </a:lnTo>
                  <a:lnTo>
                    <a:pt x="93" y="364"/>
                  </a:lnTo>
                  <a:lnTo>
                    <a:pt x="93" y="364"/>
                  </a:lnTo>
                  <a:lnTo>
                    <a:pt x="96" y="366"/>
                  </a:lnTo>
                  <a:lnTo>
                    <a:pt x="96" y="366"/>
                  </a:lnTo>
                  <a:lnTo>
                    <a:pt x="99" y="366"/>
                  </a:lnTo>
                  <a:lnTo>
                    <a:pt x="104" y="369"/>
                  </a:lnTo>
                  <a:lnTo>
                    <a:pt x="107" y="372"/>
                  </a:lnTo>
                  <a:lnTo>
                    <a:pt x="107" y="377"/>
                  </a:lnTo>
                  <a:lnTo>
                    <a:pt x="104" y="380"/>
                  </a:lnTo>
                  <a:lnTo>
                    <a:pt x="107" y="382"/>
                  </a:lnTo>
                  <a:lnTo>
                    <a:pt x="115" y="380"/>
                  </a:lnTo>
                  <a:lnTo>
                    <a:pt x="123" y="377"/>
                  </a:lnTo>
                  <a:lnTo>
                    <a:pt x="128" y="377"/>
                  </a:lnTo>
                  <a:lnTo>
                    <a:pt x="131" y="372"/>
                  </a:lnTo>
                  <a:lnTo>
                    <a:pt x="131" y="372"/>
                  </a:lnTo>
                  <a:lnTo>
                    <a:pt x="133" y="366"/>
                  </a:lnTo>
                  <a:lnTo>
                    <a:pt x="133" y="366"/>
                  </a:lnTo>
                  <a:lnTo>
                    <a:pt x="131" y="364"/>
                  </a:lnTo>
                  <a:lnTo>
                    <a:pt x="128" y="364"/>
                  </a:lnTo>
                  <a:lnTo>
                    <a:pt x="131" y="358"/>
                  </a:lnTo>
                  <a:lnTo>
                    <a:pt x="128" y="356"/>
                  </a:lnTo>
                  <a:lnTo>
                    <a:pt x="128" y="353"/>
                  </a:lnTo>
                  <a:lnTo>
                    <a:pt x="131" y="350"/>
                  </a:lnTo>
                  <a:lnTo>
                    <a:pt x="131" y="345"/>
                  </a:lnTo>
                  <a:lnTo>
                    <a:pt x="128" y="342"/>
                  </a:lnTo>
                  <a:lnTo>
                    <a:pt x="131" y="342"/>
                  </a:lnTo>
                  <a:lnTo>
                    <a:pt x="131" y="342"/>
                  </a:lnTo>
                  <a:lnTo>
                    <a:pt x="133" y="340"/>
                  </a:lnTo>
                  <a:lnTo>
                    <a:pt x="133" y="340"/>
                  </a:lnTo>
                  <a:lnTo>
                    <a:pt x="133" y="340"/>
                  </a:lnTo>
                  <a:lnTo>
                    <a:pt x="133" y="337"/>
                  </a:lnTo>
                  <a:lnTo>
                    <a:pt x="133" y="337"/>
                  </a:lnTo>
                  <a:lnTo>
                    <a:pt x="136" y="337"/>
                  </a:lnTo>
                  <a:lnTo>
                    <a:pt x="136" y="337"/>
                  </a:lnTo>
                  <a:lnTo>
                    <a:pt x="139" y="337"/>
                  </a:lnTo>
                  <a:lnTo>
                    <a:pt x="141" y="337"/>
                  </a:lnTo>
                  <a:lnTo>
                    <a:pt x="141" y="334"/>
                  </a:lnTo>
                  <a:lnTo>
                    <a:pt x="144" y="334"/>
                  </a:lnTo>
                  <a:lnTo>
                    <a:pt x="144" y="334"/>
                  </a:lnTo>
                  <a:lnTo>
                    <a:pt x="147" y="332"/>
                  </a:lnTo>
                  <a:lnTo>
                    <a:pt x="147" y="332"/>
                  </a:lnTo>
                  <a:lnTo>
                    <a:pt x="149" y="329"/>
                  </a:lnTo>
                  <a:lnTo>
                    <a:pt x="152" y="329"/>
                  </a:lnTo>
                  <a:lnTo>
                    <a:pt x="155" y="329"/>
                  </a:lnTo>
                  <a:lnTo>
                    <a:pt x="157" y="332"/>
                  </a:lnTo>
                  <a:lnTo>
                    <a:pt x="160" y="332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29"/>
                  </a:lnTo>
                  <a:lnTo>
                    <a:pt x="168" y="332"/>
                  </a:lnTo>
                  <a:lnTo>
                    <a:pt x="168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3" y="326"/>
                  </a:lnTo>
                  <a:lnTo>
                    <a:pt x="173" y="326"/>
                  </a:lnTo>
                  <a:lnTo>
                    <a:pt x="176" y="321"/>
                  </a:lnTo>
                  <a:lnTo>
                    <a:pt x="181" y="321"/>
                  </a:lnTo>
                  <a:lnTo>
                    <a:pt x="189" y="318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87" y="310"/>
                  </a:lnTo>
                  <a:lnTo>
                    <a:pt x="189" y="307"/>
                  </a:lnTo>
                  <a:lnTo>
                    <a:pt x="189" y="305"/>
                  </a:lnTo>
                  <a:lnTo>
                    <a:pt x="189" y="305"/>
                  </a:lnTo>
                  <a:lnTo>
                    <a:pt x="192" y="302"/>
                  </a:lnTo>
                  <a:lnTo>
                    <a:pt x="192" y="299"/>
                  </a:lnTo>
                  <a:lnTo>
                    <a:pt x="192" y="299"/>
                  </a:lnTo>
                  <a:lnTo>
                    <a:pt x="189" y="299"/>
                  </a:lnTo>
                  <a:lnTo>
                    <a:pt x="187" y="299"/>
                  </a:lnTo>
                  <a:lnTo>
                    <a:pt x="187" y="297"/>
                  </a:lnTo>
                  <a:lnTo>
                    <a:pt x="187" y="294"/>
                  </a:lnTo>
                  <a:lnTo>
                    <a:pt x="181" y="294"/>
                  </a:lnTo>
                  <a:lnTo>
                    <a:pt x="184" y="289"/>
                  </a:lnTo>
                  <a:lnTo>
                    <a:pt x="181" y="286"/>
                  </a:lnTo>
                  <a:lnTo>
                    <a:pt x="187" y="273"/>
                  </a:lnTo>
                  <a:lnTo>
                    <a:pt x="189" y="275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0"/>
                  </a:lnTo>
                  <a:lnTo>
                    <a:pt x="189" y="265"/>
                  </a:lnTo>
                  <a:lnTo>
                    <a:pt x="200" y="254"/>
                  </a:lnTo>
                  <a:lnTo>
                    <a:pt x="200" y="251"/>
                  </a:lnTo>
                  <a:lnTo>
                    <a:pt x="195" y="246"/>
                  </a:lnTo>
                  <a:lnTo>
                    <a:pt x="195" y="241"/>
                  </a:lnTo>
                  <a:lnTo>
                    <a:pt x="192" y="241"/>
                  </a:lnTo>
                  <a:lnTo>
                    <a:pt x="189" y="241"/>
                  </a:lnTo>
                  <a:lnTo>
                    <a:pt x="189" y="238"/>
                  </a:lnTo>
                  <a:lnTo>
                    <a:pt x="187" y="238"/>
                  </a:lnTo>
                  <a:lnTo>
                    <a:pt x="184" y="235"/>
                  </a:lnTo>
                  <a:lnTo>
                    <a:pt x="181" y="233"/>
                  </a:lnTo>
                  <a:lnTo>
                    <a:pt x="181" y="230"/>
                  </a:lnTo>
                  <a:lnTo>
                    <a:pt x="181" y="227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1" y="222"/>
                  </a:lnTo>
                  <a:lnTo>
                    <a:pt x="181" y="219"/>
                  </a:lnTo>
                  <a:lnTo>
                    <a:pt x="181" y="219"/>
                  </a:lnTo>
                  <a:lnTo>
                    <a:pt x="181" y="214"/>
                  </a:lnTo>
                  <a:lnTo>
                    <a:pt x="181" y="214"/>
                  </a:lnTo>
                  <a:lnTo>
                    <a:pt x="181" y="214"/>
                  </a:lnTo>
                  <a:lnTo>
                    <a:pt x="176" y="209"/>
                  </a:lnTo>
                  <a:lnTo>
                    <a:pt x="195" y="187"/>
                  </a:lnTo>
                  <a:lnTo>
                    <a:pt x="197" y="190"/>
                  </a:lnTo>
                  <a:lnTo>
                    <a:pt x="205" y="179"/>
                  </a:lnTo>
                  <a:lnTo>
                    <a:pt x="211" y="182"/>
                  </a:lnTo>
                  <a:lnTo>
                    <a:pt x="216" y="174"/>
                  </a:lnTo>
                  <a:lnTo>
                    <a:pt x="221" y="177"/>
                  </a:lnTo>
                  <a:lnTo>
                    <a:pt x="224" y="174"/>
                  </a:lnTo>
                  <a:lnTo>
                    <a:pt x="224" y="174"/>
                  </a:lnTo>
                  <a:lnTo>
                    <a:pt x="224" y="171"/>
                  </a:lnTo>
                  <a:lnTo>
                    <a:pt x="227" y="171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32" y="166"/>
                  </a:lnTo>
                  <a:lnTo>
                    <a:pt x="232" y="163"/>
                  </a:lnTo>
                  <a:lnTo>
                    <a:pt x="235" y="163"/>
                  </a:lnTo>
                  <a:lnTo>
                    <a:pt x="235" y="161"/>
                  </a:lnTo>
                  <a:lnTo>
                    <a:pt x="237" y="161"/>
                  </a:lnTo>
                  <a:lnTo>
                    <a:pt x="237" y="158"/>
                  </a:lnTo>
                  <a:lnTo>
                    <a:pt x="237" y="155"/>
                  </a:lnTo>
                  <a:lnTo>
                    <a:pt x="240" y="155"/>
                  </a:lnTo>
                  <a:lnTo>
                    <a:pt x="240" y="152"/>
                  </a:lnTo>
                  <a:lnTo>
                    <a:pt x="243" y="150"/>
                  </a:lnTo>
                  <a:lnTo>
                    <a:pt x="246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39"/>
                  </a:lnTo>
                  <a:lnTo>
                    <a:pt x="251" y="139"/>
                  </a:lnTo>
                  <a:lnTo>
                    <a:pt x="251" y="136"/>
                  </a:lnTo>
                  <a:lnTo>
                    <a:pt x="254" y="134"/>
                  </a:lnTo>
                  <a:lnTo>
                    <a:pt x="256" y="134"/>
                  </a:lnTo>
                  <a:lnTo>
                    <a:pt x="259" y="131"/>
                  </a:lnTo>
                  <a:lnTo>
                    <a:pt x="262" y="131"/>
                  </a:lnTo>
                  <a:lnTo>
                    <a:pt x="264" y="128"/>
                  </a:lnTo>
                  <a:lnTo>
                    <a:pt x="267" y="123"/>
                  </a:lnTo>
                  <a:lnTo>
                    <a:pt x="270" y="120"/>
                  </a:lnTo>
                  <a:lnTo>
                    <a:pt x="270" y="118"/>
                  </a:lnTo>
                  <a:lnTo>
                    <a:pt x="272" y="115"/>
                  </a:lnTo>
                  <a:lnTo>
                    <a:pt x="275" y="110"/>
                  </a:lnTo>
                  <a:lnTo>
                    <a:pt x="278" y="107"/>
                  </a:lnTo>
                  <a:lnTo>
                    <a:pt x="283" y="91"/>
                  </a:lnTo>
                  <a:lnTo>
                    <a:pt x="283" y="91"/>
                  </a:lnTo>
                  <a:lnTo>
                    <a:pt x="280" y="91"/>
                  </a:lnTo>
                  <a:lnTo>
                    <a:pt x="280" y="88"/>
                  </a:lnTo>
                  <a:lnTo>
                    <a:pt x="280" y="88"/>
                  </a:lnTo>
                  <a:lnTo>
                    <a:pt x="283" y="86"/>
                  </a:lnTo>
                  <a:lnTo>
                    <a:pt x="283" y="83"/>
                  </a:lnTo>
                  <a:lnTo>
                    <a:pt x="283" y="80"/>
                  </a:lnTo>
                  <a:lnTo>
                    <a:pt x="283" y="78"/>
                  </a:lnTo>
                  <a:lnTo>
                    <a:pt x="286" y="75"/>
                  </a:lnTo>
                  <a:lnTo>
                    <a:pt x="286" y="72"/>
                  </a:lnTo>
                  <a:lnTo>
                    <a:pt x="286" y="70"/>
                  </a:lnTo>
                  <a:lnTo>
                    <a:pt x="283" y="67"/>
                  </a:lnTo>
                  <a:lnTo>
                    <a:pt x="286" y="67"/>
                  </a:lnTo>
                  <a:lnTo>
                    <a:pt x="286" y="64"/>
                  </a:lnTo>
                  <a:lnTo>
                    <a:pt x="286" y="62"/>
                  </a:lnTo>
                  <a:lnTo>
                    <a:pt x="286" y="59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91" y="54"/>
                  </a:lnTo>
                  <a:lnTo>
                    <a:pt x="294" y="51"/>
                  </a:lnTo>
                  <a:lnTo>
                    <a:pt x="294" y="51"/>
                  </a:lnTo>
                  <a:lnTo>
                    <a:pt x="296" y="48"/>
                  </a:lnTo>
                  <a:lnTo>
                    <a:pt x="299" y="48"/>
                  </a:lnTo>
                  <a:lnTo>
                    <a:pt x="302" y="46"/>
                  </a:lnTo>
                  <a:lnTo>
                    <a:pt x="302" y="43"/>
                  </a:lnTo>
                  <a:lnTo>
                    <a:pt x="304" y="40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4" y="35"/>
                  </a:lnTo>
                  <a:lnTo>
                    <a:pt x="307" y="35"/>
                  </a:lnTo>
                  <a:lnTo>
                    <a:pt x="307" y="32"/>
                  </a:lnTo>
                  <a:lnTo>
                    <a:pt x="307" y="30"/>
                  </a:lnTo>
                  <a:lnTo>
                    <a:pt x="307" y="30"/>
                  </a:lnTo>
                  <a:lnTo>
                    <a:pt x="307" y="27"/>
                  </a:lnTo>
                  <a:lnTo>
                    <a:pt x="304" y="24"/>
                  </a:lnTo>
                  <a:lnTo>
                    <a:pt x="307" y="24"/>
                  </a:lnTo>
                  <a:lnTo>
                    <a:pt x="310" y="22"/>
                  </a:lnTo>
                  <a:lnTo>
                    <a:pt x="310" y="19"/>
                  </a:lnTo>
                  <a:lnTo>
                    <a:pt x="312" y="16"/>
                  </a:lnTo>
                  <a:lnTo>
                    <a:pt x="312" y="16"/>
                  </a:lnTo>
                  <a:lnTo>
                    <a:pt x="312" y="14"/>
                  </a:lnTo>
                  <a:lnTo>
                    <a:pt x="310" y="11"/>
                  </a:lnTo>
                  <a:lnTo>
                    <a:pt x="310" y="11"/>
                  </a:lnTo>
                  <a:lnTo>
                    <a:pt x="312" y="8"/>
                  </a:lnTo>
                  <a:lnTo>
                    <a:pt x="312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18" y="3"/>
                  </a:lnTo>
                  <a:lnTo>
                    <a:pt x="323" y="0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8" y="6"/>
                  </a:lnTo>
                  <a:lnTo>
                    <a:pt x="328" y="6"/>
                  </a:lnTo>
                  <a:lnTo>
                    <a:pt x="334" y="6"/>
                  </a:lnTo>
                  <a:lnTo>
                    <a:pt x="334" y="6"/>
                  </a:lnTo>
                  <a:lnTo>
                    <a:pt x="336" y="8"/>
                  </a:lnTo>
                  <a:lnTo>
                    <a:pt x="339" y="11"/>
                  </a:lnTo>
                  <a:lnTo>
                    <a:pt x="342" y="11"/>
                  </a:lnTo>
                  <a:lnTo>
                    <a:pt x="342" y="14"/>
                  </a:lnTo>
                  <a:lnTo>
                    <a:pt x="344" y="16"/>
                  </a:lnTo>
                  <a:lnTo>
                    <a:pt x="342" y="16"/>
                  </a:lnTo>
                  <a:lnTo>
                    <a:pt x="342" y="19"/>
                  </a:lnTo>
                  <a:lnTo>
                    <a:pt x="339" y="19"/>
                  </a:lnTo>
                  <a:lnTo>
                    <a:pt x="339" y="22"/>
                  </a:lnTo>
                  <a:lnTo>
                    <a:pt x="339" y="24"/>
                  </a:lnTo>
                  <a:lnTo>
                    <a:pt x="339" y="24"/>
                  </a:lnTo>
                  <a:lnTo>
                    <a:pt x="336" y="27"/>
                  </a:lnTo>
                  <a:lnTo>
                    <a:pt x="339" y="32"/>
                  </a:lnTo>
                  <a:lnTo>
                    <a:pt x="363" y="40"/>
                  </a:lnTo>
                  <a:lnTo>
                    <a:pt x="363" y="40"/>
                  </a:lnTo>
                  <a:lnTo>
                    <a:pt x="366" y="43"/>
                  </a:lnTo>
                  <a:lnTo>
                    <a:pt x="371" y="46"/>
                  </a:lnTo>
                  <a:lnTo>
                    <a:pt x="374" y="48"/>
                  </a:lnTo>
                  <a:lnTo>
                    <a:pt x="379" y="51"/>
                  </a:lnTo>
                  <a:lnTo>
                    <a:pt x="382" y="54"/>
                  </a:lnTo>
                  <a:lnTo>
                    <a:pt x="387" y="56"/>
                  </a:lnTo>
                  <a:lnTo>
                    <a:pt x="411" y="91"/>
                  </a:lnTo>
                  <a:lnTo>
                    <a:pt x="408" y="94"/>
                  </a:lnTo>
                  <a:lnTo>
                    <a:pt x="432" y="118"/>
                  </a:lnTo>
                  <a:lnTo>
                    <a:pt x="435" y="128"/>
                  </a:lnTo>
                  <a:lnTo>
                    <a:pt x="435" y="150"/>
                  </a:lnTo>
                  <a:lnTo>
                    <a:pt x="427" y="161"/>
                  </a:lnTo>
                  <a:lnTo>
                    <a:pt x="424" y="182"/>
                  </a:lnTo>
                  <a:lnTo>
                    <a:pt x="430" y="222"/>
                  </a:lnTo>
                  <a:lnTo>
                    <a:pt x="424" y="227"/>
                  </a:lnTo>
                  <a:lnTo>
                    <a:pt x="438" y="243"/>
                  </a:lnTo>
                  <a:lnTo>
                    <a:pt x="438" y="243"/>
                  </a:lnTo>
                  <a:lnTo>
                    <a:pt x="440" y="243"/>
                  </a:lnTo>
                  <a:lnTo>
                    <a:pt x="440" y="243"/>
                  </a:lnTo>
                  <a:lnTo>
                    <a:pt x="440" y="243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38" y="281"/>
                  </a:lnTo>
                  <a:lnTo>
                    <a:pt x="435" y="286"/>
                  </a:lnTo>
                  <a:lnTo>
                    <a:pt x="430" y="310"/>
                  </a:lnTo>
                  <a:lnTo>
                    <a:pt x="432" y="315"/>
                  </a:lnTo>
                  <a:lnTo>
                    <a:pt x="432" y="321"/>
                  </a:lnTo>
                  <a:lnTo>
                    <a:pt x="440" y="324"/>
                  </a:lnTo>
                  <a:lnTo>
                    <a:pt x="481" y="345"/>
                  </a:lnTo>
                  <a:lnTo>
                    <a:pt x="481" y="353"/>
                  </a:lnTo>
                  <a:lnTo>
                    <a:pt x="481" y="353"/>
                  </a:lnTo>
                  <a:lnTo>
                    <a:pt x="481" y="356"/>
                  </a:lnTo>
                  <a:lnTo>
                    <a:pt x="481" y="356"/>
                  </a:lnTo>
                  <a:lnTo>
                    <a:pt x="481" y="358"/>
                  </a:lnTo>
                  <a:lnTo>
                    <a:pt x="483" y="358"/>
                  </a:lnTo>
                  <a:lnTo>
                    <a:pt x="486" y="358"/>
                  </a:lnTo>
                  <a:lnTo>
                    <a:pt x="486" y="361"/>
                  </a:lnTo>
                  <a:lnTo>
                    <a:pt x="483" y="390"/>
                  </a:lnTo>
                  <a:lnTo>
                    <a:pt x="483" y="393"/>
                  </a:lnTo>
                  <a:lnTo>
                    <a:pt x="483" y="401"/>
                  </a:lnTo>
                  <a:lnTo>
                    <a:pt x="489" y="420"/>
                  </a:lnTo>
                  <a:lnTo>
                    <a:pt x="502" y="425"/>
                  </a:lnTo>
                  <a:lnTo>
                    <a:pt x="494" y="460"/>
                  </a:lnTo>
                  <a:lnTo>
                    <a:pt x="494" y="462"/>
                  </a:lnTo>
                  <a:lnTo>
                    <a:pt x="494" y="487"/>
                  </a:lnTo>
                  <a:lnTo>
                    <a:pt x="491" y="487"/>
                  </a:lnTo>
                  <a:lnTo>
                    <a:pt x="489" y="484"/>
                  </a:lnTo>
                  <a:lnTo>
                    <a:pt x="486" y="484"/>
                  </a:lnTo>
                  <a:lnTo>
                    <a:pt x="486" y="484"/>
                  </a:lnTo>
                  <a:lnTo>
                    <a:pt x="486" y="487"/>
                  </a:lnTo>
                  <a:lnTo>
                    <a:pt x="483" y="487"/>
                  </a:lnTo>
                  <a:lnTo>
                    <a:pt x="483" y="487"/>
                  </a:lnTo>
                  <a:lnTo>
                    <a:pt x="481" y="487"/>
                  </a:lnTo>
                  <a:lnTo>
                    <a:pt x="481" y="487"/>
                  </a:lnTo>
                  <a:lnTo>
                    <a:pt x="478" y="487"/>
                  </a:lnTo>
                  <a:lnTo>
                    <a:pt x="475" y="487"/>
                  </a:lnTo>
                  <a:lnTo>
                    <a:pt x="472" y="487"/>
                  </a:lnTo>
                  <a:lnTo>
                    <a:pt x="472" y="489"/>
                  </a:lnTo>
                  <a:lnTo>
                    <a:pt x="472" y="492"/>
                  </a:lnTo>
                  <a:lnTo>
                    <a:pt x="470" y="492"/>
                  </a:lnTo>
                  <a:lnTo>
                    <a:pt x="470" y="489"/>
                  </a:lnTo>
                  <a:lnTo>
                    <a:pt x="467" y="489"/>
                  </a:lnTo>
                  <a:lnTo>
                    <a:pt x="467" y="489"/>
                  </a:lnTo>
                  <a:lnTo>
                    <a:pt x="464" y="489"/>
                  </a:lnTo>
                  <a:lnTo>
                    <a:pt x="464" y="489"/>
                  </a:lnTo>
                  <a:lnTo>
                    <a:pt x="464" y="492"/>
                  </a:lnTo>
                  <a:lnTo>
                    <a:pt x="459" y="495"/>
                  </a:lnTo>
                  <a:lnTo>
                    <a:pt x="456" y="495"/>
                  </a:lnTo>
                  <a:lnTo>
                    <a:pt x="456" y="497"/>
                  </a:lnTo>
                  <a:lnTo>
                    <a:pt x="459" y="497"/>
                  </a:lnTo>
                  <a:lnTo>
                    <a:pt x="456" y="497"/>
                  </a:lnTo>
                  <a:lnTo>
                    <a:pt x="456" y="497"/>
                  </a:lnTo>
                  <a:lnTo>
                    <a:pt x="454" y="500"/>
                  </a:lnTo>
                  <a:lnTo>
                    <a:pt x="454" y="500"/>
                  </a:lnTo>
                  <a:lnTo>
                    <a:pt x="451" y="500"/>
                  </a:lnTo>
                  <a:lnTo>
                    <a:pt x="451" y="497"/>
                  </a:lnTo>
                  <a:lnTo>
                    <a:pt x="451" y="497"/>
                  </a:lnTo>
                  <a:lnTo>
                    <a:pt x="451" y="495"/>
                  </a:lnTo>
                  <a:lnTo>
                    <a:pt x="451" y="492"/>
                  </a:lnTo>
                  <a:lnTo>
                    <a:pt x="451" y="487"/>
                  </a:lnTo>
                  <a:lnTo>
                    <a:pt x="448" y="489"/>
                  </a:lnTo>
                  <a:lnTo>
                    <a:pt x="446" y="492"/>
                  </a:lnTo>
                  <a:lnTo>
                    <a:pt x="416" y="497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0"/>
                  </a:lnTo>
                  <a:lnTo>
                    <a:pt x="416" y="503"/>
                  </a:lnTo>
                  <a:lnTo>
                    <a:pt x="416" y="503"/>
                  </a:lnTo>
                  <a:lnTo>
                    <a:pt x="422" y="503"/>
                  </a:lnTo>
                  <a:lnTo>
                    <a:pt x="422" y="505"/>
                  </a:lnTo>
                  <a:lnTo>
                    <a:pt x="422" y="508"/>
                  </a:lnTo>
                  <a:lnTo>
                    <a:pt x="419" y="508"/>
                  </a:lnTo>
                  <a:lnTo>
                    <a:pt x="419" y="508"/>
                  </a:lnTo>
                  <a:lnTo>
                    <a:pt x="416" y="511"/>
                  </a:lnTo>
                  <a:lnTo>
                    <a:pt x="416" y="513"/>
                  </a:lnTo>
                  <a:lnTo>
                    <a:pt x="414" y="513"/>
                  </a:lnTo>
                  <a:lnTo>
                    <a:pt x="414" y="516"/>
                  </a:lnTo>
                  <a:lnTo>
                    <a:pt x="411" y="516"/>
                  </a:lnTo>
                  <a:lnTo>
                    <a:pt x="411" y="516"/>
                  </a:lnTo>
                  <a:lnTo>
                    <a:pt x="408" y="519"/>
                  </a:lnTo>
                  <a:lnTo>
                    <a:pt x="408" y="521"/>
                  </a:lnTo>
                  <a:lnTo>
                    <a:pt x="408" y="521"/>
                  </a:lnTo>
                  <a:lnTo>
                    <a:pt x="408" y="521"/>
                  </a:lnTo>
                  <a:lnTo>
                    <a:pt x="408" y="524"/>
                  </a:lnTo>
                  <a:lnTo>
                    <a:pt x="408" y="524"/>
                  </a:lnTo>
                  <a:lnTo>
                    <a:pt x="408" y="524"/>
                  </a:lnTo>
                  <a:lnTo>
                    <a:pt x="408" y="527"/>
                  </a:lnTo>
                  <a:lnTo>
                    <a:pt x="406" y="527"/>
                  </a:lnTo>
                  <a:lnTo>
                    <a:pt x="406" y="527"/>
                  </a:lnTo>
                  <a:lnTo>
                    <a:pt x="406" y="529"/>
                  </a:lnTo>
                  <a:lnTo>
                    <a:pt x="403" y="529"/>
                  </a:lnTo>
                  <a:lnTo>
                    <a:pt x="406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2"/>
                  </a:lnTo>
                  <a:lnTo>
                    <a:pt x="408" y="535"/>
                  </a:lnTo>
                  <a:lnTo>
                    <a:pt x="411" y="537"/>
                  </a:lnTo>
                  <a:lnTo>
                    <a:pt x="408" y="540"/>
                  </a:lnTo>
                  <a:lnTo>
                    <a:pt x="408" y="543"/>
                  </a:lnTo>
                  <a:lnTo>
                    <a:pt x="406" y="545"/>
                  </a:lnTo>
                  <a:lnTo>
                    <a:pt x="406" y="548"/>
                  </a:lnTo>
                  <a:lnTo>
                    <a:pt x="406" y="548"/>
                  </a:lnTo>
                  <a:lnTo>
                    <a:pt x="408" y="548"/>
                  </a:lnTo>
                  <a:lnTo>
                    <a:pt x="406" y="551"/>
                  </a:lnTo>
                  <a:lnTo>
                    <a:pt x="406" y="551"/>
                  </a:lnTo>
                  <a:lnTo>
                    <a:pt x="403" y="553"/>
                  </a:lnTo>
                  <a:lnTo>
                    <a:pt x="403" y="561"/>
                  </a:lnTo>
                  <a:lnTo>
                    <a:pt x="403" y="561"/>
                  </a:lnTo>
                  <a:lnTo>
                    <a:pt x="406" y="564"/>
                  </a:lnTo>
                  <a:lnTo>
                    <a:pt x="406" y="564"/>
                  </a:lnTo>
                  <a:lnTo>
                    <a:pt x="403" y="567"/>
                  </a:lnTo>
                  <a:lnTo>
                    <a:pt x="403" y="567"/>
                  </a:lnTo>
                  <a:lnTo>
                    <a:pt x="403" y="569"/>
                  </a:lnTo>
                  <a:lnTo>
                    <a:pt x="403" y="569"/>
                  </a:lnTo>
                  <a:lnTo>
                    <a:pt x="403" y="572"/>
                  </a:lnTo>
                  <a:lnTo>
                    <a:pt x="408" y="569"/>
                  </a:lnTo>
                  <a:lnTo>
                    <a:pt x="408" y="569"/>
                  </a:lnTo>
                  <a:lnTo>
                    <a:pt x="411" y="572"/>
                  </a:lnTo>
                  <a:lnTo>
                    <a:pt x="414" y="572"/>
                  </a:lnTo>
                  <a:lnTo>
                    <a:pt x="408" y="577"/>
                  </a:lnTo>
                  <a:lnTo>
                    <a:pt x="408" y="577"/>
                  </a:lnTo>
                  <a:lnTo>
                    <a:pt x="403" y="585"/>
                  </a:lnTo>
                  <a:lnTo>
                    <a:pt x="392" y="580"/>
                  </a:lnTo>
                  <a:lnTo>
                    <a:pt x="390" y="575"/>
                  </a:lnTo>
                  <a:lnTo>
                    <a:pt x="392" y="572"/>
                  </a:lnTo>
                  <a:lnTo>
                    <a:pt x="390" y="572"/>
                  </a:lnTo>
                  <a:lnTo>
                    <a:pt x="390" y="572"/>
                  </a:lnTo>
                  <a:lnTo>
                    <a:pt x="371" y="569"/>
                  </a:lnTo>
                  <a:lnTo>
                    <a:pt x="371" y="572"/>
                  </a:lnTo>
                  <a:lnTo>
                    <a:pt x="368" y="575"/>
                  </a:lnTo>
                  <a:lnTo>
                    <a:pt x="360" y="569"/>
                  </a:lnTo>
                  <a:lnTo>
                    <a:pt x="358" y="572"/>
                  </a:lnTo>
                  <a:lnTo>
                    <a:pt x="360" y="575"/>
                  </a:lnTo>
                  <a:lnTo>
                    <a:pt x="358" y="575"/>
                  </a:lnTo>
                  <a:lnTo>
                    <a:pt x="358" y="577"/>
                  </a:lnTo>
                  <a:lnTo>
                    <a:pt x="360" y="577"/>
                  </a:lnTo>
                  <a:lnTo>
                    <a:pt x="358" y="580"/>
                  </a:lnTo>
                  <a:lnTo>
                    <a:pt x="358" y="580"/>
                  </a:lnTo>
                  <a:lnTo>
                    <a:pt x="355" y="580"/>
                  </a:lnTo>
                  <a:lnTo>
                    <a:pt x="355" y="583"/>
                  </a:lnTo>
                  <a:lnTo>
                    <a:pt x="352" y="583"/>
                  </a:lnTo>
                  <a:lnTo>
                    <a:pt x="350" y="583"/>
                  </a:lnTo>
                  <a:lnTo>
                    <a:pt x="347" y="585"/>
                  </a:lnTo>
                  <a:lnTo>
                    <a:pt x="350" y="588"/>
                  </a:lnTo>
                  <a:lnTo>
                    <a:pt x="344" y="593"/>
                  </a:lnTo>
                  <a:lnTo>
                    <a:pt x="344" y="596"/>
                  </a:lnTo>
                  <a:lnTo>
                    <a:pt x="339" y="591"/>
                  </a:lnTo>
                  <a:lnTo>
                    <a:pt x="339" y="591"/>
                  </a:lnTo>
                  <a:lnTo>
                    <a:pt x="339" y="591"/>
                  </a:lnTo>
                  <a:lnTo>
                    <a:pt x="336" y="591"/>
                  </a:lnTo>
                  <a:lnTo>
                    <a:pt x="334" y="591"/>
                  </a:lnTo>
                  <a:lnTo>
                    <a:pt x="334" y="591"/>
                  </a:lnTo>
                  <a:lnTo>
                    <a:pt x="331" y="588"/>
                  </a:lnTo>
                  <a:lnTo>
                    <a:pt x="331" y="588"/>
                  </a:lnTo>
                  <a:lnTo>
                    <a:pt x="328" y="588"/>
                  </a:lnTo>
                  <a:lnTo>
                    <a:pt x="328" y="588"/>
                  </a:lnTo>
                  <a:lnTo>
                    <a:pt x="326" y="585"/>
                  </a:lnTo>
                  <a:lnTo>
                    <a:pt x="326" y="583"/>
                  </a:lnTo>
                  <a:lnTo>
                    <a:pt x="326" y="583"/>
                  </a:lnTo>
                  <a:lnTo>
                    <a:pt x="323" y="583"/>
                  </a:lnTo>
                  <a:lnTo>
                    <a:pt x="323" y="580"/>
                  </a:lnTo>
                  <a:lnTo>
                    <a:pt x="323" y="580"/>
                  </a:lnTo>
                  <a:lnTo>
                    <a:pt x="318" y="575"/>
                  </a:lnTo>
                  <a:lnTo>
                    <a:pt x="318" y="575"/>
                  </a:lnTo>
                  <a:lnTo>
                    <a:pt x="318" y="572"/>
                  </a:lnTo>
                  <a:lnTo>
                    <a:pt x="315" y="567"/>
                  </a:lnTo>
                  <a:lnTo>
                    <a:pt x="312" y="569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7"/>
                  </a:lnTo>
                  <a:lnTo>
                    <a:pt x="310" y="569"/>
                  </a:lnTo>
                  <a:lnTo>
                    <a:pt x="307" y="569"/>
                  </a:lnTo>
                  <a:lnTo>
                    <a:pt x="304" y="572"/>
                  </a:lnTo>
                  <a:lnTo>
                    <a:pt x="304" y="575"/>
                  </a:lnTo>
                  <a:lnTo>
                    <a:pt x="304" y="575"/>
                  </a:lnTo>
                  <a:lnTo>
                    <a:pt x="304" y="572"/>
                  </a:lnTo>
                  <a:lnTo>
                    <a:pt x="304" y="569"/>
                  </a:lnTo>
                  <a:lnTo>
                    <a:pt x="304" y="569"/>
                  </a:lnTo>
                  <a:lnTo>
                    <a:pt x="299" y="567"/>
                  </a:lnTo>
                  <a:lnTo>
                    <a:pt x="296" y="567"/>
                  </a:lnTo>
                  <a:lnTo>
                    <a:pt x="288" y="561"/>
                  </a:lnTo>
                  <a:lnTo>
                    <a:pt x="288" y="559"/>
                  </a:lnTo>
                  <a:lnTo>
                    <a:pt x="286" y="559"/>
                  </a:lnTo>
                  <a:lnTo>
                    <a:pt x="283" y="559"/>
                  </a:lnTo>
                  <a:lnTo>
                    <a:pt x="280" y="561"/>
                  </a:lnTo>
                  <a:lnTo>
                    <a:pt x="275" y="559"/>
                  </a:lnTo>
                  <a:lnTo>
                    <a:pt x="275" y="559"/>
                  </a:lnTo>
                  <a:lnTo>
                    <a:pt x="272" y="561"/>
                  </a:lnTo>
                  <a:lnTo>
                    <a:pt x="270" y="561"/>
                  </a:lnTo>
                  <a:lnTo>
                    <a:pt x="267" y="561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7" y="564"/>
                  </a:lnTo>
                  <a:lnTo>
                    <a:pt x="264" y="561"/>
                  </a:lnTo>
                  <a:lnTo>
                    <a:pt x="264" y="559"/>
                  </a:lnTo>
                  <a:lnTo>
                    <a:pt x="267" y="556"/>
                  </a:lnTo>
                  <a:lnTo>
                    <a:pt x="267" y="553"/>
                  </a:lnTo>
                  <a:lnTo>
                    <a:pt x="262" y="556"/>
                  </a:lnTo>
                  <a:lnTo>
                    <a:pt x="259" y="556"/>
                  </a:lnTo>
                  <a:lnTo>
                    <a:pt x="256" y="556"/>
                  </a:lnTo>
                  <a:lnTo>
                    <a:pt x="256" y="559"/>
                  </a:lnTo>
                  <a:lnTo>
                    <a:pt x="254" y="559"/>
                  </a:lnTo>
                  <a:lnTo>
                    <a:pt x="254" y="559"/>
                  </a:lnTo>
                  <a:lnTo>
                    <a:pt x="251" y="561"/>
                  </a:lnTo>
                  <a:lnTo>
                    <a:pt x="251" y="559"/>
                  </a:lnTo>
                  <a:lnTo>
                    <a:pt x="246" y="564"/>
                  </a:lnTo>
                  <a:lnTo>
                    <a:pt x="246" y="567"/>
                  </a:lnTo>
                  <a:lnTo>
                    <a:pt x="243" y="567"/>
                  </a:lnTo>
                  <a:lnTo>
                    <a:pt x="243" y="569"/>
                  </a:lnTo>
                  <a:lnTo>
                    <a:pt x="240" y="569"/>
                  </a:lnTo>
                  <a:lnTo>
                    <a:pt x="237" y="572"/>
                  </a:lnTo>
                  <a:lnTo>
                    <a:pt x="237" y="572"/>
                  </a:lnTo>
                  <a:lnTo>
                    <a:pt x="235" y="572"/>
                  </a:lnTo>
                  <a:lnTo>
                    <a:pt x="232" y="569"/>
                  </a:lnTo>
                  <a:lnTo>
                    <a:pt x="229" y="575"/>
                  </a:lnTo>
                  <a:lnTo>
                    <a:pt x="229" y="575"/>
                  </a:lnTo>
                  <a:lnTo>
                    <a:pt x="229" y="577"/>
                  </a:lnTo>
                  <a:lnTo>
                    <a:pt x="229" y="577"/>
                  </a:lnTo>
                  <a:lnTo>
                    <a:pt x="227" y="580"/>
                  </a:lnTo>
                  <a:lnTo>
                    <a:pt x="227" y="583"/>
                  </a:lnTo>
                  <a:lnTo>
                    <a:pt x="227" y="585"/>
                  </a:lnTo>
                  <a:lnTo>
                    <a:pt x="224" y="585"/>
                  </a:lnTo>
                  <a:lnTo>
                    <a:pt x="227" y="58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2" name="Freeform 8899">
              <a:extLst>
                <a:ext uri="{FF2B5EF4-FFF2-40B4-BE49-F238E27FC236}">
                  <a16:creationId xmlns:a16="http://schemas.microsoft.com/office/drawing/2014/main" id="{70CE26A2-F2A1-8C4A-BAFC-A87EDFB37FB2}"/>
                </a:ext>
              </a:extLst>
            </p:cNvPr>
            <p:cNvSpPr/>
            <p:nvPr/>
          </p:nvSpPr>
          <p:spPr bwMode="auto">
            <a:xfrm>
              <a:off x="3013867" y="3692526"/>
              <a:ext cx="738187" cy="784225"/>
            </a:xfrm>
            <a:custGeom>
              <a:avLst/>
              <a:gdLst>
                <a:gd name="T0" fmla="*/ 86 w 465"/>
                <a:gd name="T1" fmla="*/ 198 h 494"/>
                <a:gd name="T2" fmla="*/ 78 w 465"/>
                <a:gd name="T3" fmla="*/ 222 h 494"/>
                <a:gd name="T4" fmla="*/ 72 w 465"/>
                <a:gd name="T5" fmla="*/ 249 h 494"/>
                <a:gd name="T6" fmla="*/ 67 w 465"/>
                <a:gd name="T7" fmla="*/ 278 h 494"/>
                <a:gd name="T8" fmla="*/ 56 w 465"/>
                <a:gd name="T9" fmla="*/ 297 h 494"/>
                <a:gd name="T10" fmla="*/ 59 w 465"/>
                <a:gd name="T11" fmla="*/ 313 h 494"/>
                <a:gd name="T12" fmla="*/ 54 w 465"/>
                <a:gd name="T13" fmla="*/ 329 h 494"/>
                <a:gd name="T14" fmla="*/ 43 w 465"/>
                <a:gd name="T15" fmla="*/ 345 h 494"/>
                <a:gd name="T16" fmla="*/ 32 w 465"/>
                <a:gd name="T17" fmla="*/ 356 h 494"/>
                <a:gd name="T18" fmla="*/ 11 w 465"/>
                <a:gd name="T19" fmla="*/ 361 h 494"/>
                <a:gd name="T20" fmla="*/ 8 w 465"/>
                <a:gd name="T21" fmla="*/ 369 h 494"/>
                <a:gd name="T22" fmla="*/ 3 w 465"/>
                <a:gd name="T23" fmla="*/ 377 h 494"/>
                <a:gd name="T24" fmla="*/ 14 w 465"/>
                <a:gd name="T25" fmla="*/ 382 h 494"/>
                <a:gd name="T26" fmla="*/ 14 w 465"/>
                <a:gd name="T27" fmla="*/ 393 h 494"/>
                <a:gd name="T28" fmla="*/ 16 w 465"/>
                <a:gd name="T29" fmla="*/ 406 h 494"/>
                <a:gd name="T30" fmla="*/ 22 w 465"/>
                <a:gd name="T31" fmla="*/ 409 h 494"/>
                <a:gd name="T32" fmla="*/ 35 w 465"/>
                <a:gd name="T33" fmla="*/ 404 h 494"/>
                <a:gd name="T34" fmla="*/ 43 w 465"/>
                <a:gd name="T35" fmla="*/ 428 h 494"/>
                <a:gd name="T36" fmla="*/ 62 w 465"/>
                <a:gd name="T37" fmla="*/ 438 h 494"/>
                <a:gd name="T38" fmla="*/ 86 w 465"/>
                <a:gd name="T39" fmla="*/ 438 h 494"/>
                <a:gd name="T40" fmla="*/ 91 w 465"/>
                <a:gd name="T41" fmla="*/ 446 h 494"/>
                <a:gd name="T42" fmla="*/ 102 w 465"/>
                <a:gd name="T43" fmla="*/ 462 h 494"/>
                <a:gd name="T44" fmla="*/ 120 w 465"/>
                <a:gd name="T45" fmla="*/ 462 h 494"/>
                <a:gd name="T46" fmla="*/ 123 w 465"/>
                <a:gd name="T47" fmla="*/ 486 h 494"/>
                <a:gd name="T48" fmla="*/ 144 w 465"/>
                <a:gd name="T49" fmla="*/ 494 h 494"/>
                <a:gd name="T50" fmla="*/ 155 w 465"/>
                <a:gd name="T51" fmla="*/ 484 h 494"/>
                <a:gd name="T52" fmla="*/ 171 w 465"/>
                <a:gd name="T53" fmla="*/ 460 h 494"/>
                <a:gd name="T54" fmla="*/ 174 w 465"/>
                <a:gd name="T55" fmla="*/ 438 h 494"/>
                <a:gd name="T56" fmla="*/ 185 w 465"/>
                <a:gd name="T57" fmla="*/ 433 h 494"/>
                <a:gd name="T58" fmla="*/ 201 w 465"/>
                <a:gd name="T59" fmla="*/ 438 h 494"/>
                <a:gd name="T60" fmla="*/ 214 w 465"/>
                <a:gd name="T61" fmla="*/ 430 h 494"/>
                <a:gd name="T62" fmla="*/ 219 w 465"/>
                <a:gd name="T63" fmla="*/ 433 h 494"/>
                <a:gd name="T64" fmla="*/ 227 w 465"/>
                <a:gd name="T65" fmla="*/ 430 h 494"/>
                <a:gd name="T66" fmla="*/ 227 w 465"/>
                <a:gd name="T67" fmla="*/ 417 h 494"/>
                <a:gd name="T68" fmla="*/ 246 w 465"/>
                <a:gd name="T69" fmla="*/ 382 h 494"/>
                <a:gd name="T70" fmla="*/ 273 w 465"/>
                <a:gd name="T71" fmla="*/ 396 h 494"/>
                <a:gd name="T72" fmla="*/ 289 w 465"/>
                <a:gd name="T73" fmla="*/ 361 h 494"/>
                <a:gd name="T74" fmla="*/ 299 w 465"/>
                <a:gd name="T75" fmla="*/ 350 h 494"/>
                <a:gd name="T76" fmla="*/ 326 w 465"/>
                <a:gd name="T77" fmla="*/ 348 h 494"/>
                <a:gd name="T78" fmla="*/ 347 w 465"/>
                <a:gd name="T79" fmla="*/ 323 h 494"/>
                <a:gd name="T80" fmla="*/ 345 w 465"/>
                <a:gd name="T81" fmla="*/ 289 h 494"/>
                <a:gd name="T82" fmla="*/ 345 w 465"/>
                <a:gd name="T83" fmla="*/ 254 h 494"/>
                <a:gd name="T84" fmla="*/ 334 w 465"/>
                <a:gd name="T85" fmla="*/ 225 h 494"/>
                <a:gd name="T86" fmla="*/ 390 w 465"/>
                <a:gd name="T87" fmla="*/ 182 h 494"/>
                <a:gd name="T88" fmla="*/ 406 w 465"/>
                <a:gd name="T89" fmla="*/ 158 h 494"/>
                <a:gd name="T90" fmla="*/ 433 w 465"/>
                <a:gd name="T91" fmla="*/ 126 h 494"/>
                <a:gd name="T92" fmla="*/ 444 w 465"/>
                <a:gd name="T93" fmla="*/ 86 h 494"/>
                <a:gd name="T94" fmla="*/ 460 w 465"/>
                <a:gd name="T95" fmla="*/ 62 h 494"/>
                <a:gd name="T96" fmla="*/ 460 w 465"/>
                <a:gd name="T97" fmla="*/ 40 h 494"/>
                <a:gd name="T98" fmla="*/ 438 w 465"/>
                <a:gd name="T99" fmla="*/ 43 h 494"/>
                <a:gd name="T100" fmla="*/ 283 w 465"/>
                <a:gd name="T101" fmla="*/ 22 h 494"/>
                <a:gd name="T102" fmla="*/ 219 w 465"/>
                <a:gd name="T103" fmla="*/ 91 h 494"/>
                <a:gd name="T104" fmla="*/ 222 w 465"/>
                <a:gd name="T105" fmla="*/ 118 h 494"/>
                <a:gd name="T106" fmla="*/ 198 w 465"/>
                <a:gd name="T107" fmla="*/ 179 h 494"/>
                <a:gd name="T108" fmla="*/ 227 w 465"/>
                <a:gd name="T109" fmla="*/ 198 h 494"/>
                <a:gd name="T110" fmla="*/ 193 w 465"/>
                <a:gd name="T111" fmla="*/ 217 h 494"/>
                <a:gd name="T112" fmla="*/ 169 w 465"/>
                <a:gd name="T113" fmla="*/ 211 h 494"/>
                <a:gd name="T114" fmla="*/ 147 w 465"/>
                <a:gd name="T115" fmla="*/ 206 h 494"/>
                <a:gd name="T116" fmla="*/ 136 w 465"/>
                <a:gd name="T117" fmla="*/ 225 h 494"/>
                <a:gd name="T118" fmla="*/ 118 w 465"/>
                <a:gd name="T119" fmla="*/ 214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5" h="494" extrusionOk="0">
                  <a:moveTo>
                    <a:pt x="99" y="193"/>
                  </a:moveTo>
                  <a:lnTo>
                    <a:pt x="96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88" y="193"/>
                  </a:lnTo>
                  <a:lnTo>
                    <a:pt x="88" y="193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8"/>
                  </a:lnTo>
                  <a:lnTo>
                    <a:pt x="86" y="198"/>
                  </a:lnTo>
                  <a:lnTo>
                    <a:pt x="83" y="198"/>
                  </a:lnTo>
                  <a:lnTo>
                    <a:pt x="83" y="201"/>
                  </a:lnTo>
                  <a:lnTo>
                    <a:pt x="80" y="201"/>
                  </a:lnTo>
                  <a:lnTo>
                    <a:pt x="80" y="203"/>
                  </a:lnTo>
                  <a:lnTo>
                    <a:pt x="80" y="206"/>
                  </a:lnTo>
                  <a:lnTo>
                    <a:pt x="80" y="209"/>
                  </a:lnTo>
                  <a:lnTo>
                    <a:pt x="80" y="211"/>
                  </a:lnTo>
                  <a:lnTo>
                    <a:pt x="80" y="211"/>
                  </a:lnTo>
                  <a:lnTo>
                    <a:pt x="80" y="214"/>
                  </a:lnTo>
                  <a:lnTo>
                    <a:pt x="78" y="217"/>
                  </a:lnTo>
                  <a:lnTo>
                    <a:pt x="78" y="219"/>
                  </a:lnTo>
                  <a:lnTo>
                    <a:pt x="78" y="222"/>
                  </a:lnTo>
                  <a:lnTo>
                    <a:pt x="78" y="225"/>
                  </a:lnTo>
                  <a:lnTo>
                    <a:pt x="78" y="227"/>
                  </a:lnTo>
                  <a:lnTo>
                    <a:pt x="78" y="230"/>
                  </a:lnTo>
                  <a:lnTo>
                    <a:pt x="78" y="230"/>
                  </a:lnTo>
                  <a:lnTo>
                    <a:pt x="75" y="233"/>
                  </a:lnTo>
                  <a:lnTo>
                    <a:pt x="72" y="235"/>
                  </a:lnTo>
                  <a:lnTo>
                    <a:pt x="70" y="235"/>
                  </a:lnTo>
                  <a:lnTo>
                    <a:pt x="72" y="238"/>
                  </a:lnTo>
                  <a:lnTo>
                    <a:pt x="72" y="241"/>
                  </a:lnTo>
                  <a:lnTo>
                    <a:pt x="72" y="243"/>
                  </a:lnTo>
                  <a:lnTo>
                    <a:pt x="72" y="246"/>
                  </a:lnTo>
                  <a:lnTo>
                    <a:pt x="72" y="246"/>
                  </a:lnTo>
                  <a:lnTo>
                    <a:pt x="72" y="249"/>
                  </a:lnTo>
                  <a:lnTo>
                    <a:pt x="72" y="251"/>
                  </a:lnTo>
                  <a:lnTo>
                    <a:pt x="72" y="254"/>
                  </a:lnTo>
                  <a:lnTo>
                    <a:pt x="72" y="257"/>
                  </a:lnTo>
                  <a:lnTo>
                    <a:pt x="72" y="259"/>
                  </a:lnTo>
                  <a:lnTo>
                    <a:pt x="72" y="262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70"/>
                  </a:lnTo>
                  <a:lnTo>
                    <a:pt x="70" y="273"/>
                  </a:lnTo>
                  <a:lnTo>
                    <a:pt x="70" y="275"/>
                  </a:lnTo>
                  <a:lnTo>
                    <a:pt x="67" y="278"/>
                  </a:lnTo>
                  <a:lnTo>
                    <a:pt x="67" y="281"/>
                  </a:lnTo>
                  <a:lnTo>
                    <a:pt x="64" y="283"/>
                  </a:lnTo>
                  <a:lnTo>
                    <a:pt x="64" y="283"/>
                  </a:lnTo>
                  <a:lnTo>
                    <a:pt x="64" y="286"/>
                  </a:lnTo>
                  <a:lnTo>
                    <a:pt x="62" y="286"/>
                  </a:lnTo>
                  <a:lnTo>
                    <a:pt x="64" y="289"/>
                  </a:lnTo>
                  <a:lnTo>
                    <a:pt x="62" y="289"/>
                  </a:lnTo>
                  <a:lnTo>
                    <a:pt x="59" y="289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9" y="294"/>
                  </a:lnTo>
                  <a:lnTo>
                    <a:pt x="59" y="297"/>
                  </a:lnTo>
                  <a:lnTo>
                    <a:pt x="56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1" y="297"/>
                  </a:lnTo>
                  <a:lnTo>
                    <a:pt x="51" y="297"/>
                  </a:lnTo>
                  <a:lnTo>
                    <a:pt x="51" y="299"/>
                  </a:lnTo>
                  <a:lnTo>
                    <a:pt x="51" y="302"/>
                  </a:lnTo>
                  <a:lnTo>
                    <a:pt x="51" y="302"/>
                  </a:lnTo>
                  <a:lnTo>
                    <a:pt x="54" y="302"/>
                  </a:lnTo>
                  <a:lnTo>
                    <a:pt x="56" y="305"/>
                  </a:lnTo>
                  <a:lnTo>
                    <a:pt x="54" y="310"/>
                  </a:lnTo>
                  <a:lnTo>
                    <a:pt x="59" y="313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1" y="318"/>
                  </a:lnTo>
                  <a:lnTo>
                    <a:pt x="51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8" y="318"/>
                  </a:lnTo>
                  <a:lnTo>
                    <a:pt x="46" y="321"/>
                  </a:lnTo>
                  <a:lnTo>
                    <a:pt x="48" y="323"/>
                  </a:lnTo>
                  <a:lnTo>
                    <a:pt x="48" y="326"/>
                  </a:lnTo>
                  <a:lnTo>
                    <a:pt x="51" y="326"/>
                  </a:lnTo>
                  <a:lnTo>
                    <a:pt x="51" y="326"/>
                  </a:lnTo>
                  <a:lnTo>
                    <a:pt x="54" y="329"/>
                  </a:lnTo>
                  <a:lnTo>
                    <a:pt x="54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34"/>
                  </a:lnTo>
                  <a:lnTo>
                    <a:pt x="51" y="337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6" y="345"/>
                  </a:lnTo>
                  <a:lnTo>
                    <a:pt x="43" y="345"/>
                  </a:lnTo>
                  <a:lnTo>
                    <a:pt x="43" y="345"/>
                  </a:lnTo>
                  <a:lnTo>
                    <a:pt x="43" y="345"/>
                  </a:lnTo>
                  <a:lnTo>
                    <a:pt x="43" y="348"/>
                  </a:lnTo>
                  <a:lnTo>
                    <a:pt x="46" y="348"/>
                  </a:lnTo>
                  <a:lnTo>
                    <a:pt x="46" y="350"/>
                  </a:lnTo>
                  <a:lnTo>
                    <a:pt x="46" y="350"/>
                  </a:lnTo>
                  <a:lnTo>
                    <a:pt x="46" y="350"/>
                  </a:lnTo>
                  <a:lnTo>
                    <a:pt x="48" y="350"/>
                  </a:lnTo>
                  <a:lnTo>
                    <a:pt x="48" y="353"/>
                  </a:lnTo>
                  <a:lnTo>
                    <a:pt x="46" y="356"/>
                  </a:lnTo>
                  <a:lnTo>
                    <a:pt x="43" y="356"/>
                  </a:lnTo>
                  <a:lnTo>
                    <a:pt x="40" y="356"/>
                  </a:lnTo>
                  <a:lnTo>
                    <a:pt x="40" y="356"/>
                  </a:lnTo>
                  <a:lnTo>
                    <a:pt x="35" y="356"/>
                  </a:lnTo>
                  <a:lnTo>
                    <a:pt x="32" y="356"/>
                  </a:lnTo>
                  <a:lnTo>
                    <a:pt x="30" y="356"/>
                  </a:lnTo>
                  <a:lnTo>
                    <a:pt x="22" y="366"/>
                  </a:lnTo>
                  <a:lnTo>
                    <a:pt x="19" y="369"/>
                  </a:lnTo>
                  <a:lnTo>
                    <a:pt x="16" y="369"/>
                  </a:lnTo>
                  <a:lnTo>
                    <a:pt x="16" y="369"/>
                  </a:lnTo>
                  <a:lnTo>
                    <a:pt x="14" y="369"/>
                  </a:lnTo>
                  <a:lnTo>
                    <a:pt x="14" y="369"/>
                  </a:lnTo>
                  <a:lnTo>
                    <a:pt x="14" y="366"/>
                  </a:lnTo>
                  <a:lnTo>
                    <a:pt x="11" y="364"/>
                  </a:lnTo>
                  <a:lnTo>
                    <a:pt x="11" y="364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8" y="358"/>
                  </a:lnTo>
                  <a:lnTo>
                    <a:pt x="8" y="358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4"/>
                  </a:lnTo>
                  <a:lnTo>
                    <a:pt x="6" y="364"/>
                  </a:lnTo>
                  <a:lnTo>
                    <a:pt x="6" y="364"/>
                  </a:lnTo>
                  <a:lnTo>
                    <a:pt x="6" y="366"/>
                  </a:lnTo>
                  <a:lnTo>
                    <a:pt x="8" y="366"/>
                  </a:lnTo>
                  <a:lnTo>
                    <a:pt x="6" y="366"/>
                  </a:lnTo>
                  <a:lnTo>
                    <a:pt x="6" y="369"/>
                  </a:lnTo>
                  <a:lnTo>
                    <a:pt x="8" y="369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6" y="374"/>
                  </a:lnTo>
                  <a:lnTo>
                    <a:pt x="6" y="374"/>
                  </a:lnTo>
                  <a:lnTo>
                    <a:pt x="3" y="374"/>
                  </a:lnTo>
                  <a:lnTo>
                    <a:pt x="3" y="374"/>
                  </a:lnTo>
                  <a:lnTo>
                    <a:pt x="3" y="374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80"/>
                  </a:lnTo>
                  <a:lnTo>
                    <a:pt x="3" y="377"/>
                  </a:lnTo>
                  <a:lnTo>
                    <a:pt x="3" y="377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8" y="380"/>
                  </a:lnTo>
                  <a:lnTo>
                    <a:pt x="11" y="377"/>
                  </a:lnTo>
                  <a:lnTo>
                    <a:pt x="11" y="377"/>
                  </a:lnTo>
                  <a:lnTo>
                    <a:pt x="14" y="377"/>
                  </a:lnTo>
                  <a:lnTo>
                    <a:pt x="14" y="377"/>
                  </a:lnTo>
                  <a:lnTo>
                    <a:pt x="16" y="377"/>
                  </a:lnTo>
                  <a:lnTo>
                    <a:pt x="16" y="377"/>
                  </a:lnTo>
                  <a:lnTo>
                    <a:pt x="16" y="380"/>
                  </a:lnTo>
                  <a:lnTo>
                    <a:pt x="14" y="380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11" y="382"/>
                  </a:lnTo>
                  <a:lnTo>
                    <a:pt x="11" y="382"/>
                  </a:lnTo>
                  <a:lnTo>
                    <a:pt x="8" y="385"/>
                  </a:lnTo>
                  <a:lnTo>
                    <a:pt x="8" y="385"/>
                  </a:lnTo>
                  <a:lnTo>
                    <a:pt x="11" y="385"/>
                  </a:lnTo>
                  <a:lnTo>
                    <a:pt x="11" y="385"/>
                  </a:lnTo>
                  <a:lnTo>
                    <a:pt x="11" y="385"/>
                  </a:lnTo>
                  <a:lnTo>
                    <a:pt x="11" y="388"/>
                  </a:lnTo>
                  <a:lnTo>
                    <a:pt x="11" y="388"/>
                  </a:lnTo>
                  <a:lnTo>
                    <a:pt x="11" y="390"/>
                  </a:lnTo>
                  <a:lnTo>
                    <a:pt x="14" y="390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14" y="393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8"/>
                  </a:lnTo>
                  <a:lnTo>
                    <a:pt x="14" y="401"/>
                  </a:lnTo>
                  <a:lnTo>
                    <a:pt x="16" y="398"/>
                  </a:lnTo>
                  <a:lnTo>
                    <a:pt x="16" y="398"/>
                  </a:lnTo>
                  <a:lnTo>
                    <a:pt x="19" y="398"/>
                  </a:lnTo>
                  <a:lnTo>
                    <a:pt x="19" y="401"/>
                  </a:lnTo>
                  <a:lnTo>
                    <a:pt x="19" y="401"/>
                  </a:lnTo>
                  <a:lnTo>
                    <a:pt x="19" y="404"/>
                  </a:lnTo>
                  <a:lnTo>
                    <a:pt x="16" y="406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12"/>
                  </a:lnTo>
                  <a:lnTo>
                    <a:pt x="14" y="412"/>
                  </a:lnTo>
                  <a:lnTo>
                    <a:pt x="14" y="412"/>
                  </a:lnTo>
                  <a:lnTo>
                    <a:pt x="14" y="414"/>
                  </a:lnTo>
                  <a:lnTo>
                    <a:pt x="14" y="414"/>
                  </a:lnTo>
                  <a:lnTo>
                    <a:pt x="16" y="417"/>
                  </a:lnTo>
                  <a:lnTo>
                    <a:pt x="19" y="414"/>
                  </a:lnTo>
                  <a:lnTo>
                    <a:pt x="19" y="412"/>
                  </a:lnTo>
                  <a:lnTo>
                    <a:pt x="19" y="412"/>
                  </a:lnTo>
                  <a:lnTo>
                    <a:pt x="22" y="412"/>
                  </a:lnTo>
                  <a:lnTo>
                    <a:pt x="22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6"/>
                  </a:lnTo>
                  <a:lnTo>
                    <a:pt x="27" y="406"/>
                  </a:lnTo>
                  <a:lnTo>
                    <a:pt x="27" y="404"/>
                  </a:lnTo>
                  <a:lnTo>
                    <a:pt x="27" y="404"/>
                  </a:lnTo>
                  <a:lnTo>
                    <a:pt x="30" y="404"/>
                  </a:lnTo>
                  <a:lnTo>
                    <a:pt x="30" y="401"/>
                  </a:lnTo>
                  <a:lnTo>
                    <a:pt x="32" y="401"/>
                  </a:lnTo>
                  <a:lnTo>
                    <a:pt x="32" y="401"/>
                  </a:lnTo>
                  <a:lnTo>
                    <a:pt x="32" y="401"/>
                  </a:lnTo>
                  <a:lnTo>
                    <a:pt x="35" y="404"/>
                  </a:lnTo>
                  <a:lnTo>
                    <a:pt x="32" y="404"/>
                  </a:lnTo>
                  <a:lnTo>
                    <a:pt x="35" y="406"/>
                  </a:lnTo>
                  <a:lnTo>
                    <a:pt x="35" y="409"/>
                  </a:lnTo>
                  <a:lnTo>
                    <a:pt x="35" y="412"/>
                  </a:lnTo>
                  <a:lnTo>
                    <a:pt x="35" y="414"/>
                  </a:lnTo>
                  <a:lnTo>
                    <a:pt x="35" y="417"/>
                  </a:lnTo>
                  <a:lnTo>
                    <a:pt x="38" y="417"/>
                  </a:lnTo>
                  <a:lnTo>
                    <a:pt x="38" y="420"/>
                  </a:lnTo>
                  <a:lnTo>
                    <a:pt x="40" y="420"/>
                  </a:lnTo>
                  <a:lnTo>
                    <a:pt x="43" y="422"/>
                  </a:lnTo>
                  <a:lnTo>
                    <a:pt x="43" y="425"/>
                  </a:lnTo>
                  <a:lnTo>
                    <a:pt x="43" y="425"/>
                  </a:lnTo>
                  <a:lnTo>
                    <a:pt x="43" y="428"/>
                  </a:lnTo>
                  <a:lnTo>
                    <a:pt x="43" y="428"/>
                  </a:lnTo>
                  <a:lnTo>
                    <a:pt x="51" y="430"/>
                  </a:lnTo>
                  <a:lnTo>
                    <a:pt x="51" y="430"/>
                  </a:lnTo>
                  <a:lnTo>
                    <a:pt x="51" y="433"/>
                  </a:lnTo>
                  <a:lnTo>
                    <a:pt x="51" y="436"/>
                  </a:lnTo>
                  <a:lnTo>
                    <a:pt x="54" y="436"/>
                  </a:lnTo>
                  <a:lnTo>
                    <a:pt x="54" y="433"/>
                  </a:lnTo>
                  <a:lnTo>
                    <a:pt x="56" y="433"/>
                  </a:lnTo>
                  <a:lnTo>
                    <a:pt x="56" y="430"/>
                  </a:lnTo>
                  <a:lnTo>
                    <a:pt x="56" y="433"/>
                  </a:lnTo>
                  <a:lnTo>
                    <a:pt x="56" y="436"/>
                  </a:lnTo>
                  <a:lnTo>
                    <a:pt x="59" y="438"/>
                  </a:lnTo>
                  <a:lnTo>
                    <a:pt x="62" y="438"/>
                  </a:lnTo>
                  <a:lnTo>
                    <a:pt x="64" y="441"/>
                  </a:lnTo>
                  <a:lnTo>
                    <a:pt x="67" y="438"/>
                  </a:lnTo>
                  <a:lnTo>
                    <a:pt x="70" y="438"/>
                  </a:lnTo>
                  <a:lnTo>
                    <a:pt x="72" y="438"/>
                  </a:lnTo>
                  <a:lnTo>
                    <a:pt x="72" y="436"/>
                  </a:lnTo>
                  <a:lnTo>
                    <a:pt x="72" y="436"/>
                  </a:lnTo>
                  <a:lnTo>
                    <a:pt x="75" y="438"/>
                  </a:lnTo>
                  <a:lnTo>
                    <a:pt x="78" y="438"/>
                  </a:lnTo>
                  <a:lnTo>
                    <a:pt x="80" y="438"/>
                  </a:lnTo>
                  <a:lnTo>
                    <a:pt x="80" y="438"/>
                  </a:lnTo>
                  <a:lnTo>
                    <a:pt x="83" y="438"/>
                  </a:lnTo>
                  <a:lnTo>
                    <a:pt x="83" y="436"/>
                  </a:lnTo>
                  <a:lnTo>
                    <a:pt x="86" y="438"/>
                  </a:lnTo>
                  <a:lnTo>
                    <a:pt x="86" y="438"/>
                  </a:lnTo>
                  <a:lnTo>
                    <a:pt x="86" y="438"/>
                  </a:lnTo>
                  <a:lnTo>
                    <a:pt x="88" y="441"/>
                  </a:lnTo>
                  <a:lnTo>
                    <a:pt x="88" y="441"/>
                  </a:lnTo>
                  <a:lnTo>
                    <a:pt x="91" y="441"/>
                  </a:lnTo>
                  <a:lnTo>
                    <a:pt x="91" y="441"/>
                  </a:lnTo>
                  <a:lnTo>
                    <a:pt x="91" y="438"/>
                  </a:lnTo>
                  <a:lnTo>
                    <a:pt x="94" y="438"/>
                  </a:lnTo>
                  <a:lnTo>
                    <a:pt x="94" y="438"/>
                  </a:lnTo>
                  <a:lnTo>
                    <a:pt x="94" y="441"/>
                  </a:lnTo>
                  <a:lnTo>
                    <a:pt x="94" y="441"/>
                  </a:lnTo>
                  <a:lnTo>
                    <a:pt x="94" y="441"/>
                  </a:lnTo>
                  <a:lnTo>
                    <a:pt x="91" y="446"/>
                  </a:lnTo>
                  <a:lnTo>
                    <a:pt x="91" y="449"/>
                  </a:lnTo>
                  <a:lnTo>
                    <a:pt x="94" y="452"/>
                  </a:lnTo>
                  <a:lnTo>
                    <a:pt x="94" y="454"/>
                  </a:lnTo>
                  <a:lnTo>
                    <a:pt x="94" y="454"/>
                  </a:lnTo>
                  <a:lnTo>
                    <a:pt x="94" y="457"/>
                  </a:lnTo>
                  <a:lnTo>
                    <a:pt x="94" y="457"/>
                  </a:lnTo>
                  <a:lnTo>
                    <a:pt x="94" y="460"/>
                  </a:lnTo>
                  <a:lnTo>
                    <a:pt x="96" y="460"/>
                  </a:lnTo>
                  <a:lnTo>
                    <a:pt x="96" y="460"/>
                  </a:lnTo>
                  <a:lnTo>
                    <a:pt x="99" y="460"/>
                  </a:lnTo>
                  <a:lnTo>
                    <a:pt x="102" y="460"/>
                  </a:lnTo>
                  <a:lnTo>
                    <a:pt x="102" y="460"/>
                  </a:lnTo>
                  <a:lnTo>
                    <a:pt x="102" y="462"/>
                  </a:lnTo>
                  <a:lnTo>
                    <a:pt x="102" y="462"/>
                  </a:lnTo>
                  <a:lnTo>
                    <a:pt x="104" y="460"/>
                  </a:lnTo>
                  <a:lnTo>
                    <a:pt x="107" y="462"/>
                  </a:lnTo>
                  <a:lnTo>
                    <a:pt x="107" y="460"/>
                  </a:lnTo>
                  <a:lnTo>
                    <a:pt x="112" y="460"/>
                  </a:lnTo>
                  <a:lnTo>
                    <a:pt x="112" y="457"/>
                  </a:lnTo>
                  <a:lnTo>
                    <a:pt x="115" y="457"/>
                  </a:lnTo>
                  <a:lnTo>
                    <a:pt x="115" y="460"/>
                  </a:lnTo>
                  <a:lnTo>
                    <a:pt x="115" y="462"/>
                  </a:lnTo>
                  <a:lnTo>
                    <a:pt x="115" y="462"/>
                  </a:lnTo>
                  <a:lnTo>
                    <a:pt x="118" y="462"/>
                  </a:lnTo>
                  <a:lnTo>
                    <a:pt x="118" y="462"/>
                  </a:lnTo>
                  <a:lnTo>
                    <a:pt x="120" y="462"/>
                  </a:lnTo>
                  <a:lnTo>
                    <a:pt x="120" y="462"/>
                  </a:lnTo>
                  <a:lnTo>
                    <a:pt x="120" y="465"/>
                  </a:lnTo>
                  <a:lnTo>
                    <a:pt x="118" y="465"/>
                  </a:lnTo>
                  <a:lnTo>
                    <a:pt x="118" y="468"/>
                  </a:lnTo>
                  <a:lnTo>
                    <a:pt x="118" y="473"/>
                  </a:lnTo>
                  <a:lnTo>
                    <a:pt x="120" y="473"/>
                  </a:lnTo>
                  <a:lnTo>
                    <a:pt x="120" y="476"/>
                  </a:lnTo>
                  <a:lnTo>
                    <a:pt x="120" y="476"/>
                  </a:lnTo>
                  <a:lnTo>
                    <a:pt x="120" y="476"/>
                  </a:lnTo>
                  <a:lnTo>
                    <a:pt x="120" y="478"/>
                  </a:lnTo>
                  <a:lnTo>
                    <a:pt x="123" y="481"/>
                  </a:lnTo>
                  <a:lnTo>
                    <a:pt x="123" y="486"/>
                  </a:lnTo>
                  <a:lnTo>
                    <a:pt x="123" y="486"/>
                  </a:lnTo>
                  <a:lnTo>
                    <a:pt x="123" y="492"/>
                  </a:lnTo>
                  <a:lnTo>
                    <a:pt x="126" y="492"/>
                  </a:lnTo>
                  <a:lnTo>
                    <a:pt x="126" y="492"/>
                  </a:lnTo>
                  <a:lnTo>
                    <a:pt x="126" y="494"/>
                  </a:lnTo>
                  <a:lnTo>
                    <a:pt x="126" y="492"/>
                  </a:lnTo>
                  <a:lnTo>
                    <a:pt x="128" y="494"/>
                  </a:lnTo>
                  <a:lnTo>
                    <a:pt x="131" y="494"/>
                  </a:lnTo>
                  <a:lnTo>
                    <a:pt x="131" y="494"/>
                  </a:lnTo>
                  <a:lnTo>
                    <a:pt x="134" y="494"/>
                  </a:lnTo>
                  <a:lnTo>
                    <a:pt x="134" y="492"/>
                  </a:lnTo>
                  <a:lnTo>
                    <a:pt x="139" y="494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7" y="494"/>
                  </a:lnTo>
                  <a:lnTo>
                    <a:pt x="147" y="494"/>
                  </a:lnTo>
                  <a:lnTo>
                    <a:pt x="144" y="494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7" y="489"/>
                  </a:lnTo>
                  <a:lnTo>
                    <a:pt x="147" y="489"/>
                  </a:lnTo>
                  <a:lnTo>
                    <a:pt x="150" y="486"/>
                  </a:lnTo>
                  <a:lnTo>
                    <a:pt x="152" y="489"/>
                  </a:lnTo>
                  <a:lnTo>
                    <a:pt x="152" y="484"/>
                  </a:lnTo>
                  <a:lnTo>
                    <a:pt x="155" y="484"/>
                  </a:lnTo>
                  <a:lnTo>
                    <a:pt x="155" y="484"/>
                  </a:lnTo>
                  <a:lnTo>
                    <a:pt x="155" y="484"/>
                  </a:lnTo>
                  <a:lnTo>
                    <a:pt x="155" y="486"/>
                  </a:lnTo>
                  <a:lnTo>
                    <a:pt x="158" y="486"/>
                  </a:lnTo>
                  <a:lnTo>
                    <a:pt x="158" y="484"/>
                  </a:lnTo>
                  <a:lnTo>
                    <a:pt x="161" y="486"/>
                  </a:lnTo>
                  <a:lnTo>
                    <a:pt x="161" y="481"/>
                  </a:lnTo>
                  <a:lnTo>
                    <a:pt x="158" y="481"/>
                  </a:lnTo>
                  <a:lnTo>
                    <a:pt x="158" y="478"/>
                  </a:lnTo>
                  <a:lnTo>
                    <a:pt x="163" y="476"/>
                  </a:lnTo>
                  <a:lnTo>
                    <a:pt x="166" y="468"/>
                  </a:lnTo>
                  <a:lnTo>
                    <a:pt x="169" y="465"/>
                  </a:lnTo>
                  <a:lnTo>
                    <a:pt x="169" y="465"/>
                  </a:lnTo>
                  <a:lnTo>
                    <a:pt x="171" y="460"/>
                  </a:lnTo>
                  <a:lnTo>
                    <a:pt x="169" y="460"/>
                  </a:lnTo>
                  <a:lnTo>
                    <a:pt x="171" y="460"/>
                  </a:lnTo>
                  <a:lnTo>
                    <a:pt x="171" y="457"/>
                  </a:lnTo>
                  <a:lnTo>
                    <a:pt x="174" y="460"/>
                  </a:lnTo>
                  <a:lnTo>
                    <a:pt x="177" y="457"/>
                  </a:lnTo>
                  <a:lnTo>
                    <a:pt x="174" y="454"/>
                  </a:lnTo>
                  <a:lnTo>
                    <a:pt x="174" y="452"/>
                  </a:lnTo>
                  <a:lnTo>
                    <a:pt x="174" y="446"/>
                  </a:lnTo>
                  <a:lnTo>
                    <a:pt x="174" y="441"/>
                  </a:lnTo>
                  <a:lnTo>
                    <a:pt x="174" y="441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8"/>
                  </a:lnTo>
                  <a:lnTo>
                    <a:pt x="174" y="436"/>
                  </a:lnTo>
                  <a:lnTo>
                    <a:pt x="174" y="436"/>
                  </a:lnTo>
                  <a:lnTo>
                    <a:pt x="174" y="433"/>
                  </a:lnTo>
                  <a:lnTo>
                    <a:pt x="177" y="433"/>
                  </a:lnTo>
                  <a:lnTo>
                    <a:pt x="177" y="433"/>
                  </a:lnTo>
                  <a:lnTo>
                    <a:pt x="179" y="430"/>
                  </a:lnTo>
                  <a:lnTo>
                    <a:pt x="182" y="430"/>
                  </a:lnTo>
                  <a:lnTo>
                    <a:pt x="182" y="430"/>
                  </a:lnTo>
                  <a:lnTo>
                    <a:pt x="185" y="430"/>
                  </a:lnTo>
                  <a:lnTo>
                    <a:pt x="185" y="430"/>
                  </a:lnTo>
                  <a:lnTo>
                    <a:pt x="185" y="433"/>
                  </a:lnTo>
                  <a:lnTo>
                    <a:pt x="185" y="433"/>
                  </a:lnTo>
                  <a:lnTo>
                    <a:pt x="185" y="433"/>
                  </a:lnTo>
                  <a:lnTo>
                    <a:pt x="187" y="430"/>
                  </a:lnTo>
                  <a:lnTo>
                    <a:pt x="187" y="433"/>
                  </a:lnTo>
                  <a:lnTo>
                    <a:pt x="187" y="436"/>
                  </a:lnTo>
                  <a:lnTo>
                    <a:pt x="193" y="438"/>
                  </a:lnTo>
                  <a:lnTo>
                    <a:pt x="193" y="438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198" y="438"/>
                  </a:lnTo>
                  <a:lnTo>
                    <a:pt x="198" y="438"/>
                  </a:lnTo>
                  <a:lnTo>
                    <a:pt x="201" y="436"/>
                  </a:lnTo>
                  <a:lnTo>
                    <a:pt x="201" y="438"/>
                  </a:lnTo>
                  <a:lnTo>
                    <a:pt x="203" y="438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3" y="436"/>
                  </a:lnTo>
                  <a:lnTo>
                    <a:pt x="206" y="433"/>
                  </a:lnTo>
                  <a:lnTo>
                    <a:pt x="206" y="436"/>
                  </a:lnTo>
                  <a:lnTo>
                    <a:pt x="206" y="438"/>
                  </a:lnTo>
                  <a:lnTo>
                    <a:pt x="209" y="438"/>
                  </a:lnTo>
                  <a:lnTo>
                    <a:pt x="209" y="436"/>
                  </a:lnTo>
                  <a:lnTo>
                    <a:pt x="209" y="433"/>
                  </a:lnTo>
                  <a:lnTo>
                    <a:pt x="211" y="433"/>
                  </a:lnTo>
                  <a:lnTo>
                    <a:pt x="211" y="430"/>
                  </a:lnTo>
                  <a:lnTo>
                    <a:pt x="214" y="430"/>
                  </a:lnTo>
                  <a:lnTo>
                    <a:pt x="217" y="433"/>
                  </a:lnTo>
                  <a:lnTo>
                    <a:pt x="219" y="430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7" y="433"/>
                  </a:lnTo>
                  <a:lnTo>
                    <a:pt x="217" y="433"/>
                  </a:lnTo>
                  <a:lnTo>
                    <a:pt x="217" y="436"/>
                  </a:lnTo>
                  <a:lnTo>
                    <a:pt x="217" y="436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9" y="436"/>
                  </a:lnTo>
                  <a:lnTo>
                    <a:pt x="219" y="436"/>
                  </a:lnTo>
                  <a:lnTo>
                    <a:pt x="219" y="436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6"/>
                  </a:lnTo>
                  <a:lnTo>
                    <a:pt x="222" y="436"/>
                  </a:lnTo>
                  <a:lnTo>
                    <a:pt x="225" y="433"/>
                  </a:lnTo>
                  <a:lnTo>
                    <a:pt x="222" y="430"/>
                  </a:lnTo>
                  <a:lnTo>
                    <a:pt x="222" y="430"/>
                  </a:lnTo>
                  <a:lnTo>
                    <a:pt x="225" y="430"/>
                  </a:lnTo>
                  <a:lnTo>
                    <a:pt x="225" y="430"/>
                  </a:lnTo>
                  <a:lnTo>
                    <a:pt x="227" y="430"/>
                  </a:lnTo>
                  <a:lnTo>
                    <a:pt x="227" y="430"/>
                  </a:lnTo>
                  <a:lnTo>
                    <a:pt x="225" y="428"/>
                  </a:lnTo>
                  <a:lnTo>
                    <a:pt x="225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2" y="422"/>
                  </a:lnTo>
                  <a:lnTo>
                    <a:pt x="225" y="420"/>
                  </a:lnTo>
                  <a:lnTo>
                    <a:pt x="225" y="420"/>
                  </a:lnTo>
                  <a:lnTo>
                    <a:pt x="227" y="420"/>
                  </a:lnTo>
                  <a:lnTo>
                    <a:pt x="227" y="417"/>
                  </a:lnTo>
                  <a:lnTo>
                    <a:pt x="230" y="414"/>
                  </a:lnTo>
                  <a:lnTo>
                    <a:pt x="230" y="414"/>
                  </a:lnTo>
                  <a:lnTo>
                    <a:pt x="227" y="409"/>
                  </a:lnTo>
                  <a:lnTo>
                    <a:pt x="230" y="409"/>
                  </a:lnTo>
                  <a:lnTo>
                    <a:pt x="227" y="409"/>
                  </a:lnTo>
                  <a:lnTo>
                    <a:pt x="235" y="396"/>
                  </a:lnTo>
                  <a:lnTo>
                    <a:pt x="238" y="393"/>
                  </a:lnTo>
                  <a:lnTo>
                    <a:pt x="235" y="390"/>
                  </a:lnTo>
                  <a:lnTo>
                    <a:pt x="241" y="385"/>
                  </a:lnTo>
                  <a:lnTo>
                    <a:pt x="241" y="385"/>
                  </a:lnTo>
                  <a:lnTo>
                    <a:pt x="241" y="388"/>
                  </a:lnTo>
                  <a:lnTo>
                    <a:pt x="246" y="388"/>
                  </a:lnTo>
                  <a:lnTo>
                    <a:pt x="246" y="382"/>
                  </a:lnTo>
                  <a:lnTo>
                    <a:pt x="249" y="382"/>
                  </a:lnTo>
                  <a:lnTo>
                    <a:pt x="249" y="380"/>
                  </a:lnTo>
                  <a:lnTo>
                    <a:pt x="251" y="380"/>
                  </a:lnTo>
                  <a:lnTo>
                    <a:pt x="251" y="380"/>
                  </a:lnTo>
                  <a:lnTo>
                    <a:pt x="254" y="382"/>
                  </a:lnTo>
                  <a:lnTo>
                    <a:pt x="254" y="382"/>
                  </a:lnTo>
                  <a:lnTo>
                    <a:pt x="257" y="382"/>
                  </a:lnTo>
                  <a:lnTo>
                    <a:pt x="262" y="385"/>
                  </a:lnTo>
                  <a:lnTo>
                    <a:pt x="265" y="388"/>
                  </a:lnTo>
                  <a:lnTo>
                    <a:pt x="265" y="393"/>
                  </a:lnTo>
                  <a:lnTo>
                    <a:pt x="262" y="396"/>
                  </a:lnTo>
                  <a:lnTo>
                    <a:pt x="265" y="398"/>
                  </a:lnTo>
                  <a:lnTo>
                    <a:pt x="273" y="396"/>
                  </a:lnTo>
                  <a:lnTo>
                    <a:pt x="281" y="393"/>
                  </a:lnTo>
                  <a:lnTo>
                    <a:pt x="286" y="393"/>
                  </a:lnTo>
                  <a:lnTo>
                    <a:pt x="289" y="388"/>
                  </a:lnTo>
                  <a:lnTo>
                    <a:pt x="289" y="388"/>
                  </a:lnTo>
                  <a:lnTo>
                    <a:pt x="291" y="382"/>
                  </a:lnTo>
                  <a:lnTo>
                    <a:pt x="291" y="382"/>
                  </a:lnTo>
                  <a:lnTo>
                    <a:pt x="289" y="380"/>
                  </a:lnTo>
                  <a:lnTo>
                    <a:pt x="286" y="380"/>
                  </a:lnTo>
                  <a:lnTo>
                    <a:pt x="289" y="374"/>
                  </a:lnTo>
                  <a:lnTo>
                    <a:pt x="286" y="372"/>
                  </a:lnTo>
                  <a:lnTo>
                    <a:pt x="286" y="369"/>
                  </a:lnTo>
                  <a:lnTo>
                    <a:pt x="289" y="366"/>
                  </a:lnTo>
                  <a:lnTo>
                    <a:pt x="289" y="361"/>
                  </a:lnTo>
                  <a:lnTo>
                    <a:pt x="286" y="358"/>
                  </a:lnTo>
                  <a:lnTo>
                    <a:pt x="289" y="358"/>
                  </a:lnTo>
                  <a:lnTo>
                    <a:pt x="289" y="358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91" y="356"/>
                  </a:lnTo>
                  <a:lnTo>
                    <a:pt x="291" y="353"/>
                  </a:lnTo>
                  <a:lnTo>
                    <a:pt x="291" y="353"/>
                  </a:lnTo>
                  <a:lnTo>
                    <a:pt x="294" y="353"/>
                  </a:lnTo>
                  <a:lnTo>
                    <a:pt x="294" y="353"/>
                  </a:lnTo>
                  <a:lnTo>
                    <a:pt x="297" y="353"/>
                  </a:lnTo>
                  <a:lnTo>
                    <a:pt x="299" y="353"/>
                  </a:lnTo>
                  <a:lnTo>
                    <a:pt x="299" y="350"/>
                  </a:lnTo>
                  <a:lnTo>
                    <a:pt x="302" y="350"/>
                  </a:lnTo>
                  <a:lnTo>
                    <a:pt x="302" y="350"/>
                  </a:lnTo>
                  <a:lnTo>
                    <a:pt x="305" y="348"/>
                  </a:lnTo>
                  <a:lnTo>
                    <a:pt x="305" y="348"/>
                  </a:lnTo>
                  <a:lnTo>
                    <a:pt x="307" y="345"/>
                  </a:lnTo>
                  <a:lnTo>
                    <a:pt x="310" y="345"/>
                  </a:lnTo>
                  <a:lnTo>
                    <a:pt x="313" y="345"/>
                  </a:lnTo>
                  <a:lnTo>
                    <a:pt x="315" y="348"/>
                  </a:lnTo>
                  <a:lnTo>
                    <a:pt x="318" y="348"/>
                  </a:lnTo>
                  <a:lnTo>
                    <a:pt x="321" y="350"/>
                  </a:lnTo>
                  <a:lnTo>
                    <a:pt x="321" y="350"/>
                  </a:lnTo>
                  <a:lnTo>
                    <a:pt x="321" y="345"/>
                  </a:lnTo>
                  <a:lnTo>
                    <a:pt x="326" y="348"/>
                  </a:lnTo>
                  <a:lnTo>
                    <a:pt x="326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31" y="342"/>
                  </a:lnTo>
                  <a:lnTo>
                    <a:pt x="331" y="342"/>
                  </a:lnTo>
                  <a:lnTo>
                    <a:pt x="334" y="337"/>
                  </a:lnTo>
                  <a:lnTo>
                    <a:pt x="339" y="337"/>
                  </a:lnTo>
                  <a:lnTo>
                    <a:pt x="347" y="334"/>
                  </a:lnTo>
                  <a:lnTo>
                    <a:pt x="347" y="331"/>
                  </a:lnTo>
                  <a:lnTo>
                    <a:pt x="347" y="329"/>
                  </a:lnTo>
                  <a:lnTo>
                    <a:pt x="345" y="326"/>
                  </a:lnTo>
                  <a:lnTo>
                    <a:pt x="347" y="323"/>
                  </a:lnTo>
                  <a:lnTo>
                    <a:pt x="347" y="321"/>
                  </a:lnTo>
                  <a:lnTo>
                    <a:pt x="347" y="321"/>
                  </a:lnTo>
                  <a:lnTo>
                    <a:pt x="350" y="318"/>
                  </a:lnTo>
                  <a:lnTo>
                    <a:pt x="350" y="315"/>
                  </a:lnTo>
                  <a:lnTo>
                    <a:pt x="350" y="315"/>
                  </a:lnTo>
                  <a:lnTo>
                    <a:pt x="347" y="315"/>
                  </a:lnTo>
                  <a:lnTo>
                    <a:pt x="345" y="315"/>
                  </a:lnTo>
                  <a:lnTo>
                    <a:pt x="345" y="313"/>
                  </a:lnTo>
                  <a:lnTo>
                    <a:pt x="345" y="310"/>
                  </a:lnTo>
                  <a:lnTo>
                    <a:pt x="339" y="310"/>
                  </a:lnTo>
                  <a:lnTo>
                    <a:pt x="342" y="305"/>
                  </a:lnTo>
                  <a:lnTo>
                    <a:pt x="339" y="302"/>
                  </a:lnTo>
                  <a:lnTo>
                    <a:pt x="345" y="289"/>
                  </a:lnTo>
                  <a:lnTo>
                    <a:pt x="347" y="291"/>
                  </a:lnTo>
                  <a:lnTo>
                    <a:pt x="350" y="289"/>
                  </a:lnTo>
                  <a:lnTo>
                    <a:pt x="350" y="289"/>
                  </a:lnTo>
                  <a:lnTo>
                    <a:pt x="350" y="286"/>
                  </a:lnTo>
                  <a:lnTo>
                    <a:pt x="347" y="281"/>
                  </a:lnTo>
                  <a:lnTo>
                    <a:pt x="358" y="270"/>
                  </a:lnTo>
                  <a:lnTo>
                    <a:pt x="358" y="267"/>
                  </a:lnTo>
                  <a:lnTo>
                    <a:pt x="353" y="262"/>
                  </a:lnTo>
                  <a:lnTo>
                    <a:pt x="353" y="257"/>
                  </a:lnTo>
                  <a:lnTo>
                    <a:pt x="350" y="257"/>
                  </a:lnTo>
                  <a:lnTo>
                    <a:pt x="347" y="257"/>
                  </a:lnTo>
                  <a:lnTo>
                    <a:pt x="347" y="254"/>
                  </a:lnTo>
                  <a:lnTo>
                    <a:pt x="345" y="254"/>
                  </a:lnTo>
                  <a:lnTo>
                    <a:pt x="342" y="251"/>
                  </a:lnTo>
                  <a:lnTo>
                    <a:pt x="339" y="249"/>
                  </a:lnTo>
                  <a:lnTo>
                    <a:pt x="339" y="246"/>
                  </a:lnTo>
                  <a:lnTo>
                    <a:pt x="339" y="243"/>
                  </a:lnTo>
                  <a:lnTo>
                    <a:pt x="339" y="241"/>
                  </a:lnTo>
                  <a:lnTo>
                    <a:pt x="339" y="241"/>
                  </a:lnTo>
                  <a:lnTo>
                    <a:pt x="339" y="238"/>
                  </a:lnTo>
                  <a:lnTo>
                    <a:pt x="339" y="235"/>
                  </a:lnTo>
                  <a:lnTo>
                    <a:pt x="339" y="235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34" y="225"/>
                  </a:lnTo>
                  <a:lnTo>
                    <a:pt x="353" y="203"/>
                  </a:lnTo>
                  <a:lnTo>
                    <a:pt x="355" y="206"/>
                  </a:lnTo>
                  <a:lnTo>
                    <a:pt x="363" y="195"/>
                  </a:lnTo>
                  <a:lnTo>
                    <a:pt x="369" y="198"/>
                  </a:lnTo>
                  <a:lnTo>
                    <a:pt x="374" y="190"/>
                  </a:lnTo>
                  <a:lnTo>
                    <a:pt x="379" y="193"/>
                  </a:lnTo>
                  <a:lnTo>
                    <a:pt x="382" y="190"/>
                  </a:lnTo>
                  <a:lnTo>
                    <a:pt x="382" y="190"/>
                  </a:lnTo>
                  <a:lnTo>
                    <a:pt x="382" y="187"/>
                  </a:lnTo>
                  <a:lnTo>
                    <a:pt x="385" y="187"/>
                  </a:lnTo>
                  <a:lnTo>
                    <a:pt x="387" y="185"/>
                  </a:lnTo>
                  <a:lnTo>
                    <a:pt x="387" y="185"/>
                  </a:lnTo>
                  <a:lnTo>
                    <a:pt x="390" y="182"/>
                  </a:lnTo>
                  <a:lnTo>
                    <a:pt x="390" y="179"/>
                  </a:lnTo>
                  <a:lnTo>
                    <a:pt x="393" y="179"/>
                  </a:lnTo>
                  <a:lnTo>
                    <a:pt x="393" y="177"/>
                  </a:lnTo>
                  <a:lnTo>
                    <a:pt x="395" y="177"/>
                  </a:lnTo>
                  <a:lnTo>
                    <a:pt x="395" y="174"/>
                  </a:lnTo>
                  <a:lnTo>
                    <a:pt x="395" y="171"/>
                  </a:lnTo>
                  <a:lnTo>
                    <a:pt x="398" y="171"/>
                  </a:lnTo>
                  <a:lnTo>
                    <a:pt x="398" y="168"/>
                  </a:lnTo>
                  <a:lnTo>
                    <a:pt x="401" y="166"/>
                  </a:lnTo>
                  <a:lnTo>
                    <a:pt x="404" y="160"/>
                  </a:lnTo>
                  <a:lnTo>
                    <a:pt x="404" y="160"/>
                  </a:lnTo>
                  <a:lnTo>
                    <a:pt x="404" y="158"/>
                  </a:lnTo>
                  <a:lnTo>
                    <a:pt x="406" y="158"/>
                  </a:lnTo>
                  <a:lnTo>
                    <a:pt x="406" y="155"/>
                  </a:lnTo>
                  <a:lnTo>
                    <a:pt x="409" y="155"/>
                  </a:lnTo>
                  <a:lnTo>
                    <a:pt x="409" y="152"/>
                  </a:lnTo>
                  <a:lnTo>
                    <a:pt x="412" y="150"/>
                  </a:lnTo>
                  <a:lnTo>
                    <a:pt x="414" y="150"/>
                  </a:lnTo>
                  <a:lnTo>
                    <a:pt x="417" y="147"/>
                  </a:lnTo>
                  <a:lnTo>
                    <a:pt x="420" y="147"/>
                  </a:lnTo>
                  <a:lnTo>
                    <a:pt x="422" y="144"/>
                  </a:lnTo>
                  <a:lnTo>
                    <a:pt x="425" y="139"/>
                  </a:lnTo>
                  <a:lnTo>
                    <a:pt x="428" y="136"/>
                  </a:lnTo>
                  <a:lnTo>
                    <a:pt x="428" y="134"/>
                  </a:lnTo>
                  <a:lnTo>
                    <a:pt x="430" y="131"/>
                  </a:lnTo>
                  <a:lnTo>
                    <a:pt x="433" y="126"/>
                  </a:lnTo>
                  <a:lnTo>
                    <a:pt x="436" y="123"/>
                  </a:lnTo>
                  <a:lnTo>
                    <a:pt x="441" y="107"/>
                  </a:lnTo>
                  <a:lnTo>
                    <a:pt x="441" y="107"/>
                  </a:lnTo>
                  <a:lnTo>
                    <a:pt x="438" y="107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41" y="102"/>
                  </a:lnTo>
                  <a:lnTo>
                    <a:pt x="441" y="99"/>
                  </a:lnTo>
                  <a:lnTo>
                    <a:pt x="441" y="96"/>
                  </a:lnTo>
                  <a:lnTo>
                    <a:pt x="441" y="94"/>
                  </a:lnTo>
                  <a:lnTo>
                    <a:pt x="444" y="91"/>
                  </a:lnTo>
                  <a:lnTo>
                    <a:pt x="444" y="88"/>
                  </a:lnTo>
                  <a:lnTo>
                    <a:pt x="444" y="86"/>
                  </a:lnTo>
                  <a:lnTo>
                    <a:pt x="441" y="83"/>
                  </a:lnTo>
                  <a:lnTo>
                    <a:pt x="444" y="83"/>
                  </a:lnTo>
                  <a:lnTo>
                    <a:pt x="444" y="80"/>
                  </a:lnTo>
                  <a:lnTo>
                    <a:pt x="444" y="78"/>
                  </a:lnTo>
                  <a:lnTo>
                    <a:pt x="444" y="75"/>
                  </a:lnTo>
                  <a:lnTo>
                    <a:pt x="446" y="72"/>
                  </a:lnTo>
                  <a:lnTo>
                    <a:pt x="446" y="72"/>
                  </a:lnTo>
                  <a:lnTo>
                    <a:pt x="449" y="70"/>
                  </a:lnTo>
                  <a:lnTo>
                    <a:pt x="452" y="67"/>
                  </a:lnTo>
                  <a:lnTo>
                    <a:pt x="452" y="67"/>
                  </a:lnTo>
                  <a:lnTo>
                    <a:pt x="454" y="64"/>
                  </a:lnTo>
                  <a:lnTo>
                    <a:pt x="457" y="64"/>
                  </a:lnTo>
                  <a:lnTo>
                    <a:pt x="460" y="62"/>
                  </a:lnTo>
                  <a:lnTo>
                    <a:pt x="460" y="59"/>
                  </a:lnTo>
                  <a:lnTo>
                    <a:pt x="462" y="56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2" y="51"/>
                  </a:lnTo>
                  <a:lnTo>
                    <a:pt x="465" y="51"/>
                  </a:lnTo>
                  <a:lnTo>
                    <a:pt x="465" y="48"/>
                  </a:lnTo>
                  <a:lnTo>
                    <a:pt x="465" y="46"/>
                  </a:lnTo>
                  <a:lnTo>
                    <a:pt x="465" y="46"/>
                  </a:lnTo>
                  <a:lnTo>
                    <a:pt x="465" y="43"/>
                  </a:lnTo>
                  <a:lnTo>
                    <a:pt x="462" y="40"/>
                  </a:lnTo>
                  <a:lnTo>
                    <a:pt x="462" y="40"/>
                  </a:lnTo>
                  <a:lnTo>
                    <a:pt x="460" y="40"/>
                  </a:lnTo>
                  <a:lnTo>
                    <a:pt x="460" y="43"/>
                  </a:lnTo>
                  <a:lnTo>
                    <a:pt x="460" y="40"/>
                  </a:lnTo>
                  <a:lnTo>
                    <a:pt x="457" y="40"/>
                  </a:lnTo>
                  <a:lnTo>
                    <a:pt x="457" y="40"/>
                  </a:lnTo>
                  <a:lnTo>
                    <a:pt x="454" y="40"/>
                  </a:lnTo>
                  <a:lnTo>
                    <a:pt x="452" y="40"/>
                  </a:lnTo>
                  <a:lnTo>
                    <a:pt x="452" y="43"/>
                  </a:lnTo>
                  <a:lnTo>
                    <a:pt x="452" y="43"/>
                  </a:lnTo>
                  <a:lnTo>
                    <a:pt x="449" y="46"/>
                  </a:lnTo>
                  <a:lnTo>
                    <a:pt x="446" y="46"/>
                  </a:lnTo>
                  <a:lnTo>
                    <a:pt x="444" y="46"/>
                  </a:lnTo>
                  <a:lnTo>
                    <a:pt x="444" y="46"/>
                  </a:lnTo>
                  <a:lnTo>
                    <a:pt x="438" y="43"/>
                  </a:lnTo>
                  <a:lnTo>
                    <a:pt x="436" y="46"/>
                  </a:lnTo>
                  <a:lnTo>
                    <a:pt x="361" y="11"/>
                  </a:lnTo>
                  <a:lnTo>
                    <a:pt x="358" y="13"/>
                  </a:lnTo>
                  <a:lnTo>
                    <a:pt x="342" y="0"/>
                  </a:lnTo>
                  <a:lnTo>
                    <a:pt x="339" y="3"/>
                  </a:lnTo>
                  <a:lnTo>
                    <a:pt x="337" y="3"/>
                  </a:lnTo>
                  <a:lnTo>
                    <a:pt x="331" y="8"/>
                  </a:lnTo>
                  <a:lnTo>
                    <a:pt x="326" y="3"/>
                  </a:lnTo>
                  <a:lnTo>
                    <a:pt x="318" y="13"/>
                  </a:lnTo>
                  <a:lnTo>
                    <a:pt x="318" y="16"/>
                  </a:lnTo>
                  <a:lnTo>
                    <a:pt x="310" y="22"/>
                  </a:lnTo>
                  <a:lnTo>
                    <a:pt x="294" y="8"/>
                  </a:lnTo>
                  <a:lnTo>
                    <a:pt x="283" y="22"/>
                  </a:lnTo>
                  <a:lnTo>
                    <a:pt x="265" y="5"/>
                  </a:lnTo>
                  <a:lnTo>
                    <a:pt x="254" y="19"/>
                  </a:lnTo>
                  <a:lnTo>
                    <a:pt x="249" y="13"/>
                  </a:lnTo>
                  <a:lnTo>
                    <a:pt x="238" y="27"/>
                  </a:lnTo>
                  <a:lnTo>
                    <a:pt x="246" y="30"/>
                  </a:lnTo>
                  <a:lnTo>
                    <a:pt x="243" y="38"/>
                  </a:lnTo>
                  <a:lnTo>
                    <a:pt x="241" y="38"/>
                  </a:lnTo>
                  <a:lnTo>
                    <a:pt x="230" y="54"/>
                  </a:lnTo>
                  <a:lnTo>
                    <a:pt x="230" y="56"/>
                  </a:lnTo>
                  <a:lnTo>
                    <a:pt x="222" y="67"/>
                  </a:lnTo>
                  <a:lnTo>
                    <a:pt x="230" y="75"/>
                  </a:lnTo>
                  <a:lnTo>
                    <a:pt x="219" y="91"/>
                  </a:lnTo>
                  <a:lnTo>
                    <a:pt x="219" y="91"/>
                  </a:lnTo>
                  <a:lnTo>
                    <a:pt x="222" y="91"/>
                  </a:lnTo>
                  <a:lnTo>
                    <a:pt x="222" y="91"/>
                  </a:lnTo>
                  <a:lnTo>
                    <a:pt x="225" y="91"/>
                  </a:lnTo>
                  <a:lnTo>
                    <a:pt x="225" y="88"/>
                  </a:lnTo>
                  <a:lnTo>
                    <a:pt x="227" y="88"/>
                  </a:lnTo>
                  <a:lnTo>
                    <a:pt x="227" y="91"/>
                  </a:lnTo>
                  <a:lnTo>
                    <a:pt x="230" y="91"/>
                  </a:lnTo>
                  <a:lnTo>
                    <a:pt x="227" y="104"/>
                  </a:lnTo>
                  <a:lnTo>
                    <a:pt x="235" y="112"/>
                  </a:lnTo>
                  <a:lnTo>
                    <a:pt x="227" y="120"/>
                  </a:lnTo>
                  <a:lnTo>
                    <a:pt x="219" y="115"/>
                  </a:lnTo>
                  <a:lnTo>
                    <a:pt x="219" y="118"/>
                  </a:lnTo>
                  <a:lnTo>
                    <a:pt x="222" y="118"/>
                  </a:lnTo>
                  <a:lnTo>
                    <a:pt x="219" y="120"/>
                  </a:lnTo>
                  <a:lnTo>
                    <a:pt x="217" y="118"/>
                  </a:lnTo>
                  <a:lnTo>
                    <a:pt x="211" y="126"/>
                  </a:lnTo>
                  <a:lnTo>
                    <a:pt x="211" y="128"/>
                  </a:lnTo>
                  <a:lnTo>
                    <a:pt x="209" y="134"/>
                  </a:lnTo>
                  <a:lnTo>
                    <a:pt x="211" y="136"/>
                  </a:lnTo>
                  <a:lnTo>
                    <a:pt x="203" y="144"/>
                  </a:lnTo>
                  <a:lnTo>
                    <a:pt x="206" y="150"/>
                  </a:lnTo>
                  <a:lnTo>
                    <a:pt x="201" y="158"/>
                  </a:lnTo>
                  <a:lnTo>
                    <a:pt x="206" y="163"/>
                  </a:lnTo>
                  <a:lnTo>
                    <a:pt x="198" y="174"/>
                  </a:lnTo>
                  <a:lnTo>
                    <a:pt x="201" y="179"/>
                  </a:lnTo>
                  <a:lnTo>
                    <a:pt x="198" y="179"/>
                  </a:lnTo>
                  <a:lnTo>
                    <a:pt x="203" y="187"/>
                  </a:lnTo>
                  <a:lnTo>
                    <a:pt x="201" y="190"/>
                  </a:lnTo>
                  <a:lnTo>
                    <a:pt x="206" y="193"/>
                  </a:lnTo>
                  <a:lnTo>
                    <a:pt x="209" y="190"/>
                  </a:lnTo>
                  <a:lnTo>
                    <a:pt x="211" y="193"/>
                  </a:lnTo>
                  <a:lnTo>
                    <a:pt x="214" y="190"/>
                  </a:lnTo>
                  <a:lnTo>
                    <a:pt x="219" y="193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2" y="193"/>
                  </a:lnTo>
                  <a:lnTo>
                    <a:pt x="225" y="193"/>
                  </a:lnTo>
                  <a:lnTo>
                    <a:pt x="222" y="193"/>
                  </a:lnTo>
                  <a:lnTo>
                    <a:pt x="227" y="198"/>
                  </a:lnTo>
                  <a:lnTo>
                    <a:pt x="227" y="201"/>
                  </a:lnTo>
                  <a:lnTo>
                    <a:pt x="225" y="201"/>
                  </a:lnTo>
                  <a:lnTo>
                    <a:pt x="222" y="203"/>
                  </a:lnTo>
                  <a:lnTo>
                    <a:pt x="222" y="206"/>
                  </a:lnTo>
                  <a:lnTo>
                    <a:pt x="219" y="209"/>
                  </a:lnTo>
                  <a:lnTo>
                    <a:pt x="217" y="211"/>
                  </a:lnTo>
                  <a:lnTo>
                    <a:pt x="217" y="214"/>
                  </a:lnTo>
                  <a:lnTo>
                    <a:pt x="217" y="225"/>
                  </a:lnTo>
                  <a:lnTo>
                    <a:pt x="214" y="227"/>
                  </a:lnTo>
                  <a:lnTo>
                    <a:pt x="211" y="230"/>
                  </a:lnTo>
                  <a:lnTo>
                    <a:pt x="198" y="214"/>
                  </a:lnTo>
                  <a:lnTo>
                    <a:pt x="198" y="217"/>
                  </a:lnTo>
                  <a:lnTo>
                    <a:pt x="193" y="217"/>
                  </a:lnTo>
                  <a:lnTo>
                    <a:pt x="190" y="217"/>
                  </a:lnTo>
                  <a:lnTo>
                    <a:pt x="190" y="217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2" y="217"/>
                  </a:lnTo>
                  <a:lnTo>
                    <a:pt x="179" y="217"/>
                  </a:lnTo>
                  <a:lnTo>
                    <a:pt x="177" y="219"/>
                  </a:lnTo>
                  <a:lnTo>
                    <a:pt x="177" y="219"/>
                  </a:lnTo>
                  <a:lnTo>
                    <a:pt x="177" y="219"/>
                  </a:lnTo>
                  <a:lnTo>
                    <a:pt x="171" y="219"/>
                  </a:lnTo>
                  <a:lnTo>
                    <a:pt x="171" y="217"/>
                  </a:lnTo>
                  <a:lnTo>
                    <a:pt x="169" y="214"/>
                  </a:lnTo>
                  <a:lnTo>
                    <a:pt x="169" y="211"/>
                  </a:lnTo>
                  <a:lnTo>
                    <a:pt x="166" y="211"/>
                  </a:lnTo>
                  <a:lnTo>
                    <a:pt x="163" y="214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3" y="217"/>
                  </a:lnTo>
                  <a:lnTo>
                    <a:pt x="163" y="217"/>
                  </a:lnTo>
                  <a:lnTo>
                    <a:pt x="161" y="217"/>
                  </a:lnTo>
                  <a:lnTo>
                    <a:pt x="158" y="214"/>
                  </a:lnTo>
                  <a:lnTo>
                    <a:pt x="155" y="214"/>
                  </a:lnTo>
                  <a:lnTo>
                    <a:pt x="152" y="211"/>
                  </a:lnTo>
                  <a:lnTo>
                    <a:pt x="150" y="209"/>
                  </a:lnTo>
                  <a:lnTo>
                    <a:pt x="147" y="209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4" y="206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2" y="211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22"/>
                  </a:lnTo>
                  <a:lnTo>
                    <a:pt x="136" y="222"/>
                  </a:lnTo>
                  <a:lnTo>
                    <a:pt x="136" y="225"/>
                  </a:lnTo>
                  <a:lnTo>
                    <a:pt x="134" y="225"/>
                  </a:lnTo>
                  <a:lnTo>
                    <a:pt x="134" y="225"/>
                  </a:lnTo>
                  <a:lnTo>
                    <a:pt x="131" y="225"/>
                  </a:lnTo>
                  <a:lnTo>
                    <a:pt x="131" y="219"/>
                  </a:lnTo>
                  <a:lnTo>
                    <a:pt x="128" y="217"/>
                  </a:lnTo>
                  <a:lnTo>
                    <a:pt x="128" y="219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0" y="214"/>
                  </a:lnTo>
                  <a:lnTo>
                    <a:pt x="123" y="214"/>
                  </a:lnTo>
                  <a:lnTo>
                    <a:pt x="120" y="214"/>
                  </a:lnTo>
                  <a:lnTo>
                    <a:pt x="120" y="214"/>
                  </a:lnTo>
                  <a:lnTo>
                    <a:pt x="118" y="214"/>
                  </a:lnTo>
                  <a:lnTo>
                    <a:pt x="118" y="211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3"/>
                  </a:lnTo>
                  <a:lnTo>
                    <a:pt x="110" y="203"/>
                  </a:lnTo>
                  <a:lnTo>
                    <a:pt x="102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0"/>
                  </a:lnTo>
                  <a:lnTo>
                    <a:pt x="99" y="19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3" name="Freeform 8900">
              <a:extLst>
                <a:ext uri="{FF2B5EF4-FFF2-40B4-BE49-F238E27FC236}">
                  <a16:creationId xmlns:a16="http://schemas.microsoft.com/office/drawing/2014/main" id="{F3B788D9-387E-734C-957C-ECBEF1D86623}"/>
                </a:ext>
              </a:extLst>
            </p:cNvPr>
            <p:cNvSpPr/>
            <p:nvPr/>
          </p:nvSpPr>
          <p:spPr bwMode="auto">
            <a:xfrm>
              <a:off x="3539329" y="4595814"/>
              <a:ext cx="581025" cy="407988"/>
            </a:xfrm>
            <a:custGeom>
              <a:avLst/>
              <a:gdLst>
                <a:gd name="T0" fmla="*/ 48 w 366"/>
                <a:gd name="T1" fmla="*/ 222 h 257"/>
                <a:gd name="T2" fmla="*/ 48 w 366"/>
                <a:gd name="T3" fmla="*/ 211 h 257"/>
                <a:gd name="T4" fmla="*/ 59 w 366"/>
                <a:gd name="T5" fmla="*/ 201 h 257"/>
                <a:gd name="T6" fmla="*/ 59 w 366"/>
                <a:gd name="T7" fmla="*/ 190 h 257"/>
                <a:gd name="T8" fmla="*/ 43 w 366"/>
                <a:gd name="T9" fmla="*/ 179 h 257"/>
                <a:gd name="T10" fmla="*/ 27 w 366"/>
                <a:gd name="T11" fmla="*/ 171 h 257"/>
                <a:gd name="T12" fmla="*/ 19 w 366"/>
                <a:gd name="T13" fmla="*/ 166 h 257"/>
                <a:gd name="T14" fmla="*/ 6 w 366"/>
                <a:gd name="T15" fmla="*/ 166 h 257"/>
                <a:gd name="T16" fmla="*/ 6 w 366"/>
                <a:gd name="T17" fmla="*/ 153 h 257"/>
                <a:gd name="T18" fmla="*/ 8 w 366"/>
                <a:gd name="T19" fmla="*/ 129 h 257"/>
                <a:gd name="T20" fmla="*/ 24 w 366"/>
                <a:gd name="T21" fmla="*/ 129 h 257"/>
                <a:gd name="T22" fmla="*/ 22 w 366"/>
                <a:gd name="T23" fmla="*/ 113 h 257"/>
                <a:gd name="T24" fmla="*/ 32 w 366"/>
                <a:gd name="T25" fmla="*/ 105 h 257"/>
                <a:gd name="T26" fmla="*/ 48 w 366"/>
                <a:gd name="T27" fmla="*/ 102 h 257"/>
                <a:gd name="T28" fmla="*/ 59 w 366"/>
                <a:gd name="T29" fmla="*/ 89 h 257"/>
                <a:gd name="T30" fmla="*/ 59 w 366"/>
                <a:gd name="T31" fmla="*/ 67 h 257"/>
                <a:gd name="T32" fmla="*/ 62 w 366"/>
                <a:gd name="T33" fmla="*/ 59 h 257"/>
                <a:gd name="T34" fmla="*/ 56 w 366"/>
                <a:gd name="T35" fmla="*/ 35 h 257"/>
                <a:gd name="T36" fmla="*/ 59 w 366"/>
                <a:gd name="T37" fmla="*/ 16 h 257"/>
                <a:gd name="T38" fmla="*/ 78 w 366"/>
                <a:gd name="T39" fmla="*/ 8 h 257"/>
                <a:gd name="T40" fmla="*/ 91 w 366"/>
                <a:gd name="T41" fmla="*/ 8 h 257"/>
                <a:gd name="T42" fmla="*/ 110 w 366"/>
                <a:gd name="T43" fmla="*/ 6 h 257"/>
                <a:gd name="T44" fmla="*/ 131 w 366"/>
                <a:gd name="T45" fmla="*/ 22 h 257"/>
                <a:gd name="T46" fmla="*/ 145 w 366"/>
                <a:gd name="T47" fmla="*/ 19 h 257"/>
                <a:gd name="T48" fmla="*/ 155 w 366"/>
                <a:gd name="T49" fmla="*/ 35 h 257"/>
                <a:gd name="T50" fmla="*/ 171 w 366"/>
                <a:gd name="T51" fmla="*/ 40 h 257"/>
                <a:gd name="T52" fmla="*/ 185 w 366"/>
                <a:gd name="T53" fmla="*/ 24 h 257"/>
                <a:gd name="T54" fmla="*/ 219 w 366"/>
                <a:gd name="T55" fmla="*/ 19 h 257"/>
                <a:gd name="T56" fmla="*/ 217 w 366"/>
                <a:gd name="T57" fmla="*/ 38 h 257"/>
                <a:gd name="T58" fmla="*/ 214 w 366"/>
                <a:gd name="T59" fmla="*/ 48 h 257"/>
                <a:gd name="T60" fmla="*/ 217 w 366"/>
                <a:gd name="T61" fmla="*/ 64 h 257"/>
                <a:gd name="T62" fmla="*/ 217 w 366"/>
                <a:gd name="T63" fmla="*/ 78 h 257"/>
                <a:gd name="T64" fmla="*/ 238 w 366"/>
                <a:gd name="T65" fmla="*/ 94 h 257"/>
                <a:gd name="T66" fmla="*/ 278 w 366"/>
                <a:gd name="T67" fmla="*/ 126 h 257"/>
                <a:gd name="T68" fmla="*/ 297 w 366"/>
                <a:gd name="T69" fmla="*/ 137 h 257"/>
                <a:gd name="T70" fmla="*/ 313 w 366"/>
                <a:gd name="T71" fmla="*/ 169 h 257"/>
                <a:gd name="T72" fmla="*/ 334 w 366"/>
                <a:gd name="T73" fmla="*/ 177 h 257"/>
                <a:gd name="T74" fmla="*/ 350 w 366"/>
                <a:gd name="T75" fmla="*/ 182 h 257"/>
                <a:gd name="T76" fmla="*/ 353 w 366"/>
                <a:gd name="T77" fmla="*/ 201 h 257"/>
                <a:gd name="T78" fmla="*/ 364 w 366"/>
                <a:gd name="T79" fmla="*/ 214 h 257"/>
                <a:gd name="T80" fmla="*/ 364 w 366"/>
                <a:gd name="T81" fmla="*/ 230 h 257"/>
                <a:gd name="T82" fmla="*/ 350 w 366"/>
                <a:gd name="T83" fmla="*/ 233 h 257"/>
                <a:gd name="T84" fmla="*/ 334 w 366"/>
                <a:gd name="T85" fmla="*/ 230 h 257"/>
                <a:gd name="T86" fmla="*/ 340 w 366"/>
                <a:gd name="T87" fmla="*/ 241 h 257"/>
                <a:gd name="T88" fmla="*/ 332 w 366"/>
                <a:gd name="T89" fmla="*/ 249 h 257"/>
                <a:gd name="T90" fmla="*/ 302 w 366"/>
                <a:gd name="T91" fmla="*/ 249 h 257"/>
                <a:gd name="T92" fmla="*/ 278 w 366"/>
                <a:gd name="T93" fmla="*/ 246 h 257"/>
                <a:gd name="T94" fmla="*/ 262 w 366"/>
                <a:gd name="T95" fmla="*/ 246 h 257"/>
                <a:gd name="T96" fmla="*/ 225 w 366"/>
                <a:gd name="T97" fmla="*/ 243 h 257"/>
                <a:gd name="T98" fmla="*/ 203 w 366"/>
                <a:gd name="T99" fmla="*/ 233 h 257"/>
                <a:gd name="T100" fmla="*/ 187 w 366"/>
                <a:gd name="T101" fmla="*/ 235 h 257"/>
                <a:gd name="T102" fmla="*/ 179 w 366"/>
                <a:gd name="T103" fmla="*/ 235 h 257"/>
                <a:gd name="T104" fmla="*/ 169 w 366"/>
                <a:gd name="T105" fmla="*/ 235 h 257"/>
                <a:gd name="T106" fmla="*/ 158 w 366"/>
                <a:gd name="T107" fmla="*/ 254 h 257"/>
                <a:gd name="T108" fmla="*/ 137 w 366"/>
                <a:gd name="T109" fmla="*/ 243 h 257"/>
                <a:gd name="T110" fmla="*/ 123 w 366"/>
                <a:gd name="T111" fmla="*/ 238 h 257"/>
                <a:gd name="T112" fmla="*/ 110 w 366"/>
                <a:gd name="T113" fmla="*/ 241 h 257"/>
                <a:gd name="T114" fmla="*/ 97 w 366"/>
                <a:gd name="T115" fmla="*/ 238 h 257"/>
                <a:gd name="T116" fmla="*/ 89 w 366"/>
                <a:gd name="T117" fmla="*/ 241 h 257"/>
                <a:gd name="T118" fmla="*/ 78 w 366"/>
                <a:gd name="T119" fmla="*/ 235 h 257"/>
                <a:gd name="T120" fmla="*/ 64 w 366"/>
                <a:gd name="T121" fmla="*/ 235 h 257"/>
                <a:gd name="T122" fmla="*/ 51 w 366"/>
                <a:gd name="T123" fmla="*/ 233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6" h="257" extrusionOk="0">
                  <a:moveTo>
                    <a:pt x="51" y="233"/>
                  </a:moveTo>
                  <a:lnTo>
                    <a:pt x="54" y="230"/>
                  </a:lnTo>
                  <a:lnTo>
                    <a:pt x="54" y="230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5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48" y="227"/>
                  </a:lnTo>
                  <a:lnTo>
                    <a:pt x="48" y="222"/>
                  </a:lnTo>
                  <a:lnTo>
                    <a:pt x="48" y="222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3" y="217"/>
                  </a:lnTo>
                  <a:lnTo>
                    <a:pt x="46" y="214"/>
                  </a:lnTo>
                  <a:lnTo>
                    <a:pt x="46" y="211"/>
                  </a:lnTo>
                  <a:lnTo>
                    <a:pt x="48" y="209"/>
                  </a:lnTo>
                  <a:lnTo>
                    <a:pt x="48" y="211"/>
                  </a:lnTo>
                  <a:lnTo>
                    <a:pt x="51" y="209"/>
                  </a:lnTo>
                  <a:lnTo>
                    <a:pt x="48" y="206"/>
                  </a:lnTo>
                  <a:lnTo>
                    <a:pt x="51" y="201"/>
                  </a:lnTo>
                  <a:lnTo>
                    <a:pt x="51" y="203"/>
                  </a:lnTo>
                  <a:lnTo>
                    <a:pt x="51" y="203"/>
                  </a:lnTo>
                  <a:lnTo>
                    <a:pt x="54" y="206"/>
                  </a:lnTo>
                  <a:lnTo>
                    <a:pt x="54" y="203"/>
                  </a:lnTo>
                  <a:lnTo>
                    <a:pt x="54" y="203"/>
                  </a:lnTo>
                  <a:lnTo>
                    <a:pt x="56" y="203"/>
                  </a:lnTo>
                  <a:lnTo>
                    <a:pt x="59" y="201"/>
                  </a:lnTo>
                  <a:lnTo>
                    <a:pt x="59" y="201"/>
                  </a:lnTo>
                  <a:lnTo>
                    <a:pt x="62" y="201"/>
                  </a:lnTo>
                  <a:lnTo>
                    <a:pt x="62" y="198"/>
                  </a:lnTo>
                  <a:lnTo>
                    <a:pt x="62" y="198"/>
                  </a:lnTo>
                  <a:lnTo>
                    <a:pt x="62" y="195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59" y="193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87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6" y="185"/>
                  </a:lnTo>
                  <a:lnTo>
                    <a:pt x="54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32" y="179"/>
                  </a:lnTo>
                  <a:lnTo>
                    <a:pt x="30" y="179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30" y="177"/>
                  </a:lnTo>
                  <a:lnTo>
                    <a:pt x="27" y="179"/>
                  </a:lnTo>
                  <a:lnTo>
                    <a:pt x="24" y="177"/>
                  </a:lnTo>
                  <a:lnTo>
                    <a:pt x="27" y="174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30" y="171"/>
                  </a:lnTo>
                  <a:lnTo>
                    <a:pt x="30" y="169"/>
                  </a:lnTo>
                  <a:lnTo>
                    <a:pt x="27" y="169"/>
                  </a:lnTo>
                  <a:lnTo>
                    <a:pt x="24" y="169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19" y="166"/>
                  </a:lnTo>
                  <a:lnTo>
                    <a:pt x="19" y="166"/>
                  </a:lnTo>
                  <a:lnTo>
                    <a:pt x="19" y="169"/>
                  </a:lnTo>
                  <a:lnTo>
                    <a:pt x="16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4" y="166"/>
                  </a:lnTo>
                  <a:lnTo>
                    <a:pt x="11" y="166"/>
                  </a:lnTo>
                  <a:lnTo>
                    <a:pt x="11" y="166"/>
                  </a:lnTo>
                  <a:lnTo>
                    <a:pt x="8" y="166"/>
                  </a:lnTo>
                  <a:lnTo>
                    <a:pt x="8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3" y="166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0" y="161"/>
                  </a:lnTo>
                  <a:lnTo>
                    <a:pt x="0" y="158"/>
                  </a:lnTo>
                  <a:lnTo>
                    <a:pt x="0" y="155"/>
                  </a:lnTo>
                  <a:lnTo>
                    <a:pt x="3" y="155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0"/>
                  </a:lnTo>
                  <a:lnTo>
                    <a:pt x="8" y="147"/>
                  </a:lnTo>
                  <a:lnTo>
                    <a:pt x="8" y="145"/>
                  </a:lnTo>
                  <a:lnTo>
                    <a:pt x="8" y="142"/>
                  </a:lnTo>
                  <a:lnTo>
                    <a:pt x="6" y="142"/>
                  </a:lnTo>
                  <a:lnTo>
                    <a:pt x="6" y="139"/>
                  </a:lnTo>
                  <a:lnTo>
                    <a:pt x="6" y="131"/>
                  </a:lnTo>
                  <a:lnTo>
                    <a:pt x="8" y="129"/>
                  </a:lnTo>
                  <a:lnTo>
                    <a:pt x="11" y="131"/>
                  </a:lnTo>
                  <a:lnTo>
                    <a:pt x="14" y="131"/>
                  </a:lnTo>
                  <a:lnTo>
                    <a:pt x="14" y="134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9" y="137"/>
                  </a:lnTo>
                  <a:lnTo>
                    <a:pt x="22" y="131"/>
                  </a:lnTo>
                  <a:lnTo>
                    <a:pt x="24" y="131"/>
                  </a:lnTo>
                  <a:lnTo>
                    <a:pt x="27" y="131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4" y="123"/>
                  </a:lnTo>
                  <a:lnTo>
                    <a:pt x="27" y="121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5"/>
                  </a:lnTo>
                  <a:lnTo>
                    <a:pt x="24" y="115"/>
                  </a:lnTo>
                  <a:lnTo>
                    <a:pt x="24" y="113"/>
                  </a:lnTo>
                  <a:lnTo>
                    <a:pt x="22" y="113"/>
                  </a:lnTo>
                  <a:lnTo>
                    <a:pt x="22" y="110"/>
                  </a:lnTo>
                  <a:lnTo>
                    <a:pt x="22" y="107"/>
                  </a:lnTo>
                  <a:lnTo>
                    <a:pt x="24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30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5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5" y="97"/>
                  </a:lnTo>
                  <a:lnTo>
                    <a:pt x="38" y="99"/>
                  </a:lnTo>
                  <a:lnTo>
                    <a:pt x="38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3" y="105"/>
                  </a:lnTo>
                  <a:lnTo>
                    <a:pt x="43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9" y="102"/>
                  </a:lnTo>
                  <a:lnTo>
                    <a:pt x="56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6" y="91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62" y="86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0"/>
                  </a:lnTo>
                  <a:lnTo>
                    <a:pt x="62" y="78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59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6" y="64"/>
                  </a:lnTo>
                  <a:lnTo>
                    <a:pt x="54" y="64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9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2" y="56"/>
                  </a:lnTo>
                  <a:lnTo>
                    <a:pt x="59" y="54"/>
                  </a:lnTo>
                  <a:lnTo>
                    <a:pt x="54" y="54"/>
                  </a:lnTo>
                  <a:lnTo>
                    <a:pt x="54" y="51"/>
                  </a:lnTo>
                  <a:lnTo>
                    <a:pt x="56" y="43"/>
                  </a:lnTo>
                  <a:lnTo>
                    <a:pt x="56" y="40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5"/>
                  </a:lnTo>
                  <a:lnTo>
                    <a:pt x="54" y="35"/>
                  </a:lnTo>
                  <a:lnTo>
                    <a:pt x="51" y="32"/>
                  </a:lnTo>
                  <a:lnTo>
                    <a:pt x="54" y="32"/>
                  </a:lnTo>
                  <a:lnTo>
                    <a:pt x="54" y="30"/>
                  </a:lnTo>
                  <a:lnTo>
                    <a:pt x="54" y="27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9" y="16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7" y="16"/>
                  </a:lnTo>
                  <a:lnTo>
                    <a:pt x="70" y="16"/>
                  </a:lnTo>
                  <a:lnTo>
                    <a:pt x="70" y="14"/>
                  </a:lnTo>
                  <a:lnTo>
                    <a:pt x="73" y="14"/>
                  </a:lnTo>
                  <a:lnTo>
                    <a:pt x="73" y="11"/>
                  </a:lnTo>
                  <a:lnTo>
                    <a:pt x="78" y="6"/>
                  </a:lnTo>
                  <a:lnTo>
                    <a:pt x="78" y="8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3" y="6"/>
                  </a:lnTo>
                  <a:lnTo>
                    <a:pt x="83" y="3"/>
                  </a:lnTo>
                  <a:lnTo>
                    <a:pt x="86" y="3"/>
                  </a:lnTo>
                  <a:lnTo>
                    <a:pt x="89" y="3"/>
                  </a:lnTo>
                  <a:lnTo>
                    <a:pt x="94" y="0"/>
                  </a:lnTo>
                  <a:lnTo>
                    <a:pt x="94" y="3"/>
                  </a:lnTo>
                  <a:lnTo>
                    <a:pt x="91" y="6"/>
                  </a:lnTo>
                  <a:lnTo>
                    <a:pt x="91" y="8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8"/>
                  </a:lnTo>
                  <a:lnTo>
                    <a:pt x="97" y="8"/>
                  </a:lnTo>
                  <a:lnTo>
                    <a:pt x="99" y="8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7" y="8"/>
                  </a:lnTo>
                  <a:lnTo>
                    <a:pt x="110" y="6"/>
                  </a:lnTo>
                  <a:lnTo>
                    <a:pt x="113" y="6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23" y="14"/>
                  </a:lnTo>
                  <a:lnTo>
                    <a:pt x="126" y="1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9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19"/>
                  </a:lnTo>
                  <a:lnTo>
                    <a:pt x="134" y="16"/>
                  </a:lnTo>
                  <a:lnTo>
                    <a:pt x="137" y="16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7" y="14"/>
                  </a:lnTo>
                  <a:lnTo>
                    <a:pt x="139" y="16"/>
                  </a:lnTo>
                  <a:lnTo>
                    <a:pt x="142" y="14"/>
                  </a:lnTo>
                  <a:lnTo>
                    <a:pt x="145" y="19"/>
                  </a:lnTo>
                  <a:lnTo>
                    <a:pt x="145" y="22"/>
                  </a:lnTo>
                  <a:lnTo>
                    <a:pt x="145" y="22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3" y="30"/>
                  </a:lnTo>
                  <a:lnTo>
                    <a:pt x="153" y="32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8" y="35"/>
                  </a:lnTo>
                  <a:lnTo>
                    <a:pt x="158" y="35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3" y="38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71" y="43"/>
                  </a:lnTo>
                  <a:lnTo>
                    <a:pt x="171" y="40"/>
                  </a:lnTo>
                  <a:lnTo>
                    <a:pt x="177" y="35"/>
                  </a:lnTo>
                  <a:lnTo>
                    <a:pt x="174" y="32"/>
                  </a:lnTo>
                  <a:lnTo>
                    <a:pt x="177" y="30"/>
                  </a:lnTo>
                  <a:lnTo>
                    <a:pt x="179" y="30"/>
                  </a:lnTo>
                  <a:lnTo>
                    <a:pt x="182" y="30"/>
                  </a:lnTo>
                  <a:lnTo>
                    <a:pt x="182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7" y="24"/>
                  </a:lnTo>
                  <a:lnTo>
                    <a:pt x="185" y="24"/>
                  </a:lnTo>
                  <a:lnTo>
                    <a:pt x="185" y="22"/>
                  </a:lnTo>
                  <a:lnTo>
                    <a:pt x="187" y="22"/>
                  </a:lnTo>
                  <a:lnTo>
                    <a:pt x="185" y="19"/>
                  </a:lnTo>
                  <a:lnTo>
                    <a:pt x="187" y="16"/>
                  </a:lnTo>
                  <a:lnTo>
                    <a:pt x="195" y="22"/>
                  </a:lnTo>
                  <a:lnTo>
                    <a:pt x="198" y="19"/>
                  </a:lnTo>
                  <a:lnTo>
                    <a:pt x="198" y="16"/>
                  </a:lnTo>
                  <a:lnTo>
                    <a:pt x="217" y="19"/>
                  </a:lnTo>
                  <a:lnTo>
                    <a:pt x="217" y="19"/>
                  </a:lnTo>
                  <a:lnTo>
                    <a:pt x="219" y="19"/>
                  </a:lnTo>
                  <a:lnTo>
                    <a:pt x="217" y="22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32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8"/>
                  </a:lnTo>
                  <a:lnTo>
                    <a:pt x="217" y="38"/>
                  </a:lnTo>
                  <a:lnTo>
                    <a:pt x="219" y="38"/>
                  </a:lnTo>
                  <a:lnTo>
                    <a:pt x="219" y="40"/>
                  </a:lnTo>
                  <a:lnTo>
                    <a:pt x="219" y="43"/>
                  </a:lnTo>
                  <a:lnTo>
                    <a:pt x="219" y="40"/>
                  </a:lnTo>
                  <a:lnTo>
                    <a:pt x="217" y="43"/>
                  </a:lnTo>
                  <a:lnTo>
                    <a:pt x="217" y="43"/>
                  </a:lnTo>
                  <a:lnTo>
                    <a:pt x="217" y="46"/>
                  </a:lnTo>
                  <a:lnTo>
                    <a:pt x="214" y="46"/>
                  </a:lnTo>
                  <a:lnTo>
                    <a:pt x="214" y="46"/>
                  </a:lnTo>
                  <a:lnTo>
                    <a:pt x="214" y="48"/>
                  </a:lnTo>
                  <a:lnTo>
                    <a:pt x="214" y="51"/>
                  </a:lnTo>
                  <a:lnTo>
                    <a:pt x="214" y="51"/>
                  </a:lnTo>
                  <a:lnTo>
                    <a:pt x="214" y="54"/>
                  </a:lnTo>
                  <a:lnTo>
                    <a:pt x="214" y="56"/>
                  </a:lnTo>
                  <a:lnTo>
                    <a:pt x="217" y="59"/>
                  </a:lnTo>
                  <a:lnTo>
                    <a:pt x="217" y="62"/>
                  </a:lnTo>
                  <a:lnTo>
                    <a:pt x="217" y="62"/>
                  </a:lnTo>
                  <a:lnTo>
                    <a:pt x="217" y="62"/>
                  </a:lnTo>
                  <a:lnTo>
                    <a:pt x="217" y="64"/>
                  </a:lnTo>
                  <a:lnTo>
                    <a:pt x="217" y="64"/>
                  </a:lnTo>
                  <a:lnTo>
                    <a:pt x="219" y="70"/>
                  </a:lnTo>
                  <a:lnTo>
                    <a:pt x="219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1" y="70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5"/>
                  </a:lnTo>
                  <a:lnTo>
                    <a:pt x="217" y="75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5" y="78"/>
                  </a:lnTo>
                  <a:lnTo>
                    <a:pt x="230" y="80"/>
                  </a:lnTo>
                  <a:lnTo>
                    <a:pt x="235" y="83"/>
                  </a:lnTo>
                  <a:lnTo>
                    <a:pt x="238" y="83"/>
                  </a:lnTo>
                  <a:lnTo>
                    <a:pt x="241" y="86"/>
                  </a:lnTo>
                  <a:lnTo>
                    <a:pt x="241" y="89"/>
                  </a:lnTo>
                  <a:lnTo>
                    <a:pt x="238" y="89"/>
                  </a:lnTo>
                  <a:lnTo>
                    <a:pt x="238" y="91"/>
                  </a:lnTo>
                  <a:lnTo>
                    <a:pt x="238" y="94"/>
                  </a:lnTo>
                  <a:lnTo>
                    <a:pt x="241" y="97"/>
                  </a:lnTo>
                  <a:lnTo>
                    <a:pt x="241" y="99"/>
                  </a:lnTo>
                  <a:lnTo>
                    <a:pt x="241" y="102"/>
                  </a:lnTo>
                  <a:lnTo>
                    <a:pt x="249" y="118"/>
                  </a:lnTo>
                  <a:lnTo>
                    <a:pt x="259" y="113"/>
                  </a:lnTo>
                  <a:lnTo>
                    <a:pt x="265" y="115"/>
                  </a:lnTo>
                  <a:lnTo>
                    <a:pt x="267" y="129"/>
                  </a:lnTo>
                  <a:lnTo>
                    <a:pt x="270" y="129"/>
                  </a:lnTo>
                  <a:lnTo>
                    <a:pt x="273" y="129"/>
                  </a:lnTo>
                  <a:lnTo>
                    <a:pt x="278" y="126"/>
                  </a:lnTo>
                  <a:lnTo>
                    <a:pt x="281" y="126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6"/>
                  </a:lnTo>
                  <a:lnTo>
                    <a:pt x="289" y="129"/>
                  </a:lnTo>
                  <a:lnTo>
                    <a:pt x="286" y="134"/>
                  </a:lnTo>
                  <a:lnTo>
                    <a:pt x="294" y="137"/>
                  </a:lnTo>
                  <a:lnTo>
                    <a:pt x="294" y="134"/>
                  </a:lnTo>
                  <a:lnTo>
                    <a:pt x="297" y="137"/>
                  </a:lnTo>
                  <a:lnTo>
                    <a:pt x="297" y="137"/>
                  </a:lnTo>
                  <a:lnTo>
                    <a:pt x="302" y="139"/>
                  </a:lnTo>
                  <a:lnTo>
                    <a:pt x="302" y="142"/>
                  </a:lnTo>
                  <a:lnTo>
                    <a:pt x="313" y="145"/>
                  </a:lnTo>
                  <a:lnTo>
                    <a:pt x="310" y="145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5"/>
                  </a:lnTo>
                  <a:lnTo>
                    <a:pt x="310" y="163"/>
                  </a:lnTo>
                  <a:lnTo>
                    <a:pt x="310" y="166"/>
                  </a:lnTo>
                  <a:lnTo>
                    <a:pt x="313" y="169"/>
                  </a:lnTo>
                  <a:lnTo>
                    <a:pt x="318" y="169"/>
                  </a:lnTo>
                  <a:lnTo>
                    <a:pt x="318" y="171"/>
                  </a:lnTo>
                  <a:lnTo>
                    <a:pt x="324" y="171"/>
                  </a:lnTo>
                  <a:lnTo>
                    <a:pt x="326" y="174"/>
                  </a:lnTo>
                  <a:lnTo>
                    <a:pt x="329" y="174"/>
                  </a:lnTo>
                  <a:lnTo>
                    <a:pt x="329" y="174"/>
                  </a:lnTo>
                  <a:lnTo>
                    <a:pt x="332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7"/>
                  </a:lnTo>
                  <a:lnTo>
                    <a:pt x="337" y="182"/>
                  </a:lnTo>
                  <a:lnTo>
                    <a:pt x="337" y="182"/>
                  </a:lnTo>
                  <a:lnTo>
                    <a:pt x="340" y="182"/>
                  </a:lnTo>
                  <a:lnTo>
                    <a:pt x="342" y="179"/>
                  </a:lnTo>
                  <a:lnTo>
                    <a:pt x="345" y="179"/>
                  </a:lnTo>
                  <a:lnTo>
                    <a:pt x="345" y="179"/>
                  </a:lnTo>
                  <a:lnTo>
                    <a:pt x="348" y="179"/>
                  </a:lnTo>
                  <a:lnTo>
                    <a:pt x="350" y="179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5"/>
                  </a:lnTo>
                  <a:lnTo>
                    <a:pt x="350" y="187"/>
                  </a:lnTo>
                  <a:lnTo>
                    <a:pt x="350" y="190"/>
                  </a:lnTo>
                  <a:lnTo>
                    <a:pt x="350" y="193"/>
                  </a:lnTo>
                  <a:lnTo>
                    <a:pt x="348" y="193"/>
                  </a:lnTo>
                  <a:lnTo>
                    <a:pt x="350" y="195"/>
                  </a:lnTo>
                  <a:lnTo>
                    <a:pt x="353" y="195"/>
                  </a:lnTo>
                  <a:lnTo>
                    <a:pt x="353" y="195"/>
                  </a:lnTo>
                  <a:lnTo>
                    <a:pt x="353" y="198"/>
                  </a:lnTo>
                  <a:lnTo>
                    <a:pt x="353" y="201"/>
                  </a:lnTo>
                  <a:lnTo>
                    <a:pt x="353" y="201"/>
                  </a:lnTo>
                  <a:lnTo>
                    <a:pt x="353" y="203"/>
                  </a:lnTo>
                  <a:lnTo>
                    <a:pt x="356" y="206"/>
                  </a:lnTo>
                  <a:lnTo>
                    <a:pt x="356" y="206"/>
                  </a:lnTo>
                  <a:lnTo>
                    <a:pt x="358" y="209"/>
                  </a:lnTo>
                  <a:lnTo>
                    <a:pt x="358" y="211"/>
                  </a:lnTo>
                  <a:lnTo>
                    <a:pt x="358" y="214"/>
                  </a:lnTo>
                  <a:lnTo>
                    <a:pt x="358" y="211"/>
                  </a:lnTo>
                  <a:lnTo>
                    <a:pt x="361" y="214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66" y="217"/>
                  </a:lnTo>
                  <a:lnTo>
                    <a:pt x="366" y="219"/>
                  </a:lnTo>
                  <a:lnTo>
                    <a:pt x="366" y="219"/>
                  </a:lnTo>
                  <a:lnTo>
                    <a:pt x="366" y="222"/>
                  </a:lnTo>
                  <a:lnTo>
                    <a:pt x="366" y="225"/>
                  </a:lnTo>
                  <a:lnTo>
                    <a:pt x="366" y="227"/>
                  </a:lnTo>
                  <a:lnTo>
                    <a:pt x="364" y="230"/>
                  </a:lnTo>
                  <a:lnTo>
                    <a:pt x="364" y="230"/>
                  </a:lnTo>
                  <a:lnTo>
                    <a:pt x="361" y="230"/>
                  </a:lnTo>
                  <a:lnTo>
                    <a:pt x="361" y="233"/>
                  </a:lnTo>
                  <a:lnTo>
                    <a:pt x="361" y="233"/>
                  </a:lnTo>
                  <a:lnTo>
                    <a:pt x="361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3"/>
                  </a:lnTo>
                  <a:lnTo>
                    <a:pt x="356" y="233"/>
                  </a:lnTo>
                  <a:lnTo>
                    <a:pt x="353" y="233"/>
                  </a:lnTo>
                  <a:lnTo>
                    <a:pt x="350" y="233"/>
                  </a:lnTo>
                  <a:lnTo>
                    <a:pt x="348" y="230"/>
                  </a:lnTo>
                  <a:lnTo>
                    <a:pt x="348" y="230"/>
                  </a:lnTo>
                  <a:lnTo>
                    <a:pt x="345" y="233"/>
                  </a:lnTo>
                  <a:lnTo>
                    <a:pt x="342" y="233"/>
                  </a:lnTo>
                  <a:lnTo>
                    <a:pt x="342" y="230"/>
                  </a:lnTo>
                  <a:lnTo>
                    <a:pt x="342" y="230"/>
                  </a:lnTo>
                  <a:lnTo>
                    <a:pt x="340" y="230"/>
                  </a:lnTo>
                  <a:lnTo>
                    <a:pt x="337" y="230"/>
                  </a:lnTo>
                  <a:lnTo>
                    <a:pt x="337" y="227"/>
                  </a:lnTo>
                  <a:lnTo>
                    <a:pt x="334" y="230"/>
                  </a:lnTo>
                  <a:lnTo>
                    <a:pt x="337" y="230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3"/>
                  </a:lnTo>
                  <a:lnTo>
                    <a:pt x="337" y="235"/>
                  </a:lnTo>
                  <a:lnTo>
                    <a:pt x="337" y="235"/>
                  </a:lnTo>
                  <a:lnTo>
                    <a:pt x="337" y="238"/>
                  </a:lnTo>
                  <a:lnTo>
                    <a:pt x="337" y="241"/>
                  </a:lnTo>
                  <a:lnTo>
                    <a:pt x="340" y="241"/>
                  </a:lnTo>
                  <a:lnTo>
                    <a:pt x="340" y="243"/>
                  </a:lnTo>
                  <a:lnTo>
                    <a:pt x="340" y="243"/>
                  </a:lnTo>
                  <a:lnTo>
                    <a:pt x="337" y="243"/>
                  </a:lnTo>
                  <a:lnTo>
                    <a:pt x="334" y="243"/>
                  </a:lnTo>
                  <a:lnTo>
                    <a:pt x="334" y="243"/>
                  </a:lnTo>
                  <a:lnTo>
                    <a:pt x="334" y="243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32" y="249"/>
                  </a:lnTo>
                  <a:lnTo>
                    <a:pt x="332" y="249"/>
                  </a:lnTo>
                  <a:lnTo>
                    <a:pt x="332" y="249"/>
                  </a:lnTo>
                  <a:lnTo>
                    <a:pt x="321" y="249"/>
                  </a:lnTo>
                  <a:lnTo>
                    <a:pt x="318" y="243"/>
                  </a:lnTo>
                  <a:lnTo>
                    <a:pt x="313" y="243"/>
                  </a:lnTo>
                  <a:lnTo>
                    <a:pt x="310" y="243"/>
                  </a:lnTo>
                  <a:lnTo>
                    <a:pt x="310" y="246"/>
                  </a:lnTo>
                  <a:lnTo>
                    <a:pt x="308" y="246"/>
                  </a:lnTo>
                  <a:lnTo>
                    <a:pt x="305" y="249"/>
                  </a:lnTo>
                  <a:lnTo>
                    <a:pt x="305" y="249"/>
                  </a:lnTo>
                  <a:lnTo>
                    <a:pt x="302" y="249"/>
                  </a:lnTo>
                  <a:lnTo>
                    <a:pt x="297" y="249"/>
                  </a:lnTo>
                  <a:lnTo>
                    <a:pt x="294" y="249"/>
                  </a:lnTo>
                  <a:lnTo>
                    <a:pt x="291" y="249"/>
                  </a:lnTo>
                  <a:lnTo>
                    <a:pt x="289" y="249"/>
                  </a:lnTo>
                  <a:lnTo>
                    <a:pt x="286" y="246"/>
                  </a:lnTo>
                  <a:lnTo>
                    <a:pt x="286" y="246"/>
                  </a:lnTo>
                  <a:lnTo>
                    <a:pt x="283" y="246"/>
                  </a:lnTo>
                  <a:lnTo>
                    <a:pt x="281" y="243"/>
                  </a:lnTo>
                  <a:lnTo>
                    <a:pt x="281" y="243"/>
                  </a:lnTo>
                  <a:lnTo>
                    <a:pt x="278" y="246"/>
                  </a:lnTo>
                  <a:lnTo>
                    <a:pt x="278" y="246"/>
                  </a:lnTo>
                  <a:lnTo>
                    <a:pt x="278" y="246"/>
                  </a:lnTo>
                  <a:lnTo>
                    <a:pt x="275" y="249"/>
                  </a:lnTo>
                  <a:lnTo>
                    <a:pt x="273" y="249"/>
                  </a:lnTo>
                  <a:lnTo>
                    <a:pt x="270" y="246"/>
                  </a:lnTo>
                  <a:lnTo>
                    <a:pt x="267" y="246"/>
                  </a:lnTo>
                  <a:lnTo>
                    <a:pt x="265" y="249"/>
                  </a:lnTo>
                  <a:lnTo>
                    <a:pt x="265" y="249"/>
                  </a:lnTo>
                  <a:lnTo>
                    <a:pt x="262" y="249"/>
                  </a:lnTo>
                  <a:lnTo>
                    <a:pt x="262" y="246"/>
                  </a:lnTo>
                  <a:lnTo>
                    <a:pt x="262" y="246"/>
                  </a:lnTo>
                  <a:lnTo>
                    <a:pt x="257" y="246"/>
                  </a:lnTo>
                  <a:lnTo>
                    <a:pt x="251" y="243"/>
                  </a:lnTo>
                  <a:lnTo>
                    <a:pt x="249" y="243"/>
                  </a:lnTo>
                  <a:lnTo>
                    <a:pt x="249" y="246"/>
                  </a:lnTo>
                  <a:lnTo>
                    <a:pt x="246" y="246"/>
                  </a:lnTo>
                  <a:lnTo>
                    <a:pt x="243" y="246"/>
                  </a:lnTo>
                  <a:lnTo>
                    <a:pt x="243" y="243"/>
                  </a:lnTo>
                  <a:lnTo>
                    <a:pt x="233" y="243"/>
                  </a:lnTo>
                  <a:lnTo>
                    <a:pt x="225" y="243"/>
                  </a:lnTo>
                  <a:lnTo>
                    <a:pt x="209" y="243"/>
                  </a:lnTo>
                  <a:lnTo>
                    <a:pt x="203" y="243"/>
                  </a:lnTo>
                  <a:lnTo>
                    <a:pt x="203" y="241"/>
                  </a:lnTo>
                  <a:lnTo>
                    <a:pt x="203" y="241"/>
                  </a:lnTo>
                  <a:lnTo>
                    <a:pt x="203" y="238"/>
                  </a:lnTo>
                  <a:lnTo>
                    <a:pt x="206" y="238"/>
                  </a:lnTo>
                  <a:lnTo>
                    <a:pt x="206" y="235"/>
                  </a:lnTo>
                  <a:lnTo>
                    <a:pt x="206" y="235"/>
                  </a:lnTo>
                  <a:lnTo>
                    <a:pt x="206" y="233"/>
                  </a:lnTo>
                  <a:lnTo>
                    <a:pt x="203" y="233"/>
                  </a:lnTo>
                  <a:lnTo>
                    <a:pt x="203" y="233"/>
                  </a:lnTo>
                  <a:lnTo>
                    <a:pt x="201" y="233"/>
                  </a:lnTo>
                  <a:lnTo>
                    <a:pt x="201" y="233"/>
                  </a:lnTo>
                  <a:lnTo>
                    <a:pt x="198" y="235"/>
                  </a:lnTo>
                  <a:lnTo>
                    <a:pt x="198" y="235"/>
                  </a:lnTo>
                  <a:lnTo>
                    <a:pt x="195" y="238"/>
                  </a:lnTo>
                  <a:lnTo>
                    <a:pt x="195" y="238"/>
                  </a:lnTo>
                  <a:lnTo>
                    <a:pt x="193" y="241"/>
                  </a:lnTo>
                  <a:lnTo>
                    <a:pt x="193" y="241"/>
                  </a:lnTo>
                  <a:lnTo>
                    <a:pt x="187" y="235"/>
                  </a:lnTo>
                  <a:lnTo>
                    <a:pt x="185" y="235"/>
                  </a:lnTo>
                  <a:lnTo>
                    <a:pt x="185" y="235"/>
                  </a:lnTo>
                  <a:lnTo>
                    <a:pt x="182" y="235"/>
                  </a:lnTo>
                  <a:lnTo>
                    <a:pt x="182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77" y="233"/>
                  </a:lnTo>
                  <a:lnTo>
                    <a:pt x="177" y="235"/>
                  </a:lnTo>
                  <a:lnTo>
                    <a:pt x="179" y="235"/>
                  </a:lnTo>
                  <a:lnTo>
                    <a:pt x="179" y="238"/>
                  </a:lnTo>
                  <a:lnTo>
                    <a:pt x="179" y="238"/>
                  </a:lnTo>
                  <a:lnTo>
                    <a:pt x="177" y="238"/>
                  </a:lnTo>
                  <a:lnTo>
                    <a:pt x="177" y="238"/>
                  </a:lnTo>
                  <a:lnTo>
                    <a:pt x="177" y="238"/>
                  </a:lnTo>
                  <a:lnTo>
                    <a:pt x="174" y="235"/>
                  </a:lnTo>
                  <a:lnTo>
                    <a:pt x="174" y="235"/>
                  </a:lnTo>
                  <a:lnTo>
                    <a:pt x="171" y="235"/>
                  </a:lnTo>
                  <a:lnTo>
                    <a:pt x="169" y="235"/>
                  </a:lnTo>
                  <a:lnTo>
                    <a:pt x="169" y="235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3" y="238"/>
                  </a:lnTo>
                  <a:lnTo>
                    <a:pt x="161" y="238"/>
                  </a:lnTo>
                  <a:lnTo>
                    <a:pt x="161" y="238"/>
                  </a:lnTo>
                  <a:lnTo>
                    <a:pt x="161" y="241"/>
                  </a:lnTo>
                  <a:lnTo>
                    <a:pt x="161" y="241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54"/>
                  </a:lnTo>
                  <a:lnTo>
                    <a:pt x="155" y="257"/>
                  </a:lnTo>
                  <a:lnTo>
                    <a:pt x="153" y="254"/>
                  </a:lnTo>
                  <a:lnTo>
                    <a:pt x="150" y="254"/>
                  </a:lnTo>
                  <a:lnTo>
                    <a:pt x="145" y="243"/>
                  </a:lnTo>
                  <a:lnTo>
                    <a:pt x="145" y="243"/>
                  </a:lnTo>
                  <a:lnTo>
                    <a:pt x="145" y="243"/>
                  </a:lnTo>
                  <a:lnTo>
                    <a:pt x="142" y="243"/>
                  </a:lnTo>
                  <a:lnTo>
                    <a:pt x="139" y="243"/>
                  </a:lnTo>
                  <a:lnTo>
                    <a:pt x="139" y="243"/>
                  </a:lnTo>
                  <a:lnTo>
                    <a:pt x="137" y="243"/>
                  </a:lnTo>
                  <a:lnTo>
                    <a:pt x="134" y="243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3" y="241"/>
                  </a:lnTo>
                  <a:lnTo>
                    <a:pt x="123" y="241"/>
                  </a:lnTo>
                  <a:lnTo>
                    <a:pt x="123" y="238"/>
                  </a:lnTo>
                  <a:lnTo>
                    <a:pt x="123" y="238"/>
                  </a:lnTo>
                  <a:lnTo>
                    <a:pt x="123" y="241"/>
                  </a:lnTo>
                  <a:lnTo>
                    <a:pt x="121" y="241"/>
                  </a:lnTo>
                  <a:lnTo>
                    <a:pt x="118" y="241"/>
                  </a:lnTo>
                  <a:lnTo>
                    <a:pt x="118" y="241"/>
                  </a:lnTo>
                  <a:lnTo>
                    <a:pt x="115" y="238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3" y="241"/>
                  </a:lnTo>
                  <a:lnTo>
                    <a:pt x="110" y="241"/>
                  </a:lnTo>
                  <a:lnTo>
                    <a:pt x="110" y="238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5" y="238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99" y="238"/>
                  </a:lnTo>
                  <a:lnTo>
                    <a:pt x="97" y="238"/>
                  </a:lnTo>
                  <a:lnTo>
                    <a:pt x="97" y="238"/>
                  </a:lnTo>
                  <a:lnTo>
                    <a:pt x="94" y="238"/>
                  </a:lnTo>
                  <a:lnTo>
                    <a:pt x="94" y="238"/>
                  </a:lnTo>
                  <a:lnTo>
                    <a:pt x="91" y="238"/>
                  </a:lnTo>
                  <a:lnTo>
                    <a:pt x="91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5"/>
                  </a:lnTo>
                  <a:lnTo>
                    <a:pt x="89" y="238"/>
                  </a:lnTo>
                  <a:lnTo>
                    <a:pt x="89" y="238"/>
                  </a:lnTo>
                  <a:lnTo>
                    <a:pt x="89" y="241"/>
                  </a:lnTo>
                  <a:lnTo>
                    <a:pt x="89" y="241"/>
                  </a:lnTo>
                  <a:lnTo>
                    <a:pt x="89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1" y="243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8" y="235"/>
                  </a:lnTo>
                  <a:lnTo>
                    <a:pt x="75" y="235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67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6" y="235"/>
                  </a:lnTo>
                  <a:lnTo>
                    <a:pt x="56" y="235"/>
                  </a:lnTo>
                  <a:lnTo>
                    <a:pt x="54" y="235"/>
                  </a:lnTo>
                  <a:lnTo>
                    <a:pt x="54" y="233"/>
                  </a:lnTo>
                  <a:lnTo>
                    <a:pt x="51" y="233"/>
                  </a:lnTo>
                  <a:lnTo>
                    <a:pt x="51" y="233"/>
                  </a:lnTo>
                  <a:lnTo>
                    <a:pt x="51" y="23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4" name="Freeform 8901">
              <a:extLst>
                <a:ext uri="{FF2B5EF4-FFF2-40B4-BE49-F238E27FC236}">
                  <a16:creationId xmlns:a16="http://schemas.microsoft.com/office/drawing/2014/main" id="{95E26AA0-EA9D-D14C-8F40-BB106E0E9BC4}"/>
                </a:ext>
              </a:extLst>
            </p:cNvPr>
            <p:cNvSpPr/>
            <p:nvPr/>
          </p:nvSpPr>
          <p:spPr bwMode="auto">
            <a:xfrm>
              <a:off x="3874292" y="4270376"/>
              <a:ext cx="908049" cy="750888"/>
            </a:xfrm>
            <a:custGeom>
              <a:avLst/>
              <a:gdLst>
                <a:gd name="T0" fmla="*/ 550 w 572"/>
                <a:gd name="T1" fmla="*/ 189 h 473"/>
                <a:gd name="T2" fmla="*/ 524 w 572"/>
                <a:gd name="T3" fmla="*/ 187 h 473"/>
                <a:gd name="T4" fmla="*/ 489 w 572"/>
                <a:gd name="T5" fmla="*/ 168 h 473"/>
                <a:gd name="T6" fmla="*/ 468 w 572"/>
                <a:gd name="T7" fmla="*/ 125 h 473"/>
                <a:gd name="T8" fmla="*/ 452 w 572"/>
                <a:gd name="T9" fmla="*/ 106 h 473"/>
                <a:gd name="T10" fmla="*/ 430 w 572"/>
                <a:gd name="T11" fmla="*/ 74 h 473"/>
                <a:gd name="T12" fmla="*/ 414 w 572"/>
                <a:gd name="T13" fmla="*/ 53 h 473"/>
                <a:gd name="T14" fmla="*/ 396 w 572"/>
                <a:gd name="T15" fmla="*/ 40 h 473"/>
                <a:gd name="T16" fmla="*/ 342 w 572"/>
                <a:gd name="T17" fmla="*/ 16 h 473"/>
                <a:gd name="T18" fmla="*/ 273 w 572"/>
                <a:gd name="T19" fmla="*/ 29 h 473"/>
                <a:gd name="T20" fmla="*/ 209 w 572"/>
                <a:gd name="T21" fmla="*/ 61 h 473"/>
                <a:gd name="T22" fmla="*/ 131 w 572"/>
                <a:gd name="T23" fmla="*/ 82 h 473"/>
                <a:gd name="T24" fmla="*/ 99 w 572"/>
                <a:gd name="T25" fmla="*/ 139 h 473"/>
                <a:gd name="T26" fmla="*/ 86 w 572"/>
                <a:gd name="T27" fmla="*/ 141 h 473"/>
                <a:gd name="T28" fmla="*/ 72 w 572"/>
                <a:gd name="T29" fmla="*/ 149 h 473"/>
                <a:gd name="T30" fmla="*/ 64 w 572"/>
                <a:gd name="T31" fmla="*/ 141 h 473"/>
                <a:gd name="T32" fmla="*/ 38 w 572"/>
                <a:gd name="T33" fmla="*/ 160 h 473"/>
                <a:gd name="T34" fmla="*/ 24 w 572"/>
                <a:gd name="T35" fmla="*/ 173 h 473"/>
                <a:gd name="T36" fmla="*/ 19 w 572"/>
                <a:gd name="T37" fmla="*/ 181 h 473"/>
                <a:gd name="T38" fmla="*/ 22 w 572"/>
                <a:gd name="T39" fmla="*/ 197 h 473"/>
                <a:gd name="T40" fmla="*/ 22 w 572"/>
                <a:gd name="T41" fmla="*/ 216 h 473"/>
                <a:gd name="T42" fmla="*/ 24 w 572"/>
                <a:gd name="T43" fmla="*/ 229 h 473"/>
                <a:gd name="T44" fmla="*/ 8 w 572"/>
                <a:gd name="T45" fmla="*/ 243 h 473"/>
                <a:gd name="T46" fmla="*/ 3 w 572"/>
                <a:gd name="T47" fmla="*/ 251 h 473"/>
                <a:gd name="T48" fmla="*/ 6 w 572"/>
                <a:gd name="T49" fmla="*/ 269 h 473"/>
                <a:gd name="T50" fmla="*/ 6 w 572"/>
                <a:gd name="T51" fmla="*/ 280 h 473"/>
                <a:gd name="T52" fmla="*/ 27 w 572"/>
                <a:gd name="T53" fmla="*/ 296 h 473"/>
                <a:gd name="T54" fmla="*/ 62 w 572"/>
                <a:gd name="T55" fmla="*/ 334 h 473"/>
                <a:gd name="T56" fmla="*/ 86 w 572"/>
                <a:gd name="T57" fmla="*/ 342 h 473"/>
                <a:gd name="T58" fmla="*/ 99 w 572"/>
                <a:gd name="T59" fmla="*/ 371 h 473"/>
                <a:gd name="T60" fmla="*/ 123 w 572"/>
                <a:gd name="T61" fmla="*/ 379 h 473"/>
                <a:gd name="T62" fmla="*/ 139 w 572"/>
                <a:gd name="T63" fmla="*/ 387 h 473"/>
                <a:gd name="T64" fmla="*/ 142 w 572"/>
                <a:gd name="T65" fmla="*/ 403 h 473"/>
                <a:gd name="T66" fmla="*/ 150 w 572"/>
                <a:gd name="T67" fmla="*/ 419 h 473"/>
                <a:gd name="T68" fmla="*/ 158 w 572"/>
                <a:gd name="T69" fmla="*/ 427 h 473"/>
                <a:gd name="T70" fmla="*/ 169 w 572"/>
                <a:gd name="T71" fmla="*/ 440 h 473"/>
                <a:gd name="T72" fmla="*/ 169 w 572"/>
                <a:gd name="T73" fmla="*/ 427 h 473"/>
                <a:gd name="T74" fmla="*/ 182 w 572"/>
                <a:gd name="T75" fmla="*/ 432 h 473"/>
                <a:gd name="T76" fmla="*/ 195 w 572"/>
                <a:gd name="T77" fmla="*/ 435 h 473"/>
                <a:gd name="T78" fmla="*/ 211 w 572"/>
                <a:gd name="T79" fmla="*/ 446 h 473"/>
                <a:gd name="T80" fmla="*/ 225 w 572"/>
                <a:gd name="T81" fmla="*/ 462 h 473"/>
                <a:gd name="T82" fmla="*/ 241 w 572"/>
                <a:gd name="T83" fmla="*/ 467 h 473"/>
                <a:gd name="T84" fmla="*/ 251 w 572"/>
                <a:gd name="T85" fmla="*/ 451 h 473"/>
                <a:gd name="T86" fmla="*/ 262 w 572"/>
                <a:gd name="T87" fmla="*/ 422 h 473"/>
                <a:gd name="T88" fmla="*/ 278 w 572"/>
                <a:gd name="T89" fmla="*/ 414 h 473"/>
                <a:gd name="T90" fmla="*/ 294 w 572"/>
                <a:gd name="T91" fmla="*/ 392 h 473"/>
                <a:gd name="T92" fmla="*/ 289 w 572"/>
                <a:gd name="T93" fmla="*/ 374 h 473"/>
                <a:gd name="T94" fmla="*/ 302 w 572"/>
                <a:gd name="T95" fmla="*/ 366 h 473"/>
                <a:gd name="T96" fmla="*/ 305 w 572"/>
                <a:gd name="T97" fmla="*/ 358 h 473"/>
                <a:gd name="T98" fmla="*/ 334 w 572"/>
                <a:gd name="T99" fmla="*/ 342 h 473"/>
                <a:gd name="T100" fmla="*/ 340 w 572"/>
                <a:gd name="T101" fmla="*/ 302 h 473"/>
                <a:gd name="T102" fmla="*/ 334 w 572"/>
                <a:gd name="T103" fmla="*/ 283 h 473"/>
                <a:gd name="T104" fmla="*/ 331 w 572"/>
                <a:gd name="T105" fmla="*/ 269 h 473"/>
                <a:gd name="T106" fmla="*/ 313 w 572"/>
                <a:gd name="T107" fmla="*/ 283 h 473"/>
                <a:gd name="T108" fmla="*/ 305 w 572"/>
                <a:gd name="T109" fmla="*/ 277 h 473"/>
                <a:gd name="T110" fmla="*/ 321 w 572"/>
                <a:gd name="T111" fmla="*/ 253 h 473"/>
                <a:gd name="T112" fmla="*/ 310 w 572"/>
                <a:gd name="T113" fmla="*/ 227 h 473"/>
                <a:gd name="T114" fmla="*/ 364 w 572"/>
                <a:gd name="T115" fmla="*/ 200 h 473"/>
                <a:gd name="T116" fmla="*/ 372 w 572"/>
                <a:gd name="T117" fmla="*/ 211 h 473"/>
                <a:gd name="T118" fmla="*/ 446 w 572"/>
                <a:gd name="T119" fmla="*/ 235 h 473"/>
                <a:gd name="T120" fmla="*/ 540 w 572"/>
                <a:gd name="T121" fmla="*/ 229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2" h="473" extrusionOk="0">
                  <a:moveTo>
                    <a:pt x="569" y="203"/>
                  </a:moveTo>
                  <a:lnTo>
                    <a:pt x="566" y="197"/>
                  </a:lnTo>
                  <a:lnTo>
                    <a:pt x="564" y="195"/>
                  </a:lnTo>
                  <a:lnTo>
                    <a:pt x="561" y="195"/>
                  </a:lnTo>
                  <a:lnTo>
                    <a:pt x="558" y="195"/>
                  </a:lnTo>
                  <a:lnTo>
                    <a:pt x="558" y="195"/>
                  </a:lnTo>
                  <a:lnTo>
                    <a:pt x="556" y="195"/>
                  </a:lnTo>
                  <a:lnTo>
                    <a:pt x="556" y="192"/>
                  </a:lnTo>
                  <a:lnTo>
                    <a:pt x="553" y="192"/>
                  </a:lnTo>
                  <a:lnTo>
                    <a:pt x="550" y="189"/>
                  </a:lnTo>
                  <a:lnTo>
                    <a:pt x="548" y="189"/>
                  </a:lnTo>
                  <a:lnTo>
                    <a:pt x="545" y="189"/>
                  </a:lnTo>
                  <a:lnTo>
                    <a:pt x="542" y="189"/>
                  </a:lnTo>
                  <a:lnTo>
                    <a:pt x="542" y="187"/>
                  </a:lnTo>
                  <a:lnTo>
                    <a:pt x="537" y="189"/>
                  </a:lnTo>
                  <a:lnTo>
                    <a:pt x="534" y="189"/>
                  </a:lnTo>
                  <a:lnTo>
                    <a:pt x="532" y="187"/>
                  </a:lnTo>
                  <a:lnTo>
                    <a:pt x="529" y="187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1" y="184"/>
                  </a:lnTo>
                  <a:lnTo>
                    <a:pt x="521" y="184"/>
                  </a:lnTo>
                  <a:lnTo>
                    <a:pt x="518" y="181"/>
                  </a:lnTo>
                  <a:lnTo>
                    <a:pt x="518" y="179"/>
                  </a:lnTo>
                  <a:lnTo>
                    <a:pt x="518" y="176"/>
                  </a:lnTo>
                  <a:lnTo>
                    <a:pt x="516" y="173"/>
                  </a:lnTo>
                  <a:lnTo>
                    <a:pt x="510" y="173"/>
                  </a:lnTo>
                  <a:lnTo>
                    <a:pt x="508" y="171"/>
                  </a:lnTo>
                  <a:lnTo>
                    <a:pt x="502" y="165"/>
                  </a:lnTo>
                  <a:lnTo>
                    <a:pt x="489" y="168"/>
                  </a:lnTo>
                  <a:lnTo>
                    <a:pt x="476" y="160"/>
                  </a:lnTo>
                  <a:lnTo>
                    <a:pt x="470" y="157"/>
                  </a:lnTo>
                  <a:lnTo>
                    <a:pt x="470" y="157"/>
                  </a:lnTo>
                  <a:lnTo>
                    <a:pt x="470" y="155"/>
                  </a:lnTo>
                  <a:lnTo>
                    <a:pt x="470" y="155"/>
                  </a:lnTo>
                  <a:lnTo>
                    <a:pt x="476" y="152"/>
                  </a:lnTo>
                  <a:lnTo>
                    <a:pt x="478" y="149"/>
                  </a:lnTo>
                  <a:lnTo>
                    <a:pt x="470" y="139"/>
                  </a:lnTo>
                  <a:lnTo>
                    <a:pt x="476" y="133"/>
                  </a:lnTo>
                  <a:lnTo>
                    <a:pt x="468" y="125"/>
                  </a:lnTo>
                  <a:lnTo>
                    <a:pt x="460" y="128"/>
                  </a:lnTo>
                  <a:lnTo>
                    <a:pt x="454" y="125"/>
                  </a:lnTo>
                  <a:lnTo>
                    <a:pt x="454" y="122"/>
                  </a:lnTo>
                  <a:lnTo>
                    <a:pt x="452" y="122"/>
                  </a:lnTo>
                  <a:lnTo>
                    <a:pt x="452" y="120"/>
                  </a:lnTo>
                  <a:lnTo>
                    <a:pt x="449" y="117"/>
                  </a:lnTo>
                  <a:lnTo>
                    <a:pt x="449" y="114"/>
                  </a:lnTo>
                  <a:lnTo>
                    <a:pt x="452" y="112"/>
                  </a:lnTo>
                  <a:lnTo>
                    <a:pt x="452" y="109"/>
                  </a:lnTo>
                  <a:lnTo>
                    <a:pt x="452" y="106"/>
                  </a:lnTo>
                  <a:lnTo>
                    <a:pt x="444" y="90"/>
                  </a:lnTo>
                  <a:lnTo>
                    <a:pt x="441" y="88"/>
                  </a:lnTo>
                  <a:lnTo>
                    <a:pt x="441" y="85"/>
                  </a:lnTo>
                  <a:lnTo>
                    <a:pt x="441" y="80"/>
                  </a:lnTo>
                  <a:lnTo>
                    <a:pt x="438" y="80"/>
                  </a:lnTo>
                  <a:lnTo>
                    <a:pt x="438" y="77"/>
                  </a:lnTo>
                  <a:lnTo>
                    <a:pt x="436" y="77"/>
                  </a:lnTo>
                  <a:lnTo>
                    <a:pt x="433" y="77"/>
                  </a:lnTo>
                  <a:lnTo>
                    <a:pt x="430" y="74"/>
                  </a:lnTo>
                  <a:lnTo>
                    <a:pt x="430" y="74"/>
                  </a:lnTo>
                  <a:lnTo>
                    <a:pt x="430" y="72"/>
                  </a:lnTo>
                  <a:lnTo>
                    <a:pt x="430" y="66"/>
                  </a:lnTo>
                  <a:lnTo>
                    <a:pt x="428" y="66"/>
                  </a:lnTo>
                  <a:lnTo>
                    <a:pt x="422" y="64"/>
                  </a:lnTo>
                  <a:lnTo>
                    <a:pt x="420" y="61"/>
                  </a:lnTo>
                  <a:lnTo>
                    <a:pt x="420" y="58"/>
                  </a:lnTo>
                  <a:lnTo>
                    <a:pt x="417" y="58"/>
                  </a:lnTo>
                  <a:lnTo>
                    <a:pt x="417" y="56"/>
                  </a:lnTo>
                  <a:lnTo>
                    <a:pt x="417" y="53"/>
                  </a:lnTo>
                  <a:lnTo>
                    <a:pt x="414" y="53"/>
                  </a:lnTo>
                  <a:lnTo>
                    <a:pt x="414" y="50"/>
                  </a:lnTo>
                  <a:lnTo>
                    <a:pt x="412" y="48"/>
                  </a:lnTo>
                  <a:lnTo>
                    <a:pt x="409" y="48"/>
                  </a:lnTo>
                  <a:lnTo>
                    <a:pt x="406" y="34"/>
                  </a:lnTo>
                  <a:lnTo>
                    <a:pt x="406" y="34"/>
                  </a:lnTo>
                  <a:lnTo>
                    <a:pt x="404" y="34"/>
                  </a:lnTo>
                  <a:lnTo>
                    <a:pt x="401" y="37"/>
                  </a:lnTo>
                  <a:lnTo>
                    <a:pt x="401" y="37"/>
                  </a:lnTo>
                  <a:lnTo>
                    <a:pt x="398" y="40"/>
                  </a:lnTo>
                  <a:lnTo>
                    <a:pt x="396" y="40"/>
                  </a:lnTo>
                  <a:lnTo>
                    <a:pt x="396" y="40"/>
                  </a:lnTo>
                  <a:lnTo>
                    <a:pt x="393" y="40"/>
                  </a:lnTo>
                  <a:lnTo>
                    <a:pt x="393" y="37"/>
                  </a:lnTo>
                  <a:lnTo>
                    <a:pt x="390" y="37"/>
                  </a:lnTo>
                  <a:lnTo>
                    <a:pt x="390" y="34"/>
                  </a:lnTo>
                  <a:lnTo>
                    <a:pt x="388" y="32"/>
                  </a:lnTo>
                  <a:lnTo>
                    <a:pt x="388" y="32"/>
                  </a:lnTo>
                  <a:lnTo>
                    <a:pt x="385" y="34"/>
                  </a:lnTo>
                  <a:lnTo>
                    <a:pt x="369" y="32"/>
                  </a:lnTo>
                  <a:lnTo>
                    <a:pt x="342" y="16"/>
                  </a:lnTo>
                  <a:lnTo>
                    <a:pt x="342" y="18"/>
                  </a:lnTo>
                  <a:lnTo>
                    <a:pt x="340" y="16"/>
                  </a:lnTo>
                  <a:lnTo>
                    <a:pt x="331" y="13"/>
                  </a:lnTo>
                  <a:lnTo>
                    <a:pt x="334" y="5"/>
                  </a:lnTo>
                  <a:lnTo>
                    <a:pt x="326" y="2"/>
                  </a:lnTo>
                  <a:lnTo>
                    <a:pt x="315" y="0"/>
                  </a:lnTo>
                  <a:lnTo>
                    <a:pt x="307" y="5"/>
                  </a:lnTo>
                  <a:lnTo>
                    <a:pt x="315" y="21"/>
                  </a:lnTo>
                  <a:lnTo>
                    <a:pt x="281" y="32"/>
                  </a:lnTo>
                  <a:lnTo>
                    <a:pt x="273" y="29"/>
                  </a:lnTo>
                  <a:lnTo>
                    <a:pt x="265" y="40"/>
                  </a:lnTo>
                  <a:lnTo>
                    <a:pt x="257" y="53"/>
                  </a:lnTo>
                  <a:lnTo>
                    <a:pt x="251" y="53"/>
                  </a:lnTo>
                  <a:lnTo>
                    <a:pt x="246" y="56"/>
                  </a:lnTo>
                  <a:lnTo>
                    <a:pt x="243" y="56"/>
                  </a:lnTo>
                  <a:lnTo>
                    <a:pt x="238" y="56"/>
                  </a:lnTo>
                  <a:lnTo>
                    <a:pt x="233" y="53"/>
                  </a:lnTo>
                  <a:lnTo>
                    <a:pt x="227" y="53"/>
                  </a:lnTo>
                  <a:lnTo>
                    <a:pt x="222" y="50"/>
                  </a:lnTo>
                  <a:lnTo>
                    <a:pt x="209" y="61"/>
                  </a:lnTo>
                  <a:lnTo>
                    <a:pt x="195" y="61"/>
                  </a:lnTo>
                  <a:lnTo>
                    <a:pt x="182" y="66"/>
                  </a:lnTo>
                  <a:lnTo>
                    <a:pt x="179" y="58"/>
                  </a:lnTo>
                  <a:lnTo>
                    <a:pt x="166" y="61"/>
                  </a:lnTo>
                  <a:lnTo>
                    <a:pt x="161" y="88"/>
                  </a:lnTo>
                  <a:lnTo>
                    <a:pt x="150" y="88"/>
                  </a:lnTo>
                  <a:lnTo>
                    <a:pt x="145" y="88"/>
                  </a:lnTo>
                  <a:lnTo>
                    <a:pt x="137" y="88"/>
                  </a:lnTo>
                  <a:lnTo>
                    <a:pt x="134" y="85"/>
                  </a:lnTo>
                  <a:lnTo>
                    <a:pt x="131" y="82"/>
                  </a:lnTo>
                  <a:lnTo>
                    <a:pt x="118" y="77"/>
                  </a:lnTo>
                  <a:lnTo>
                    <a:pt x="110" y="112"/>
                  </a:lnTo>
                  <a:lnTo>
                    <a:pt x="110" y="114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05" y="136"/>
                  </a:lnTo>
                  <a:lnTo>
                    <a:pt x="102" y="136"/>
                  </a:lnTo>
                  <a:lnTo>
                    <a:pt x="102" y="136"/>
                  </a:lnTo>
                  <a:lnTo>
                    <a:pt x="102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4" y="139"/>
                  </a:lnTo>
                  <a:lnTo>
                    <a:pt x="91" y="139"/>
                  </a:lnTo>
                  <a:lnTo>
                    <a:pt x="88" y="139"/>
                  </a:lnTo>
                  <a:lnTo>
                    <a:pt x="88" y="141"/>
                  </a:lnTo>
                  <a:lnTo>
                    <a:pt x="88" y="144"/>
                  </a:lnTo>
                  <a:lnTo>
                    <a:pt x="86" y="144"/>
                  </a:lnTo>
                  <a:lnTo>
                    <a:pt x="86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0" y="141"/>
                  </a:lnTo>
                  <a:lnTo>
                    <a:pt x="80" y="141"/>
                  </a:lnTo>
                  <a:lnTo>
                    <a:pt x="80" y="144"/>
                  </a:lnTo>
                  <a:lnTo>
                    <a:pt x="75" y="147"/>
                  </a:lnTo>
                  <a:lnTo>
                    <a:pt x="72" y="147"/>
                  </a:lnTo>
                  <a:lnTo>
                    <a:pt x="72" y="149"/>
                  </a:lnTo>
                  <a:lnTo>
                    <a:pt x="75" y="149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67" y="152"/>
                  </a:lnTo>
                  <a:lnTo>
                    <a:pt x="67" y="149"/>
                  </a:lnTo>
                  <a:lnTo>
                    <a:pt x="67" y="149"/>
                  </a:lnTo>
                  <a:lnTo>
                    <a:pt x="67" y="147"/>
                  </a:lnTo>
                  <a:lnTo>
                    <a:pt x="67" y="144"/>
                  </a:lnTo>
                  <a:lnTo>
                    <a:pt x="67" y="139"/>
                  </a:lnTo>
                  <a:lnTo>
                    <a:pt x="64" y="141"/>
                  </a:lnTo>
                  <a:lnTo>
                    <a:pt x="62" y="144"/>
                  </a:lnTo>
                  <a:lnTo>
                    <a:pt x="32" y="149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8" y="155"/>
                  </a:lnTo>
                  <a:lnTo>
                    <a:pt x="38" y="157"/>
                  </a:lnTo>
                  <a:lnTo>
                    <a:pt x="38" y="160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2" y="163"/>
                  </a:lnTo>
                  <a:lnTo>
                    <a:pt x="32" y="165"/>
                  </a:lnTo>
                  <a:lnTo>
                    <a:pt x="30" y="165"/>
                  </a:lnTo>
                  <a:lnTo>
                    <a:pt x="30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4" y="171"/>
                  </a:lnTo>
                  <a:lnTo>
                    <a:pt x="24" y="173"/>
                  </a:lnTo>
                  <a:lnTo>
                    <a:pt x="24" y="173"/>
                  </a:lnTo>
                  <a:lnTo>
                    <a:pt x="24" y="173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4" y="179"/>
                  </a:lnTo>
                  <a:lnTo>
                    <a:pt x="22" y="179"/>
                  </a:lnTo>
                  <a:lnTo>
                    <a:pt x="22" y="179"/>
                  </a:lnTo>
                  <a:lnTo>
                    <a:pt x="22" y="181"/>
                  </a:lnTo>
                  <a:lnTo>
                    <a:pt x="19" y="181"/>
                  </a:lnTo>
                  <a:lnTo>
                    <a:pt x="22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27" y="189"/>
                  </a:lnTo>
                  <a:lnTo>
                    <a:pt x="24" y="192"/>
                  </a:lnTo>
                  <a:lnTo>
                    <a:pt x="24" y="195"/>
                  </a:lnTo>
                  <a:lnTo>
                    <a:pt x="22" y="197"/>
                  </a:lnTo>
                  <a:lnTo>
                    <a:pt x="22" y="200"/>
                  </a:lnTo>
                  <a:lnTo>
                    <a:pt x="22" y="200"/>
                  </a:lnTo>
                  <a:lnTo>
                    <a:pt x="24" y="200"/>
                  </a:lnTo>
                  <a:lnTo>
                    <a:pt x="22" y="203"/>
                  </a:lnTo>
                  <a:lnTo>
                    <a:pt x="22" y="203"/>
                  </a:lnTo>
                  <a:lnTo>
                    <a:pt x="19" y="205"/>
                  </a:lnTo>
                  <a:lnTo>
                    <a:pt x="19" y="213"/>
                  </a:lnTo>
                  <a:lnTo>
                    <a:pt x="19" y="213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19" y="219"/>
                  </a:lnTo>
                  <a:lnTo>
                    <a:pt x="19" y="219"/>
                  </a:lnTo>
                  <a:lnTo>
                    <a:pt x="19" y="221"/>
                  </a:lnTo>
                  <a:lnTo>
                    <a:pt x="19" y="221"/>
                  </a:lnTo>
                  <a:lnTo>
                    <a:pt x="19" y="224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7" y="224"/>
                  </a:lnTo>
                  <a:lnTo>
                    <a:pt x="30" y="224"/>
                  </a:lnTo>
                  <a:lnTo>
                    <a:pt x="24" y="229"/>
                  </a:lnTo>
                  <a:lnTo>
                    <a:pt x="24" y="229"/>
                  </a:lnTo>
                  <a:lnTo>
                    <a:pt x="19" y="237"/>
                  </a:lnTo>
                  <a:lnTo>
                    <a:pt x="8" y="232"/>
                  </a:lnTo>
                  <a:lnTo>
                    <a:pt x="8" y="232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37"/>
                  </a:lnTo>
                  <a:lnTo>
                    <a:pt x="8" y="240"/>
                  </a:lnTo>
                  <a:lnTo>
                    <a:pt x="8" y="240"/>
                  </a:lnTo>
                  <a:lnTo>
                    <a:pt x="8" y="243"/>
                  </a:lnTo>
                  <a:lnTo>
                    <a:pt x="6" y="243"/>
                  </a:lnTo>
                  <a:lnTo>
                    <a:pt x="8" y="243"/>
                  </a:lnTo>
                  <a:lnTo>
                    <a:pt x="8" y="245"/>
                  </a:lnTo>
                  <a:lnTo>
                    <a:pt x="8" y="248"/>
                  </a:lnTo>
                  <a:lnTo>
                    <a:pt x="8" y="245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51"/>
                  </a:lnTo>
                  <a:lnTo>
                    <a:pt x="3" y="251"/>
                  </a:lnTo>
                  <a:lnTo>
                    <a:pt x="3" y="251"/>
                  </a:lnTo>
                  <a:lnTo>
                    <a:pt x="3" y="253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59"/>
                  </a:lnTo>
                  <a:lnTo>
                    <a:pt x="3" y="261"/>
                  </a:lnTo>
                  <a:lnTo>
                    <a:pt x="6" y="264"/>
                  </a:lnTo>
                  <a:lnTo>
                    <a:pt x="6" y="267"/>
                  </a:lnTo>
                  <a:lnTo>
                    <a:pt x="6" y="267"/>
                  </a:lnTo>
                  <a:lnTo>
                    <a:pt x="6" y="267"/>
                  </a:lnTo>
                  <a:lnTo>
                    <a:pt x="6" y="269"/>
                  </a:lnTo>
                  <a:lnTo>
                    <a:pt x="6" y="269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0" y="275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80"/>
                  </a:lnTo>
                  <a:lnTo>
                    <a:pt x="6" y="280"/>
                  </a:lnTo>
                  <a:lnTo>
                    <a:pt x="6" y="283"/>
                  </a:lnTo>
                  <a:lnTo>
                    <a:pt x="8" y="283"/>
                  </a:lnTo>
                  <a:lnTo>
                    <a:pt x="14" y="283"/>
                  </a:lnTo>
                  <a:lnTo>
                    <a:pt x="19" y="285"/>
                  </a:lnTo>
                  <a:lnTo>
                    <a:pt x="24" y="288"/>
                  </a:lnTo>
                  <a:lnTo>
                    <a:pt x="27" y="288"/>
                  </a:lnTo>
                  <a:lnTo>
                    <a:pt x="30" y="291"/>
                  </a:lnTo>
                  <a:lnTo>
                    <a:pt x="30" y="294"/>
                  </a:lnTo>
                  <a:lnTo>
                    <a:pt x="27" y="294"/>
                  </a:lnTo>
                  <a:lnTo>
                    <a:pt x="27" y="296"/>
                  </a:lnTo>
                  <a:lnTo>
                    <a:pt x="27" y="299"/>
                  </a:lnTo>
                  <a:lnTo>
                    <a:pt x="30" y="302"/>
                  </a:lnTo>
                  <a:lnTo>
                    <a:pt x="30" y="304"/>
                  </a:lnTo>
                  <a:lnTo>
                    <a:pt x="30" y="307"/>
                  </a:lnTo>
                  <a:lnTo>
                    <a:pt x="38" y="323"/>
                  </a:lnTo>
                  <a:lnTo>
                    <a:pt x="48" y="318"/>
                  </a:lnTo>
                  <a:lnTo>
                    <a:pt x="54" y="320"/>
                  </a:lnTo>
                  <a:lnTo>
                    <a:pt x="56" y="334"/>
                  </a:lnTo>
                  <a:lnTo>
                    <a:pt x="59" y="334"/>
                  </a:lnTo>
                  <a:lnTo>
                    <a:pt x="62" y="334"/>
                  </a:lnTo>
                  <a:lnTo>
                    <a:pt x="67" y="331"/>
                  </a:lnTo>
                  <a:lnTo>
                    <a:pt x="70" y="331"/>
                  </a:lnTo>
                  <a:lnTo>
                    <a:pt x="75" y="328"/>
                  </a:lnTo>
                  <a:lnTo>
                    <a:pt x="75" y="328"/>
                  </a:lnTo>
                  <a:lnTo>
                    <a:pt x="75" y="331"/>
                  </a:lnTo>
                  <a:lnTo>
                    <a:pt x="78" y="334"/>
                  </a:lnTo>
                  <a:lnTo>
                    <a:pt x="75" y="339"/>
                  </a:lnTo>
                  <a:lnTo>
                    <a:pt x="83" y="342"/>
                  </a:lnTo>
                  <a:lnTo>
                    <a:pt x="83" y="339"/>
                  </a:lnTo>
                  <a:lnTo>
                    <a:pt x="86" y="342"/>
                  </a:lnTo>
                  <a:lnTo>
                    <a:pt x="86" y="342"/>
                  </a:lnTo>
                  <a:lnTo>
                    <a:pt x="91" y="344"/>
                  </a:lnTo>
                  <a:lnTo>
                    <a:pt x="91" y="347"/>
                  </a:lnTo>
                  <a:lnTo>
                    <a:pt x="102" y="350"/>
                  </a:lnTo>
                  <a:lnTo>
                    <a:pt x="99" y="350"/>
                  </a:lnTo>
                  <a:lnTo>
                    <a:pt x="99" y="358"/>
                  </a:lnTo>
                  <a:lnTo>
                    <a:pt x="99" y="358"/>
                  </a:lnTo>
                  <a:lnTo>
                    <a:pt x="99" y="360"/>
                  </a:lnTo>
                  <a:lnTo>
                    <a:pt x="99" y="368"/>
                  </a:lnTo>
                  <a:lnTo>
                    <a:pt x="99" y="371"/>
                  </a:lnTo>
                  <a:lnTo>
                    <a:pt x="102" y="374"/>
                  </a:lnTo>
                  <a:lnTo>
                    <a:pt x="107" y="374"/>
                  </a:lnTo>
                  <a:lnTo>
                    <a:pt x="107" y="376"/>
                  </a:lnTo>
                  <a:lnTo>
                    <a:pt x="113" y="376"/>
                  </a:lnTo>
                  <a:lnTo>
                    <a:pt x="115" y="379"/>
                  </a:lnTo>
                  <a:lnTo>
                    <a:pt x="118" y="379"/>
                  </a:lnTo>
                  <a:lnTo>
                    <a:pt x="118" y="379"/>
                  </a:lnTo>
                  <a:lnTo>
                    <a:pt x="121" y="379"/>
                  </a:lnTo>
                  <a:lnTo>
                    <a:pt x="123" y="379"/>
                  </a:lnTo>
                  <a:lnTo>
                    <a:pt x="123" y="379"/>
                  </a:lnTo>
                  <a:lnTo>
                    <a:pt x="123" y="382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9" y="387"/>
                  </a:lnTo>
                  <a:lnTo>
                    <a:pt x="131" y="384"/>
                  </a:lnTo>
                  <a:lnTo>
                    <a:pt x="134" y="384"/>
                  </a:lnTo>
                  <a:lnTo>
                    <a:pt x="134" y="384"/>
                  </a:lnTo>
                  <a:lnTo>
                    <a:pt x="137" y="384"/>
                  </a:lnTo>
                  <a:lnTo>
                    <a:pt x="139" y="384"/>
                  </a:lnTo>
                  <a:lnTo>
                    <a:pt x="139" y="387"/>
                  </a:lnTo>
                  <a:lnTo>
                    <a:pt x="139" y="387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39" y="395"/>
                  </a:lnTo>
                  <a:lnTo>
                    <a:pt x="139" y="398"/>
                  </a:lnTo>
                  <a:lnTo>
                    <a:pt x="137" y="398"/>
                  </a:lnTo>
                  <a:lnTo>
                    <a:pt x="139" y="400"/>
                  </a:lnTo>
                  <a:lnTo>
                    <a:pt x="142" y="400"/>
                  </a:lnTo>
                  <a:lnTo>
                    <a:pt x="142" y="400"/>
                  </a:lnTo>
                  <a:lnTo>
                    <a:pt x="142" y="403"/>
                  </a:lnTo>
                  <a:lnTo>
                    <a:pt x="142" y="406"/>
                  </a:lnTo>
                  <a:lnTo>
                    <a:pt x="142" y="406"/>
                  </a:lnTo>
                  <a:lnTo>
                    <a:pt x="142" y="408"/>
                  </a:lnTo>
                  <a:lnTo>
                    <a:pt x="145" y="411"/>
                  </a:lnTo>
                  <a:lnTo>
                    <a:pt x="145" y="411"/>
                  </a:lnTo>
                  <a:lnTo>
                    <a:pt x="147" y="414"/>
                  </a:lnTo>
                  <a:lnTo>
                    <a:pt x="147" y="416"/>
                  </a:lnTo>
                  <a:lnTo>
                    <a:pt x="147" y="419"/>
                  </a:lnTo>
                  <a:lnTo>
                    <a:pt x="147" y="416"/>
                  </a:lnTo>
                  <a:lnTo>
                    <a:pt x="150" y="419"/>
                  </a:lnTo>
                  <a:lnTo>
                    <a:pt x="153" y="419"/>
                  </a:lnTo>
                  <a:lnTo>
                    <a:pt x="153" y="419"/>
                  </a:lnTo>
                  <a:lnTo>
                    <a:pt x="153" y="419"/>
                  </a:lnTo>
                  <a:lnTo>
                    <a:pt x="155" y="422"/>
                  </a:lnTo>
                  <a:lnTo>
                    <a:pt x="155" y="424"/>
                  </a:lnTo>
                  <a:lnTo>
                    <a:pt x="155" y="424"/>
                  </a:lnTo>
                  <a:lnTo>
                    <a:pt x="155" y="427"/>
                  </a:lnTo>
                  <a:lnTo>
                    <a:pt x="155" y="430"/>
                  </a:lnTo>
                  <a:lnTo>
                    <a:pt x="158" y="430"/>
                  </a:lnTo>
                  <a:lnTo>
                    <a:pt x="158" y="427"/>
                  </a:lnTo>
                  <a:lnTo>
                    <a:pt x="158" y="427"/>
                  </a:lnTo>
                  <a:lnTo>
                    <a:pt x="163" y="427"/>
                  </a:lnTo>
                  <a:lnTo>
                    <a:pt x="163" y="432"/>
                  </a:lnTo>
                  <a:lnTo>
                    <a:pt x="166" y="432"/>
                  </a:lnTo>
                  <a:lnTo>
                    <a:pt x="166" y="432"/>
                  </a:lnTo>
                  <a:lnTo>
                    <a:pt x="166" y="435"/>
                  </a:lnTo>
                  <a:lnTo>
                    <a:pt x="169" y="438"/>
                  </a:lnTo>
                  <a:lnTo>
                    <a:pt x="169" y="438"/>
                  </a:lnTo>
                  <a:lnTo>
                    <a:pt x="169" y="438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8"/>
                  </a:lnTo>
                  <a:lnTo>
                    <a:pt x="171" y="435"/>
                  </a:lnTo>
                  <a:lnTo>
                    <a:pt x="171" y="432"/>
                  </a:lnTo>
                  <a:lnTo>
                    <a:pt x="171" y="432"/>
                  </a:lnTo>
                  <a:lnTo>
                    <a:pt x="171" y="430"/>
                  </a:lnTo>
                  <a:lnTo>
                    <a:pt x="171" y="430"/>
                  </a:lnTo>
                  <a:lnTo>
                    <a:pt x="171" y="430"/>
                  </a:lnTo>
                  <a:lnTo>
                    <a:pt x="169" y="430"/>
                  </a:lnTo>
                  <a:lnTo>
                    <a:pt x="169" y="427"/>
                  </a:lnTo>
                  <a:lnTo>
                    <a:pt x="171" y="424"/>
                  </a:lnTo>
                  <a:lnTo>
                    <a:pt x="171" y="424"/>
                  </a:lnTo>
                  <a:lnTo>
                    <a:pt x="171" y="422"/>
                  </a:lnTo>
                  <a:lnTo>
                    <a:pt x="174" y="424"/>
                  </a:lnTo>
                  <a:lnTo>
                    <a:pt x="174" y="424"/>
                  </a:lnTo>
                  <a:lnTo>
                    <a:pt x="174" y="424"/>
                  </a:lnTo>
                  <a:lnTo>
                    <a:pt x="177" y="427"/>
                  </a:lnTo>
                  <a:lnTo>
                    <a:pt x="179" y="430"/>
                  </a:lnTo>
                  <a:lnTo>
                    <a:pt x="182" y="432"/>
                  </a:lnTo>
                  <a:lnTo>
                    <a:pt x="182" y="432"/>
                  </a:lnTo>
                  <a:lnTo>
                    <a:pt x="182" y="435"/>
                  </a:lnTo>
                  <a:lnTo>
                    <a:pt x="182" y="438"/>
                  </a:lnTo>
                  <a:lnTo>
                    <a:pt x="185" y="438"/>
                  </a:lnTo>
                  <a:lnTo>
                    <a:pt x="187" y="438"/>
                  </a:lnTo>
                  <a:lnTo>
                    <a:pt x="190" y="438"/>
                  </a:lnTo>
                  <a:lnTo>
                    <a:pt x="190" y="435"/>
                  </a:lnTo>
                  <a:lnTo>
                    <a:pt x="190" y="435"/>
                  </a:lnTo>
                  <a:lnTo>
                    <a:pt x="193" y="432"/>
                  </a:lnTo>
                  <a:lnTo>
                    <a:pt x="195" y="435"/>
                  </a:lnTo>
                  <a:lnTo>
                    <a:pt x="195" y="435"/>
                  </a:lnTo>
                  <a:lnTo>
                    <a:pt x="198" y="435"/>
                  </a:lnTo>
                  <a:lnTo>
                    <a:pt x="195" y="438"/>
                  </a:lnTo>
                  <a:lnTo>
                    <a:pt x="195" y="438"/>
                  </a:lnTo>
                  <a:lnTo>
                    <a:pt x="201" y="443"/>
                  </a:lnTo>
                  <a:lnTo>
                    <a:pt x="201" y="440"/>
                  </a:lnTo>
                  <a:lnTo>
                    <a:pt x="203" y="443"/>
                  </a:lnTo>
                  <a:lnTo>
                    <a:pt x="206" y="443"/>
                  </a:lnTo>
                  <a:lnTo>
                    <a:pt x="209" y="446"/>
                  </a:lnTo>
                  <a:lnTo>
                    <a:pt x="211" y="446"/>
                  </a:lnTo>
                  <a:lnTo>
                    <a:pt x="211" y="446"/>
                  </a:lnTo>
                  <a:lnTo>
                    <a:pt x="214" y="446"/>
                  </a:lnTo>
                  <a:lnTo>
                    <a:pt x="214" y="448"/>
                  </a:lnTo>
                  <a:lnTo>
                    <a:pt x="217" y="448"/>
                  </a:lnTo>
                  <a:lnTo>
                    <a:pt x="217" y="448"/>
                  </a:lnTo>
                  <a:lnTo>
                    <a:pt x="217" y="451"/>
                  </a:lnTo>
                  <a:lnTo>
                    <a:pt x="219" y="457"/>
                  </a:lnTo>
                  <a:lnTo>
                    <a:pt x="219" y="459"/>
                  </a:lnTo>
                  <a:lnTo>
                    <a:pt x="219" y="459"/>
                  </a:lnTo>
                  <a:lnTo>
                    <a:pt x="219" y="462"/>
                  </a:lnTo>
                  <a:lnTo>
                    <a:pt x="225" y="462"/>
                  </a:lnTo>
                  <a:lnTo>
                    <a:pt x="225" y="462"/>
                  </a:lnTo>
                  <a:lnTo>
                    <a:pt x="227" y="465"/>
                  </a:lnTo>
                  <a:lnTo>
                    <a:pt x="227" y="467"/>
                  </a:lnTo>
                  <a:lnTo>
                    <a:pt x="227" y="467"/>
                  </a:lnTo>
                  <a:lnTo>
                    <a:pt x="230" y="470"/>
                  </a:lnTo>
                  <a:lnTo>
                    <a:pt x="230" y="470"/>
                  </a:lnTo>
                  <a:lnTo>
                    <a:pt x="233" y="473"/>
                  </a:lnTo>
                  <a:lnTo>
                    <a:pt x="235" y="467"/>
                  </a:lnTo>
                  <a:lnTo>
                    <a:pt x="238" y="467"/>
                  </a:lnTo>
                  <a:lnTo>
                    <a:pt x="241" y="467"/>
                  </a:lnTo>
                  <a:lnTo>
                    <a:pt x="243" y="467"/>
                  </a:lnTo>
                  <a:lnTo>
                    <a:pt x="243" y="467"/>
                  </a:lnTo>
                  <a:lnTo>
                    <a:pt x="246" y="465"/>
                  </a:lnTo>
                  <a:lnTo>
                    <a:pt x="246" y="462"/>
                  </a:lnTo>
                  <a:lnTo>
                    <a:pt x="246" y="462"/>
                  </a:lnTo>
                  <a:lnTo>
                    <a:pt x="249" y="462"/>
                  </a:lnTo>
                  <a:lnTo>
                    <a:pt x="249" y="462"/>
                  </a:lnTo>
                  <a:lnTo>
                    <a:pt x="249" y="459"/>
                  </a:lnTo>
                  <a:lnTo>
                    <a:pt x="251" y="457"/>
                  </a:lnTo>
                  <a:lnTo>
                    <a:pt x="251" y="451"/>
                  </a:lnTo>
                  <a:lnTo>
                    <a:pt x="259" y="443"/>
                  </a:lnTo>
                  <a:lnTo>
                    <a:pt x="265" y="446"/>
                  </a:lnTo>
                  <a:lnTo>
                    <a:pt x="270" y="438"/>
                  </a:lnTo>
                  <a:lnTo>
                    <a:pt x="270" y="435"/>
                  </a:lnTo>
                  <a:lnTo>
                    <a:pt x="270" y="432"/>
                  </a:lnTo>
                  <a:lnTo>
                    <a:pt x="267" y="432"/>
                  </a:lnTo>
                  <a:lnTo>
                    <a:pt x="265" y="432"/>
                  </a:lnTo>
                  <a:lnTo>
                    <a:pt x="265" y="430"/>
                  </a:lnTo>
                  <a:lnTo>
                    <a:pt x="262" y="427"/>
                  </a:lnTo>
                  <a:lnTo>
                    <a:pt x="262" y="422"/>
                  </a:lnTo>
                  <a:lnTo>
                    <a:pt x="267" y="419"/>
                  </a:lnTo>
                  <a:lnTo>
                    <a:pt x="267" y="416"/>
                  </a:lnTo>
                  <a:lnTo>
                    <a:pt x="273" y="414"/>
                  </a:lnTo>
                  <a:lnTo>
                    <a:pt x="270" y="416"/>
                  </a:lnTo>
                  <a:lnTo>
                    <a:pt x="273" y="416"/>
                  </a:lnTo>
                  <a:lnTo>
                    <a:pt x="275" y="416"/>
                  </a:lnTo>
                  <a:lnTo>
                    <a:pt x="278" y="416"/>
                  </a:lnTo>
                  <a:lnTo>
                    <a:pt x="281" y="416"/>
                  </a:lnTo>
                  <a:lnTo>
                    <a:pt x="281" y="414"/>
                  </a:lnTo>
                  <a:lnTo>
                    <a:pt x="278" y="414"/>
                  </a:lnTo>
                  <a:lnTo>
                    <a:pt x="273" y="411"/>
                  </a:lnTo>
                  <a:lnTo>
                    <a:pt x="270" y="411"/>
                  </a:lnTo>
                  <a:lnTo>
                    <a:pt x="267" y="411"/>
                  </a:lnTo>
                  <a:lnTo>
                    <a:pt x="265" y="408"/>
                  </a:lnTo>
                  <a:lnTo>
                    <a:pt x="265" y="403"/>
                  </a:lnTo>
                  <a:lnTo>
                    <a:pt x="273" y="406"/>
                  </a:lnTo>
                  <a:lnTo>
                    <a:pt x="283" y="408"/>
                  </a:lnTo>
                  <a:lnTo>
                    <a:pt x="291" y="395"/>
                  </a:lnTo>
                  <a:lnTo>
                    <a:pt x="294" y="395"/>
                  </a:lnTo>
                  <a:lnTo>
                    <a:pt x="294" y="392"/>
                  </a:lnTo>
                  <a:lnTo>
                    <a:pt x="294" y="392"/>
                  </a:lnTo>
                  <a:lnTo>
                    <a:pt x="291" y="390"/>
                  </a:lnTo>
                  <a:lnTo>
                    <a:pt x="291" y="387"/>
                  </a:lnTo>
                  <a:lnTo>
                    <a:pt x="291" y="384"/>
                  </a:lnTo>
                  <a:lnTo>
                    <a:pt x="294" y="384"/>
                  </a:lnTo>
                  <a:lnTo>
                    <a:pt x="291" y="382"/>
                  </a:lnTo>
                  <a:lnTo>
                    <a:pt x="289" y="379"/>
                  </a:lnTo>
                  <a:lnTo>
                    <a:pt x="289" y="379"/>
                  </a:lnTo>
                  <a:lnTo>
                    <a:pt x="289" y="376"/>
                  </a:lnTo>
                  <a:lnTo>
                    <a:pt x="289" y="374"/>
                  </a:lnTo>
                  <a:lnTo>
                    <a:pt x="297" y="371"/>
                  </a:lnTo>
                  <a:lnTo>
                    <a:pt x="297" y="371"/>
                  </a:lnTo>
                  <a:lnTo>
                    <a:pt x="299" y="374"/>
                  </a:lnTo>
                  <a:lnTo>
                    <a:pt x="299" y="374"/>
                  </a:lnTo>
                  <a:lnTo>
                    <a:pt x="302" y="374"/>
                  </a:lnTo>
                  <a:lnTo>
                    <a:pt x="302" y="374"/>
                  </a:lnTo>
                  <a:lnTo>
                    <a:pt x="299" y="371"/>
                  </a:lnTo>
                  <a:lnTo>
                    <a:pt x="299" y="368"/>
                  </a:lnTo>
                  <a:lnTo>
                    <a:pt x="302" y="368"/>
                  </a:lnTo>
                  <a:lnTo>
                    <a:pt x="302" y="366"/>
                  </a:lnTo>
                  <a:lnTo>
                    <a:pt x="302" y="366"/>
                  </a:lnTo>
                  <a:lnTo>
                    <a:pt x="299" y="363"/>
                  </a:lnTo>
                  <a:lnTo>
                    <a:pt x="299" y="363"/>
                  </a:lnTo>
                  <a:lnTo>
                    <a:pt x="299" y="363"/>
                  </a:lnTo>
                  <a:lnTo>
                    <a:pt x="299" y="358"/>
                  </a:lnTo>
                  <a:lnTo>
                    <a:pt x="294" y="360"/>
                  </a:lnTo>
                  <a:lnTo>
                    <a:pt x="294" y="358"/>
                  </a:lnTo>
                  <a:lnTo>
                    <a:pt x="297" y="358"/>
                  </a:lnTo>
                  <a:lnTo>
                    <a:pt x="299" y="355"/>
                  </a:lnTo>
                  <a:lnTo>
                    <a:pt x="305" y="358"/>
                  </a:lnTo>
                  <a:lnTo>
                    <a:pt x="310" y="355"/>
                  </a:lnTo>
                  <a:lnTo>
                    <a:pt x="318" y="344"/>
                  </a:lnTo>
                  <a:lnTo>
                    <a:pt x="313" y="342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8" y="342"/>
                  </a:lnTo>
                  <a:lnTo>
                    <a:pt x="326" y="344"/>
                  </a:lnTo>
                  <a:lnTo>
                    <a:pt x="329" y="347"/>
                  </a:lnTo>
                  <a:lnTo>
                    <a:pt x="331" y="347"/>
                  </a:lnTo>
                  <a:lnTo>
                    <a:pt x="334" y="342"/>
                  </a:lnTo>
                  <a:lnTo>
                    <a:pt x="337" y="344"/>
                  </a:lnTo>
                  <a:lnTo>
                    <a:pt x="337" y="344"/>
                  </a:lnTo>
                  <a:lnTo>
                    <a:pt x="342" y="347"/>
                  </a:lnTo>
                  <a:lnTo>
                    <a:pt x="342" y="342"/>
                  </a:lnTo>
                  <a:lnTo>
                    <a:pt x="342" y="339"/>
                  </a:lnTo>
                  <a:lnTo>
                    <a:pt x="350" y="339"/>
                  </a:lnTo>
                  <a:lnTo>
                    <a:pt x="350" y="328"/>
                  </a:lnTo>
                  <a:lnTo>
                    <a:pt x="350" y="326"/>
                  </a:lnTo>
                  <a:lnTo>
                    <a:pt x="340" y="304"/>
                  </a:lnTo>
                  <a:lnTo>
                    <a:pt x="340" y="302"/>
                  </a:lnTo>
                  <a:lnTo>
                    <a:pt x="337" y="296"/>
                  </a:lnTo>
                  <a:lnTo>
                    <a:pt x="337" y="296"/>
                  </a:lnTo>
                  <a:lnTo>
                    <a:pt x="337" y="294"/>
                  </a:lnTo>
                  <a:lnTo>
                    <a:pt x="337" y="294"/>
                  </a:lnTo>
                  <a:lnTo>
                    <a:pt x="334" y="291"/>
                  </a:lnTo>
                  <a:lnTo>
                    <a:pt x="334" y="291"/>
                  </a:lnTo>
                  <a:lnTo>
                    <a:pt x="331" y="291"/>
                  </a:lnTo>
                  <a:lnTo>
                    <a:pt x="331" y="285"/>
                  </a:lnTo>
                  <a:lnTo>
                    <a:pt x="331" y="285"/>
                  </a:lnTo>
                  <a:lnTo>
                    <a:pt x="334" y="283"/>
                  </a:lnTo>
                  <a:lnTo>
                    <a:pt x="331" y="280"/>
                  </a:lnTo>
                  <a:lnTo>
                    <a:pt x="334" y="275"/>
                  </a:lnTo>
                  <a:lnTo>
                    <a:pt x="334" y="272"/>
                  </a:lnTo>
                  <a:lnTo>
                    <a:pt x="331" y="272"/>
                  </a:lnTo>
                  <a:lnTo>
                    <a:pt x="331" y="275"/>
                  </a:lnTo>
                  <a:lnTo>
                    <a:pt x="329" y="275"/>
                  </a:lnTo>
                  <a:lnTo>
                    <a:pt x="329" y="275"/>
                  </a:lnTo>
                  <a:lnTo>
                    <a:pt x="329" y="272"/>
                  </a:lnTo>
                  <a:lnTo>
                    <a:pt x="331" y="272"/>
                  </a:lnTo>
                  <a:lnTo>
                    <a:pt x="331" y="269"/>
                  </a:lnTo>
                  <a:lnTo>
                    <a:pt x="329" y="272"/>
                  </a:lnTo>
                  <a:lnTo>
                    <a:pt x="329" y="269"/>
                  </a:lnTo>
                  <a:lnTo>
                    <a:pt x="329" y="272"/>
                  </a:lnTo>
                  <a:lnTo>
                    <a:pt x="326" y="272"/>
                  </a:lnTo>
                  <a:lnTo>
                    <a:pt x="326" y="272"/>
                  </a:lnTo>
                  <a:lnTo>
                    <a:pt x="323" y="272"/>
                  </a:lnTo>
                  <a:lnTo>
                    <a:pt x="323" y="269"/>
                  </a:lnTo>
                  <a:lnTo>
                    <a:pt x="315" y="280"/>
                  </a:lnTo>
                  <a:lnTo>
                    <a:pt x="315" y="283"/>
                  </a:lnTo>
                  <a:lnTo>
                    <a:pt x="313" y="283"/>
                  </a:lnTo>
                  <a:lnTo>
                    <a:pt x="313" y="283"/>
                  </a:lnTo>
                  <a:lnTo>
                    <a:pt x="313" y="283"/>
                  </a:lnTo>
                  <a:lnTo>
                    <a:pt x="310" y="283"/>
                  </a:lnTo>
                  <a:lnTo>
                    <a:pt x="307" y="283"/>
                  </a:lnTo>
                  <a:lnTo>
                    <a:pt x="307" y="283"/>
                  </a:lnTo>
                  <a:lnTo>
                    <a:pt x="305" y="280"/>
                  </a:lnTo>
                  <a:lnTo>
                    <a:pt x="310" y="280"/>
                  </a:lnTo>
                  <a:lnTo>
                    <a:pt x="310" y="275"/>
                  </a:lnTo>
                  <a:lnTo>
                    <a:pt x="307" y="277"/>
                  </a:lnTo>
                  <a:lnTo>
                    <a:pt x="305" y="277"/>
                  </a:lnTo>
                  <a:lnTo>
                    <a:pt x="307" y="275"/>
                  </a:lnTo>
                  <a:lnTo>
                    <a:pt x="302" y="275"/>
                  </a:lnTo>
                  <a:lnTo>
                    <a:pt x="299" y="267"/>
                  </a:lnTo>
                  <a:lnTo>
                    <a:pt x="302" y="261"/>
                  </a:lnTo>
                  <a:lnTo>
                    <a:pt x="305" y="259"/>
                  </a:lnTo>
                  <a:lnTo>
                    <a:pt x="310" y="259"/>
                  </a:lnTo>
                  <a:lnTo>
                    <a:pt x="310" y="256"/>
                  </a:lnTo>
                  <a:lnTo>
                    <a:pt x="315" y="253"/>
                  </a:lnTo>
                  <a:lnTo>
                    <a:pt x="318" y="256"/>
                  </a:lnTo>
                  <a:lnTo>
                    <a:pt x="321" y="253"/>
                  </a:lnTo>
                  <a:lnTo>
                    <a:pt x="321" y="253"/>
                  </a:lnTo>
                  <a:lnTo>
                    <a:pt x="321" y="251"/>
                  </a:lnTo>
                  <a:lnTo>
                    <a:pt x="321" y="248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18" y="245"/>
                  </a:lnTo>
                  <a:lnTo>
                    <a:pt x="318" y="232"/>
                  </a:lnTo>
                  <a:lnTo>
                    <a:pt x="315" y="229"/>
                  </a:lnTo>
                  <a:lnTo>
                    <a:pt x="315" y="227"/>
                  </a:lnTo>
                  <a:lnTo>
                    <a:pt x="310" y="227"/>
                  </a:lnTo>
                  <a:lnTo>
                    <a:pt x="313" y="219"/>
                  </a:lnTo>
                  <a:lnTo>
                    <a:pt x="318" y="208"/>
                  </a:lnTo>
                  <a:lnTo>
                    <a:pt x="353" y="160"/>
                  </a:lnTo>
                  <a:lnTo>
                    <a:pt x="372" y="181"/>
                  </a:lnTo>
                  <a:lnTo>
                    <a:pt x="372" y="184"/>
                  </a:lnTo>
                  <a:lnTo>
                    <a:pt x="369" y="184"/>
                  </a:lnTo>
                  <a:lnTo>
                    <a:pt x="369" y="184"/>
                  </a:lnTo>
                  <a:lnTo>
                    <a:pt x="366" y="187"/>
                  </a:lnTo>
                  <a:lnTo>
                    <a:pt x="366" y="192"/>
                  </a:lnTo>
                  <a:lnTo>
                    <a:pt x="364" y="200"/>
                  </a:lnTo>
                  <a:lnTo>
                    <a:pt x="361" y="203"/>
                  </a:lnTo>
                  <a:lnTo>
                    <a:pt x="361" y="205"/>
                  </a:lnTo>
                  <a:lnTo>
                    <a:pt x="361" y="205"/>
                  </a:lnTo>
                  <a:lnTo>
                    <a:pt x="361" y="208"/>
                  </a:lnTo>
                  <a:lnTo>
                    <a:pt x="361" y="208"/>
                  </a:lnTo>
                  <a:lnTo>
                    <a:pt x="361" y="208"/>
                  </a:lnTo>
                  <a:lnTo>
                    <a:pt x="361" y="211"/>
                  </a:lnTo>
                  <a:lnTo>
                    <a:pt x="361" y="211"/>
                  </a:lnTo>
                  <a:lnTo>
                    <a:pt x="372" y="211"/>
                  </a:lnTo>
                  <a:lnTo>
                    <a:pt x="372" y="211"/>
                  </a:lnTo>
                  <a:lnTo>
                    <a:pt x="377" y="213"/>
                  </a:lnTo>
                  <a:lnTo>
                    <a:pt x="382" y="213"/>
                  </a:lnTo>
                  <a:lnTo>
                    <a:pt x="393" y="216"/>
                  </a:lnTo>
                  <a:lnTo>
                    <a:pt x="401" y="216"/>
                  </a:lnTo>
                  <a:lnTo>
                    <a:pt x="404" y="227"/>
                  </a:lnTo>
                  <a:lnTo>
                    <a:pt x="417" y="229"/>
                  </a:lnTo>
                  <a:lnTo>
                    <a:pt x="425" y="235"/>
                  </a:lnTo>
                  <a:lnTo>
                    <a:pt x="433" y="237"/>
                  </a:lnTo>
                  <a:lnTo>
                    <a:pt x="438" y="240"/>
                  </a:lnTo>
                  <a:lnTo>
                    <a:pt x="446" y="235"/>
                  </a:lnTo>
                  <a:lnTo>
                    <a:pt x="446" y="232"/>
                  </a:lnTo>
                  <a:lnTo>
                    <a:pt x="457" y="227"/>
                  </a:lnTo>
                  <a:lnTo>
                    <a:pt x="513" y="243"/>
                  </a:lnTo>
                  <a:lnTo>
                    <a:pt x="521" y="237"/>
                  </a:lnTo>
                  <a:lnTo>
                    <a:pt x="526" y="235"/>
                  </a:lnTo>
                  <a:lnTo>
                    <a:pt x="529" y="235"/>
                  </a:lnTo>
                  <a:lnTo>
                    <a:pt x="532" y="235"/>
                  </a:lnTo>
                  <a:lnTo>
                    <a:pt x="537" y="232"/>
                  </a:lnTo>
                  <a:lnTo>
                    <a:pt x="537" y="232"/>
                  </a:lnTo>
                  <a:lnTo>
                    <a:pt x="540" y="229"/>
                  </a:lnTo>
                  <a:lnTo>
                    <a:pt x="550" y="221"/>
                  </a:lnTo>
                  <a:lnTo>
                    <a:pt x="553" y="224"/>
                  </a:lnTo>
                  <a:lnTo>
                    <a:pt x="556" y="219"/>
                  </a:lnTo>
                  <a:lnTo>
                    <a:pt x="558" y="219"/>
                  </a:lnTo>
                  <a:lnTo>
                    <a:pt x="558" y="216"/>
                  </a:lnTo>
                  <a:lnTo>
                    <a:pt x="569" y="208"/>
                  </a:lnTo>
                  <a:lnTo>
                    <a:pt x="572" y="208"/>
                  </a:lnTo>
                  <a:lnTo>
                    <a:pt x="569" y="20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5" name="Freeform 8902">
              <a:extLst>
                <a:ext uri="{FF2B5EF4-FFF2-40B4-BE49-F238E27FC236}">
                  <a16:creationId xmlns:a16="http://schemas.microsoft.com/office/drawing/2014/main" id="{5985AF71-4639-D14C-A8AA-07366D2496E2}"/>
                </a:ext>
              </a:extLst>
            </p:cNvPr>
            <p:cNvSpPr/>
            <p:nvPr/>
          </p:nvSpPr>
          <p:spPr bwMode="auto">
            <a:xfrm>
              <a:off x="4269580" y="4524376"/>
              <a:ext cx="542925" cy="835024"/>
            </a:xfrm>
            <a:custGeom>
              <a:avLst/>
              <a:gdLst>
                <a:gd name="T0" fmla="*/ 336 w 342"/>
                <a:gd name="T1" fmla="*/ 174 h 526"/>
                <a:gd name="T2" fmla="*/ 342 w 342"/>
                <a:gd name="T3" fmla="*/ 227 h 526"/>
                <a:gd name="T4" fmla="*/ 336 w 342"/>
                <a:gd name="T5" fmla="*/ 246 h 526"/>
                <a:gd name="T6" fmla="*/ 315 w 342"/>
                <a:gd name="T7" fmla="*/ 256 h 526"/>
                <a:gd name="T8" fmla="*/ 320 w 342"/>
                <a:gd name="T9" fmla="*/ 270 h 526"/>
                <a:gd name="T10" fmla="*/ 326 w 342"/>
                <a:gd name="T11" fmla="*/ 294 h 526"/>
                <a:gd name="T12" fmla="*/ 309 w 342"/>
                <a:gd name="T13" fmla="*/ 297 h 526"/>
                <a:gd name="T14" fmla="*/ 280 w 342"/>
                <a:gd name="T15" fmla="*/ 305 h 526"/>
                <a:gd name="T16" fmla="*/ 261 w 342"/>
                <a:gd name="T17" fmla="*/ 323 h 526"/>
                <a:gd name="T18" fmla="*/ 259 w 342"/>
                <a:gd name="T19" fmla="*/ 331 h 526"/>
                <a:gd name="T20" fmla="*/ 259 w 342"/>
                <a:gd name="T21" fmla="*/ 347 h 526"/>
                <a:gd name="T22" fmla="*/ 251 w 342"/>
                <a:gd name="T23" fmla="*/ 363 h 526"/>
                <a:gd name="T24" fmla="*/ 251 w 342"/>
                <a:gd name="T25" fmla="*/ 379 h 526"/>
                <a:gd name="T26" fmla="*/ 253 w 342"/>
                <a:gd name="T27" fmla="*/ 395 h 526"/>
                <a:gd name="T28" fmla="*/ 261 w 342"/>
                <a:gd name="T29" fmla="*/ 403 h 526"/>
                <a:gd name="T30" fmla="*/ 264 w 342"/>
                <a:gd name="T31" fmla="*/ 414 h 526"/>
                <a:gd name="T32" fmla="*/ 269 w 342"/>
                <a:gd name="T33" fmla="*/ 441 h 526"/>
                <a:gd name="T34" fmla="*/ 245 w 342"/>
                <a:gd name="T35" fmla="*/ 481 h 526"/>
                <a:gd name="T36" fmla="*/ 235 w 342"/>
                <a:gd name="T37" fmla="*/ 492 h 526"/>
                <a:gd name="T38" fmla="*/ 200 w 342"/>
                <a:gd name="T39" fmla="*/ 500 h 526"/>
                <a:gd name="T40" fmla="*/ 163 w 342"/>
                <a:gd name="T41" fmla="*/ 521 h 526"/>
                <a:gd name="T42" fmla="*/ 141 w 342"/>
                <a:gd name="T43" fmla="*/ 505 h 526"/>
                <a:gd name="T44" fmla="*/ 125 w 342"/>
                <a:gd name="T45" fmla="*/ 508 h 526"/>
                <a:gd name="T46" fmla="*/ 112 w 342"/>
                <a:gd name="T47" fmla="*/ 492 h 526"/>
                <a:gd name="T48" fmla="*/ 123 w 342"/>
                <a:gd name="T49" fmla="*/ 476 h 526"/>
                <a:gd name="T50" fmla="*/ 136 w 342"/>
                <a:gd name="T51" fmla="*/ 465 h 526"/>
                <a:gd name="T52" fmla="*/ 123 w 342"/>
                <a:gd name="T53" fmla="*/ 465 h 526"/>
                <a:gd name="T54" fmla="*/ 107 w 342"/>
                <a:gd name="T55" fmla="*/ 454 h 526"/>
                <a:gd name="T56" fmla="*/ 85 w 342"/>
                <a:gd name="T57" fmla="*/ 438 h 526"/>
                <a:gd name="T58" fmla="*/ 85 w 342"/>
                <a:gd name="T59" fmla="*/ 452 h 526"/>
                <a:gd name="T60" fmla="*/ 74 w 342"/>
                <a:gd name="T61" fmla="*/ 457 h 526"/>
                <a:gd name="T62" fmla="*/ 69 w 342"/>
                <a:gd name="T63" fmla="*/ 441 h 526"/>
                <a:gd name="T64" fmla="*/ 72 w 342"/>
                <a:gd name="T65" fmla="*/ 433 h 526"/>
                <a:gd name="T66" fmla="*/ 66 w 342"/>
                <a:gd name="T67" fmla="*/ 414 h 526"/>
                <a:gd name="T68" fmla="*/ 64 w 342"/>
                <a:gd name="T69" fmla="*/ 419 h 526"/>
                <a:gd name="T70" fmla="*/ 64 w 342"/>
                <a:gd name="T71" fmla="*/ 433 h 526"/>
                <a:gd name="T72" fmla="*/ 53 w 342"/>
                <a:gd name="T73" fmla="*/ 419 h 526"/>
                <a:gd name="T74" fmla="*/ 34 w 342"/>
                <a:gd name="T75" fmla="*/ 427 h 526"/>
                <a:gd name="T76" fmla="*/ 13 w 342"/>
                <a:gd name="T77" fmla="*/ 417 h 526"/>
                <a:gd name="T78" fmla="*/ 2 w 342"/>
                <a:gd name="T79" fmla="*/ 411 h 526"/>
                <a:gd name="T80" fmla="*/ 18 w 342"/>
                <a:gd name="T81" fmla="*/ 393 h 526"/>
                <a:gd name="T82" fmla="*/ 26 w 342"/>
                <a:gd name="T83" fmla="*/ 371 h 526"/>
                <a:gd name="T84" fmla="*/ 16 w 342"/>
                <a:gd name="T85" fmla="*/ 358 h 526"/>
                <a:gd name="T86" fmla="*/ 18 w 342"/>
                <a:gd name="T87" fmla="*/ 342 h 526"/>
                <a:gd name="T88" fmla="*/ 21 w 342"/>
                <a:gd name="T89" fmla="*/ 321 h 526"/>
                <a:gd name="T90" fmla="*/ 10 w 342"/>
                <a:gd name="T91" fmla="*/ 305 h 526"/>
                <a:gd name="T92" fmla="*/ 10 w 342"/>
                <a:gd name="T93" fmla="*/ 283 h 526"/>
                <a:gd name="T94" fmla="*/ 18 w 342"/>
                <a:gd name="T95" fmla="*/ 256 h 526"/>
                <a:gd name="T96" fmla="*/ 18 w 342"/>
                <a:gd name="T97" fmla="*/ 251 h 526"/>
                <a:gd name="T98" fmla="*/ 42 w 342"/>
                <a:gd name="T99" fmla="*/ 224 h 526"/>
                <a:gd name="T100" fmla="*/ 53 w 342"/>
                <a:gd name="T101" fmla="*/ 214 h 526"/>
                <a:gd name="T102" fmla="*/ 45 w 342"/>
                <a:gd name="T103" fmla="*/ 200 h 526"/>
                <a:gd name="T104" fmla="*/ 77 w 342"/>
                <a:gd name="T105" fmla="*/ 184 h 526"/>
                <a:gd name="T106" fmla="*/ 101 w 342"/>
                <a:gd name="T107" fmla="*/ 166 h 526"/>
                <a:gd name="T108" fmla="*/ 82 w 342"/>
                <a:gd name="T109" fmla="*/ 125 h 526"/>
                <a:gd name="T110" fmla="*/ 82 w 342"/>
                <a:gd name="T111" fmla="*/ 109 h 526"/>
                <a:gd name="T112" fmla="*/ 64 w 342"/>
                <a:gd name="T113" fmla="*/ 123 h 526"/>
                <a:gd name="T114" fmla="*/ 53 w 342"/>
                <a:gd name="T115" fmla="*/ 115 h 526"/>
                <a:gd name="T116" fmla="*/ 72 w 342"/>
                <a:gd name="T117" fmla="*/ 88 h 526"/>
                <a:gd name="T118" fmla="*/ 123 w 342"/>
                <a:gd name="T119" fmla="*/ 21 h 526"/>
                <a:gd name="T120" fmla="*/ 112 w 342"/>
                <a:gd name="T121" fmla="*/ 48 h 526"/>
                <a:gd name="T122" fmla="*/ 168 w 342"/>
                <a:gd name="T123" fmla="*/ 69 h 526"/>
                <a:gd name="T124" fmla="*/ 283 w 342"/>
                <a:gd name="T125" fmla="*/ 75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2" h="526" extrusionOk="0">
                  <a:moveTo>
                    <a:pt x="320" y="48"/>
                  </a:moveTo>
                  <a:lnTo>
                    <a:pt x="328" y="64"/>
                  </a:lnTo>
                  <a:lnTo>
                    <a:pt x="309" y="72"/>
                  </a:lnTo>
                  <a:lnTo>
                    <a:pt x="317" y="88"/>
                  </a:lnTo>
                  <a:lnTo>
                    <a:pt x="307" y="93"/>
                  </a:lnTo>
                  <a:lnTo>
                    <a:pt x="328" y="117"/>
                  </a:lnTo>
                  <a:lnTo>
                    <a:pt x="326" y="125"/>
                  </a:lnTo>
                  <a:lnTo>
                    <a:pt x="320" y="147"/>
                  </a:lnTo>
                  <a:lnTo>
                    <a:pt x="328" y="147"/>
                  </a:lnTo>
                  <a:lnTo>
                    <a:pt x="331" y="174"/>
                  </a:lnTo>
                  <a:lnTo>
                    <a:pt x="336" y="174"/>
                  </a:lnTo>
                  <a:lnTo>
                    <a:pt x="339" y="190"/>
                  </a:lnTo>
                  <a:lnTo>
                    <a:pt x="342" y="198"/>
                  </a:lnTo>
                  <a:lnTo>
                    <a:pt x="339" y="208"/>
                  </a:lnTo>
                  <a:lnTo>
                    <a:pt x="339" y="211"/>
                  </a:lnTo>
                  <a:lnTo>
                    <a:pt x="339" y="216"/>
                  </a:lnTo>
                  <a:lnTo>
                    <a:pt x="339" y="219"/>
                  </a:lnTo>
                  <a:lnTo>
                    <a:pt x="339" y="222"/>
                  </a:lnTo>
                  <a:lnTo>
                    <a:pt x="342" y="222"/>
                  </a:lnTo>
                  <a:lnTo>
                    <a:pt x="342" y="224"/>
                  </a:lnTo>
                  <a:lnTo>
                    <a:pt x="342" y="224"/>
                  </a:lnTo>
                  <a:lnTo>
                    <a:pt x="342" y="227"/>
                  </a:lnTo>
                  <a:lnTo>
                    <a:pt x="342" y="230"/>
                  </a:lnTo>
                  <a:lnTo>
                    <a:pt x="339" y="230"/>
                  </a:lnTo>
                  <a:lnTo>
                    <a:pt x="339" y="232"/>
                  </a:lnTo>
                  <a:lnTo>
                    <a:pt x="339" y="232"/>
                  </a:lnTo>
                  <a:lnTo>
                    <a:pt x="339" y="232"/>
                  </a:lnTo>
                  <a:lnTo>
                    <a:pt x="339" y="235"/>
                  </a:lnTo>
                  <a:lnTo>
                    <a:pt x="339" y="238"/>
                  </a:lnTo>
                  <a:lnTo>
                    <a:pt x="339" y="240"/>
                  </a:lnTo>
                  <a:lnTo>
                    <a:pt x="339" y="243"/>
                  </a:lnTo>
                  <a:lnTo>
                    <a:pt x="339" y="243"/>
                  </a:lnTo>
                  <a:lnTo>
                    <a:pt x="336" y="246"/>
                  </a:lnTo>
                  <a:lnTo>
                    <a:pt x="334" y="246"/>
                  </a:lnTo>
                  <a:lnTo>
                    <a:pt x="331" y="246"/>
                  </a:lnTo>
                  <a:lnTo>
                    <a:pt x="331" y="248"/>
                  </a:lnTo>
                  <a:lnTo>
                    <a:pt x="331" y="248"/>
                  </a:lnTo>
                  <a:lnTo>
                    <a:pt x="328" y="251"/>
                  </a:lnTo>
                  <a:lnTo>
                    <a:pt x="326" y="248"/>
                  </a:lnTo>
                  <a:lnTo>
                    <a:pt x="326" y="248"/>
                  </a:lnTo>
                  <a:lnTo>
                    <a:pt x="320" y="256"/>
                  </a:lnTo>
                  <a:lnTo>
                    <a:pt x="317" y="256"/>
                  </a:lnTo>
                  <a:lnTo>
                    <a:pt x="317" y="256"/>
                  </a:lnTo>
                  <a:lnTo>
                    <a:pt x="315" y="256"/>
                  </a:lnTo>
                  <a:lnTo>
                    <a:pt x="312" y="256"/>
                  </a:lnTo>
                  <a:lnTo>
                    <a:pt x="312" y="256"/>
                  </a:lnTo>
                  <a:lnTo>
                    <a:pt x="309" y="256"/>
                  </a:lnTo>
                  <a:lnTo>
                    <a:pt x="309" y="259"/>
                  </a:lnTo>
                  <a:lnTo>
                    <a:pt x="309" y="264"/>
                  </a:lnTo>
                  <a:lnTo>
                    <a:pt x="309" y="264"/>
                  </a:lnTo>
                  <a:lnTo>
                    <a:pt x="320" y="264"/>
                  </a:lnTo>
                  <a:lnTo>
                    <a:pt x="326" y="267"/>
                  </a:lnTo>
                  <a:lnTo>
                    <a:pt x="326" y="270"/>
                  </a:lnTo>
                  <a:lnTo>
                    <a:pt x="320" y="267"/>
                  </a:lnTo>
                  <a:lnTo>
                    <a:pt x="320" y="270"/>
                  </a:lnTo>
                  <a:lnTo>
                    <a:pt x="320" y="272"/>
                  </a:lnTo>
                  <a:lnTo>
                    <a:pt x="320" y="275"/>
                  </a:lnTo>
                  <a:lnTo>
                    <a:pt x="320" y="278"/>
                  </a:lnTo>
                  <a:lnTo>
                    <a:pt x="320" y="280"/>
                  </a:lnTo>
                  <a:lnTo>
                    <a:pt x="323" y="280"/>
                  </a:lnTo>
                  <a:lnTo>
                    <a:pt x="323" y="280"/>
                  </a:lnTo>
                  <a:lnTo>
                    <a:pt x="323" y="283"/>
                  </a:lnTo>
                  <a:lnTo>
                    <a:pt x="323" y="283"/>
                  </a:lnTo>
                  <a:lnTo>
                    <a:pt x="328" y="288"/>
                  </a:lnTo>
                  <a:lnTo>
                    <a:pt x="331" y="294"/>
                  </a:lnTo>
                  <a:lnTo>
                    <a:pt x="326" y="294"/>
                  </a:lnTo>
                  <a:lnTo>
                    <a:pt x="323" y="294"/>
                  </a:lnTo>
                  <a:lnTo>
                    <a:pt x="320" y="297"/>
                  </a:lnTo>
                  <a:lnTo>
                    <a:pt x="317" y="297"/>
                  </a:lnTo>
                  <a:lnTo>
                    <a:pt x="317" y="294"/>
                  </a:lnTo>
                  <a:lnTo>
                    <a:pt x="317" y="294"/>
                  </a:lnTo>
                  <a:lnTo>
                    <a:pt x="315" y="294"/>
                  </a:lnTo>
                  <a:lnTo>
                    <a:pt x="315" y="294"/>
                  </a:lnTo>
                  <a:lnTo>
                    <a:pt x="312" y="291"/>
                  </a:lnTo>
                  <a:lnTo>
                    <a:pt x="312" y="291"/>
                  </a:lnTo>
                  <a:lnTo>
                    <a:pt x="309" y="294"/>
                  </a:lnTo>
                  <a:lnTo>
                    <a:pt x="309" y="297"/>
                  </a:lnTo>
                  <a:lnTo>
                    <a:pt x="307" y="297"/>
                  </a:lnTo>
                  <a:lnTo>
                    <a:pt x="304" y="297"/>
                  </a:lnTo>
                  <a:lnTo>
                    <a:pt x="296" y="291"/>
                  </a:lnTo>
                  <a:lnTo>
                    <a:pt x="293" y="294"/>
                  </a:lnTo>
                  <a:lnTo>
                    <a:pt x="293" y="297"/>
                  </a:lnTo>
                  <a:lnTo>
                    <a:pt x="293" y="299"/>
                  </a:lnTo>
                  <a:lnTo>
                    <a:pt x="291" y="299"/>
                  </a:lnTo>
                  <a:lnTo>
                    <a:pt x="288" y="299"/>
                  </a:lnTo>
                  <a:lnTo>
                    <a:pt x="283" y="299"/>
                  </a:lnTo>
                  <a:lnTo>
                    <a:pt x="283" y="302"/>
                  </a:lnTo>
                  <a:lnTo>
                    <a:pt x="280" y="305"/>
                  </a:lnTo>
                  <a:lnTo>
                    <a:pt x="277" y="305"/>
                  </a:lnTo>
                  <a:lnTo>
                    <a:pt x="269" y="307"/>
                  </a:lnTo>
                  <a:lnTo>
                    <a:pt x="267" y="313"/>
                  </a:lnTo>
                  <a:lnTo>
                    <a:pt x="269" y="318"/>
                  </a:lnTo>
                  <a:lnTo>
                    <a:pt x="269" y="318"/>
                  </a:lnTo>
                  <a:lnTo>
                    <a:pt x="269" y="321"/>
                  </a:lnTo>
                  <a:lnTo>
                    <a:pt x="269" y="323"/>
                  </a:lnTo>
                  <a:lnTo>
                    <a:pt x="269" y="323"/>
                  </a:lnTo>
                  <a:lnTo>
                    <a:pt x="267" y="323"/>
                  </a:lnTo>
                  <a:lnTo>
                    <a:pt x="264" y="323"/>
                  </a:lnTo>
                  <a:lnTo>
                    <a:pt x="261" y="323"/>
                  </a:lnTo>
                  <a:lnTo>
                    <a:pt x="259" y="323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6"/>
                  </a:lnTo>
                  <a:lnTo>
                    <a:pt x="256" y="326"/>
                  </a:lnTo>
                  <a:lnTo>
                    <a:pt x="259" y="329"/>
                  </a:lnTo>
                  <a:lnTo>
                    <a:pt x="259" y="331"/>
                  </a:lnTo>
                  <a:lnTo>
                    <a:pt x="261" y="331"/>
                  </a:lnTo>
                  <a:lnTo>
                    <a:pt x="261" y="334"/>
                  </a:lnTo>
                  <a:lnTo>
                    <a:pt x="259" y="331"/>
                  </a:lnTo>
                  <a:lnTo>
                    <a:pt x="259" y="334"/>
                  </a:lnTo>
                  <a:lnTo>
                    <a:pt x="256" y="334"/>
                  </a:lnTo>
                  <a:lnTo>
                    <a:pt x="253" y="337"/>
                  </a:lnTo>
                  <a:lnTo>
                    <a:pt x="256" y="339"/>
                  </a:lnTo>
                  <a:lnTo>
                    <a:pt x="256" y="342"/>
                  </a:lnTo>
                  <a:lnTo>
                    <a:pt x="256" y="342"/>
                  </a:lnTo>
                  <a:lnTo>
                    <a:pt x="261" y="339"/>
                  </a:lnTo>
                  <a:lnTo>
                    <a:pt x="261" y="342"/>
                  </a:lnTo>
                  <a:lnTo>
                    <a:pt x="261" y="345"/>
                  </a:lnTo>
                  <a:lnTo>
                    <a:pt x="261" y="347"/>
                  </a:lnTo>
                  <a:lnTo>
                    <a:pt x="259" y="347"/>
                  </a:lnTo>
                  <a:lnTo>
                    <a:pt x="256" y="347"/>
                  </a:lnTo>
                  <a:lnTo>
                    <a:pt x="253" y="347"/>
                  </a:lnTo>
                  <a:lnTo>
                    <a:pt x="253" y="350"/>
                  </a:lnTo>
                  <a:lnTo>
                    <a:pt x="251" y="350"/>
                  </a:lnTo>
                  <a:lnTo>
                    <a:pt x="253" y="353"/>
                  </a:lnTo>
                  <a:lnTo>
                    <a:pt x="251" y="353"/>
                  </a:lnTo>
                  <a:lnTo>
                    <a:pt x="248" y="355"/>
                  </a:lnTo>
                  <a:lnTo>
                    <a:pt x="251" y="358"/>
                  </a:lnTo>
                  <a:lnTo>
                    <a:pt x="251" y="358"/>
                  </a:lnTo>
                  <a:lnTo>
                    <a:pt x="251" y="361"/>
                  </a:lnTo>
                  <a:lnTo>
                    <a:pt x="251" y="363"/>
                  </a:lnTo>
                  <a:lnTo>
                    <a:pt x="251" y="363"/>
                  </a:lnTo>
                  <a:lnTo>
                    <a:pt x="251" y="366"/>
                  </a:lnTo>
                  <a:lnTo>
                    <a:pt x="253" y="366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74"/>
                  </a:lnTo>
                  <a:lnTo>
                    <a:pt x="253" y="374"/>
                  </a:lnTo>
                  <a:lnTo>
                    <a:pt x="253" y="377"/>
                  </a:lnTo>
                  <a:lnTo>
                    <a:pt x="253" y="377"/>
                  </a:lnTo>
                  <a:lnTo>
                    <a:pt x="251" y="377"/>
                  </a:lnTo>
                  <a:lnTo>
                    <a:pt x="251" y="379"/>
                  </a:lnTo>
                  <a:lnTo>
                    <a:pt x="251" y="382"/>
                  </a:lnTo>
                  <a:lnTo>
                    <a:pt x="251" y="382"/>
                  </a:lnTo>
                  <a:lnTo>
                    <a:pt x="253" y="382"/>
                  </a:lnTo>
                  <a:lnTo>
                    <a:pt x="251" y="385"/>
                  </a:lnTo>
                  <a:lnTo>
                    <a:pt x="253" y="387"/>
                  </a:lnTo>
                  <a:lnTo>
                    <a:pt x="253" y="387"/>
                  </a:lnTo>
                  <a:lnTo>
                    <a:pt x="256" y="387"/>
                  </a:lnTo>
                  <a:lnTo>
                    <a:pt x="256" y="390"/>
                  </a:lnTo>
                  <a:lnTo>
                    <a:pt x="256" y="395"/>
                  </a:lnTo>
                  <a:lnTo>
                    <a:pt x="256" y="395"/>
                  </a:lnTo>
                  <a:lnTo>
                    <a:pt x="253" y="395"/>
                  </a:lnTo>
                  <a:lnTo>
                    <a:pt x="253" y="398"/>
                  </a:lnTo>
                  <a:lnTo>
                    <a:pt x="251" y="398"/>
                  </a:lnTo>
                  <a:lnTo>
                    <a:pt x="251" y="401"/>
                  </a:lnTo>
                  <a:lnTo>
                    <a:pt x="251" y="403"/>
                  </a:lnTo>
                  <a:lnTo>
                    <a:pt x="251" y="403"/>
                  </a:lnTo>
                  <a:lnTo>
                    <a:pt x="253" y="403"/>
                  </a:lnTo>
                  <a:lnTo>
                    <a:pt x="256" y="403"/>
                  </a:lnTo>
                  <a:lnTo>
                    <a:pt x="256" y="403"/>
                  </a:lnTo>
                  <a:lnTo>
                    <a:pt x="259" y="403"/>
                  </a:lnTo>
                  <a:lnTo>
                    <a:pt x="261" y="403"/>
                  </a:lnTo>
                  <a:lnTo>
                    <a:pt x="261" y="403"/>
                  </a:lnTo>
                  <a:lnTo>
                    <a:pt x="259" y="406"/>
                  </a:lnTo>
                  <a:lnTo>
                    <a:pt x="256" y="406"/>
                  </a:lnTo>
                  <a:lnTo>
                    <a:pt x="256" y="406"/>
                  </a:lnTo>
                  <a:lnTo>
                    <a:pt x="259" y="409"/>
                  </a:lnTo>
                  <a:lnTo>
                    <a:pt x="259" y="411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59" y="414"/>
                  </a:lnTo>
                  <a:lnTo>
                    <a:pt x="261" y="414"/>
                  </a:lnTo>
                  <a:lnTo>
                    <a:pt x="261" y="414"/>
                  </a:lnTo>
                  <a:lnTo>
                    <a:pt x="264" y="414"/>
                  </a:lnTo>
                  <a:lnTo>
                    <a:pt x="264" y="417"/>
                  </a:lnTo>
                  <a:lnTo>
                    <a:pt x="264" y="427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72" y="427"/>
                  </a:lnTo>
                  <a:lnTo>
                    <a:pt x="269" y="430"/>
                  </a:lnTo>
                  <a:lnTo>
                    <a:pt x="269" y="430"/>
                  </a:lnTo>
                  <a:lnTo>
                    <a:pt x="272" y="433"/>
                  </a:lnTo>
                  <a:lnTo>
                    <a:pt x="272" y="435"/>
                  </a:lnTo>
                  <a:lnTo>
                    <a:pt x="269" y="438"/>
                  </a:lnTo>
                  <a:lnTo>
                    <a:pt x="269" y="441"/>
                  </a:lnTo>
                  <a:lnTo>
                    <a:pt x="267" y="441"/>
                  </a:lnTo>
                  <a:lnTo>
                    <a:pt x="267" y="441"/>
                  </a:lnTo>
                  <a:lnTo>
                    <a:pt x="264" y="441"/>
                  </a:lnTo>
                  <a:lnTo>
                    <a:pt x="261" y="441"/>
                  </a:lnTo>
                  <a:lnTo>
                    <a:pt x="261" y="443"/>
                  </a:lnTo>
                  <a:lnTo>
                    <a:pt x="261" y="449"/>
                  </a:lnTo>
                  <a:lnTo>
                    <a:pt x="259" y="457"/>
                  </a:lnTo>
                  <a:lnTo>
                    <a:pt x="253" y="481"/>
                  </a:lnTo>
                  <a:lnTo>
                    <a:pt x="253" y="481"/>
                  </a:lnTo>
                  <a:lnTo>
                    <a:pt x="248" y="481"/>
                  </a:lnTo>
                  <a:lnTo>
                    <a:pt x="245" y="481"/>
                  </a:lnTo>
                  <a:lnTo>
                    <a:pt x="243" y="478"/>
                  </a:lnTo>
                  <a:lnTo>
                    <a:pt x="243" y="478"/>
                  </a:lnTo>
                  <a:lnTo>
                    <a:pt x="240" y="481"/>
                  </a:lnTo>
                  <a:lnTo>
                    <a:pt x="237" y="481"/>
                  </a:lnTo>
                  <a:lnTo>
                    <a:pt x="235" y="484"/>
                  </a:lnTo>
                  <a:lnTo>
                    <a:pt x="235" y="484"/>
                  </a:lnTo>
                  <a:lnTo>
                    <a:pt x="235" y="484"/>
                  </a:lnTo>
                  <a:lnTo>
                    <a:pt x="237" y="486"/>
                  </a:lnTo>
                  <a:lnTo>
                    <a:pt x="237" y="489"/>
                  </a:lnTo>
                  <a:lnTo>
                    <a:pt x="235" y="492"/>
                  </a:lnTo>
                  <a:lnTo>
                    <a:pt x="235" y="492"/>
                  </a:lnTo>
                  <a:lnTo>
                    <a:pt x="232" y="492"/>
                  </a:lnTo>
                  <a:lnTo>
                    <a:pt x="229" y="494"/>
                  </a:lnTo>
                  <a:lnTo>
                    <a:pt x="224" y="497"/>
                  </a:lnTo>
                  <a:lnTo>
                    <a:pt x="216" y="500"/>
                  </a:lnTo>
                  <a:lnTo>
                    <a:pt x="213" y="502"/>
                  </a:lnTo>
                  <a:lnTo>
                    <a:pt x="211" y="502"/>
                  </a:lnTo>
                  <a:lnTo>
                    <a:pt x="208" y="502"/>
                  </a:lnTo>
                  <a:lnTo>
                    <a:pt x="205" y="500"/>
                  </a:lnTo>
                  <a:lnTo>
                    <a:pt x="203" y="500"/>
                  </a:lnTo>
                  <a:lnTo>
                    <a:pt x="200" y="500"/>
                  </a:lnTo>
                  <a:lnTo>
                    <a:pt x="200" y="500"/>
                  </a:lnTo>
                  <a:lnTo>
                    <a:pt x="197" y="497"/>
                  </a:lnTo>
                  <a:lnTo>
                    <a:pt x="195" y="505"/>
                  </a:lnTo>
                  <a:lnTo>
                    <a:pt x="189" y="502"/>
                  </a:lnTo>
                  <a:lnTo>
                    <a:pt x="184" y="510"/>
                  </a:lnTo>
                  <a:lnTo>
                    <a:pt x="176" y="505"/>
                  </a:lnTo>
                  <a:lnTo>
                    <a:pt x="171" y="513"/>
                  </a:lnTo>
                  <a:lnTo>
                    <a:pt x="173" y="516"/>
                  </a:lnTo>
                  <a:lnTo>
                    <a:pt x="173" y="518"/>
                  </a:lnTo>
                  <a:lnTo>
                    <a:pt x="165" y="526"/>
                  </a:lnTo>
                  <a:lnTo>
                    <a:pt x="163" y="521"/>
                  </a:lnTo>
                  <a:lnTo>
                    <a:pt x="163" y="521"/>
                  </a:lnTo>
                  <a:lnTo>
                    <a:pt x="163" y="518"/>
                  </a:lnTo>
                  <a:lnTo>
                    <a:pt x="163" y="516"/>
                  </a:lnTo>
                  <a:lnTo>
                    <a:pt x="160" y="513"/>
                  </a:lnTo>
                  <a:lnTo>
                    <a:pt x="160" y="513"/>
                  </a:lnTo>
                  <a:lnTo>
                    <a:pt x="157" y="510"/>
                  </a:lnTo>
                  <a:lnTo>
                    <a:pt x="155" y="513"/>
                  </a:lnTo>
                  <a:lnTo>
                    <a:pt x="149" y="513"/>
                  </a:lnTo>
                  <a:lnTo>
                    <a:pt x="152" y="505"/>
                  </a:lnTo>
                  <a:lnTo>
                    <a:pt x="144" y="502"/>
                  </a:lnTo>
                  <a:lnTo>
                    <a:pt x="144" y="502"/>
                  </a:lnTo>
                  <a:lnTo>
                    <a:pt x="141" y="505"/>
                  </a:lnTo>
                  <a:lnTo>
                    <a:pt x="141" y="505"/>
                  </a:lnTo>
                  <a:lnTo>
                    <a:pt x="139" y="508"/>
                  </a:lnTo>
                  <a:lnTo>
                    <a:pt x="136" y="508"/>
                  </a:lnTo>
                  <a:lnTo>
                    <a:pt x="133" y="505"/>
                  </a:lnTo>
                  <a:lnTo>
                    <a:pt x="133" y="502"/>
                  </a:lnTo>
                  <a:lnTo>
                    <a:pt x="131" y="502"/>
                  </a:lnTo>
                  <a:lnTo>
                    <a:pt x="131" y="505"/>
                  </a:lnTo>
                  <a:lnTo>
                    <a:pt x="128" y="505"/>
                  </a:lnTo>
                  <a:lnTo>
                    <a:pt x="128" y="508"/>
                  </a:lnTo>
                  <a:lnTo>
                    <a:pt x="125" y="508"/>
                  </a:lnTo>
                  <a:lnTo>
                    <a:pt x="125" y="508"/>
                  </a:lnTo>
                  <a:lnTo>
                    <a:pt x="123" y="510"/>
                  </a:lnTo>
                  <a:lnTo>
                    <a:pt x="115" y="516"/>
                  </a:lnTo>
                  <a:lnTo>
                    <a:pt x="109" y="513"/>
                  </a:lnTo>
                  <a:lnTo>
                    <a:pt x="112" y="510"/>
                  </a:lnTo>
                  <a:lnTo>
                    <a:pt x="112" y="508"/>
                  </a:lnTo>
                  <a:lnTo>
                    <a:pt x="112" y="508"/>
                  </a:lnTo>
                  <a:lnTo>
                    <a:pt x="107" y="500"/>
                  </a:lnTo>
                  <a:lnTo>
                    <a:pt x="109" y="497"/>
                  </a:lnTo>
                  <a:lnTo>
                    <a:pt x="109" y="494"/>
                  </a:lnTo>
                  <a:lnTo>
                    <a:pt x="109" y="492"/>
                  </a:lnTo>
                  <a:lnTo>
                    <a:pt x="112" y="492"/>
                  </a:lnTo>
                  <a:lnTo>
                    <a:pt x="112" y="492"/>
                  </a:lnTo>
                  <a:lnTo>
                    <a:pt x="115" y="489"/>
                  </a:lnTo>
                  <a:lnTo>
                    <a:pt x="115" y="486"/>
                  </a:lnTo>
                  <a:lnTo>
                    <a:pt x="117" y="484"/>
                  </a:lnTo>
                  <a:lnTo>
                    <a:pt x="117" y="484"/>
                  </a:lnTo>
                  <a:lnTo>
                    <a:pt x="117" y="481"/>
                  </a:lnTo>
                  <a:lnTo>
                    <a:pt x="120" y="481"/>
                  </a:lnTo>
                  <a:lnTo>
                    <a:pt x="123" y="481"/>
                  </a:lnTo>
                  <a:lnTo>
                    <a:pt x="123" y="478"/>
                  </a:lnTo>
                  <a:lnTo>
                    <a:pt x="123" y="478"/>
                  </a:lnTo>
                  <a:lnTo>
                    <a:pt x="123" y="476"/>
                  </a:lnTo>
                  <a:lnTo>
                    <a:pt x="125" y="476"/>
                  </a:lnTo>
                  <a:lnTo>
                    <a:pt x="136" y="481"/>
                  </a:lnTo>
                  <a:lnTo>
                    <a:pt x="147" y="462"/>
                  </a:lnTo>
                  <a:lnTo>
                    <a:pt x="144" y="462"/>
                  </a:lnTo>
                  <a:lnTo>
                    <a:pt x="144" y="462"/>
                  </a:lnTo>
                  <a:lnTo>
                    <a:pt x="141" y="460"/>
                  </a:lnTo>
                  <a:lnTo>
                    <a:pt x="139" y="460"/>
                  </a:lnTo>
                  <a:lnTo>
                    <a:pt x="139" y="462"/>
                  </a:lnTo>
                  <a:lnTo>
                    <a:pt x="139" y="462"/>
                  </a:lnTo>
                  <a:lnTo>
                    <a:pt x="139" y="465"/>
                  </a:lnTo>
                  <a:lnTo>
                    <a:pt x="136" y="465"/>
                  </a:lnTo>
                  <a:lnTo>
                    <a:pt x="136" y="465"/>
                  </a:lnTo>
                  <a:lnTo>
                    <a:pt x="133" y="462"/>
                  </a:lnTo>
                  <a:lnTo>
                    <a:pt x="131" y="465"/>
                  </a:lnTo>
                  <a:lnTo>
                    <a:pt x="131" y="468"/>
                  </a:lnTo>
                  <a:lnTo>
                    <a:pt x="131" y="470"/>
                  </a:lnTo>
                  <a:lnTo>
                    <a:pt x="131" y="470"/>
                  </a:lnTo>
                  <a:lnTo>
                    <a:pt x="128" y="470"/>
                  </a:lnTo>
                  <a:lnTo>
                    <a:pt x="128" y="468"/>
                  </a:lnTo>
                  <a:lnTo>
                    <a:pt x="125" y="468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8"/>
                  </a:lnTo>
                  <a:lnTo>
                    <a:pt x="123" y="468"/>
                  </a:lnTo>
                  <a:lnTo>
                    <a:pt x="117" y="468"/>
                  </a:lnTo>
                  <a:lnTo>
                    <a:pt x="117" y="468"/>
                  </a:lnTo>
                  <a:lnTo>
                    <a:pt x="115" y="465"/>
                  </a:lnTo>
                  <a:lnTo>
                    <a:pt x="112" y="462"/>
                  </a:lnTo>
                  <a:lnTo>
                    <a:pt x="109" y="462"/>
                  </a:lnTo>
                  <a:lnTo>
                    <a:pt x="107" y="460"/>
                  </a:lnTo>
                  <a:lnTo>
                    <a:pt x="107" y="460"/>
                  </a:lnTo>
                  <a:lnTo>
                    <a:pt x="107" y="457"/>
                  </a:lnTo>
                  <a:lnTo>
                    <a:pt x="107" y="454"/>
                  </a:lnTo>
                  <a:lnTo>
                    <a:pt x="104" y="454"/>
                  </a:lnTo>
                  <a:lnTo>
                    <a:pt x="104" y="449"/>
                  </a:lnTo>
                  <a:lnTo>
                    <a:pt x="101" y="446"/>
                  </a:lnTo>
                  <a:lnTo>
                    <a:pt x="99" y="446"/>
                  </a:lnTo>
                  <a:lnTo>
                    <a:pt x="96" y="446"/>
                  </a:lnTo>
                  <a:lnTo>
                    <a:pt x="96" y="443"/>
                  </a:lnTo>
                  <a:lnTo>
                    <a:pt x="93" y="443"/>
                  </a:lnTo>
                  <a:lnTo>
                    <a:pt x="91" y="443"/>
                  </a:lnTo>
                  <a:lnTo>
                    <a:pt x="88" y="441"/>
                  </a:lnTo>
                  <a:lnTo>
                    <a:pt x="85" y="441"/>
                  </a:lnTo>
                  <a:lnTo>
                    <a:pt x="85" y="438"/>
                  </a:lnTo>
                  <a:lnTo>
                    <a:pt x="82" y="441"/>
                  </a:lnTo>
                  <a:lnTo>
                    <a:pt x="82" y="441"/>
                  </a:lnTo>
                  <a:lnTo>
                    <a:pt x="80" y="441"/>
                  </a:lnTo>
                  <a:lnTo>
                    <a:pt x="80" y="443"/>
                  </a:lnTo>
                  <a:lnTo>
                    <a:pt x="77" y="446"/>
                  </a:lnTo>
                  <a:lnTo>
                    <a:pt x="80" y="446"/>
                  </a:lnTo>
                  <a:lnTo>
                    <a:pt x="80" y="446"/>
                  </a:lnTo>
                  <a:lnTo>
                    <a:pt x="82" y="446"/>
                  </a:lnTo>
                  <a:lnTo>
                    <a:pt x="85" y="449"/>
                  </a:lnTo>
                  <a:lnTo>
                    <a:pt x="85" y="449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2" y="457"/>
                  </a:lnTo>
                  <a:lnTo>
                    <a:pt x="80" y="457"/>
                  </a:lnTo>
                  <a:lnTo>
                    <a:pt x="80" y="454"/>
                  </a:lnTo>
                  <a:lnTo>
                    <a:pt x="77" y="452"/>
                  </a:lnTo>
                  <a:lnTo>
                    <a:pt x="77" y="454"/>
                  </a:lnTo>
                  <a:lnTo>
                    <a:pt x="74" y="457"/>
                  </a:lnTo>
                  <a:lnTo>
                    <a:pt x="74" y="457"/>
                  </a:lnTo>
                  <a:lnTo>
                    <a:pt x="72" y="460"/>
                  </a:lnTo>
                  <a:lnTo>
                    <a:pt x="69" y="460"/>
                  </a:lnTo>
                  <a:lnTo>
                    <a:pt x="66" y="454"/>
                  </a:lnTo>
                  <a:lnTo>
                    <a:pt x="69" y="452"/>
                  </a:lnTo>
                  <a:lnTo>
                    <a:pt x="69" y="449"/>
                  </a:lnTo>
                  <a:lnTo>
                    <a:pt x="72" y="446"/>
                  </a:lnTo>
                  <a:lnTo>
                    <a:pt x="72" y="446"/>
                  </a:lnTo>
                  <a:lnTo>
                    <a:pt x="72" y="443"/>
                  </a:lnTo>
                  <a:lnTo>
                    <a:pt x="72" y="443"/>
                  </a:lnTo>
                  <a:lnTo>
                    <a:pt x="72" y="441"/>
                  </a:lnTo>
                  <a:lnTo>
                    <a:pt x="69" y="441"/>
                  </a:lnTo>
                  <a:lnTo>
                    <a:pt x="72" y="438"/>
                  </a:lnTo>
                  <a:lnTo>
                    <a:pt x="72" y="438"/>
                  </a:lnTo>
                  <a:lnTo>
                    <a:pt x="72" y="438"/>
                  </a:lnTo>
                  <a:lnTo>
                    <a:pt x="74" y="438"/>
                  </a:lnTo>
                  <a:lnTo>
                    <a:pt x="77" y="438"/>
                  </a:lnTo>
                  <a:lnTo>
                    <a:pt x="77" y="441"/>
                  </a:lnTo>
                  <a:lnTo>
                    <a:pt x="80" y="438"/>
                  </a:lnTo>
                  <a:lnTo>
                    <a:pt x="77" y="435"/>
                  </a:lnTo>
                  <a:lnTo>
                    <a:pt x="77" y="435"/>
                  </a:lnTo>
                  <a:lnTo>
                    <a:pt x="74" y="435"/>
                  </a:lnTo>
                  <a:lnTo>
                    <a:pt x="72" y="433"/>
                  </a:lnTo>
                  <a:lnTo>
                    <a:pt x="69" y="430"/>
                  </a:lnTo>
                  <a:lnTo>
                    <a:pt x="69" y="430"/>
                  </a:lnTo>
                  <a:lnTo>
                    <a:pt x="69" y="427"/>
                  </a:lnTo>
                  <a:lnTo>
                    <a:pt x="72" y="425"/>
                  </a:lnTo>
                  <a:lnTo>
                    <a:pt x="69" y="422"/>
                  </a:lnTo>
                  <a:lnTo>
                    <a:pt x="69" y="422"/>
                  </a:lnTo>
                  <a:lnTo>
                    <a:pt x="72" y="419"/>
                  </a:lnTo>
                  <a:lnTo>
                    <a:pt x="69" y="417"/>
                  </a:lnTo>
                  <a:lnTo>
                    <a:pt x="69" y="417"/>
                  </a:lnTo>
                  <a:lnTo>
                    <a:pt x="69" y="414"/>
                  </a:lnTo>
                  <a:lnTo>
                    <a:pt x="66" y="414"/>
                  </a:lnTo>
                  <a:lnTo>
                    <a:pt x="66" y="411"/>
                  </a:lnTo>
                  <a:lnTo>
                    <a:pt x="64" y="411"/>
                  </a:lnTo>
                  <a:lnTo>
                    <a:pt x="61" y="411"/>
                  </a:lnTo>
                  <a:lnTo>
                    <a:pt x="58" y="409"/>
                  </a:lnTo>
                  <a:lnTo>
                    <a:pt x="58" y="411"/>
                  </a:lnTo>
                  <a:lnTo>
                    <a:pt x="58" y="411"/>
                  </a:lnTo>
                  <a:lnTo>
                    <a:pt x="61" y="414"/>
                  </a:lnTo>
                  <a:lnTo>
                    <a:pt x="61" y="414"/>
                  </a:lnTo>
                  <a:lnTo>
                    <a:pt x="61" y="417"/>
                  </a:lnTo>
                  <a:lnTo>
                    <a:pt x="61" y="417"/>
                  </a:lnTo>
                  <a:lnTo>
                    <a:pt x="64" y="419"/>
                  </a:lnTo>
                  <a:lnTo>
                    <a:pt x="61" y="419"/>
                  </a:lnTo>
                  <a:lnTo>
                    <a:pt x="61" y="419"/>
                  </a:lnTo>
                  <a:lnTo>
                    <a:pt x="58" y="422"/>
                  </a:lnTo>
                  <a:lnTo>
                    <a:pt x="58" y="422"/>
                  </a:lnTo>
                  <a:lnTo>
                    <a:pt x="58" y="425"/>
                  </a:lnTo>
                  <a:lnTo>
                    <a:pt x="58" y="425"/>
                  </a:lnTo>
                  <a:lnTo>
                    <a:pt x="61" y="427"/>
                  </a:lnTo>
                  <a:lnTo>
                    <a:pt x="64" y="427"/>
                  </a:lnTo>
                  <a:lnTo>
                    <a:pt x="64" y="430"/>
                  </a:lnTo>
                  <a:lnTo>
                    <a:pt x="64" y="430"/>
                  </a:lnTo>
                  <a:lnTo>
                    <a:pt x="64" y="433"/>
                  </a:lnTo>
                  <a:lnTo>
                    <a:pt x="61" y="433"/>
                  </a:lnTo>
                  <a:lnTo>
                    <a:pt x="61" y="433"/>
                  </a:lnTo>
                  <a:lnTo>
                    <a:pt x="58" y="430"/>
                  </a:lnTo>
                  <a:lnTo>
                    <a:pt x="58" y="430"/>
                  </a:lnTo>
                  <a:lnTo>
                    <a:pt x="58" y="427"/>
                  </a:lnTo>
                  <a:lnTo>
                    <a:pt x="56" y="427"/>
                  </a:lnTo>
                  <a:lnTo>
                    <a:pt x="56" y="427"/>
                  </a:lnTo>
                  <a:lnTo>
                    <a:pt x="56" y="425"/>
                  </a:lnTo>
                  <a:lnTo>
                    <a:pt x="56" y="425"/>
                  </a:lnTo>
                  <a:lnTo>
                    <a:pt x="53" y="422"/>
                  </a:lnTo>
                  <a:lnTo>
                    <a:pt x="53" y="419"/>
                  </a:lnTo>
                  <a:lnTo>
                    <a:pt x="48" y="419"/>
                  </a:lnTo>
                  <a:lnTo>
                    <a:pt x="42" y="417"/>
                  </a:lnTo>
                  <a:lnTo>
                    <a:pt x="42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2"/>
                  </a:lnTo>
                  <a:lnTo>
                    <a:pt x="40" y="425"/>
                  </a:lnTo>
                  <a:lnTo>
                    <a:pt x="40" y="425"/>
                  </a:lnTo>
                  <a:lnTo>
                    <a:pt x="40" y="427"/>
                  </a:lnTo>
                  <a:lnTo>
                    <a:pt x="37" y="427"/>
                  </a:lnTo>
                  <a:lnTo>
                    <a:pt x="34" y="427"/>
                  </a:lnTo>
                  <a:lnTo>
                    <a:pt x="34" y="427"/>
                  </a:lnTo>
                  <a:lnTo>
                    <a:pt x="32" y="427"/>
                  </a:lnTo>
                  <a:lnTo>
                    <a:pt x="32" y="427"/>
                  </a:lnTo>
                  <a:lnTo>
                    <a:pt x="29" y="425"/>
                  </a:lnTo>
                  <a:lnTo>
                    <a:pt x="26" y="425"/>
                  </a:lnTo>
                  <a:lnTo>
                    <a:pt x="24" y="425"/>
                  </a:lnTo>
                  <a:lnTo>
                    <a:pt x="24" y="425"/>
                  </a:lnTo>
                  <a:lnTo>
                    <a:pt x="24" y="419"/>
                  </a:lnTo>
                  <a:lnTo>
                    <a:pt x="18" y="419"/>
                  </a:lnTo>
                  <a:lnTo>
                    <a:pt x="18" y="417"/>
                  </a:lnTo>
                  <a:lnTo>
                    <a:pt x="13" y="417"/>
                  </a:lnTo>
                  <a:lnTo>
                    <a:pt x="13" y="417"/>
                  </a:lnTo>
                  <a:lnTo>
                    <a:pt x="10" y="419"/>
                  </a:lnTo>
                  <a:lnTo>
                    <a:pt x="10" y="422"/>
                  </a:lnTo>
                  <a:lnTo>
                    <a:pt x="8" y="422"/>
                  </a:lnTo>
                  <a:lnTo>
                    <a:pt x="5" y="419"/>
                  </a:lnTo>
                  <a:lnTo>
                    <a:pt x="5" y="417"/>
                  </a:lnTo>
                  <a:lnTo>
                    <a:pt x="5" y="417"/>
                  </a:lnTo>
                  <a:lnTo>
                    <a:pt x="5" y="414"/>
                  </a:lnTo>
                  <a:lnTo>
                    <a:pt x="2" y="414"/>
                  </a:lnTo>
                  <a:lnTo>
                    <a:pt x="2" y="411"/>
                  </a:lnTo>
                  <a:lnTo>
                    <a:pt x="2" y="411"/>
                  </a:lnTo>
                  <a:lnTo>
                    <a:pt x="5" y="411"/>
                  </a:lnTo>
                  <a:lnTo>
                    <a:pt x="5" y="403"/>
                  </a:lnTo>
                  <a:lnTo>
                    <a:pt x="2" y="403"/>
                  </a:lnTo>
                  <a:lnTo>
                    <a:pt x="2" y="395"/>
                  </a:lnTo>
                  <a:lnTo>
                    <a:pt x="10" y="398"/>
                  </a:lnTo>
                  <a:lnTo>
                    <a:pt x="10" y="401"/>
                  </a:lnTo>
                  <a:lnTo>
                    <a:pt x="10" y="401"/>
                  </a:lnTo>
                  <a:lnTo>
                    <a:pt x="13" y="403"/>
                  </a:lnTo>
                  <a:lnTo>
                    <a:pt x="16" y="398"/>
                  </a:lnTo>
                  <a:lnTo>
                    <a:pt x="16" y="398"/>
                  </a:lnTo>
                  <a:lnTo>
                    <a:pt x="18" y="393"/>
                  </a:lnTo>
                  <a:lnTo>
                    <a:pt x="16" y="393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8" y="377"/>
                  </a:lnTo>
                  <a:lnTo>
                    <a:pt x="18" y="377"/>
                  </a:lnTo>
                  <a:lnTo>
                    <a:pt x="21" y="374"/>
                  </a:lnTo>
                  <a:lnTo>
                    <a:pt x="21" y="374"/>
                  </a:lnTo>
                  <a:lnTo>
                    <a:pt x="24" y="374"/>
                  </a:lnTo>
                  <a:lnTo>
                    <a:pt x="24" y="374"/>
                  </a:lnTo>
                  <a:lnTo>
                    <a:pt x="26" y="374"/>
                  </a:lnTo>
                  <a:lnTo>
                    <a:pt x="26" y="371"/>
                  </a:lnTo>
                  <a:lnTo>
                    <a:pt x="26" y="371"/>
                  </a:lnTo>
                  <a:lnTo>
                    <a:pt x="26" y="369"/>
                  </a:lnTo>
                  <a:lnTo>
                    <a:pt x="26" y="369"/>
                  </a:lnTo>
                  <a:lnTo>
                    <a:pt x="24" y="369"/>
                  </a:lnTo>
                  <a:lnTo>
                    <a:pt x="24" y="369"/>
                  </a:lnTo>
                  <a:lnTo>
                    <a:pt x="21" y="366"/>
                  </a:lnTo>
                  <a:lnTo>
                    <a:pt x="21" y="366"/>
                  </a:lnTo>
                  <a:lnTo>
                    <a:pt x="18" y="363"/>
                  </a:lnTo>
                  <a:lnTo>
                    <a:pt x="16" y="363"/>
                  </a:lnTo>
                  <a:lnTo>
                    <a:pt x="16" y="361"/>
                  </a:lnTo>
                  <a:lnTo>
                    <a:pt x="16" y="358"/>
                  </a:lnTo>
                  <a:lnTo>
                    <a:pt x="16" y="355"/>
                  </a:lnTo>
                  <a:lnTo>
                    <a:pt x="16" y="353"/>
                  </a:lnTo>
                  <a:lnTo>
                    <a:pt x="18" y="353"/>
                  </a:lnTo>
                  <a:lnTo>
                    <a:pt x="18" y="350"/>
                  </a:lnTo>
                  <a:lnTo>
                    <a:pt x="18" y="350"/>
                  </a:lnTo>
                  <a:lnTo>
                    <a:pt x="16" y="347"/>
                  </a:lnTo>
                  <a:lnTo>
                    <a:pt x="16" y="347"/>
                  </a:lnTo>
                  <a:lnTo>
                    <a:pt x="16" y="345"/>
                  </a:lnTo>
                  <a:lnTo>
                    <a:pt x="16" y="345"/>
                  </a:lnTo>
                  <a:lnTo>
                    <a:pt x="16" y="342"/>
                  </a:lnTo>
                  <a:lnTo>
                    <a:pt x="18" y="342"/>
                  </a:lnTo>
                  <a:lnTo>
                    <a:pt x="18" y="339"/>
                  </a:lnTo>
                  <a:lnTo>
                    <a:pt x="21" y="337"/>
                  </a:lnTo>
                  <a:lnTo>
                    <a:pt x="21" y="334"/>
                  </a:lnTo>
                  <a:lnTo>
                    <a:pt x="21" y="334"/>
                  </a:lnTo>
                  <a:lnTo>
                    <a:pt x="21" y="331"/>
                  </a:lnTo>
                  <a:lnTo>
                    <a:pt x="21" y="331"/>
                  </a:lnTo>
                  <a:lnTo>
                    <a:pt x="21" y="329"/>
                  </a:lnTo>
                  <a:lnTo>
                    <a:pt x="21" y="329"/>
                  </a:lnTo>
                  <a:lnTo>
                    <a:pt x="18" y="326"/>
                  </a:lnTo>
                  <a:lnTo>
                    <a:pt x="18" y="323"/>
                  </a:lnTo>
                  <a:lnTo>
                    <a:pt x="21" y="321"/>
                  </a:lnTo>
                  <a:lnTo>
                    <a:pt x="18" y="318"/>
                  </a:lnTo>
                  <a:lnTo>
                    <a:pt x="18" y="318"/>
                  </a:lnTo>
                  <a:lnTo>
                    <a:pt x="18" y="315"/>
                  </a:lnTo>
                  <a:lnTo>
                    <a:pt x="18" y="313"/>
                  </a:lnTo>
                  <a:lnTo>
                    <a:pt x="16" y="310"/>
                  </a:lnTo>
                  <a:lnTo>
                    <a:pt x="16" y="307"/>
                  </a:lnTo>
                  <a:lnTo>
                    <a:pt x="18" y="307"/>
                  </a:lnTo>
                  <a:lnTo>
                    <a:pt x="16" y="305"/>
                  </a:lnTo>
                  <a:lnTo>
                    <a:pt x="13" y="305"/>
                  </a:lnTo>
                  <a:lnTo>
                    <a:pt x="10" y="305"/>
                  </a:lnTo>
                  <a:lnTo>
                    <a:pt x="10" y="305"/>
                  </a:lnTo>
                  <a:lnTo>
                    <a:pt x="8" y="305"/>
                  </a:lnTo>
                  <a:lnTo>
                    <a:pt x="8" y="307"/>
                  </a:lnTo>
                  <a:lnTo>
                    <a:pt x="5" y="307"/>
                  </a:lnTo>
                  <a:lnTo>
                    <a:pt x="2" y="305"/>
                  </a:lnTo>
                  <a:lnTo>
                    <a:pt x="2" y="305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0" y="299"/>
                  </a:lnTo>
                  <a:lnTo>
                    <a:pt x="2" y="297"/>
                  </a:lnTo>
                  <a:lnTo>
                    <a:pt x="2" y="291"/>
                  </a:lnTo>
                  <a:lnTo>
                    <a:pt x="10" y="283"/>
                  </a:lnTo>
                  <a:lnTo>
                    <a:pt x="16" y="286"/>
                  </a:lnTo>
                  <a:lnTo>
                    <a:pt x="21" y="278"/>
                  </a:lnTo>
                  <a:lnTo>
                    <a:pt x="21" y="275"/>
                  </a:lnTo>
                  <a:lnTo>
                    <a:pt x="21" y="272"/>
                  </a:lnTo>
                  <a:lnTo>
                    <a:pt x="18" y="272"/>
                  </a:lnTo>
                  <a:lnTo>
                    <a:pt x="16" y="272"/>
                  </a:lnTo>
                  <a:lnTo>
                    <a:pt x="16" y="270"/>
                  </a:lnTo>
                  <a:lnTo>
                    <a:pt x="13" y="267"/>
                  </a:lnTo>
                  <a:lnTo>
                    <a:pt x="13" y="262"/>
                  </a:lnTo>
                  <a:lnTo>
                    <a:pt x="18" y="259"/>
                  </a:lnTo>
                  <a:lnTo>
                    <a:pt x="18" y="256"/>
                  </a:lnTo>
                  <a:lnTo>
                    <a:pt x="24" y="254"/>
                  </a:lnTo>
                  <a:lnTo>
                    <a:pt x="21" y="256"/>
                  </a:lnTo>
                  <a:lnTo>
                    <a:pt x="24" y="256"/>
                  </a:lnTo>
                  <a:lnTo>
                    <a:pt x="26" y="256"/>
                  </a:lnTo>
                  <a:lnTo>
                    <a:pt x="29" y="256"/>
                  </a:lnTo>
                  <a:lnTo>
                    <a:pt x="32" y="256"/>
                  </a:lnTo>
                  <a:lnTo>
                    <a:pt x="32" y="254"/>
                  </a:lnTo>
                  <a:lnTo>
                    <a:pt x="29" y="254"/>
                  </a:lnTo>
                  <a:lnTo>
                    <a:pt x="24" y="251"/>
                  </a:lnTo>
                  <a:lnTo>
                    <a:pt x="21" y="251"/>
                  </a:lnTo>
                  <a:lnTo>
                    <a:pt x="18" y="251"/>
                  </a:lnTo>
                  <a:lnTo>
                    <a:pt x="16" y="248"/>
                  </a:lnTo>
                  <a:lnTo>
                    <a:pt x="16" y="243"/>
                  </a:lnTo>
                  <a:lnTo>
                    <a:pt x="24" y="246"/>
                  </a:lnTo>
                  <a:lnTo>
                    <a:pt x="34" y="248"/>
                  </a:lnTo>
                  <a:lnTo>
                    <a:pt x="42" y="235"/>
                  </a:lnTo>
                  <a:lnTo>
                    <a:pt x="45" y="235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2" y="230"/>
                  </a:lnTo>
                  <a:lnTo>
                    <a:pt x="42" y="227"/>
                  </a:lnTo>
                  <a:lnTo>
                    <a:pt x="42" y="224"/>
                  </a:lnTo>
                  <a:lnTo>
                    <a:pt x="45" y="224"/>
                  </a:lnTo>
                  <a:lnTo>
                    <a:pt x="42" y="222"/>
                  </a:lnTo>
                  <a:lnTo>
                    <a:pt x="40" y="219"/>
                  </a:lnTo>
                  <a:lnTo>
                    <a:pt x="40" y="219"/>
                  </a:lnTo>
                  <a:lnTo>
                    <a:pt x="40" y="216"/>
                  </a:lnTo>
                  <a:lnTo>
                    <a:pt x="40" y="214"/>
                  </a:lnTo>
                  <a:lnTo>
                    <a:pt x="48" y="211"/>
                  </a:lnTo>
                  <a:lnTo>
                    <a:pt x="48" y="211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3" y="214"/>
                  </a:lnTo>
                  <a:lnTo>
                    <a:pt x="53" y="214"/>
                  </a:lnTo>
                  <a:lnTo>
                    <a:pt x="50" y="211"/>
                  </a:lnTo>
                  <a:lnTo>
                    <a:pt x="50" y="208"/>
                  </a:lnTo>
                  <a:lnTo>
                    <a:pt x="53" y="208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0" y="203"/>
                  </a:lnTo>
                  <a:lnTo>
                    <a:pt x="50" y="203"/>
                  </a:lnTo>
                  <a:lnTo>
                    <a:pt x="50" y="203"/>
                  </a:lnTo>
                  <a:lnTo>
                    <a:pt x="50" y="198"/>
                  </a:lnTo>
                  <a:lnTo>
                    <a:pt x="45" y="200"/>
                  </a:lnTo>
                  <a:lnTo>
                    <a:pt x="45" y="198"/>
                  </a:lnTo>
                  <a:lnTo>
                    <a:pt x="48" y="198"/>
                  </a:lnTo>
                  <a:lnTo>
                    <a:pt x="50" y="195"/>
                  </a:lnTo>
                  <a:lnTo>
                    <a:pt x="56" y="198"/>
                  </a:lnTo>
                  <a:lnTo>
                    <a:pt x="61" y="195"/>
                  </a:lnTo>
                  <a:lnTo>
                    <a:pt x="69" y="184"/>
                  </a:lnTo>
                  <a:lnTo>
                    <a:pt x="64" y="182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9" y="182"/>
                  </a:lnTo>
                  <a:lnTo>
                    <a:pt x="77" y="184"/>
                  </a:lnTo>
                  <a:lnTo>
                    <a:pt x="80" y="187"/>
                  </a:lnTo>
                  <a:lnTo>
                    <a:pt x="82" y="187"/>
                  </a:lnTo>
                  <a:lnTo>
                    <a:pt x="85" y="182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93" y="187"/>
                  </a:lnTo>
                  <a:lnTo>
                    <a:pt x="93" y="182"/>
                  </a:lnTo>
                  <a:lnTo>
                    <a:pt x="93" y="179"/>
                  </a:lnTo>
                  <a:lnTo>
                    <a:pt x="101" y="179"/>
                  </a:lnTo>
                  <a:lnTo>
                    <a:pt x="101" y="168"/>
                  </a:lnTo>
                  <a:lnTo>
                    <a:pt x="101" y="166"/>
                  </a:lnTo>
                  <a:lnTo>
                    <a:pt x="91" y="144"/>
                  </a:lnTo>
                  <a:lnTo>
                    <a:pt x="91" y="142"/>
                  </a:lnTo>
                  <a:lnTo>
                    <a:pt x="88" y="136"/>
                  </a:lnTo>
                  <a:lnTo>
                    <a:pt x="88" y="136"/>
                  </a:lnTo>
                  <a:lnTo>
                    <a:pt x="88" y="134"/>
                  </a:lnTo>
                  <a:lnTo>
                    <a:pt x="88" y="134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2" y="13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5" y="123"/>
                  </a:lnTo>
                  <a:lnTo>
                    <a:pt x="82" y="120"/>
                  </a:lnTo>
                  <a:lnTo>
                    <a:pt x="85" y="115"/>
                  </a:lnTo>
                  <a:lnTo>
                    <a:pt x="85" y="112"/>
                  </a:lnTo>
                  <a:lnTo>
                    <a:pt x="82" y="112"/>
                  </a:lnTo>
                  <a:lnTo>
                    <a:pt x="82" y="115"/>
                  </a:lnTo>
                  <a:lnTo>
                    <a:pt x="80" y="115"/>
                  </a:lnTo>
                  <a:lnTo>
                    <a:pt x="80" y="115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09"/>
                  </a:lnTo>
                  <a:lnTo>
                    <a:pt x="80" y="112"/>
                  </a:lnTo>
                  <a:lnTo>
                    <a:pt x="80" y="109"/>
                  </a:lnTo>
                  <a:lnTo>
                    <a:pt x="80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4" y="112"/>
                  </a:lnTo>
                  <a:lnTo>
                    <a:pt x="74" y="109"/>
                  </a:lnTo>
                  <a:lnTo>
                    <a:pt x="66" y="120"/>
                  </a:lnTo>
                  <a:lnTo>
                    <a:pt x="66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1" y="123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6" y="120"/>
                  </a:lnTo>
                  <a:lnTo>
                    <a:pt x="61" y="120"/>
                  </a:lnTo>
                  <a:lnTo>
                    <a:pt x="61" y="115"/>
                  </a:lnTo>
                  <a:lnTo>
                    <a:pt x="58" y="117"/>
                  </a:lnTo>
                  <a:lnTo>
                    <a:pt x="56" y="117"/>
                  </a:lnTo>
                  <a:lnTo>
                    <a:pt x="58" y="115"/>
                  </a:lnTo>
                  <a:lnTo>
                    <a:pt x="53" y="115"/>
                  </a:lnTo>
                  <a:lnTo>
                    <a:pt x="50" y="107"/>
                  </a:lnTo>
                  <a:lnTo>
                    <a:pt x="53" y="101"/>
                  </a:lnTo>
                  <a:lnTo>
                    <a:pt x="56" y="99"/>
                  </a:lnTo>
                  <a:lnTo>
                    <a:pt x="61" y="99"/>
                  </a:lnTo>
                  <a:lnTo>
                    <a:pt x="61" y="96"/>
                  </a:lnTo>
                  <a:lnTo>
                    <a:pt x="66" y="93"/>
                  </a:lnTo>
                  <a:lnTo>
                    <a:pt x="69" y="96"/>
                  </a:lnTo>
                  <a:lnTo>
                    <a:pt x="72" y="93"/>
                  </a:lnTo>
                  <a:lnTo>
                    <a:pt x="72" y="93"/>
                  </a:lnTo>
                  <a:lnTo>
                    <a:pt x="72" y="91"/>
                  </a:lnTo>
                  <a:lnTo>
                    <a:pt x="72" y="88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69" y="85"/>
                  </a:lnTo>
                  <a:lnTo>
                    <a:pt x="69" y="72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1" y="67"/>
                  </a:lnTo>
                  <a:lnTo>
                    <a:pt x="64" y="59"/>
                  </a:lnTo>
                  <a:lnTo>
                    <a:pt x="69" y="48"/>
                  </a:lnTo>
                  <a:lnTo>
                    <a:pt x="104" y="0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7" y="27"/>
                  </a:lnTo>
                  <a:lnTo>
                    <a:pt x="117" y="32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23" y="51"/>
                  </a:lnTo>
                  <a:lnTo>
                    <a:pt x="123" y="51"/>
                  </a:lnTo>
                  <a:lnTo>
                    <a:pt x="128" y="53"/>
                  </a:lnTo>
                  <a:lnTo>
                    <a:pt x="133" y="53"/>
                  </a:lnTo>
                  <a:lnTo>
                    <a:pt x="144" y="56"/>
                  </a:lnTo>
                  <a:lnTo>
                    <a:pt x="152" y="56"/>
                  </a:lnTo>
                  <a:lnTo>
                    <a:pt x="155" y="67"/>
                  </a:lnTo>
                  <a:lnTo>
                    <a:pt x="168" y="69"/>
                  </a:lnTo>
                  <a:lnTo>
                    <a:pt x="176" y="75"/>
                  </a:lnTo>
                  <a:lnTo>
                    <a:pt x="184" y="77"/>
                  </a:lnTo>
                  <a:lnTo>
                    <a:pt x="189" y="80"/>
                  </a:lnTo>
                  <a:lnTo>
                    <a:pt x="197" y="75"/>
                  </a:lnTo>
                  <a:lnTo>
                    <a:pt x="197" y="72"/>
                  </a:lnTo>
                  <a:lnTo>
                    <a:pt x="208" y="67"/>
                  </a:lnTo>
                  <a:lnTo>
                    <a:pt x="264" y="83"/>
                  </a:lnTo>
                  <a:lnTo>
                    <a:pt x="272" y="77"/>
                  </a:lnTo>
                  <a:lnTo>
                    <a:pt x="277" y="75"/>
                  </a:lnTo>
                  <a:lnTo>
                    <a:pt x="280" y="75"/>
                  </a:lnTo>
                  <a:lnTo>
                    <a:pt x="283" y="75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91" y="69"/>
                  </a:lnTo>
                  <a:lnTo>
                    <a:pt x="301" y="61"/>
                  </a:lnTo>
                  <a:lnTo>
                    <a:pt x="304" y="64"/>
                  </a:lnTo>
                  <a:lnTo>
                    <a:pt x="307" y="59"/>
                  </a:lnTo>
                  <a:lnTo>
                    <a:pt x="309" y="59"/>
                  </a:lnTo>
                  <a:lnTo>
                    <a:pt x="309" y="56"/>
                  </a:lnTo>
                  <a:lnTo>
                    <a:pt x="320" y="48"/>
                  </a:lnTo>
                  <a:close/>
                </a:path>
              </a:pathLst>
            </a:custGeom>
            <a:solidFill>
              <a:srgbClr val="28BE46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 dirty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6" name="Freeform 8903">
              <a:extLst>
                <a:ext uri="{FF2B5EF4-FFF2-40B4-BE49-F238E27FC236}">
                  <a16:creationId xmlns:a16="http://schemas.microsoft.com/office/drawing/2014/main" id="{282924FE-A7CB-A845-926F-78448428EA83}"/>
                </a:ext>
              </a:extLst>
            </p:cNvPr>
            <p:cNvSpPr/>
            <p:nvPr/>
          </p:nvSpPr>
          <p:spPr bwMode="auto">
            <a:xfrm>
              <a:off x="4841080" y="5338763"/>
              <a:ext cx="819149" cy="598488"/>
            </a:xfrm>
            <a:custGeom>
              <a:avLst/>
              <a:gdLst>
                <a:gd name="T0" fmla="*/ 489 w 516"/>
                <a:gd name="T1" fmla="*/ 216 h 377"/>
                <a:gd name="T2" fmla="*/ 484 w 516"/>
                <a:gd name="T3" fmla="*/ 227 h 377"/>
                <a:gd name="T4" fmla="*/ 481 w 516"/>
                <a:gd name="T5" fmla="*/ 254 h 377"/>
                <a:gd name="T6" fmla="*/ 462 w 516"/>
                <a:gd name="T7" fmla="*/ 259 h 377"/>
                <a:gd name="T8" fmla="*/ 449 w 516"/>
                <a:gd name="T9" fmla="*/ 256 h 377"/>
                <a:gd name="T10" fmla="*/ 433 w 516"/>
                <a:gd name="T11" fmla="*/ 259 h 377"/>
                <a:gd name="T12" fmla="*/ 409 w 516"/>
                <a:gd name="T13" fmla="*/ 294 h 377"/>
                <a:gd name="T14" fmla="*/ 395 w 516"/>
                <a:gd name="T15" fmla="*/ 299 h 377"/>
                <a:gd name="T16" fmla="*/ 377 w 516"/>
                <a:gd name="T17" fmla="*/ 302 h 377"/>
                <a:gd name="T18" fmla="*/ 361 w 516"/>
                <a:gd name="T19" fmla="*/ 307 h 377"/>
                <a:gd name="T20" fmla="*/ 342 w 516"/>
                <a:gd name="T21" fmla="*/ 321 h 377"/>
                <a:gd name="T22" fmla="*/ 323 w 516"/>
                <a:gd name="T23" fmla="*/ 329 h 377"/>
                <a:gd name="T24" fmla="*/ 318 w 516"/>
                <a:gd name="T25" fmla="*/ 329 h 377"/>
                <a:gd name="T26" fmla="*/ 321 w 516"/>
                <a:gd name="T27" fmla="*/ 342 h 377"/>
                <a:gd name="T28" fmla="*/ 339 w 516"/>
                <a:gd name="T29" fmla="*/ 355 h 377"/>
                <a:gd name="T30" fmla="*/ 342 w 516"/>
                <a:gd name="T31" fmla="*/ 371 h 377"/>
                <a:gd name="T32" fmla="*/ 315 w 516"/>
                <a:gd name="T33" fmla="*/ 377 h 377"/>
                <a:gd name="T34" fmla="*/ 302 w 516"/>
                <a:gd name="T35" fmla="*/ 353 h 377"/>
                <a:gd name="T36" fmla="*/ 281 w 516"/>
                <a:gd name="T37" fmla="*/ 337 h 377"/>
                <a:gd name="T38" fmla="*/ 262 w 516"/>
                <a:gd name="T39" fmla="*/ 339 h 377"/>
                <a:gd name="T40" fmla="*/ 241 w 516"/>
                <a:gd name="T41" fmla="*/ 342 h 377"/>
                <a:gd name="T42" fmla="*/ 219 w 516"/>
                <a:gd name="T43" fmla="*/ 353 h 377"/>
                <a:gd name="T44" fmla="*/ 195 w 516"/>
                <a:gd name="T45" fmla="*/ 350 h 377"/>
                <a:gd name="T46" fmla="*/ 176 w 516"/>
                <a:gd name="T47" fmla="*/ 347 h 377"/>
                <a:gd name="T48" fmla="*/ 163 w 516"/>
                <a:gd name="T49" fmla="*/ 334 h 377"/>
                <a:gd name="T50" fmla="*/ 142 w 516"/>
                <a:gd name="T51" fmla="*/ 323 h 377"/>
                <a:gd name="T52" fmla="*/ 147 w 516"/>
                <a:gd name="T53" fmla="*/ 299 h 377"/>
                <a:gd name="T54" fmla="*/ 126 w 516"/>
                <a:gd name="T55" fmla="*/ 286 h 377"/>
                <a:gd name="T56" fmla="*/ 104 w 516"/>
                <a:gd name="T57" fmla="*/ 318 h 377"/>
                <a:gd name="T58" fmla="*/ 78 w 516"/>
                <a:gd name="T59" fmla="*/ 331 h 377"/>
                <a:gd name="T60" fmla="*/ 3 w 516"/>
                <a:gd name="T61" fmla="*/ 59 h 377"/>
                <a:gd name="T62" fmla="*/ 14 w 516"/>
                <a:gd name="T63" fmla="*/ 45 h 377"/>
                <a:gd name="T64" fmla="*/ 30 w 516"/>
                <a:gd name="T65" fmla="*/ 59 h 377"/>
                <a:gd name="T66" fmla="*/ 43 w 516"/>
                <a:gd name="T67" fmla="*/ 56 h 377"/>
                <a:gd name="T68" fmla="*/ 83 w 516"/>
                <a:gd name="T69" fmla="*/ 51 h 377"/>
                <a:gd name="T70" fmla="*/ 118 w 516"/>
                <a:gd name="T71" fmla="*/ 35 h 377"/>
                <a:gd name="T72" fmla="*/ 160 w 516"/>
                <a:gd name="T73" fmla="*/ 16 h 377"/>
                <a:gd name="T74" fmla="*/ 187 w 516"/>
                <a:gd name="T75" fmla="*/ 11 h 377"/>
                <a:gd name="T76" fmla="*/ 203 w 516"/>
                <a:gd name="T77" fmla="*/ 29 h 377"/>
                <a:gd name="T78" fmla="*/ 230 w 516"/>
                <a:gd name="T79" fmla="*/ 48 h 377"/>
                <a:gd name="T80" fmla="*/ 225 w 516"/>
                <a:gd name="T81" fmla="*/ 69 h 377"/>
                <a:gd name="T82" fmla="*/ 246 w 516"/>
                <a:gd name="T83" fmla="*/ 77 h 377"/>
                <a:gd name="T84" fmla="*/ 246 w 516"/>
                <a:gd name="T85" fmla="*/ 85 h 377"/>
                <a:gd name="T86" fmla="*/ 254 w 516"/>
                <a:gd name="T87" fmla="*/ 96 h 377"/>
                <a:gd name="T88" fmla="*/ 265 w 516"/>
                <a:gd name="T89" fmla="*/ 93 h 377"/>
                <a:gd name="T90" fmla="*/ 310 w 516"/>
                <a:gd name="T91" fmla="*/ 48 h 377"/>
                <a:gd name="T92" fmla="*/ 334 w 516"/>
                <a:gd name="T93" fmla="*/ 48 h 377"/>
                <a:gd name="T94" fmla="*/ 347 w 516"/>
                <a:gd name="T95" fmla="*/ 51 h 377"/>
                <a:gd name="T96" fmla="*/ 374 w 516"/>
                <a:gd name="T97" fmla="*/ 45 h 377"/>
                <a:gd name="T98" fmla="*/ 390 w 516"/>
                <a:gd name="T99" fmla="*/ 35 h 377"/>
                <a:gd name="T100" fmla="*/ 449 w 516"/>
                <a:gd name="T101" fmla="*/ 56 h 377"/>
                <a:gd name="T102" fmla="*/ 470 w 516"/>
                <a:gd name="T103" fmla="*/ 85 h 377"/>
                <a:gd name="T104" fmla="*/ 481 w 516"/>
                <a:gd name="T105" fmla="*/ 112 h 377"/>
                <a:gd name="T106" fmla="*/ 500 w 516"/>
                <a:gd name="T107" fmla="*/ 128 h 377"/>
                <a:gd name="T108" fmla="*/ 508 w 516"/>
                <a:gd name="T109" fmla="*/ 134 h 377"/>
                <a:gd name="T110" fmla="*/ 497 w 516"/>
                <a:gd name="T111" fmla="*/ 147 h 377"/>
                <a:gd name="T112" fmla="*/ 505 w 516"/>
                <a:gd name="T113" fmla="*/ 166 h 377"/>
                <a:gd name="T114" fmla="*/ 505 w 516"/>
                <a:gd name="T115" fmla="*/ 190 h 377"/>
                <a:gd name="T116" fmla="*/ 513 w 516"/>
                <a:gd name="T117" fmla="*/ 200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6" h="377" extrusionOk="0">
                  <a:moveTo>
                    <a:pt x="513" y="211"/>
                  </a:moveTo>
                  <a:lnTo>
                    <a:pt x="510" y="208"/>
                  </a:lnTo>
                  <a:lnTo>
                    <a:pt x="510" y="206"/>
                  </a:lnTo>
                  <a:lnTo>
                    <a:pt x="508" y="208"/>
                  </a:lnTo>
                  <a:lnTo>
                    <a:pt x="502" y="206"/>
                  </a:lnTo>
                  <a:lnTo>
                    <a:pt x="502" y="208"/>
                  </a:lnTo>
                  <a:lnTo>
                    <a:pt x="497" y="208"/>
                  </a:lnTo>
                  <a:lnTo>
                    <a:pt x="494" y="206"/>
                  </a:lnTo>
                  <a:lnTo>
                    <a:pt x="494" y="208"/>
                  </a:lnTo>
                  <a:lnTo>
                    <a:pt x="492" y="208"/>
                  </a:lnTo>
                  <a:lnTo>
                    <a:pt x="492" y="214"/>
                  </a:lnTo>
                  <a:lnTo>
                    <a:pt x="489" y="214"/>
                  </a:lnTo>
                  <a:lnTo>
                    <a:pt x="489" y="216"/>
                  </a:lnTo>
                  <a:lnTo>
                    <a:pt x="486" y="216"/>
                  </a:lnTo>
                  <a:lnTo>
                    <a:pt x="486" y="214"/>
                  </a:lnTo>
                  <a:lnTo>
                    <a:pt x="484" y="214"/>
                  </a:lnTo>
                  <a:lnTo>
                    <a:pt x="484" y="214"/>
                  </a:lnTo>
                  <a:lnTo>
                    <a:pt x="484" y="216"/>
                  </a:lnTo>
                  <a:lnTo>
                    <a:pt x="484" y="216"/>
                  </a:lnTo>
                  <a:lnTo>
                    <a:pt x="484" y="219"/>
                  </a:lnTo>
                  <a:lnTo>
                    <a:pt x="484" y="222"/>
                  </a:lnTo>
                  <a:lnTo>
                    <a:pt x="484" y="224"/>
                  </a:lnTo>
                  <a:lnTo>
                    <a:pt x="484" y="227"/>
                  </a:lnTo>
                  <a:lnTo>
                    <a:pt x="481" y="227"/>
                  </a:lnTo>
                  <a:lnTo>
                    <a:pt x="484" y="227"/>
                  </a:lnTo>
                  <a:lnTo>
                    <a:pt x="484" y="227"/>
                  </a:lnTo>
                  <a:lnTo>
                    <a:pt x="484" y="232"/>
                  </a:lnTo>
                  <a:lnTo>
                    <a:pt x="484" y="232"/>
                  </a:lnTo>
                  <a:lnTo>
                    <a:pt x="484" y="238"/>
                  </a:lnTo>
                  <a:lnTo>
                    <a:pt x="489" y="238"/>
                  </a:lnTo>
                  <a:lnTo>
                    <a:pt x="486" y="248"/>
                  </a:lnTo>
                  <a:lnTo>
                    <a:pt x="489" y="248"/>
                  </a:lnTo>
                  <a:lnTo>
                    <a:pt x="486" y="251"/>
                  </a:lnTo>
                  <a:lnTo>
                    <a:pt x="486" y="251"/>
                  </a:lnTo>
                  <a:lnTo>
                    <a:pt x="484" y="251"/>
                  </a:lnTo>
                  <a:lnTo>
                    <a:pt x="486" y="254"/>
                  </a:lnTo>
                  <a:lnTo>
                    <a:pt x="484" y="254"/>
                  </a:lnTo>
                  <a:lnTo>
                    <a:pt x="484" y="256"/>
                  </a:lnTo>
                  <a:lnTo>
                    <a:pt x="481" y="254"/>
                  </a:lnTo>
                  <a:lnTo>
                    <a:pt x="478" y="254"/>
                  </a:lnTo>
                  <a:lnTo>
                    <a:pt x="478" y="256"/>
                  </a:lnTo>
                  <a:lnTo>
                    <a:pt x="476" y="254"/>
                  </a:lnTo>
                  <a:lnTo>
                    <a:pt x="476" y="254"/>
                  </a:lnTo>
                  <a:lnTo>
                    <a:pt x="473" y="254"/>
                  </a:lnTo>
                  <a:lnTo>
                    <a:pt x="470" y="251"/>
                  </a:lnTo>
                  <a:lnTo>
                    <a:pt x="470" y="251"/>
                  </a:lnTo>
                  <a:lnTo>
                    <a:pt x="468" y="256"/>
                  </a:lnTo>
                  <a:lnTo>
                    <a:pt x="465" y="259"/>
                  </a:lnTo>
                  <a:lnTo>
                    <a:pt x="465" y="259"/>
                  </a:lnTo>
                  <a:lnTo>
                    <a:pt x="465" y="262"/>
                  </a:lnTo>
                  <a:lnTo>
                    <a:pt x="465" y="262"/>
                  </a:lnTo>
                  <a:lnTo>
                    <a:pt x="462" y="259"/>
                  </a:lnTo>
                  <a:lnTo>
                    <a:pt x="462" y="259"/>
                  </a:lnTo>
                  <a:lnTo>
                    <a:pt x="460" y="259"/>
                  </a:lnTo>
                  <a:lnTo>
                    <a:pt x="460" y="259"/>
                  </a:lnTo>
                  <a:lnTo>
                    <a:pt x="460" y="259"/>
                  </a:lnTo>
                  <a:lnTo>
                    <a:pt x="457" y="259"/>
                  </a:lnTo>
                  <a:lnTo>
                    <a:pt x="457" y="259"/>
                  </a:lnTo>
                  <a:lnTo>
                    <a:pt x="454" y="259"/>
                  </a:lnTo>
                  <a:lnTo>
                    <a:pt x="454" y="262"/>
                  </a:lnTo>
                  <a:lnTo>
                    <a:pt x="454" y="262"/>
                  </a:lnTo>
                  <a:lnTo>
                    <a:pt x="452" y="262"/>
                  </a:lnTo>
                  <a:lnTo>
                    <a:pt x="452" y="259"/>
                  </a:lnTo>
                  <a:lnTo>
                    <a:pt x="452" y="256"/>
                  </a:lnTo>
                  <a:lnTo>
                    <a:pt x="449" y="256"/>
                  </a:lnTo>
                  <a:lnTo>
                    <a:pt x="452" y="254"/>
                  </a:lnTo>
                  <a:lnTo>
                    <a:pt x="449" y="254"/>
                  </a:lnTo>
                  <a:lnTo>
                    <a:pt x="446" y="254"/>
                  </a:lnTo>
                  <a:lnTo>
                    <a:pt x="444" y="254"/>
                  </a:lnTo>
                  <a:lnTo>
                    <a:pt x="444" y="251"/>
                  </a:lnTo>
                  <a:lnTo>
                    <a:pt x="441" y="251"/>
                  </a:lnTo>
                  <a:lnTo>
                    <a:pt x="438" y="251"/>
                  </a:lnTo>
                  <a:lnTo>
                    <a:pt x="435" y="254"/>
                  </a:lnTo>
                  <a:lnTo>
                    <a:pt x="435" y="254"/>
                  </a:lnTo>
                  <a:lnTo>
                    <a:pt x="433" y="254"/>
                  </a:lnTo>
                  <a:lnTo>
                    <a:pt x="430" y="256"/>
                  </a:lnTo>
                  <a:lnTo>
                    <a:pt x="433" y="256"/>
                  </a:lnTo>
                  <a:lnTo>
                    <a:pt x="433" y="259"/>
                  </a:lnTo>
                  <a:lnTo>
                    <a:pt x="422" y="283"/>
                  </a:lnTo>
                  <a:lnTo>
                    <a:pt x="422" y="286"/>
                  </a:lnTo>
                  <a:lnTo>
                    <a:pt x="419" y="283"/>
                  </a:lnTo>
                  <a:lnTo>
                    <a:pt x="417" y="283"/>
                  </a:lnTo>
                  <a:lnTo>
                    <a:pt x="417" y="286"/>
                  </a:lnTo>
                  <a:lnTo>
                    <a:pt x="414" y="286"/>
                  </a:lnTo>
                  <a:lnTo>
                    <a:pt x="414" y="286"/>
                  </a:lnTo>
                  <a:lnTo>
                    <a:pt x="411" y="286"/>
                  </a:lnTo>
                  <a:lnTo>
                    <a:pt x="411" y="286"/>
                  </a:lnTo>
                  <a:lnTo>
                    <a:pt x="409" y="289"/>
                  </a:lnTo>
                  <a:lnTo>
                    <a:pt x="409" y="291"/>
                  </a:lnTo>
                  <a:lnTo>
                    <a:pt x="409" y="294"/>
                  </a:lnTo>
                  <a:lnTo>
                    <a:pt x="409" y="294"/>
                  </a:lnTo>
                  <a:lnTo>
                    <a:pt x="406" y="294"/>
                  </a:lnTo>
                  <a:lnTo>
                    <a:pt x="406" y="294"/>
                  </a:lnTo>
                  <a:lnTo>
                    <a:pt x="406" y="297"/>
                  </a:lnTo>
                  <a:lnTo>
                    <a:pt x="409" y="297"/>
                  </a:lnTo>
                  <a:lnTo>
                    <a:pt x="409" y="299"/>
                  </a:lnTo>
                  <a:lnTo>
                    <a:pt x="409" y="299"/>
                  </a:lnTo>
                  <a:lnTo>
                    <a:pt x="406" y="299"/>
                  </a:lnTo>
                  <a:lnTo>
                    <a:pt x="406" y="299"/>
                  </a:lnTo>
                  <a:lnTo>
                    <a:pt x="403" y="299"/>
                  </a:lnTo>
                  <a:lnTo>
                    <a:pt x="401" y="299"/>
                  </a:lnTo>
                  <a:lnTo>
                    <a:pt x="398" y="299"/>
                  </a:lnTo>
                  <a:lnTo>
                    <a:pt x="398" y="299"/>
                  </a:lnTo>
                  <a:lnTo>
                    <a:pt x="395" y="299"/>
                  </a:lnTo>
                  <a:lnTo>
                    <a:pt x="395" y="297"/>
                  </a:lnTo>
                  <a:lnTo>
                    <a:pt x="393" y="299"/>
                  </a:lnTo>
                  <a:lnTo>
                    <a:pt x="395" y="302"/>
                  </a:lnTo>
                  <a:lnTo>
                    <a:pt x="390" y="305"/>
                  </a:lnTo>
                  <a:lnTo>
                    <a:pt x="390" y="302"/>
                  </a:lnTo>
                  <a:lnTo>
                    <a:pt x="387" y="302"/>
                  </a:lnTo>
                  <a:lnTo>
                    <a:pt x="385" y="302"/>
                  </a:lnTo>
                  <a:lnTo>
                    <a:pt x="382" y="302"/>
                  </a:lnTo>
                  <a:lnTo>
                    <a:pt x="379" y="302"/>
                  </a:lnTo>
                  <a:lnTo>
                    <a:pt x="379" y="302"/>
                  </a:lnTo>
                  <a:lnTo>
                    <a:pt x="379" y="302"/>
                  </a:lnTo>
                  <a:lnTo>
                    <a:pt x="377" y="302"/>
                  </a:lnTo>
                  <a:lnTo>
                    <a:pt x="377" y="302"/>
                  </a:lnTo>
                  <a:lnTo>
                    <a:pt x="377" y="302"/>
                  </a:lnTo>
                  <a:lnTo>
                    <a:pt x="374" y="302"/>
                  </a:lnTo>
                  <a:lnTo>
                    <a:pt x="374" y="305"/>
                  </a:lnTo>
                  <a:lnTo>
                    <a:pt x="374" y="307"/>
                  </a:lnTo>
                  <a:lnTo>
                    <a:pt x="371" y="307"/>
                  </a:lnTo>
                  <a:lnTo>
                    <a:pt x="371" y="307"/>
                  </a:lnTo>
                  <a:lnTo>
                    <a:pt x="369" y="307"/>
                  </a:lnTo>
                  <a:lnTo>
                    <a:pt x="369" y="307"/>
                  </a:lnTo>
                  <a:lnTo>
                    <a:pt x="366" y="307"/>
                  </a:lnTo>
                  <a:lnTo>
                    <a:pt x="363" y="307"/>
                  </a:lnTo>
                  <a:lnTo>
                    <a:pt x="363" y="307"/>
                  </a:lnTo>
                  <a:lnTo>
                    <a:pt x="361" y="307"/>
                  </a:lnTo>
                  <a:lnTo>
                    <a:pt x="361" y="307"/>
                  </a:lnTo>
                  <a:lnTo>
                    <a:pt x="358" y="310"/>
                  </a:lnTo>
                  <a:lnTo>
                    <a:pt x="358" y="310"/>
                  </a:lnTo>
                  <a:lnTo>
                    <a:pt x="358" y="310"/>
                  </a:lnTo>
                  <a:lnTo>
                    <a:pt x="355" y="313"/>
                  </a:lnTo>
                  <a:lnTo>
                    <a:pt x="355" y="313"/>
                  </a:lnTo>
                  <a:lnTo>
                    <a:pt x="353" y="313"/>
                  </a:lnTo>
                  <a:lnTo>
                    <a:pt x="353" y="315"/>
                  </a:lnTo>
                  <a:lnTo>
                    <a:pt x="350" y="315"/>
                  </a:lnTo>
                  <a:lnTo>
                    <a:pt x="350" y="315"/>
                  </a:lnTo>
                  <a:lnTo>
                    <a:pt x="347" y="315"/>
                  </a:lnTo>
                  <a:lnTo>
                    <a:pt x="345" y="315"/>
                  </a:lnTo>
                  <a:lnTo>
                    <a:pt x="345" y="318"/>
                  </a:lnTo>
                  <a:lnTo>
                    <a:pt x="342" y="321"/>
                  </a:lnTo>
                  <a:lnTo>
                    <a:pt x="339" y="321"/>
                  </a:lnTo>
                  <a:lnTo>
                    <a:pt x="339" y="318"/>
                  </a:lnTo>
                  <a:lnTo>
                    <a:pt x="337" y="318"/>
                  </a:lnTo>
                  <a:lnTo>
                    <a:pt x="334" y="318"/>
                  </a:lnTo>
                  <a:lnTo>
                    <a:pt x="334" y="318"/>
                  </a:lnTo>
                  <a:lnTo>
                    <a:pt x="331" y="318"/>
                  </a:lnTo>
                  <a:lnTo>
                    <a:pt x="331" y="321"/>
                  </a:lnTo>
                  <a:lnTo>
                    <a:pt x="329" y="318"/>
                  </a:lnTo>
                  <a:lnTo>
                    <a:pt x="329" y="323"/>
                  </a:lnTo>
                  <a:lnTo>
                    <a:pt x="326" y="323"/>
                  </a:lnTo>
                  <a:lnTo>
                    <a:pt x="326" y="323"/>
                  </a:lnTo>
                  <a:lnTo>
                    <a:pt x="326" y="326"/>
                  </a:lnTo>
                  <a:lnTo>
                    <a:pt x="323" y="329"/>
                  </a:lnTo>
                  <a:lnTo>
                    <a:pt x="323" y="331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3" y="337"/>
                  </a:lnTo>
                  <a:lnTo>
                    <a:pt x="321" y="334"/>
                  </a:lnTo>
                  <a:lnTo>
                    <a:pt x="321" y="334"/>
                  </a:lnTo>
                  <a:lnTo>
                    <a:pt x="321" y="331"/>
                  </a:lnTo>
                  <a:lnTo>
                    <a:pt x="321" y="331"/>
                  </a:lnTo>
                  <a:lnTo>
                    <a:pt x="318" y="331"/>
                  </a:lnTo>
                  <a:lnTo>
                    <a:pt x="321" y="329"/>
                  </a:lnTo>
                  <a:lnTo>
                    <a:pt x="321" y="329"/>
                  </a:lnTo>
                  <a:lnTo>
                    <a:pt x="321" y="329"/>
                  </a:lnTo>
                  <a:lnTo>
                    <a:pt x="318" y="329"/>
                  </a:lnTo>
                  <a:lnTo>
                    <a:pt x="315" y="331"/>
                  </a:lnTo>
                  <a:lnTo>
                    <a:pt x="313" y="329"/>
                  </a:lnTo>
                  <a:lnTo>
                    <a:pt x="313" y="331"/>
                  </a:lnTo>
                  <a:lnTo>
                    <a:pt x="310" y="337"/>
                  </a:lnTo>
                  <a:lnTo>
                    <a:pt x="318" y="337"/>
                  </a:lnTo>
                  <a:lnTo>
                    <a:pt x="318" y="339"/>
                  </a:lnTo>
                  <a:lnTo>
                    <a:pt x="321" y="337"/>
                  </a:lnTo>
                  <a:lnTo>
                    <a:pt x="321" y="339"/>
                  </a:lnTo>
                  <a:lnTo>
                    <a:pt x="321" y="339"/>
                  </a:lnTo>
                  <a:lnTo>
                    <a:pt x="321" y="339"/>
                  </a:lnTo>
                  <a:lnTo>
                    <a:pt x="321" y="342"/>
                  </a:lnTo>
                  <a:lnTo>
                    <a:pt x="321" y="342"/>
                  </a:lnTo>
                  <a:lnTo>
                    <a:pt x="321" y="342"/>
                  </a:lnTo>
                  <a:lnTo>
                    <a:pt x="329" y="345"/>
                  </a:lnTo>
                  <a:lnTo>
                    <a:pt x="329" y="345"/>
                  </a:lnTo>
                  <a:lnTo>
                    <a:pt x="331" y="345"/>
                  </a:lnTo>
                  <a:lnTo>
                    <a:pt x="331" y="345"/>
                  </a:lnTo>
                  <a:lnTo>
                    <a:pt x="334" y="345"/>
                  </a:lnTo>
                  <a:lnTo>
                    <a:pt x="337" y="347"/>
                  </a:lnTo>
                  <a:lnTo>
                    <a:pt x="339" y="347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42" y="350"/>
                  </a:lnTo>
                  <a:lnTo>
                    <a:pt x="342" y="353"/>
                  </a:lnTo>
                  <a:lnTo>
                    <a:pt x="339" y="355"/>
                  </a:lnTo>
                  <a:lnTo>
                    <a:pt x="339" y="355"/>
                  </a:lnTo>
                  <a:lnTo>
                    <a:pt x="342" y="358"/>
                  </a:lnTo>
                  <a:lnTo>
                    <a:pt x="342" y="358"/>
                  </a:lnTo>
                  <a:lnTo>
                    <a:pt x="345" y="358"/>
                  </a:lnTo>
                  <a:lnTo>
                    <a:pt x="345" y="358"/>
                  </a:lnTo>
                  <a:lnTo>
                    <a:pt x="347" y="361"/>
                  </a:lnTo>
                  <a:lnTo>
                    <a:pt x="347" y="363"/>
                  </a:lnTo>
                  <a:lnTo>
                    <a:pt x="347" y="363"/>
                  </a:lnTo>
                  <a:lnTo>
                    <a:pt x="345" y="366"/>
                  </a:lnTo>
                  <a:lnTo>
                    <a:pt x="345" y="366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39" y="371"/>
                  </a:lnTo>
                  <a:lnTo>
                    <a:pt x="342" y="371"/>
                  </a:lnTo>
                  <a:lnTo>
                    <a:pt x="342" y="374"/>
                  </a:lnTo>
                  <a:lnTo>
                    <a:pt x="339" y="374"/>
                  </a:lnTo>
                  <a:lnTo>
                    <a:pt x="337" y="374"/>
                  </a:lnTo>
                  <a:lnTo>
                    <a:pt x="337" y="374"/>
                  </a:lnTo>
                  <a:lnTo>
                    <a:pt x="334" y="371"/>
                  </a:lnTo>
                  <a:lnTo>
                    <a:pt x="331" y="374"/>
                  </a:lnTo>
                  <a:lnTo>
                    <a:pt x="331" y="374"/>
                  </a:lnTo>
                  <a:lnTo>
                    <a:pt x="329" y="374"/>
                  </a:lnTo>
                  <a:lnTo>
                    <a:pt x="326" y="374"/>
                  </a:lnTo>
                  <a:lnTo>
                    <a:pt x="323" y="377"/>
                  </a:lnTo>
                  <a:lnTo>
                    <a:pt x="321" y="374"/>
                  </a:lnTo>
                  <a:lnTo>
                    <a:pt x="321" y="374"/>
                  </a:lnTo>
                  <a:lnTo>
                    <a:pt x="315" y="377"/>
                  </a:lnTo>
                  <a:lnTo>
                    <a:pt x="313" y="374"/>
                  </a:lnTo>
                  <a:lnTo>
                    <a:pt x="313" y="371"/>
                  </a:lnTo>
                  <a:lnTo>
                    <a:pt x="310" y="369"/>
                  </a:lnTo>
                  <a:lnTo>
                    <a:pt x="307" y="366"/>
                  </a:lnTo>
                  <a:lnTo>
                    <a:pt x="310" y="366"/>
                  </a:lnTo>
                  <a:lnTo>
                    <a:pt x="310" y="363"/>
                  </a:lnTo>
                  <a:lnTo>
                    <a:pt x="310" y="363"/>
                  </a:lnTo>
                  <a:lnTo>
                    <a:pt x="310" y="361"/>
                  </a:lnTo>
                  <a:lnTo>
                    <a:pt x="310" y="361"/>
                  </a:lnTo>
                  <a:lnTo>
                    <a:pt x="307" y="361"/>
                  </a:lnTo>
                  <a:lnTo>
                    <a:pt x="305" y="358"/>
                  </a:lnTo>
                  <a:lnTo>
                    <a:pt x="305" y="355"/>
                  </a:lnTo>
                  <a:lnTo>
                    <a:pt x="302" y="353"/>
                  </a:lnTo>
                  <a:lnTo>
                    <a:pt x="302" y="353"/>
                  </a:lnTo>
                  <a:lnTo>
                    <a:pt x="299" y="353"/>
                  </a:lnTo>
                  <a:lnTo>
                    <a:pt x="297" y="350"/>
                  </a:lnTo>
                  <a:lnTo>
                    <a:pt x="297" y="347"/>
                  </a:lnTo>
                  <a:lnTo>
                    <a:pt x="294" y="347"/>
                  </a:lnTo>
                  <a:lnTo>
                    <a:pt x="291" y="347"/>
                  </a:lnTo>
                  <a:lnTo>
                    <a:pt x="289" y="345"/>
                  </a:lnTo>
                  <a:lnTo>
                    <a:pt x="289" y="345"/>
                  </a:lnTo>
                  <a:lnTo>
                    <a:pt x="286" y="345"/>
                  </a:lnTo>
                  <a:lnTo>
                    <a:pt x="283" y="342"/>
                  </a:lnTo>
                  <a:lnTo>
                    <a:pt x="283" y="339"/>
                  </a:lnTo>
                  <a:lnTo>
                    <a:pt x="281" y="339"/>
                  </a:lnTo>
                  <a:lnTo>
                    <a:pt x="281" y="337"/>
                  </a:lnTo>
                  <a:lnTo>
                    <a:pt x="281" y="339"/>
                  </a:lnTo>
                  <a:lnTo>
                    <a:pt x="278" y="339"/>
                  </a:lnTo>
                  <a:lnTo>
                    <a:pt x="278" y="339"/>
                  </a:lnTo>
                  <a:lnTo>
                    <a:pt x="275" y="337"/>
                  </a:lnTo>
                  <a:lnTo>
                    <a:pt x="273" y="337"/>
                  </a:lnTo>
                  <a:lnTo>
                    <a:pt x="270" y="337"/>
                  </a:lnTo>
                  <a:lnTo>
                    <a:pt x="267" y="337"/>
                  </a:lnTo>
                  <a:lnTo>
                    <a:pt x="265" y="337"/>
                  </a:lnTo>
                  <a:lnTo>
                    <a:pt x="265" y="334"/>
                  </a:lnTo>
                  <a:lnTo>
                    <a:pt x="262" y="334"/>
                  </a:lnTo>
                  <a:lnTo>
                    <a:pt x="262" y="337"/>
                  </a:lnTo>
                  <a:lnTo>
                    <a:pt x="262" y="337"/>
                  </a:lnTo>
                  <a:lnTo>
                    <a:pt x="262" y="339"/>
                  </a:lnTo>
                  <a:lnTo>
                    <a:pt x="259" y="342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4" y="345"/>
                  </a:lnTo>
                  <a:lnTo>
                    <a:pt x="251" y="345"/>
                  </a:lnTo>
                  <a:lnTo>
                    <a:pt x="251" y="345"/>
                  </a:lnTo>
                  <a:lnTo>
                    <a:pt x="249" y="345"/>
                  </a:lnTo>
                  <a:lnTo>
                    <a:pt x="246" y="345"/>
                  </a:lnTo>
                  <a:lnTo>
                    <a:pt x="246" y="345"/>
                  </a:lnTo>
                  <a:lnTo>
                    <a:pt x="246" y="342"/>
                  </a:lnTo>
                  <a:lnTo>
                    <a:pt x="243" y="342"/>
                  </a:lnTo>
                  <a:lnTo>
                    <a:pt x="243" y="342"/>
                  </a:lnTo>
                  <a:lnTo>
                    <a:pt x="241" y="342"/>
                  </a:lnTo>
                  <a:lnTo>
                    <a:pt x="238" y="342"/>
                  </a:lnTo>
                  <a:lnTo>
                    <a:pt x="238" y="345"/>
                  </a:lnTo>
                  <a:lnTo>
                    <a:pt x="238" y="345"/>
                  </a:lnTo>
                  <a:lnTo>
                    <a:pt x="238" y="347"/>
                  </a:lnTo>
                  <a:lnTo>
                    <a:pt x="238" y="347"/>
                  </a:lnTo>
                  <a:lnTo>
                    <a:pt x="235" y="350"/>
                  </a:lnTo>
                  <a:lnTo>
                    <a:pt x="235" y="353"/>
                  </a:lnTo>
                  <a:lnTo>
                    <a:pt x="233" y="353"/>
                  </a:lnTo>
                  <a:lnTo>
                    <a:pt x="227" y="355"/>
                  </a:lnTo>
                  <a:lnTo>
                    <a:pt x="225" y="355"/>
                  </a:lnTo>
                  <a:lnTo>
                    <a:pt x="222" y="355"/>
                  </a:lnTo>
                  <a:lnTo>
                    <a:pt x="219" y="355"/>
                  </a:lnTo>
                  <a:lnTo>
                    <a:pt x="219" y="353"/>
                  </a:lnTo>
                  <a:lnTo>
                    <a:pt x="217" y="353"/>
                  </a:lnTo>
                  <a:lnTo>
                    <a:pt x="217" y="353"/>
                  </a:lnTo>
                  <a:lnTo>
                    <a:pt x="214" y="353"/>
                  </a:lnTo>
                  <a:lnTo>
                    <a:pt x="214" y="353"/>
                  </a:lnTo>
                  <a:lnTo>
                    <a:pt x="211" y="353"/>
                  </a:lnTo>
                  <a:lnTo>
                    <a:pt x="209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06" y="355"/>
                  </a:lnTo>
                  <a:lnTo>
                    <a:pt x="203" y="353"/>
                  </a:lnTo>
                  <a:lnTo>
                    <a:pt x="198" y="353"/>
                  </a:lnTo>
                  <a:lnTo>
                    <a:pt x="198" y="350"/>
                  </a:lnTo>
                  <a:lnTo>
                    <a:pt x="195" y="350"/>
                  </a:lnTo>
                  <a:lnTo>
                    <a:pt x="195" y="347"/>
                  </a:lnTo>
                  <a:lnTo>
                    <a:pt x="195" y="347"/>
                  </a:lnTo>
                  <a:lnTo>
                    <a:pt x="192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87" y="345"/>
                  </a:lnTo>
                  <a:lnTo>
                    <a:pt x="184" y="345"/>
                  </a:lnTo>
                  <a:lnTo>
                    <a:pt x="182" y="345"/>
                  </a:lnTo>
                  <a:lnTo>
                    <a:pt x="182" y="345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79" y="347"/>
                  </a:lnTo>
                  <a:lnTo>
                    <a:pt x="176" y="347"/>
                  </a:lnTo>
                  <a:lnTo>
                    <a:pt x="174" y="347"/>
                  </a:lnTo>
                  <a:lnTo>
                    <a:pt x="171" y="347"/>
                  </a:lnTo>
                  <a:lnTo>
                    <a:pt x="168" y="347"/>
                  </a:lnTo>
                  <a:lnTo>
                    <a:pt x="166" y="345"/>
                  </a:lnTo>
                  <a:lnTo>
                    <a:pt x="163" y="345"/>
                  </a:lnTo>
                  <a:lnTo>
                    <a:pt x="160" y="345"/>
                  </a:lnTo>
                  <a:lnTo>
                    <a:pt x="160" y="342"/>
                  </a:lnTo>
                  <a:lnTo>
                    <a:pt x="163" y="342"/>
                  </a:lnTo>
                  <a:lnTo>
                    <a:pt x="163" y="339"/>
                  </a:lnTo>
                  <a:lnTo>
                    <a:pt x="163" y="337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34"/>
                  </a:lnTo>
                  <a:lnTo>
                    <a:pt x="163" y="331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60" y="326"/>
                  </a:lnTo>
                  <a:lnTo>
                    <a:pt x="160" y="326"/>
                  </a:lnTo>
                  <a:lnTo>
                    <a:pt x="160" y="323"/>
                  </a:lnTo>
                  <a:lnTo>
                    <a:pt x="158" y="323"/>
                  </a:lnTo>
                  <a:lnTo>
                    <a:pt x="155" y="323"/>
                  </a:lnTo>
                  <a:lnTo>
                    <a:pt x="150" y="326"/>
                  </a:lnTo>
                  <a:lnTo>
                    <a:pt x="147" y="323"/>
                  </a:lnTo>
                  <a:lnTo>
                    <a:pt x="144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1"/>
                  </a:lnTo>
                  <a:lnTo>
                    <a:pt x="142" y="318"/>
                  </a:lnTo>
                  <a:lnTo>
                    <a:pt x="144" y="315"/>
                  </a:lnTo>
                  <a:lnTo>
                    <a:pt x="144" y="313"/>
                  </a:lnTo>
                  <a:lnTo>
                    <a:pt x="147" y="313"/>
                  </a:lnTo>
                  <a:lnTo>
                    <a:pt x="147" y="307"/>
                  </a:lnTo>
                  <a:lnTo>
                    <a:pt x="150" y="305"/>
                  </a:lnTo>
                  <a:lnTo>
                    <a:pt x="150" y="302"/>
                  </a:lnTo>
                  <a:lnTo>
                    <a:pt x="150" y="299"/>
                  </a:lnTo>
                  <a:lnTo>
                    <a:pt x="150" y="299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47" y="299"/>
                  </a:lnTo>
                  <a:lnTo>
                    <a:pt x="147" y="302"/>
                  </a:lnTo>
                  <a:lnTo>
                    <a:pt x="147" y="302"/>
                  </a:lnTo>
                  <a:lnTo>
                    <a:pt x="144" y="302"/>
                  </a:lnTo>
                  <a:lnTo>
                    <a:pt x="144" y="302"/>
                  </a:lnTo>
                  <a:lnTo>
                    <a:pt x="142" y="299"/>
                  </a:lnTo>
                  <a:lnTo>
                    <a:pt x="142" y="299"/>
                  </a:lnTo>
                  <a:lnTo>
                    <a:pt x="139" y="297"/>
                  </a:lnTo>
                  <a:lnTo>
                    <a:pt x="136" y="297"/>
                  </a:lnTo>
                  <a:lnTo>
                    <a:pt x="139" y="294"/>
                  </a:lnTo>
                  <a:lnTo>
                    <a:pt x="134" y="291"/>
                  </a:lnTo>
                  <a:lnTo>
                    <a:pt x="131" y="291"/>
                  </a:lnTo>
                  <a:lnTo>
                    <a:pt x="128" y="289"/>
                  </a:lnTo>
                  <a:lnTo>
                    <a:pt x="126" y="286"/>
                  </a:lnTo>
                  <a:lnTo>
                    <a:pt x="123" y="286"/>
                  </a:lnTo>
                  <a:lnTo>
                    <a:pt x="123" y="286"/>
                  </a:lnTo>
                  <a:lnTo>
                    <a:pt x="120" y="289"/>
                  </a:lnTo>
                  <a:lnTo>
                    <a:pt x="120" y="291"/>
                  </a:lnTo>
                  <a:lnTo>
                    <a:pt x="120" y="294"/>
                  </a:lnTo>
                  <a:lnTo>
                    <a:pt x="110" y="294"/>
                  </a:lnTo>
                  <a:lnTo>
                    <a:pt x="107" y="302"/>
                  </a:lnTo>
                  <a:lnTo>
                    <a:pt x="110" y="302"/>
                  </a:lnTo>
                  <a:lnTo>
                    <a:pt x="107" y="315"/>
                  </a:lnTo>
                  <a:lnTo>
                    <a:pt x="107" y="315"/>
                  </a:lnTo>
                  <a:lnTo>
                    <a:pt x="104" y="315"/>
                  </a:lnTo>
                  <a:lnTo>
                    <a:pt x="104" y="315"/>
                  </a:lnTo>
                  <a:lnTo>
                    <a:pt x="104" y="318"/>
                  </a:lnTo>
                  <a:lnTo>
                    <a:pt x="102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6" y="318"/>
                  </a:lnTo>
                  <a:lnTo>
                    <a:pt x="94" y="318"/>
                  </a:lnTo>
                  <a:lnTo>
                    <a:pt x="91" y="321"/>
                  </a:lnTo>
                  <a:lnTo>
                    <a:pt x="88" y="321"/>
                  </a:lnTo>
                  <a:lnTo>
                    <a:pt x="86" y="326"/>
                  </a:lnTo>
                  <a:lnTo>
                    <a:pt x="80" y="326"/>
                  </a:lnTo>
                  <a:lnTo>
                    <a:pt x="80" y="323"/>
                  </a:lnTo>
                  <a:lnTo>
                    <a:pt x="80" y="323"/>
                  </a:lnTo>
                  <a:lnTo>
                    <a:pt x="80" y="331"/>
                  </a:lnTo>
                  <a:lnTo>
                    <a:pt x="78" y="331"/>
                  </a:lnTo>
                  <a:lnTo>
                    <a:pt x="54" y="238"/>
                  </a:lnTo>
                  <a:lnTo>
                    <a:pt x="43" y="200"/>
                  </a:lnTo>
                  <a:lnTo>
                    <a:pt x="38" y="184"/>
                  </a:lnTo>
                  <a:lnTo>
                    <a:pt x="24" y="144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64"/>
                  </a:lnTo>
                  <a:lnTo>
                    <a:pt x="3" y="67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11" y="59"/>
                  </a:lnTo>
                  <a:lnTo>
                    <a:pt x="11" y="56"/>
                  </a:lnTo>
                  <a:lnTo>
                    <a:pt x="6" y="53"/>
                  </a:lnTo>
                  <a:lnTo>
                    <a:pt x="3" y="51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2" y="43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3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4" y="56"/>
                  </a:lnTo>
                  <a:lnTo>
                    <a:pt x="27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3" y="59"/>
                  </a:lnTo>
                  <a:lnTo>
                    <a:pt x="43" y="56"/>
                  </a:lnTo>
                  <a:lnTo>
                    <a:pt x="43" y="53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8" y="45"/>
                  </a:lnTo>
                  <a:lnTo>
                    <a:pt x="51" y="48"/>
                  </a:lnTo>
                  <a:lnTo>
                    <a:pt x="56" y="45"/>
                  </a:lnTo>
                  <a:lnTo>
                    <a:pt x="67" y="45"/>
                  </a:lnTo>
                  <a:lnTo>
                    <a:pt x="67" y="51"/>
                  </a:lnTo>
                  <a:lnTo>
                    <a:pt x="72" y="45"/>
                  </a:lnTo>
                  <a:lnTo>
                    <a:pt x="75" y="48"/>
                  </a:lnTo>
                  <a:lnTo>
                    <a:pt x="83" y="51"/>
                  </a:lnTo>
                  <a:lnTo>
                    <a:pt x="83" y="48"/>
                  </a:lnTo>
                  <a:lnTo>
                    <a:pt x="88" y="48"/>
                  </a:lnTo>
                  <a:lnTo>
                    <a:pt x="91" y="51"/>
                  </a:lnTo>
                  <a:lnTo>
                    <a:pt x="99" y="48"/>
                  </a:lnTo>
                  <a:lnTo>
                    <a:pt x="102" y="48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10" y="37"/>
                  </a:lnTo>
                  <a:lnTo>
                    <a:pt x="112" y="43"/>
                  </a:lnTo>
                  <a:lnTo>
                    <a:pt x="118" y="40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34" y="27"/>
                  </a:lnTo>
                  <a:lnTo>
                    <a:pt x="131" y="21"/>
                  </a:lnTo>
                  <a:lnTo>
                    <a:pt x="139" y="21"/>
                  </a:lnTo>
                  <a:lnTo>
                    <a:pt x="142" y="24"/>
                  </a:lnTo>
                  <a:lnTo>
                    <a:pt x="144" y="24"/>
                  </a:lnTo>
                  <a:lnTo>
                    <a:pt x="147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5" y="19"/>
                  </a:lnTo>
                  <a:lnTo>
                    <a:pt x="155" y="21"/>
                  </a:lnTo>
                  <a:lnTo>
                    <a:pt x="160" y="19"/>
                  </a:lnTo>
                  <a:lnTo>
                    <a:pt x="160" y="16"/>
                  </a:lnTo>
                  <a:lnTo>
                    <a:pt x="166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71" y="11"/>
                  </a:lnTo>
                  <a:lnTo>
                    <a:pt x="174" y="11"/>
                  </a:lnTo>
                  <a:lnTo>
                    <a:pt x="174" y="11"/>
                  </a:lnTo>
                  <a:lnTo>
                    <a:pt x="176" y="8"/>
                  </a:lnTo>
                  <a:lnTo>
                    <a:pt x="176" y="11"/>
                  </a:lnTo>
                  <a:lnTo>
                    <a:pt x="179" y="11"/>
                  </a:lnTo>
                  <a:lnTo>
                    <a:pt x="176" y="3"/>
                  </a:lnTo>
                  <a:lnTo>
                    <a:pt x="187" y="0"/>
                  </a:lnTo>
                  <a:lnTo>
                    <a:pt x="187" y="8"/>
                  </a:lnTo>
                  <a:lnTo>
                    <a:pt x="187" y="11"/>
                  </a:lnTo>
                  <a:lnTo>
                    <a:pt x="190" y="13"/>
                  </a:lnTo>
                  <a:lnTo>
                    <a:pt x="190" y="16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24"/>
                  </a:lnTo>
                  <a:lnTo>
                    <a:pt x="192" y="27"/>
                  </a:lnTo>
                  <a:lnTo>
                    <a:pt x="192" y="27"/>
                  </a:lnTo>
                  <a:lnTo>
                    <a:pt x="195" y="24"/>
                  </a:lnTo>
                  <a:lnTo>
                    <a:pt x="195" y="27"/>
                  </a:lnTo>
                  <a:lnTo>
                    <a:pt x="198" y="29"/>
                  </a:lnTo>
                  <a:lnTo>
                    <a:pt x="200" y="29"/>
                  </a:lnTo>
                  <a:lnTo>
                    <a:pt x="203" y="29"/>
                  </a:lnTo>
                  <a:lnTo>
                    <a:pt x="203" y="29"/>
                  </a:lnTo>
                  <a:lnTo>
                    <a:pt x="206" y="32"/>
                  </a:lnTo>
                  <a:lnTo>
                    <a:pt x="211" y="35"/>
                  </a:lnTo>
                  <a:lnTo>
                    <a:pt x="211" y="37"/>
                  </a:lnTo>
                  <a:lnTo>
                    <a:pt x="217" y="40"/>
                  </a:lnTo>
                  <a:lnTo>
                    <a:pt x="217" y="40"/>
                  </a:lnTo>
                  <a:lnTo>
                    <a:pt x="214" y="40"/>
                  </a:lnTo>
                  <a:lnTo>
                    <a:pt x="211" y="48"/>
                  </a:lnTo>
                  <a:lnTo>
                    <a:pt x="214" y="48"/>
                  </a:lnTo>
                  <a:lnTo>
                    <a:pt x="214" y="48"/>
                  </a:lnTo>
                  <a:lnTo>
                    <a:pt x="222" y="43"/>
                  </a:lnTo>
                  <a:lnTo>
                    <a:pt x="225" y="45"/>
                  </a:lnTo>
                  <a:lnTo>
                    <a:pt x="230" y="45"/>
                  </a:lnTo>
                  <a:lnTo>
                    <a:pt x="230" y="48"/>
                  </a:lnTo>
                  <a:lnTo>
                    <a:pt x="230" y="51"/>
                  </a:lnTo>
                  <a:lnTo>
                    <a:pt x="230" y="51"/>
                  </a:lnTo>
                  <a:lnTo>
                    <a:pt x="227" y="53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2" y="56"/>
                  </a:lnTo>
                  <a:lnTo>
                    <a:pt x="222" y="59"/>
                  </a:lnTo>
                  <a:lnTo>
                    <a:pt x="222" y="61"/>
                  </a:lnTo>
                  <a:lnTo>
                    <a:pt x="222" y="61"/>
                  </a:lnTo>
                  <a:lnTo>
                    <a:pt x="222" y="64"/>
                  </a:lnTo>
                  <a:lnTo>
                    <a:pt x="225" y="67"/>
                  </a:lnTo>
                  <a:lnTo>
                    <a:pt x="225" y="67"/>
                  </a:lnTo>
                  <a:lnTo>
                    <a:pt x="225" y="69"/>
                  </a:lnTo>
                  <a:lnTo>
                    <a:pt x="225" y="72"/>
                  </a:lnTo>
                  <a:lnTo>
                    <a:pt x="225" y="72"/>
                  </a:lnTo>
                  <a:lnTo>
                    <a:pt x="227" y="69"/>
                  </a:lnTo>
                  <a:lnTo>
                    <a:pt x="227" y="69"/>
                  </a:lnTo>
                  <a:lnTo>
                    <a:pt x="230" y="69"/>
                  </a:lnTo>
                  <a:lnTo>
                    <a:pt x="233" y="72"/>
                  </a:lnTo>
                  <a:lnTo>
                    <a:pt x="235" y="72"/>
                  </a:lnTo>
                  <a:lnTo>
                    <a:pt x="238" y="75"/>
                  </a:lnTo>
                  <a:lnTo>
                    <a:pt x="238" y="77"/>
                  </a:lnTo>
                  <a:lnTo>
                    <a:pt x="241" y="77"/>
                  </a:lnTo>
                  <a:lnTo>
                    <a:pt x="241" y="77"/>
                  </a:lnTo>
                  <a:lnTo>
                    <a:pt x="243" y="77"/>
                  </a:lnTo>
                  <a:lnTo>
                    <a:pt x="246" y="77"/>
                  </a:lnTo>
                  <a:lnTo>
                    <a:pt x="246" y="77"/>
                  </a:lnTo>
                  <a:lnTo>
                    <a:pt x="246" y="80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1" y="83"/>
                  </a:lnTo>
                  <a:lnTo>
                    <a:pt x="241" y="83"/>
                  </a:lnTo>
                  <a:lnTo>
                    <a:pt x="243" y="83"/>
                  </a:lnTo>
                  <a:lnTo>
                    <a:pt x="243" y="83"/>
                  </a:lnTo>
                  <a:lnTo>
                    <a:pt x="243" y="83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6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4" y="85"/>
                  </a:lnTo>
                  <a:lnTo>
                    <a:pt x="254" y="88"/>
                  </a:lnTo>
                  <a:lnTo>
                    <a:pt x="254" y="88"/>
                  </a:lnTo>
                  <a:lnTo>
                    <a:pt x="254" y="91"/>
                  </a:lnTo>
                  <a:lnTo>
                    <a:pt x="254" y="93"/>
                  </a:lnTo>
                  <a:lnTo>
                    <a:pt x="254" y="96"/>
                  </a:lnTo>
                  <a:lnTo>
                    <a:pt x="257" y="93"/>
                  </a:lnTo>
                  <a:lnTo>
                    <a:pt x="257" y="93"/>
                  </a:lnTo>
                  <a:lnTo>
                    <a:pt x="257" y="96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59" y="99"/>
                  </a:lnTo>
                  <a:lnTo>
                    <a:pt x="259" y="96"/>
                  </a:lnTo>
                  <a:lnTo>
                    <a:pt x="259" y="96"/>
                  </a:lnTo>
                  <a:lnTo>
                    <a:pt x="262" y="96"/>
                  </a:lnTo>
                  <a:lnTo>
                    <a:pt x="262" y="96"/>
                  </a:lnTo>
                  <a:lnTo>
                    <a:pt x="265" y="96"/>
                  </a:lnTo>
                  <a:lnTo>
                    <a:pt x="265" y="93"/>
                  </a:lnTo>
                  <a:lnTo>
                    <a:pt x="265" y="93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2" y="91"/>
                  </a:lnTo>
                  <a:lnTo>
                    <a:pt x="273" y="83"/>
                  </a:lnTo>
                  <a:lnTo>
                    <a:pt x="270" y="80"/>
                  </a:lnTo>
                  <a:lnTo>
                    <a:pt x="278" y="75"/>
                  </a:lnTo>
                  <a:lnTo>
                    <a:pt x="275" y="69"/>
                  </a:lnTo>
                  <a:lnTo>
                    <a:pt x="299" y="53"/>
                  </a:lnTo>
                  <a:lnTo>
                    <a:pt x="299" y="51"/>
                  </a:lnTo>
                  <a:lnTo>
                    <a:pt x="305" y="48"/>
                  </a:lnTo>
                  <a:lnTo>
                    <a:pt x="307" y="51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3" y="48"/>
                  </a:lnTo>
                  <a:lnTo>
                    <a:pt x="313" y="61"/>
                  </a:lnTo>
                  <a:lnTo>
                    <a:pt x="318" y="61"/>
                  </a:lnTo>
                  <a:lnTo>
                    <a:pt x="318" y="59"/>
                  </a:lnTo>
                  <a:lnTo>
                    <a:pt x="321" y="59"/>
                  </a:lnTo>
                  <a:lnTo>
                    <a:pt x="321" y="51"/>
                  </a:lnTo>
                  <a:lnTo>
                    <a:pt x="321" y="51"/>
                  </a:lnTo>
                  <a:lnTo>
                    <a:pt x="323" y="48"/>
                  </a:lnTo>
                  <a:lnTo>
                    <a:pt x="326" y="48"/>
                  </a:lnTo>
                  <a:lnTo>
                    <a:pt x="326" y="45"/>
                  </a:lnTo>
                  <a:lnTo>
                    <a:pt x="331" y="45"/>
                  </a:lnTo>
                  <a:lnTo>
                    <a:pt x="334" y="48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39" y="45"/>
                  </a:lnTo>
                  <a:lnTo>
                    <a:pt x="342" y="45"/>
                  </a:lnTo>
                  <a:lnTo>
                    <a:pt x="342" y="48"/>
                  </a:lnTo>
                  <a:lnTo>
                    <a:pt x="345" y="48"/>
                  </a:lnTo>
                  <a:lnTo>
                    <a:pt x="345" y="48"/>
                  </a:lnTo>
                  <a:lnTo>
                    <a:pt x="345" y="48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7" y="51"/>
                  </a:lnTo>
                  <a:lnTo>
                    <a:pt x="347" y="51"/>
                  </a:lnTo>
                  <a:lnTo>
                    <a:pt x="361" y="45"/>
                  </a:lnTo>
                  <a:lnTo>
                    <a:pt x="363" y="45"/>
                  </a:lnTo>
                  <a:lnTo>
                    <a:pt x="366" y="43"/>
                  </a:lnTo>
                  <a:lnTo>
                    <a:pt x="366" y="43"/>
                  </a:lnTo>
                  <a:lnTo>
                    <a:pt x="369" y="43"/>
                  </a:lnTo>
                  <a:lnTo>
                    <a:pt x="369" y="43"/>
                  </a:lnTo>
                  <a:lnTo>
                    <a:pt x="369" y="45"/>
                  </a:lnTo>
                  <a:lnTo>
                    <a:pt x="369" y="45"/>
                  </a:lnTo>
                  <a:lnTo>
                    <a:pt x="371" y="45"/>
                  </a:lnTo>
                  <a:lnTo>
                    <a:pt x="371" y="45"/>
                  </a:lnTo>
                  <a:lnTo>
                    <a:pt x="371" y="45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74" y="45"/>
                  </a:lnTo>
                  <a:lnTo>
                    <a:pt x="377" y="45"/>
                  </a:lnTo>
                  <a:lnTo>
                    <a:pt x="374" y="48"/>
                  </a:lnTo>
                  <a:lnTo>
                    <a:pt x="377" y="51"/>
                  </a:lnTo>
                  <a:lnTo>
                    <a:pt x="377" y="48"/>
                  </a:lnTo>
                  <a:lnTo>
                    <a:pt x="379" y="48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5" y="45"/>
                  </a:lnTo>
                  <a:lnTo>
                    <a:pt x="385" y="43"/>
                  </a:lnTo>
                  <a:lnTo>
                    <a:pt x="385" y="40"/>
                  </a:lnTo>
                  <a:lnTo>
                    <a:pt x="390" y="35"/>
                  </a:lnTo>
                  <a:lnTo>
                    <a:pt x="393" y="35"/>
                  </a:lnTo>
                  <a:lnTo>
                    <a:pt x="398" y="32"/>
                  </a:lnTo>
                  <a:lnTo>
                    <a:pt x="401" y="35"/>
                  </a:lnTo>
                  <a:lnTo>
                    <a:pt x="401" y="35"/>
                  </a:lnTo>
                  <a:lnTo>
                    <a:pt x="401" y="32"/>
                  </a:lnTo>
                  <a:lnTo>
                    <a:pt x="417" y="27"/>
                  </a:lnTo>
                  <a:lnTo>
                    <a:pt x="422" y="24"/>
                  </a:lnTo>
                  <a:lnTo>
                    <a:pt x="433" y="51"/>
                  </a:lnTo>
                  <a:lnTo>
                    <a:pt x="441" y="48"/>
                  </a:lnTo>
                  <a:lnTo>
                    <a:pt x="441" y="51"/>
                  </a:lnTo>
                  <a:lnTo>
                    <a:pt x="444" y="48"/>
                  </a:lnTo>
                  <a:lnTo>
                    <a:pt x="446" y="56"/>
                  </a:lnTo>
                  <a:lnTo>
                    <a:pt x="449" y="56"/>
                  </a:lnTo>
                  <a:lnTo>
                    <a:pt x="454" y="64"/>
                  </a:lnTo>
                  <a:lnTo>
                    <a:pt x="457" y="64"/>
                  </a:lnTo>
                  <a:lnTo>
                    <a:pt x="457" y="67"/>
                  </a:lnTo>
                  <a:lnTo>
                    <a:pt x="460" y="69"/>
                  </a:lnTo>
                  <a:lnTo>
                    <a:pt x="462" y="69"/>
                  </a:lnTo>
                  <a:lnTo>
                    <a:pt x="465" y="72"/>
                  </a:lnTo>
                  <a:lnTo>
                    <a:pt x="465" y="72"/>
                  </a:lnTo>
                  <a:lnTo>
                    <a:pt x="465" y="72"/>
                  </a:lnTo>
                  <a:lnTo>
                    <a:pt x="468" y="75"/>
                  </a:lnTo>
                  <a:lnTo>
                    <a:pt x="470" y="75"/>
                  </a:lnTo>
                  <a:lnTo>
                    <a:pt x="470" y="77"/>
                  </a:lnTo>
                  <a:lnTo>
                    <a:pt x="470" y="83"/>
                  </a:lnTo>
                  <a:lnTo>
                    <a:pt x="470" y="85"/>
                  </a:lnTo>
                  <a:lnTo>
                    <a:pt x="470" y="88"/>
                  </a:lnTo>
                  <a:lnTo>
                    <a:pt x="473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6" y="91"/>
                  </a:lnTo>
                  <a:lnTo>
                    <a:pt x="478" y="96"/>
                  </a:lnTo>
                  <a:lnTo>
                    <a:pt x="478" y="99"/>
                  </a:lnTo>
                  <a:lnTo>
                    <a:pt x="478" y="102"/>
                  </a:lnTo>
                  <a:lnTo>
                    <a:pt x="478" y="104"/>
                  </a:lnTo>
                  <a:lnTo>
                    <a:pt x="481" y="104"/>
                  </a:lnTo>
                  <a:lnTo>
                    <a:pt x="481" y="107"/>
                  </a:lnTo>
                  <a:lnTo>
                    <a:pt x="481" y="110"/>
                  </a:lnTo>
                  <a:lnTo>
                    <a:pt x="481" y="112"/>
                  </a:lnTo>
                  <a:lnTo>
                    <a:pt x="481" y="112"/>
                  </a:lnTo>
                  <a:lnTo>
                    <a:pt x="484" y="112"/>
                  </a:lnTo>
                  <a:lnTo>
                    <a:pt x="484" y="112"/>
                  </a:lnTo>
                  <a:lnTo>
                    <a:pt x="486" y="115"/>
                  </a:lnTo>
                  <a:lnTo>
                    <a:pt x="486" y="115"/>
                  </a:lnTo>
                  <a:lnTo>
                    <a:pt x="489" y="118"/>
                  </a:lnTo>
                  <a:lnTo>
                    <a:pt x="489" y="120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7" y="123"/>
                  </a:lnTo>
                  <a:lnTo>
                    <a:pt x="497" y="123"/>
                  </a:lnTo>
                  <a:lnTo>
                    <a:pt x="500" y="126"/>
                  </a:lnTo>
                  <a:lnTo>
                    <a:pt x="500" y="128"/>
                  </a:lnTo>
                  <a:lnTo>
                    <a:pt x="502" y="128"/>
                  </a:lnTo>
                  <a:lnTo>
                    <a:pt x="502" y="128"/>
                  </a:lnTo>
                  <a:lnTo>
                    <a:pt x="505" y="128"/>
                  </a:lnTo>
                  <a:lnTo>
                    <a:pt x="508" y="126"/>
                  </a:lnTo>
                  <a:lnTo>
                    <a:pt x="508" y="126"/>
                  </a:lnTo>
                  <a:lnTo>
                    <a:pt x="510" y="126"/>
                  </a:lnTo>
                  <a:lnTo>
                    <a:pt x="510" y="126"/>
                  </a:lnTo>
                  <a:lnTo>
                    <a:pt x="510" y="128"/>
                  </a:lnTo>
                  <a:lnTo>
                    <a:pt x="510" y="128"/>
                  </a:lnTo>
                  <a:lnTo>
                    <a:pt x="508" y="131"/>
                  </a:lnTo>
                  <a:lnTo>
                    <a:pt x="505" y="134"/>
                  </a:lnTo>
                  <a:lnTo>
                    <a:pt x="510" y="134"/>
                  </a:lnTo>
                  <a:lnTo>
                    <a:pt x="508" y="134"/>
                  </a:lnTo>
                  <a:lnTo>
                    <a:pt x="508" y="136"/>
                  </a:lnTo>
                  <a:lnTo>
                    <a:pt x="508" y="136"/>
                  </a:lnTo>
                  <a:lnTo>
                    <a:pt x="505" y="139"/>
                  </a:lnTo>
                  <a:lnTo>
                    <a:pt x="505" y="139"/>
                  </a:lnTo>
                  <a:lnTo>
                    <a:pt x="505" y="142"/>
                  </a:lnTo>
                  <a:lnTo>
                    <a:pt x="502" y="142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0" y="144"/>
                  </a:lnTo>
                  <a:lnTo>
                    <a:pt x="500" y="144"/>
                  </a:lnTo>
                  <a:lnTo>
                    <a:pt x="500" y="147"/>
                  </a:lnTo>
                  <a:lnTo>
                    <a:pt x="497" y="147"/>
                  </a:lnTo>
                  <a:lnTo>
                    <a:pt x="497" y="147"/>
                  </a:lnTo>
                  <a:lnTo>
                    <a:pt x="494" y="147"/>
                  </a:lnTo>
                  <a:lnTo>
                    <a:pt x="492" y="147"/>
                  </a:lnTo>
                  <a:lnTo>
                    <a:pt x="492" y="152"/>
                  </a:lnTo>
                  <a:lnTo>
                    <a:pt x="494" y="152"/>
                  </a:lnTo>
                  <a:lnTo>
                    <a:pt x="497" y="158"/>
                  </a:lnTo>
                  <a:lnTo>
                    <a:pt x="497" y="158"/>
                  </a:lnTo>
                  <a:lnTo>
                    <a:pt x="500" y="158"/>
                  </a:lnTo>
                  <a:lnTo>
                    <a:pt x="500" y="158"/>
                  </a:lnTo>
                  <a:lnTo>
                    <a:pt x="502" y="160"/>
                  </a:lnTo>
                  <a:lnTo>
                    <a:pt x="502" y="163"/>
                  </a:lnTo>
                  <a:lnTo>
                    <a:pt x="502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8" y="166"/>
                  </a:lnTo>
                  <a:lnTo>
                    <a:pt x="508" y="166"/>
                  </a:lnTo>
                  <a:lnTo>
                    <a:pt x="510" y="168"/>
                  </a:lnTo>
                  <a:lnTo>
                    <a:pt x="510" y="168"/>
                  </a:lnTo>
                  <a:lnTo>
                    <a:pt x="510" y="168"/>
                  </a:lnTo>
                  <a:lnTo>
                    <a:pt x="513" y="171"/>
                  </a:lnTo>
                  <a:lnTo>
                    <a:pt x="510" y="174"/>
                  </a:lnTo>
                  <a:lnTo>
                    <a:pt x="508" y="184"/>
                  </a:lnTo>
                  <a:lnTo>
                    <a:pt x="508" y="184"/>
                  </a:lnTo>
                  <a:lnTo>
                    <a:pt x="505" y="184"/>
                  </a:lnTo>
                  <a:lnTo>
                    <a:pt x="505" y="184"/>
                  </a:lnTo>
                  <a:lnTo>
                    <a:pt x="505" y="187"/>
                  </a:lnTo>
                  <a:lnTo>
                    <a:pt x="505" y="190"/>
                  </a:lnTo>
                  <a:lnTo>
                    <a:pt x="505" y="190"/>
                  </a:lnTo>
                  <a:lnTo>
                    <a:pt x="502" y="192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5" y="195"/>
                  </a:lnTo>
                  <a:lnTo>
                    <a:pt x="508" y="198"/>
                  </a:lnTo>
                  <a:lnTo>
                    <a:pt x="508" y="198"/>
                  </a:lnTo>
                  <a:lnTo>
                    <a:pt x="508" y="198"/>
                  </a:lnTo>
                  <a:lnTo>
                    <a:pt x="510" y="198"/>
                  </a:lnTo>
                  <a:lnTo>
                    <a:pt x="510" y="200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0"/>
                  </a:lnTo>
                  <a:lnTo>
                    <a:pt x="516" y="200"/>
                  </a:lnTo>
                  <a:lnTo>
                    <a:pt x="516" y="203"/>
                  </a:lnTo>
                  <a:lnTo>
                    <a:pt x="516" y="206"/>
                  </a:lnTo>
                  <a:lnTo>
                    <a:pt x="516" y="208"/>
                  </a:lnTo>
                  <a:lnTo>
                    <a:pt x="513" y="21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7" name="Freeform 8904">
              <a:extLst>
                <a:ext uri="{FF2B5EF4-FFF2-40B4-BE49-F238E27FC236}">
                  <a16:creationId xmlns:a16="http://schemas.microsoft.com/office/drawing/2014/main" id="{9E1B4716-62A4-1B43-A274-FA7004A93D8D}"/>
                </a:ext>
              </a:extLst>
            </p:cNvPr>
            <p:cNvSpPr/>
            <p:nvPr/>
          </p:nvSpPr>
          <p:spPr bwMode="auto">
            <a:xfrm>
              <a:off x="1420018" y="4456114"/>
              <a:ext cx="631825" cy="568325"/>
            </a:xfrm>
            <a:custGeom>
              <a:avLst/>
              <a:gdLst>
                <a:gd name="T0" fmla="*/ 382 w 398"/>
                <a:gd name="T1" fmla="*/ 225 h 358"/>
                <a:gd name="T2" fmla="*/ 377 w 398"/>
                <a:gd name="T3" fmla="*/ 201 h 358"/>
                <a:gd name="T4" fmla="*/ 366 w 398"/>
                <a:gd name="T5" fmla="*/ 195 h 358"/>
                <a:gd name="T6" fmla="*/ 355 w 398"/>
                <a:gd name="T7" fmla="*/ 201 h 358"/>
                <a:gd name="T8" fmla="*/ 342 w 398"/>
                <a:gd name="T9" fmla="*/ 179 h 358"/>
                <a:gd name="T10" fmla="*/ 331 w 398"/>
                <a:gd name="T11" fmla="*/ 160 h 358"/>
                <a:gd name="T12" fmla="*/ 318 w 398"/>
                <a:gd name="T13" fmla="*/ 174 h 358"/>
                <a:gd name="T14" fmla="*/ 310 w 398"/>
                <a:gd name="T15" fmla="*/ 163 h 358"/>
                <a:gd name="T16" fmla="*/ 297 w 398"/>
                <a:gd name="T17" fmla="*/ 155 h 358"/>
                <a:gd name="T18" fmla="*/ 299 w 398"/>
                <a:gd name="T19" fmla="*/ 147 h 358"/>
                <a:gd name="T20" fmla="*/ 313 w 398"/>
                <a:gd name="T21" fmla="*/ 134 h 358"/>
                <a:gd name="T22" fmla="*/ 313 w 398"/>
                <a:gd name="T23" fmla="*/ 118 h 358"/>
                <a:gd name="T24" fmla="*/ 307 w 398"/>
                <a:gd name="T25" fmla="*/ 102 h 358"/>
                <a:gd name="T26" fmla="*/ 283 w 398"/>
                <a:gd name="T27" fmla="*/ 86 h 358"/>
                <a:gd name="T28" fmla="*/ 265 w 398"/>
                <a:gd name="T29" fmla="*/ 80 h 358"/>
                <a:gd name="T30" fmla="*/ 257 w 398"/>
                <a:gd name="T31" fmla="*/ 72 h 358"/>
                <a:gd name="T32" fmla="*/ 243 w 398"/>
                <a:gd name="T33" fmla="*/ 70 h 358"/>
                <a:gd name="T34" fmla="*/ 225 w 398"/>
                <a:gd name="T35" fmla="*/ 64 h 358"/>
                <a:gd name="T36" fmla="*/ 203 w 398"/>
                <a:gd name="T37" fmla="*/ 24 h 358"/>
                <a:gd name="T38" fmla="*/ 174 w 398"/>
                <a:gd name="T39" fmla="*/ 16 h 358"/>
                <a:gd name="T40" fmla="*/ 152 w 398"/>
                <a:gd name="T41" fmla="*/ 3 h 358"/>
                <a:gd name="T42" fmla="*/ 128 w 398"/>
                <a:gd name="T43" fmla="*/ 5 h 358"/>
                <a:gd name="T44" fmla="*/ 107 w 398"/>
                <a:gd name="T45" fmla="*/ 8 h 358"/>
                <a:gd name="T46" fmla="*/ 110 w 398"/>
                <a:gd name="T47" fmla="*/ 32 h 358"/>
                <a:gd name="T48" fmla="*/ 91 w 398"/>
                <a:gd name="T49" fmla="*/ 56 h 358"/>
                <a:gd name="T50" fmla="*/ 83 w 398"/>
                <a:gd name="T51" fmla="*/ 80 h 358"/>
                <a:gd name="T52" fmla="*/ 88 w 398"/>
                <a:gd name="T53" fmla="*/ 96 h 358"/>
                <a:gd name="T54" fmla="*/ 94 w 398"/>
                <a:gd name="T55" fmla="*/ 126 h 358"/>
                <a:gd name="T56" fmla="*/ 75 w 398"/>
                <a:gd name="T57" fmla="*/ 142 h 358"/>
                <a:gd name="T58" fmla="*/ 67 w 398"/>
                <a:gd name="T59" fmla="*/ 155 h 358"/>
                <a:gd name="T60" fmla="*/ 67 w 398"/>
                <a:gd name="T61" fmla="*/ 171 h 358"/>
                <a:gd name="T62" fmla="*/ 75 w 398"/>
                <a:gd name="T63" fmla="*/ 190 h 358"/>
                <a:gd name="T64" fmla="*/ 80 w 398"/>
                <a:gd name="T65" fmla="*/ 203 h 358"/>
                <a:gd name="T66" fmla="*/ 75 w 398"/>
                <a:gd name="T67" fmla="*/ 219 h 358"/>
                <a:gd name="T68" fmla="*/ 64 w 398"/>
                <a:gd name="T69" fmla="*/ 230 h 358"/>
                <a:gd name="T70" fmla="*/ 51 w 398"/>
                <a:gd name="T71" fmla="*/ 230 h 358"/>
                <a:gd name="T72" fmla="*/ 32 w 398"/>
                <a:gd name="T73" fmla="*/ 225 h 358"/>
                <a:gd name="T74" fmla="*/ 14 w 398"/>
                <a:gd name="T75" fmla="*/ 235 h 358"/>
                <a:gd name="T76" fmla="*/ 3 w 398"/>
                <a:gd name="T77" fmla="*/ 251 h 358"/>
                <a:gd name="T78" fmla="*/ 24 w 398"/>
                <a:gd name="T79" fmla="*/ 267 h 358"/>
                <a:gd name="T80" fmla="*/ 24 w 398"/>
                <a:gd name="T81" fmla="*/ 305 h 358"/>
                <a:gd name="T82" fmla="*/ 24 w 398"/>
                <a:gd name="T83" fmla="*/ 323 h 358"/>
                <a:gd name="T84" fmla="*/ 30 w 398"/>
                <a:gd name="T85" fmla="*/ 337 h 358"/>
                <a:gd name="T86" fmla="*/ 54 w 398"/>
                <a:gd name="T87" fmla="*/ 350 h 358"/>
                <a:gd name="T88" fmla="*/ 62 w 398"/>
                <a:gd name="T89" fmla="*/ 340 h 358"/>
                <a:gd name="T90" fmla="*/ 86 w 398"/>
                <a:gd name="T91" fmla="*/ 340 h 358"/>
                <a:gd name="T92" fmla="*/ 107 w 398"/>
                <a:gd name="T93" fmla="*/ 337 h 358"/>
                <a:gd name="T94" fmla="*/ 120 w 398"/>
                <a:gd name="T95" fmla="*/ 329 h 358"/>
                <a:gd name="T96" fmla="*/ 155 w 398"/>
                <a:gd name="T97" fmla="*/ 345 h 358"/>
                <a:gd name="T98" fmla="*/ 166 w 398"/>
                <a:gd name="T99" fmla="*/ 334 h 358"/>
                <a:gd name="T100" fmla="*/ 184 w 398"/>
                <a:gd name="T101" fmla="*/ 323 h 358"/>
                <a:gd name="T102" fmla="*/ 187 w 398"/>
                <a:gd name="T103" fmla="*/ 329 h 358"/>
                <a:gd name="T104" fmla="*/ 195 w 398"/>
                <a:gd name="T105" fmla="*/ 329 h 358"/>
                <a:gd name="T106" fmla="*/ 198 w 398"/>
                <a:gd name="T107" fmla="*/ 323 h 358"/>
                <a:gd name="T108" fmla="*/ 211 w 398"/>
                <a:gd name="T109" fmla="*/ 326 h 358"/>
                <a:gd name="T110" fmla="*/ 233 w 398"/>
                <a:gd name="T111" fmla="*/ 329 h 358"/>
                <a:gd name="T112" fmla="*/ 249 w 398"/>
                <a:gd name="T113" fmla="*/ 321 h 358"/>
                <a:gd name="T114" fmla="*/ 273 w 398"/>
                <a:gd name="T115" fmla="*/ 358 h 358"/>
                <a:gd name="T116" fmla="*/ 318 w 398"/>
                <a:gd name="T117" fmla="*/ 334 h 358"/>
                <a:gd name="T118" fmla="*/ 323 w 398"/>
                <a:gd name="T119" fmla="*/ 294 h 358"/>
                <a:gd name="T120" fmla="*/ 385 w 398"/>
                <a:gd name="T121" fmla="*/ 249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8" h="358" extrusionOk="0">
                  <a:moveTo>
                    <a:pt x="398" y="246"/>
                  </a:moveTo>
                  <a:lnTo>
                    <a:pt x="395" y="243"/>
                  </a:lnTo>
                  <a:lnTo>
                    <a:pt x="395" y="243"/>
                  </a:lnTo>
                  <a:lnTo>
                    <a:pt x="390" y="241"/>
                  </a:lnTo>
                  <a:lnTo>
                    <a:pt x="390" y="241"/>
                  </a:lnTo>
                  <a:lnTo>
                    <a:pt x="387" y="238"/>
                  </a:lnTo>
                  <a:lnTo>
                    <a:pt x="390" y="235"/>
                  </a:lnTo>
                  <a:lnTo>
                    <a:pt x="390" y="233"/>
                  </a:lnTo>
                  <a:lnTo>
                    <a:pt x="393" y="227"/>
                  </a:lnTo>
                  <a:lnTo>
                    <a:pt x="385" y="222"/>
                  </a:lnTo>
                  <a:lnTo>
                    <a:pt x="382" y="225"/>
                  </a:lnTo>
                  <a:lnTo>
                    <a:pt x="377" y="222"/>
                  </a:lnTo>
                  <a:lnTo>
                    <a:pt x="379" y="219"/>
                  </a:lnTo>
                  <a:lnTo>
                    <a:pt x="377" y="217"/>
                  </a:lnTo>
                  <a:lnTo>
                    <a:pt x="377" y="211"/>
                  </a:lnTo>
                  <a:lnTo>
                    <a:pt x="377" y="211"/>
                  </a:lnTo>
                  <a:lnTo>
                    <a:pt x="374" y="209"/>
                  </a:lnTo>
                  <a:lnTo>
                    <a:pt x="377" y="209"/>
                  </a:lnTo>
                  <a:lnTo>
                    <a:pt x="379" y="206"/>
                  </a:lnTo>
                  <a:lnTo>
                    <a:pt x="379" y="203"/>
                  </a:lnTo>
                  <a:lnTo>
                    <a:pt x="377" y="203"/>
                  </a:lnTo>
                  <a:lnTo>
                    <a:pt x="377" y="201"/>
                  </a:lnTo>
                  <a:lnTo>
                    <a:pt x="377" y="198"/>
                  </a:lnTo>
                  <a:lnTo>
                    <a:pt x="377" y="195"/>
                  </a:lnTo>
                  <a:lnTo>
                    <a:pt x="374" y="195"/>
                  </a:lnTo>
                  <a:lnTo>
                    <a:pt x="371" y="195"/>
                  </a:lnTo>
                  <a:lnTo>
                    <a:pt x="371" y="193"/>
                  </a:lnTo>
                  <a:lnTo>
                    <a:pt x="371" y="193"/>
                  </a:lnTo>
                  <a:lnTo>
                    <a:pt x="369" y="195"/>
                  </a:lnTo>
                  <a:lnTo>
                    <a:pt x="366" y="198"/>
                  </a:lnTo>
                  <a:lnTo>
                    <a:pt x="366" y="198"/>
                  </a:lnTo>
                  <a:lnTo>
                    <a:pt x="363" y="198"/>
                  </a:lnTo>
                  <a:lnTo>
                    <a:pt x="366" y="19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58" y="195"/>
                  </a:lnTo>
                  <a:lnTo>
                    <a:pt x="358" y="195"/>
                  </a:lnTo>
                  <a:lnTo>
                    <a:pt x="358" y="198"/>
                  </a:lnTo>
                  <a:lnTo>
                    <a:pt x="358" y="198"/>
                  </a:lnTo>
                  <a:lnTo>
                    <a:pt x="358" y="201"/>
                  </a:lnTo>
                  <a:lnTo>
                    <a:pt x="355" y="201"/>
                  </a:lnTo>
                  <a:lnTo>
                    <a:pt x="355" y="201"/>
                  </a:lnTo>
                  <a:lnTo>
                    <a:pt x="353" y="201"/>
                  </a:lnTo>
                  <a:lnTo>
                    <a:pt x="353" y="198"/>
                  </a:lnTo>
                  <a:lnTo>
                    <a:pt x="350" y="198"/>
                  </a:lnTo>
                  <a:lnTo>
                    <a:pt x="350" y="195"/>
                  </a:lnTo>
                  <a:lnTo>
                    <a:pt x="347" y="193"/>
                  </a:lnTo>
                  <a:lnTo>
                    <a:pt x="347" y="195"/>
                  </a:lnTo>
                  <a:lnTo>
                    <a:pt x="334" y="190"/>
                  </a:lnTo>
                  <a:lnTo>
                    <a:pt x="339" y="185"/>
                  </a:lnTo>
                  <a:lnTo>
                    <a:pt x="342" y="182"/>
                  </a:lnTo>
                  <a:lnTo>
                    <a:pt x="342" y="179"/>
                  </a:lnTo>
                  <a:lnTo>
                    <a:pt x="342" y="179"/>
                  </a:lnTo>
                  <a:lnTo>
                    <a:pt x="342" y="179"/>
                  </a:lnTo>
                  <a:lnTo>
                    <a:pt x="342" y="177"/>
                  </a:lnTo>
                  <a:lnTo>
                    <a:pt x="342" y="177"/>
                  </a:lnTo>
                  <a:lnTo>
                    <a:pt x="339" y="174"/>
                  </a:lnTo>
                  <a:lnTo>
                    <a:pt x="339" y="174"/>
                  </a:lnTo>
                  <a:lnTo>
                    <a:pt x="337" y="171"/>
                  </a:lnTo>
                  <a:lnTo>
                    <a:pt x="337" y="168"/>
                  </a:lnTo>
                  <a:lnTo>
                    <a:pt x="337" y="166"/>
                  </a:lnTo>
                  <a:lnTo>
                    <a:pt x="334" y="163"/>
                  </a:lnTo>
                  <a:lnTo>
                    <a:pt x="331" y="163"/>
                  </a:lnTo>
                  <a:lnTo>
                    <a:pt x="331" y="160"/>
                  </a:lnTo>
                  <a:lnTo>
                    <a:pt x="329" y="160"/>
                  </a:lnTo>
                  <a:lnTo>
                    <a:pt x="326" y="163"/>
                  </a:lnTo>
                  <a:lnTo>
                    <a:pt x="323" y="163"/>
                  </a:lnTo>
                  <a:lnTo>
                    <a:pt x="323" y="166"/>
                  </a:lnTo>
                  <a:lnTo>
                    <a:pt x="323" y="166"/>
                  </a:lnTo>
                  <a:lnTo>
                    <a:pt x="323" y="168"/>
                  </a:lnTo>
                  <a:lnTo>
                    <a:pt x="323" y="168"/>
                  </a:lnTo>
                  <a:lnTo>
                    <a:pt x="323" y="171"/>
                  </a:lnTo>
                  <a:lnTo>
                    <a:pt x="323" y="174"/>
                  </a:lnTo>
                  <a:lnTo>
                    <a:pt x="321" y="174"/>
                  </a:lnTo>
                  <a:lnTo>
                    <a:pt x="318" y="174"/>
                  </a:lnTo>
                  <a:lnTo>
                    <a:pt x="315" y="171"/>
                  </a:lnTo>
                  <a:lnTo>
                    <a:pt x="315" y="171"/>
                  </a:lnTo>
                  <a:lnTo>
                    <a:pt x="315" y="168"/>
                  </a:lnTo>
                  <a:lnTo>
                    <a:pt x="313" y="168"/>
                  </a:lnTo>
                  <a:lnTo>
                    <a:pt x="313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6"/>
                  </a:lnTo>
                  <a:lnTo>
                    <a:pt x="310" y="166"/>
                  </a:lnTo>
                  <a:lnTo>
                    <a:pt x="310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5" y="163"/>
                  </a:lnTo>
                  <a:lnTo>
                    <a:pt x="302" y="163"/>
                  </a:lnTo>
                  <a:lnTo>
                    <a:pt x="302" y="163"/>
                  </a:lnTo>
                  <a:lnTo>
                    <a:pt x="299" y="163"/>
                  </a:lnTo>
                  <a:lnTo>
                    <a:pt x="297" y="160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4" y="155"/>
                  </a:lnTo>
                  <a:lnTo>
                    <a:pt x="297" y="155"/>
                  </a:lnTo>
                  <a:lnTo>
                    <a:pt x="297" y="152"/>
                  </a:lnTo>
                  <a:lnTo>
                    <a:pt x="299" y="152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9" y="147"/>
                  </a:lnTo>
                  <a:lnTo>
                    <a:pt x="297" y="147"/>
                  </a:lnTo>
                  <a:lnTo>
                    <a:pt x="297" y="147"/>
                  </a:lnTo>
                  <a:lnTo>
                    <a:pt x="297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7"/>
                  </a:lnTo>
                  <a:lnTo>
                    <a:pt x="302" y="147"/>
                  </a:lnTo>
                  <a:lnTo>
                    <a:pt x="302" y="147"/>
                  </a:lnTo>
                  <a:lnTo>
                    <a:pt x="305" y="147"/>
                  </a:lnTo>
                  <a:lnTo>
                    <a:pt x="305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10" y="142"/>
                  </a:lnTo>
                  <a:lnTo>
                    <a:pt x="313" y="139"/>
                  </a:lnTo>
                  <a:lnTo>
                    <a:pt x="313" y="139"/>
                  </a:lnTo>
                  <a:lnTo>
                    <a:pt x="313" y="136"/>
                  </a:lnTo>
                  <a:lnTo>
                    <a:pt x="313" y="134"/>
                  </a:lnTo>
                  <a:lnTo>
                    <a:pt x="313" y="131"/>
                  </a:lnTo>
                  <a:lnTo>
                    <a:pt x="310" y="131"/>
                  </a:lnTo>
                  <a:lnTo>
                    <a:pt x="310" y="128"/>
                  </a:lnTo>
                  <a:lnTo>
                    <a:pt x="313" y="128"/>
                  </a:lnTo>
                  <a:lnTo>
                    <a:pt x="310" y="126"/>
                  </a:lnTo>
                  <a:lnTo>
                    <a:pt x="313" y="126"/>
                  </a:lnTo>
                  <a:lnTo>
                    <a:pt x="315" y="123"/>
                  </a:lnTo>
                  <a:lnTo>
                    <a:pt x="313" y="120"/>
                  </a:lnTo>
                  <a:lnTo>
                    <a:pt x="315" y="120"/>
                  </a:lnTo>
                  <a:lnTo>
                    <a:pt x="315" y="118"/>
                  </a:lnTo>
                  <a:lnTo>
                    <a:pt x="313" y="118"/>
                  </a:lnTo>
                  <a:lnTo>
                    <a:pt x="313" y="115"/>
                  </a:lnTo>
                  <a:lnTo>
                    <a:pt x="313" y="112"/>
                  </a:lnTo>
                  <a:lnTo>
                    <a:pt x="313" y="110"/>
                  </a:lnTo>
                  <a:lnTo>
                    <a:pt x="313" y="107"/>
                  </a:lnTo>
                  <a:lnTo>
                    <a:pt x="310" y="107"/>
                  </a:lnTo>
                  <a:lnTo>
                    <a:pt x="310" y="107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05" y="107"/>
                  </a:lnTo>
                  <a:lnTo>
                    <a:pt x="305" y="104"/>
                  </a:lnTo>
                  <a:lnTo>
                    <a:pt x="307" y="102"/>
                  </a:lnTo>
                  <a:lnTo>
                    <a:pt x="299" y="99"/>
                  </a:lnTo>
                  <a:lnTo>
                    <a:pt x="297" y="96"/>
                  </a:lnTo>
                  <a:lnTo>
                    <a:pt x="294" y="91"/>
                  </a:lnTo>
                  <a:lnTo>
                    <a:pt x="291" y="91"/>
                  </a:lnTo>
                  <a:lnTo>
                    <a:pt x="291" y="94"/>
                  </a:lnTo>
                  <a:lnTo>
                    <a:pt x="289" y="94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3"/>
                  </a:lnTo>
                  <a:lnTo>
                    <a:pt x="286" y="83"/>
                  </a:lnTo>
                  <a:lnTo>
                    <a:pt x="283" y="86"/>
                  </a:lnTo>
                  <a:lnTo>
                    <a:pt x="283" y="86"/>
                  </a:lnTo>
                  <a:lnTo>
                    <a:pt x="281" y="83"/>
                  </a:lnTo>
                  <a:lnTo>
                    <a:pt x="281" y="83"/>
                  </a:lnTo>
                  <a:lnTo>
                    <a:pt x="278" y="83"/>
                  </a:lnTo>
                  <a:lnTo>
                    <a:pt x="275" y="80"/>
                  </a:lnTo>
                  <a:lnTo>
                    <a:pt x="275" y="78"/>
                  </a:lnTo>
                  <a:lnTo>
                    <a:pt x="273" y="78"/>
                  </a:lnTo>
                  <a:lnTo>
                    <a:pt x="267" y="83"/>
                  </a:lnTo>
                  <a:lnTo>
                    <a:pt x="265" y="83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62" y="80"/>
                  </a:lnTo>
                  <a:lnTo>
                    <a:pt x="262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65" y="70"/>
                  </a:lnTo>
                  <a:lnTo>
                    <a:pt x="262" y="70"/>
                  </a:lnTo>
                  <a:lnTo>
                    <a:pt x="259" y="72"/>
                  </a:lnTo>
                  <a:lnTo>
                    <a:pt x="259" y="70"/>
                  </a:lnTo>
                  <a:lnTo>
                    <a:pt x="257" y="70"/>
                  </a:lnTo>
                  <a:lnTo>
                    <a:pt x="257" y="72"/>
                  </a:lnTo>
                  <a:lnTo>
                    <a:pt x="257" y="72"/>
                  </a:lnTo>
                  <a:lnTo>
                    <a:pt x="254" y="72"/>
                  </a:lnTo>
                  <a:lnTo>
                    <a:pt x="251" y="72"/>
                  </a:lnTo>
                  <a:lnTo>
                    <a:pt x="251" y="72"/>
                  </a:lnTo>
                  <a:lnTo>
                    <a:pt x="251" y="70"/>
                  </a:lnTo>
                  <a:lnTo>
                    <a:pt x="249" y="70"/>
                  </a:lnTo>
                  <a:lnTo>
                    <a:pt x="249" y="70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3" y="64"/>
                  </a:lnTo>
                  <a:lnTo>
                    <a:pt x="243" y="64"/>
                  </a:lnTo>
                  <a:lnTo>
                    <a:pt x="243" y="70"/>
                  </a:lnTo>
                  <a:lnTo>
                    <a:pt x="241" y="70"/>
                  </a:lnTo>
                  <a:lnTo>
                    <a:pt x="238" y="67"/>
                  </a:lnTo>
                  <a:lnTo>
                    <a:pt x="238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3" y="64"/>
                  </a:lnTo>
                  <a:lnTo>
                    <a:pt x="230" y="64"/>
                  </a:lnTo>
                  <a:lnTo>
                    <a:pt x="227" y="64"/>
                  </a:lnTo>
                  <a:lnTo>
                    <a:pt x="227" y="64"/>
                  </a:lnTo>
                  <a:lnTo>
                    <a:pt x="225" y="64"/>
                  </a:lnTo>
                  <a:lnTo>
                    <a:pt x="225" y="64"/>
                  </a:lnTo>
                  <a:lnTo>
                    <a:pt x="222" y="64"/>
                  </a:lnTo>
                  <a:lnTo>
                    <a:pt x="222" y="62"/>
                  </a:lnTo>
                  <a:lnTo>
                    <a:pt x="222" y="56"/>
                  </a:lnTo>
                  <a:lnTo>
                    <a:pt x="222" y="54"/>
                  </a:lnTo>
                  <a:lnTo>
                    <a:pt x="219" y="54"/>
                  </a:lnTo>
                  <a:lnTo>
                    <a:pt x="219" y="51"/>
                  </a:lnTo>
                  <a:lnTo>
                    <a:pt x="214" y="43"/>
                  </a:lnTo>
                  <a:lnTo>
                    <a:pt x="214" y="35"/>
                  </a:lnTo>
                  <a:lnTo>
                    <a:pt x="211" y="35"/>
                  </a:lnTo>
                  <a:lnTo>
                    <a:pt x="211" y="30"/>
                  </a:lnTo>
                  <a:lnTo>
                    <a:pt x="203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195" y="24"/>
                  </a:lnTo>
                  <a:lnTo>
                    <a:pt x="192" y="27"/>
                  </a:lnTo>
                  <a:lnTo>
                    <a:pt x="187" y="24"/>
                  </a:lnTo>
                  <a:lnTo>
                    <a:pt x="187" y="22"/>
                  </a:lnTo>
                  <a:lnTo>
                    <a:pt x="184" y="22"/>
                  </a:lnTo>
                  <a:lnTo>
                    <a:pt x="182" y="22"/>
                  </a:lnTo>
                  <a:lnTo>
                    <a:pt x="179" y="19"/>
                  </a:lnTo>
                  <a:lnTo>
                    <a:pt x="176" y="19"/>
                  </a:lnTo>
                  <a:lnTo>
                    <a:pt x="174" y="16"/>
                  </a:lnTo>
                  <a:lnTo>
                    <a:pt x="171" y="13"/>
                  </a:lnTo>
                  <a:lnTo>
                    <a:pt x="168" y="11"/>
                  </a:lnTo>
                  <a:lnTo>
                    <a:pt x="168" y="8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3" y="0"/>
                  </a:lnTo>
                  <a:lnTo>
                    <a:pt x="160" y="0"/>
                  </a:lnTo>
                  <a:lnTo>
                    <a:pt x="158" y="0"/>
                  </a:lnTo>
                  <a:lnTo>
                    <a:pt x="152" y="3"/>
                  </a:lnTo>
                  <a:lnTo>
                    <a:pt x="150" y="5"/>
                  </a:lnTo>
                  <a:lnTo>
                    <a:pt x="147" y="8"/>
                  </a:lnTo>
                  <a:lnTo>
                    <a:pt x="144" y="11"/>
                  </a:lnTo>
                  <a:lnTo>
                    <a:pt x="142" y="11"/>
                  </a:lnTo>
                  <a:lnTo>
                    <a:pt x="139" y="11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4" y="8"/>
                  </a:lnTo>
                  <a:lnTo>
                    <a:pt x="131" y="8"/>
                  </a:lnTo>
                  <a:lnTo>
                    <a:pt x="128" y="8"/>
                  </a:lnTo>
                  <a:lnTo>
                    <a:pt x="128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3" y="8"/>
                  </a:lnTo>
                  <a:lnTo>
                    <a:pt x="120" y="8"/>
                  </a:lnTo>
                  <a:lnTo>
                    <a:pt x="118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10" y="11"/>
                  </a:lnTo>
                  <a:lnTo>
                    <a:pt x="107" y="8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7" y="19"/>
                  </a:lnTo>
                  <a:lnTo>
                    <a:pt x="107" y="22"/>
                  </a:lnTo>
                  <a:lnTo>
                    <a:pt x="107" y="24"/>
                  </a:lnTo>
                  <a:lnTo>
                    <a:pt x="107" y="27"/>
                  </a:lnTo>
                  <a:lnTo>
                    <a:pt x="107" y="30"/>
                  </a:lnTo>
                  <a:lnTo>
                    <a:pt x="107" y="32"/>
                  </a:lnTo>
                  <a:lnTo>
                    <a:pt x="110" y="32"/>
                  </a:lnTo>
                  <a:lnTo>
                    <a:pt x="110" y="35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07" y="35"/>
                  </a:lnTo>
                  <a:lnTo>
                    <a:pt x="99" y="38"/>
                  </a:lnTo>
                  <a:lnTo>
                    <a:pt x="99" y="43"/>
                  </a:lnTo>
                  <a:lnTo>
                    <a:pt x="99" y="48"/>
                  </a:lnTo>
                  <a:lnTo>
                    <a:pt x="99" y="51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1" y="56"/>
                  </a:lnTo>
                  <a:lnTo>
                    <a:pt x="86" y="56"/>
                  </a:lnTo>
                  <a:lnTo>
                    <a:pt x="83" y="56"/>
                  </a:lnTo>
                  <a:lnTo>
                    <a:pt x="83" y="59"/>
                  </a:lnTo>
                  <a:lnTo>
                    <a:pt x="83" y="62"/>
                  </a:lnTo>
                  <a:lnTo>
                    <a:pt x="83" y="64"/>
                  </a:lnTo>
                  <a:lnTo>
                    <a:pt x="80" y="72"/>
                  </a:lnTo>
                  <a:lnTo>
                    <a:pt x="83" y="75"/>
                  </a:lnTo>
                  <a:lnTo>
                    <a:pt x="83" y="78"/>
                  </a:lnTo>
                  <a:lnTo>
                    <a:pt x="86" y="78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3" y="91"/>
                  </a:lnTo>
                  <a:lnTo>
                    <a:pt x="86" y="94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1" y="110"/>
                  </a:lnTo>
                  <a:lnTo>
                    <a:pt x="94" y="112"/>
                  </a:lnTo>
                  <a:lnTo>
                    <a:pt x="94" y="118"/>
                  </a:lnTo>
                  <a:lnTo>
                    <a:pt x="94" y="120"/>
                  </a:lnTo>
                  <a:lnTo>
                    <a:pt x="94" y="123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1" y="128"/>
                  </a:lnTo>
                  <a:lnTo>
                    <a:pt x="88" y="131"/>
                  </a:lnTo>
                  <a:lnTo>
                    <a:pt x="86" y="131"/>
                  </a:lnTo>
                  <a:lnTo>
                    <a:pt x="86" y="134"/>
                  </a:lnTo>
                  <a:lnTo>
                    <a:pt x="83" y="134"/>
                  </a:lnTo>
                  <a:lnTo>
                    <a:pt x="83" y="136"/>
                  </a:lnTo>
                  <a:lnTo>
                    <a:pt x="80" y="139"/>
                  </a:lnTo>
                  <a:lnTo>
                    <a:pt x="78" y="136"/>
                  </a:lnTo>
                  <a:lnTo>
                    <a:pt x="78" y="139"/>
                  </a:lnTo>
                  <a:lnTo>
                    <a:pt x="75" y="142"/>
                  </a:lnTo>
                  <a:lnTo>
                    <a:pt x="75" y="142"/>
                  </a:lnTo>
                  <a:lnTo>
                    <a:pt x="72" y="142"/>
                  </a:lnTo>
                  <a:lnTo>
                    <a:pt x="72" y="144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0"/>
                  </a:lnTo>
                  <a:lnTo>
                    <a:pt x="70" y="150"/>
                  </a:lnTo>
                  <a:lnTo>
                    <a:pt x="70" y="152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4" y="158"/>
                  </a:lnTo>
                  <a:lnTo>
                    <a:pt x="62" y="158"/>
                  </a:lnTo>
                  <a:lnTo>
                    <a:pt x="64" y="163"/>
                  </a:lnTo>
                  <a:lnTo>
                    <a:pt x="59" y="163"/>
                  </a:lnTo>
                  <a:lnTo>
                    <a:pt x="62" y="166"/>
                  </a:lnTo>
                  <a:lnTo>
                    <a:pt x="62" y="168"/>
                  </a:lnTo>
                  <a:lnTo>
                    <a:pt x="64" y="166"/>
                  </a:lnTo>
                  <a:lnTo>
                    <a:pt x="64" y="168"/>
                  </a:lnTo>
                  <a:lnTo>
                    <a:pt x="67" y="171"/>
                  </a:lnTo>
                  <a:lnTo>
                    <a:pt x="70" y="171"/>
                  </a:lnTo>
                  <a:lnTo>
                    <a:pt x="72" y="174"/>
                  </a:lnTo>
                  <a:lnTo>
                    <a:pt x="75" y="174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9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70" y="185"/>
                  </a:lnTo>
                  <a:lnTo>
                    <a:pt x="70" y="185"/>
                  </a:lnTo>
                  <a:lnTo>
                    <a:pt x="75" y="190"/>
                  </a:lnTo>
                  <a:lnTo>
                    <a:pt x="75" y="187"/>
                  </a:lnTo>
                  <a:lnTo>
                    <a:pt x="75" y="190"/>
                  </a:lnTo>
                  <a:lnTo>
                    <a:pt x="78" y="193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201"/>
                  </a:lnTo>
                  <a:lnTo>
                    <a:pt x="80" y="201"/>
                  </a:lnTo>
                  <a:lnTo>
                    <a:pt x="80" y="203"/>
                  </a:lnTo>
                  <a:lnTo>
                    <a:pt x="78" y="203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80" y="214"/>
                  </a:lnTo>
                  <a:lnTo>
                    <a:pt x="80" y="214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5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4" y="230"/>
                  </a:lnTo>
                  <a:lnTo>
                    <a:pt x="62" y="230"/>
                  </a:lnTo>
                  <a:lnTo>
                    <a:pt x="62" y="230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6" y="230"/>
                  </a:lnTo>
                  <a:lnTo>
                    <a:pt x="54" y="230"/>
                  </a:lnTo>
                  <a:lnTo>
                    <a:pt x="54" y="230"/>
                  </a:lnTo>
                  <a:lnTo>
                    <a:pt x="51" y="230"/>
                  </a:lnTo>
                  <a:lnTo>
                    <a:pt x="51" y="227"/>
                  </a:lnTo>
                  <a:lnTo>
                    <a:pt x="48" y="227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7"/>
                  </a:lnTo>
                  <a:lnTo>
                    <a:pt x="43" y="227"/>
                  </a:lnTo>
                  <a:lnTo>
                    <a:pt x="43" y="225"/>
                  </a:lnTo>
                  <a:lnTo>
                    <a:pt x="40" y="225"/>
                  </a:lnTo>
                  <a:lnTo>
                    <a:pt x="40" y="222"/>
                  </a:lnTo>
                  <a:lnTo>
                    <a:pt x="35" y="222"/>
                  </a:lnTo>
                  <a:lnTo>
                    <a:pt x="32" y="225"/>
                  </a:lnTo>
                  <a:lnTo>
                    <a:pt x="30" y="222"/>
                  </a:lnTo>
                  <a:lnTo>
                    <a:pt x="27" y="222"/>
                  </a:lnTo>
                  <a:lnTo>
                    <a:pt x="27" y="222"/>
                  </a:lnTo>
                  <a:lnTo>
                    <a:pt x="24" y="222"/>
                  </a:lnTo>
                  <a:lnTo>
                    <a:pt x="24" y="222"/>
                  </a:lnTo>
                  <a:lnTo>
                    <a:pt x="22" y="225"/>
                  </a:lnTo>
                  <a:lnTo>
                    <a:pt x="22" y="227"/>
                  </a:lnTo>
                  <a:lnTo>
                    <a:pt x="19" y="235"/>
                  </a:lnTo>
                  <a:lnTo>
                    <a:pt x="14" y="233"/>
                  </a:lnTo>
                  <a:lnTo>
                    <a:pt x="14" y="235"/>
                  </a:lnTo>
                  <a:lnTo>
                    <a:pt x="14" y="235"/>
                  </a:lnTo>
                  <a:lnTo>
                    <a:pt x="11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6" y="241"/>
                  </a:lnTo>
                  <a:lnTo>
                    <a:pt x="6" y="243"/>
                  </a:lnTo>
                  <a:lnTo>
                    <a:pt x="3" y="243"/>
                  </a:lnTo>
                  <a:lnTo>
                    <a:pt x="3" y="249"/>
                  </a:lnTo>
                  <a:lnTo>
                    <a:pt x="0" y="249"/>
                  </a:lnTo>
                  <a:lnTo>
                    <a:pt x="0" y="251"/>
                  </a:lnTo>
                  <a:lnTo>
                    <a:pt x="0" y="251"/>
                  </a:lnTo>
                  <a:lnTo>
                    <a:pt x="3" y="251"/>
                  </a:lnTo>
                  <a:lnTo>
                    <a:pt x="3" y="254"/>
                  </a:lnTo>
                  <a:lnTo>
                    <a:pt x="6" y="254"/>
                  </a:lnTo>
                  <a:lnTo>
                    <a:pt x="8" y="254"/>
                  </a:lnTo>
                  <a:lnTo>
                    <a:pt x="8" y="257"/>
                  </a:lnTo>
                  <a:lnTo>
                    <a:pt x="11" y="257"/>
                  </a:lnTo>
                  <a:lnTo>
                    <a:pt x="14" y="259"/>
                  </a:lnTo>
                  <a:lnTo>
                    <a:pt x="14" y="262"/>
                  </a:lnTo>
                  <a:lnTo>
                    <a:pt x="16" y="262"/>
                  </a:lnTo>
                  <a:lnTo>
                    <a:pt x="19" y="262"/>
                  </a:lnTo>
                  <a:lnTo>
                    <a:pt x="19" y="265"/>
                  </a:lnTo>
                  <a:lnTo>
                    <a:pt x="24" y="267"/>
                  </a:lnTo>
                  <a:lnTo>
                    <a:pt x="24" y="270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4" y="278"/>
                  </a:lnTo>
                  <a:lnTo>
                    <a:pt x="27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30" y="283"/>
                  </a:lnTo>
                  <a:lnTo>
                    <a:pt x="24" y="297"/>
                  </a:lnTo>
                  <a:lnTo>
                    <a:pt x="24" y="302"/>
                  </a:lnTo>
                  <a:lnTo>
                    <a:pt x="24" y="305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2" y="313"/>
                  </a:lnTo>
                  <a:lnTo>
                    <a:pt x="22" y="315"/>
                  </a:lnTo>
                  <a:lnTo>
                    <a:pt x="22" y="318"/>
                  </a:lnTo>
                  <a:lnTo>
                    <a:pt x="19" y="321"/>
                  </a:lnTo>
                  <a:lnTo>
                    <a:pt x="19" y="321"/>
                  </a:lnTo>
                  <a:lnTo>
                    <a:pt x="19" y="323"/>
                  </a:lnTo>
                  <a:lnTo>
                    <a:pt x="22" y="323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7" y="323"/>
                  </a:lnTo>
                  <a:lnTo>
                    <a:pt x="30" y="321"/>
                  </a:lnTo>
                  <a:lnTo>
                    <a:pt x="35" y="326"/>
                  </a:lnTo>
                  <a:lnTo>
                    <a:pt x="35" y="326"/>
                  </a:lnTo>
                  <a:lnTo>
                    <a:pt x="32" y="326"/>
                  </a:lnTo>
                  <a:lnTo>
                    <a:pt x="32" y="329"/>
                  </a:lnTo>
                  <a:lnTo>
                    <a:pt x="32" y="331"/>
                  </a:lnTo>
                  <a:lnTo>
                    <a:pt x="30" y="334"/>
                  </a:lnTo>
                  <a:lnTo>
                    <a:pt x="30" y="334"/>
                  </a:lnTo>
                  <a:lnTo>
                    <a:pt x="30" y="337"/>
                  </a:lnTo>
                  <a:lnTo>
                    <a:pt x="32" y="337"/>
                  </a:lnTo>
                  <a:lnTo>
                    <a:pt x="35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3" y="342"/>
                  </a:lnTo>
                  <a:lnTo>
                    <a:pt x="46" y="342"/>
                  </a:lnTo>
                  <a:lnTo>
                    <a:pt x="51" y="345"/>
                  </a:lnTo>
                  <a:lnTo>
                    <a:pt x="51" y="345"/>
                  </a:lnTo>
                  <a:lnTo>
                    <a:pt x="54" y="348"/>
                  </a:lnTo>
                  <a:lnTo>
                    <a:pt x="54" y="348"/>
                  </a:lnTo>
                  <a:lnTo>
                    <a:pt x="54" y="350"/>
                  </a:lnTo>
                  <a:lnTo>
                    <a:pt x="54" y="353"/>
                  </a:lnTo>
                  <a:lnTo>
                    <a:pt x="54" y="353"/>
                  </a:lnTo>
                  <a:lnTo>
                    <a:pt x="56" y="353"/>
                  </a:lnTo>
                  <a:lnTo>
                    <a:pt x="59" y="353"/>
                  </a:lnTo>
                  <a:lnTo>
                    <a:pt x="59" y="350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59" y="348"/>
                  </a:lnTo>
                  <a:lnTo>
                    <a:pt x="59" y="345"/>
                  </a:lnTo>
                  <a:lnTo>
                    <a:pt x="59" y="342"/>
                  </a:lnTo>
                  <a:lnTo>
                    <a:pt x="62" y="340"/>
                  </a:lnTo>
                  <a:lnTo>
                    <a:pt x="64" y="340"/>
                  </a:lnTo>
                  <a:lnTo>
                    <a:pt x="67" y="337"/>
                  </a:lnTo>
                  <a:lnTo>
                    <a:pt x="70" y="337"/>
                  </a:lnTo>
                  <a:lnTo>
                    <a:pt x="72" y="334"/>
                  </a:lnTo>
                  <a:lnTo>
                    <a:pt x="72" y="334"/>
                  </a:lnTo>
                  <a:lnTo>
                    <a:pt x="75" y="334"/>
                  </a:lnTo>
                  <a:lnTo>
                    <a:pt x="78" y="334"/>
                  </a:lnTo>
                  <a:lnTo>
                    <a:pt x="80" y="334"/>
                  </a:lnTo>
                  <a:lnTo>
                    <a:pt x="83" y="337"/>
                  </a:lnTo>
                  <a:lnTo>
                    <a:pt x="83" y="337"/>
                  </a:lnTo>
                  <a:lnTo>
                    <a:pt x="86" y="340"/>
                  </a:lnTo>
                  <a:lnTo>
                    <a:pt x="86" y="340"/>
                  </a:lnTo>
                  <a:lnTo>
                    <a:pt x="88" y="337"/>
                  </a:lnTo>
                  <a:lnTo>
                    <a:pt x="91" y="337"/>
                  </a:lnTo>
                  <a:lnTo>
                    <a:pt x="94" y="337"/>
                  </a:lnTo>
                  <a:lnTo>
                    <a:pt x="94" y="331"/>
                  </a:lnTo>
                  <a:lnTo>
                    <a:pt x="99" y="331"/>
                  </a:lnTo>
                  <a:lnTo>
                    <a:pt x="102" y="331"/>
                  </a:lnTo>
                  <a:lnTo>
                    <a:pt x="102" y="334"/>
                  </a:lnTo>
                  <a:lnTo>
                    <a:pt x="104" y="334"/>
                  </a:lnTo>
                  <a:lnTo>
                    <a:pt x="104" y="337"/>
                  </a:lnTo>
                  <a:lnTo>
                    <a:pt x="107" y="337"/>
                  </a:lnTo>
                  <a:lnTo>
                    <a:pt x="110" y="340"/>
                  </a:lnTo>
                  <a:lnTo>
                    <a:pt x="110" y="342"/>
                  </a:lnTo>
                  <a:lnTo>
                    <a:pt x="112" y="345"/>
                  </a:lnTo>
                  <a:lnTo>
                    <a:pt x="115" y="345"/>
                  </a:lnTo>
                  <a:lnTo>
                    <a:pt x="118" y="345"/>
                  </a:lnTo>
                  <a:lnTo>
                    <a:pt x="118" y="340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6" y="334"/>
                  </a:lnTo>
                  <a:lnTo>
                    <a:pt x="128" y="334"/>
                  </a:lnTo>
                  <a:lnTo>
                    <a:pt x="120" y="329"/>
                  </a:lnTo>
                  <a:lnTo>
                    <a:pt x="131" y="315"/>
                  </a:lnTo>
                  <a:lnTo>
                    <a:pt x="134" y="315"/>
                  </a:lnTo>
                  <a:lnTo>
                    <a:pt x="134" y="318"/>
                  </a:lnTo>
                  <a:lnTo>
                    <a:pt x="136" y="318"/>
                  </a:lnTo>
                  <a:lnTo>
                    <a:pt x="136" y="321"/>
                  </a:lnTo>
                  <a:lnTo>
                    <a:pt x="139" y="323"/>
                  </a:lnTo>
                  <a:lnTo>
                    <a:pt x="134" y="337"/>
                  </a:lnTo>
                  <a:lnTo>
                    <a:pt x="139" y="337"/>
                  </a:lnTo>
                  <a:lnTo>
                    <a:pt x="142" y="337"/>
                  </a:lnTo>
                  <a:lnTo>
                    <a:pt x="144" y="345"/>
                  </a:lnTo>
                  <a:lnTo>
                    <a:pt x="155" y="345"/>
                  </a:lnTo>
                  <a:lnTo>
                    <a:pt x="155" y="340"/>
                  </a:lnTo>
                  <a:lnTo>
                    <a:pt x="160" y="337"/>
                  </a:lnTo>
                  <a:lnTo>
                    <a:pt x="166" y="350"/>
                  </a:lnTo>
                  <a:lnTo>
                    <a:pt x="174" y="356"/>
                  </a:lnTo>
                  <a:lnTo>
                    <a:pt x="174" y="356"/>
                  </a:lnTo>
                  <a:lnTo>
                    <a:pt x="176" y="353"/>
                  </a:lnTo>
                  <a:lnTo>
                    <a:pt x="176" y="350"/>
                  </a:lnTo>
                  <a:lnTo>
                    <a:pt x="174" y="348"/>
                  </a:lnTo>
                  <a:lnTo>
                    <a:pt x="171" y="345"/>
                  </a:lnTo>
                  <a:lnTo>
                    <a:pt x="174" y="345"/>
                  </a:lnTo>
                  <a:lnTo>
                    <a:pt x="166" y="334"/>
                  </a:lnTo>
                  <a:lnTo>
                    <a:pt x="168" y="331"/>
                  </a:lnTo>
                  <a:lnTo>
                    <a:pt x="168" y="329"/>
                  </a:lnTo>
                  <a:lnTo>
                    <a:pt x="171" y="329"/>
                  </a:lnTo>
                  <a:lnTo>
                    <a:pt x="171" y="329"/>
                  </a:lnTo>
                  <a:lnTo>
                    <a:pt x="174" y="326"/>
                  </a:lnTo>
                  <a:lnTo>
                    <a:pt x="174" y="326"/>
                  </a:lnTo>
                  <a:lnTo>
                    <a:pt x="176" y="326"/>
                  </a:lnTo>
                  <a:lnTo>
                    <a:pt x="176" y="326"/>
                  </a:lnTo>
                  <a:lnTo>
                    <a:pt x="179" y="323"/>
                  </a:lnTo>
                  <a:lnTo>
                    <a:pt x="182" y="323"/>
                  </a:lnTo>
                  <a:lnTo>
                    <a:pt x="184" y="323"/>
                  </a:lnTo>
                  <a:lnTo>
                    <a:pt x="184" y="323"/>
                  </a:lnTo>
                  <a:lnTo>
                    <a:pt x="187" y="323"/>
                  </a:lnTo>
                  <a:lnTo>
                    <a:pt x="187" y="323"/>
                  </a:lnTo>
                  <a:lnTo>
                    <a:pt x="187" y="323"/>
                  </a:lnTo>
                  <a:lnTo>
                    <a:pt x="190" y="323"/>
                  </a:lnTo>
                  <a:lnTo>
                    <a:pt x="190" y="323"/>
                  </a:lnTo>
                  <a:lnTo>
                    <a:pt x="190" y="323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90" y="326"/>
                  </a:lnTo>
                  <a:lnTo>
                    <a:pt x="187" y="329"/>
                  </a:lnTo>
                  <a:lnTo>
                    <a:pt x="190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2" y="331"/>
                  </a:lnTo>
                  <a:lnTo>
                    <a:pt x="192" y="331"/>
                  </a:lnTo>
                  <a:lnTo>
                    <a:pt x="195" y="331"/>
                  </a:lnTo>
                  <a:lnTo>
                    <a:pt x="195" y="331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198" y="329"/>
                  </a:lnTo>
                  <a:lnTo>
                    <a:pt x="195" y="329"/>
                  </a:lnTo>
                  <a:lnTo>
                    <a:pt x="195" y="329"/>
                  </a:lnTo>
                  <a:lnTo>
                    <a:pt x="195" y="326"/>
                  </a:lnTo>
                  <a:lnTo>
                    <a:pt x="195" y="326"/>
                  </a:lnTo>
                  <a:lnTo>
                    <a:pt x="192" y="326"/>
                  </a:lnTo>
                  <a:lnTo>
                    <a:pt x="192" y="323"/>
                  </a:lnTo>
                  <a:lnTo>
                    <a:pt x="190" y="323"/>
                  </a:lnTo>
                  <a:lnTo>
                    <a:pt x="190" y="321"/>
                  </a:lnTo>
                  <a:lnTo>
                    <a:pt x="192" y="321"/>
                  </a:lnTo>
                  <a:lnTo>
                    <a:pt x="195" y="321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3" y="323"/>
                  </a:lnTo>
                  <a:lnTo>
                    <a:pt x="206" y="323"/>
                  </a:lnTo>
                  <a:lnTo>
                    <a:pt x="206" y="326"/>
                  </a:lnTo>
                  <a:lnTo>
                    <a:pt x="206" y="326"/>
                  </a:lnTo>
                  <a:lnTo>
                    <a:pt x="209" y="326"/>
                  </a:lnTo>
                  <a:lnTo>
                    <a:pt x="211" y="326"/>
                  </a:lnTo>
                  <a:lnTo>
                    <a:pt x="211" y="326"/>
                  </a:lnTo>
                  <a:lnTo>
                    <a:pt x="211" y="326"/>
                  </a:lnTo>
                  <a:lnTo>
                    <a:pt x="214" y="326"/>
                  </a:lnTo>
                  <a:lnTo>
                    <a:pt x="214" y="326"/>
                  </a:lnTo>
                  <a:lnTo>
                    <a:pt x="217" y="329"/>
                  </a:lnTo>
                  <a:lnTo>
                    <a:pt x="217" y="329"/>
                  </a:lnTo>
                  <a:lnTo>
                    <a:pt x="219" y="329"/>
                  </a:lnTo>
                  <a:lnTo>
                    <a:pt x="219" y="329"/>
                  </a:lnTo>
                  <a:lnTo>
                    <a:pt x="222" y="329"/>
                  </a:lnTo>
                  <a:lnTo>
                    <a:pt x="225" y="329"/>
                  </a:lnTo>
                  <a:lnTo>
                    <a:pt x="227" y="329"/>
                  </a:lnTo>
                  <a:lnTo>
                    <a:pt x="230" y="329"/>
                  </a:lnTo>
                  <a:lnTo>
                    <a:pt x="233" y="329"/>
                  </a:lnTo>
                  <a:lnTo>
                    <a:pt x="235" y="329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38" y="326"/>
                  </a:lnTo>
                  <a:lnTo>
                    <a:pt x="241" y="323"/>
                  </a:lnTo>
                  <a:lnTo>
                    <a:pt x="243" y="323"/>
                  </a:lnTo>
                  <a:lnTo>
                    <a:pt x="243" y="321"/>
                  </a:lnTo>
                  <a:lnTo>
                    <a:pt x="246" y="321"/>
                  </a:lnTo>
                  <a:lnTo>
                    <a:pt x="246" y="321"/>
                  </a:lnTo>
                  <a:lnTo>
                    <a:pt x="249" y="321"/>
                  </a:lnTo>
                  <a:lnTo>
                    <a:pt x="249" y="321"/>
                  </a:lnTo>
                  <a:lnTo>
                    <a:pt x="265" y="334"/>
                  </a:lnTo>
                  <a:lnTo>
                    <a:pt x="265" y="334"/>
                  </a:lnTo>
                  <a:lnTo>
                    <a:pt x="267" y="342"/>
                  </a:lnTo>
                  <a:lnTo>
                    <a:pt x="267" y="342"/>
                  </a:lnTo>
                  <a:lnTo>
                    <a:pt x="267" y="348"/>
                  </a:lnTo>
                  <a:lnTo>
                    <a:pt x="270" y="350"/>
                  </a:lnTo>
                  <a:lnTo>
                    <a:pt x="270" y="350"/>
                  </a:lnTo>
                  <a:lnTo>
                    <a:pt x="270" y="353"/>
                  </a:lnTo>
                  <a:lnTo>
                    <a:pt x="270" y="353"/>
                  </a:lnTo>
                  <a:lnTo>
                    <a:pt x="270" y="353"/>
                  </a:lnTo>
                  <a:lnTo>
                    <a:pt x="273" y="358"/>
                  </a:lnTo>
                  <a:lnTo>
                    <a:pt x="294" y="340"/>
                  </a:lnTo>
                  <a:lnTo>
                    <a:pt x="297" y="340"/>
                  </a:lnTo>
                  <a:lnTo>
                    <a:pt x="297" y="340"/>
                  </a:lnTo>
                  <a:lnTo>
                    <a:pt x="299" y="340"/>
                  </a:lnTo>
                  <a:lnTo>
                    <a:pt x="302" y="340"/>
                  </a:lnTo>
                  <a:lnTo>
                    <a:pt x="305" y="340"/>
                  </a:lnTo>
                  <a:lnTo>
                    <a:pt x="307" y="340"/>
                  </a:lnTo>
                  <a:lnTo>
                    <a:pt x="310" y="340"/>
                  </a:lnTo>
                  <a:lnTo>
                    <a:pt x="313" y="337"/>
                  </a:lnTo>
                  <a:lnTo>
                    <a:pt x="315" y="337"/>
                  </a:lnTo>
                  <a:lnTo>
                    <a:pt x="318" y="334"/>
                  </a:lnTo>
                  <a:lnTo>
                    <a:pt x="318" y="331"/>
                  </a:lnTo>
                  <a:lnTo>
                    <a:pt x="318" y="331"/>
                  </a:lnTo>
                  <a:lnTo>
                    <a:pt x="321" y="329"/>
                  </a:lnTo>
                  <a:lnTo>
                    <a:pt x="321" y="323"/>
                  </a:lnTo>
                  <a:lnTo>
                    <a:pt x="318" y="321"/>
                  </a:lnTo>
                  <a:lnTo>
                    <a:pt x="318" y="315"/>
                  </a:lnTo>
                  <a:lnTo>
                    <a:pt x="315" y="313"/>
                  </a:lnTo>
                  <a:lnTo>
                    <a:pt x="315" y="313"/>
                  </a:lnTo>
                  <a:lnTo>
                    <a:pt x="313" y="310"/>
                  </a:lnTo>
                  <a:lnTo>
                    <a:pt x="313" y="307"/>
                  </a:lnTo>
                  <a:lnTo>
                    <a:pt x="323" y="294"/>
                  </a:lnTo>
                  <a:lnTo>
                    <a:pt x="334" y="283"/>
                  </a:lnTo>
                  <a:lnTo>
                    <a:pt x="345" y="270"/>
                  </a:lnTo>
                  <a:lnTo>
                    <a:pt x="347" y="270"/>
                  </a:lnTo>
                  <a:lnTo>
                    <a:pt x="363" y="273"/>
                  </a:lnTo>
                  <a:lnTo>
                    <a:pt x="379" y="265"/>
                  </a:lnTo>
                  <a:lnTo>
                    <a:pt x="379" y="265"/>
                  </a:lnTo>
                  <a:lnTo>
                    <a:pt x="379" y="262"/>
                  </a:lnTo>
                  <a:lnTo>
                    <a:pt x="379" y="254"/>
                  </a:lnTo>
                  <a:lnTo>
                    <a:pt x="385" y="254"/>
                  </a:lnTo>
                  <a:lnTo>
                    <a:pt x="385" y="251"/>
                  </a:lnTo>
                  <a:lnTo>
                    <a:pt x="385" y="249"/>
                  </a:lnTo>
                  <a:lnTo>
                    <a:pt x="385" y="249"/>
                  </a:lnTo>
                  <a:lnTo>
                    <a:pt x="390" y="246"/>
                  </a:lnTo>
                  <a:lnTo>
                    <a:pt x="393" y="246"/>
                  </a:lnTo>
                  <a:lnTo>
                    <a:pt x="393" y="249"/>
                  </a:lnTo>
                  <a:lnTo>
                    <a:pt x="395" y="249"/>
                  </a:lnTo>
                  <a:lnTo>
                    <a:pt x="395" y="246"/>
                  </a:lnTo>
                  <a:lnTo>
                    <a:pt x="398" y="24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8" name="Freeform 8905">
              <a:extLst>
                <a:ext uri="{FF2B5EF4-FFF2-40B4-BE49-F238E27FC236}">
                  <a16:creationId xmlns:a16="http://schemas.microsoft.com/office/drawing/2014/main" id="{70001B8E-4461-BA4A-839C-747D8D3C653E}"/>
                </a:ext>
              </a:extLst>
            </p:cNvPr>
            <p:cNvSpPr/>
            <p:nvPr/>
          </p:nvSpPr>
          <p:spPr bwMode="auto">
            <a:xfrm>
              <a:off x="1348580" y="4167189"/>
              <a:ext cx="419100" cy="420688"/>
            </a:xfrm>
            <a:custGeom>
              <a:avLst/>
              <a:gdLst>
                <a:gd name="T0" fmla="*/ 51 w 264"/>
                <a:gd name="T1" fmla="*/ 257 h 265"/>
                <a:gd name="T2" fmla="*/ 77 w 264"/>
                <a:gd name="T3" fmla="*/ 265 h 265"/>
                <a:gd name="T4" fmla="*/ 104 w 264"/>
                <a:gd name="T5" fmla="*/ 249 h 265"/>
                <a:gd name="T6" fmla="*/ 120 w 264"/>
                <a:gd name="T7" fmla="*/ 252 h 265"/>
                <a:gd name="T8" fmla="*/ 131 w 264"/>
                <a:gd name="T9" fmla="*/ 238 h 265"/>
                <a:gd name="T10" fmla="*/ 155 w 264"/>
                <a:gd name="T11" fmla="*/ 220 h 265"/>
                <a:gd name="T12" fmla="*/ 149 w 264"/>
                <a:gd name="T13" fmla="*/ 193 h 265"/>
                <a:gd name="T14" fmla="*/ 165 w 264"/>
                <a:gd name="T15" fmla="*/ 190 h 265"/>
                <a:gd name="T16" fmla="*/ 184 w 264"/>
                <a:gd name="T17" fmla="*/ 193 h 265"/>
                <a:gd name="T18" fmla="*/ 211 w 264"/>
                <a:gd name="T19" fmla="*/ 185 h 265"/>
                <a:gd name="T20" fmla="*/ 229 w 264"/>
                <a:gd name="T21" fmla="*/ 204 h 265"/>
                <a:gd name="T22" fmla="*/ 259 w 264"/>
                <a:gd name="T23" fmla="*/ 214 h 265"/>
                <a:gd name="T24" fmla="*/ 264 w 264"/>
                <a:gd name="T25" fmla="*/ 193 h 265"/>
                <a:gd name="T26" fmla="*/ 254 w 264"/>
                <a:gd name="T27" fmla="*/ 166 h 265"/>
                <a:gd name="T28" fmla="*/ 248 w 264"/>
                <a:gd name="T29" fmla="*/ 161 h 265"/>
                <a:gd name="T30" fmla="*/ 240 w 264"/>
                <a:gd name="T31" fmla="*/ 155 h 265"/>
                <a:gd name="T32" fmla="*/ 232 w 264"/>
                <a:gd name="T33" fmla="*/ 145 h 265"/>
                <a:gd name="T34" fmla="*/ 224 w 264"/>
                <a:gd name="T35" fmla="*/ 137 h 265"/>
                <a:gd name="T36" fmla="*/ 216 w 264"/>
                <a:gd name="T37" fmla="*/ 123 h 265"/>
                <a:gd name="T38" fmla="*/ 208 w 264"/>
                <a:gd name="T39" fmla="*/ 118 h 265"/>
                <a:gd name="T40" fmla="*/ 195 w 264"/>
                <a:gd name="T41" fmla="*/ 115 h 265"/>
                <a:gd name="T42" fmla="*/ 192 w 264"/>
                <a:gd name="T43" fmla="*/ 102 h 265"/>
                <a:gd name="T44" fmla="*/ 189 w 264"/>
                <a:gd name="T45" fmla="*/ 89 h 265"/>
                <a:gd name="T46" fmla="*/ 179 w 264"/>
                <a:gd name="T47" fmla="*/ 78 h 265"/>
                <a:gd name="T48" fmla="*/ 168 w 264"/>
                <a:gd name="T49" fmla="*/ 67 h 265"/>
                <a:gd name="T50" fmla="*/ 157 w 264"/>
                <a:gd name="T51" fmla="*/ 59 h 265"/>
                <a:gd name="T52" fmla="*/ 147 w 264"/>
                <a:gd name="T53" fmla="*/ 57 h 265"/>
                <a:gd name="T54" fmla="*/ 136 w 264"/>
                <a:gd name="T55" fmla="*/ 38 h 265"/>
                <a:gd name="T56" fmla="*/ 133 w 264"/>
                <a:gd name="T57" fmla="*/ 27 h 265"/>
                <a:gd name="T58" fmla="*/ 125 w 264"/>
                <a:gd name="T59" fmla="*/ 22 h 265"/>
                <a:gd name="T60" fmla="*/ 115 w 264"/>
                <a:gd name="T61" fmla="*/ 24 h 265"/>
                <a:gd name="T62" fmla="*/ 104 w 264"/>
                <a:gd name="T63" fmla="*/ 3 h 265"/>
                <a:gd name="T64" fmla="*/ 91 w 264"/>
                <a:gd name="T65" fmla="*/ 0 h 265"/>
                <a:gd name="T66" fmla="*/ 75 w 264"/>
                <a:gd name="T67" fmla="*/ 6 h 265"/>
                <a:gd name="T68" fmla="*/ 77 w 264"/>
                <a:gd name="T69" fmla="*/ 11 h 265"/>
                <a:gd name="T70" fmla="*/ 72 w 264"/>
                <a:gd name="T71" fmla="*/ 24 h 265"/>
                <a:gd name="T72" fmla="*/ 67 w 264"/>
                <a:gd name="T73" fmla="*/ 27 h 265"/>
                <a:gd name="T74" fmla="*/ 51 w 264"/>
                <a:gd name="T75" fmla="*/ 24 h 265"/>
                <a:gd name="T76" fmla="*/ 45 w 264"/>
                <a:gd name="T77" fmla="*/ 41 h 265"/>
                <a:gd name="T78" fmla="*/ 43 w 264"/>
                <a:gd name="T79" fmla="*/ 54 h 265"/>
                <a:gd name="T80" fmla="*/ 35 w 264"/>
                <a:gd name="T81" fmla="*/ 62 h 265"/>
                <a:gd name="T82" fmla="*/ 32 w 264"/>
                <a:gd name="T83" fmla="*/ 75 h 265"/>
                <a:gd name="T84" fmla="*/ 45 w 264"/>
                <a:gd name="T85" fmla="*/ 78 h 265"/>
                <a:gd name="T86" fmla="*/ 43 w 264"/>
                <a:gd name="T87" fmla="*/ 94 h 265"/>
                <a:gd name="T88" fmla="*/ 40 w 264"/>
                <a:gd name="T89" fmla="*/ 99 h 265"/>
                <a:gd name="T90" fmla="*/ 35 w 264"/>
                <a:gd name="T91" fmla="*/ 99 h 265"/>
                <a:gd name="T92" fmla="*/ 35 w 264"/>
                <a:gd name="T93" fmla="*/ 107 h 265"/>
                <a:gd name="T94" fmla="*/ 32 w 264"/>
                <a:gd name="T95" fmla="*/ 118 h 265"/>
                <a:gd name="T96" fmla="*/ 35 w 264"/>
                <a:gd name="T97" fmla="*/ 126 h 265"/>
                <a:gd name="T98" fmla="*/ 37 w 264"/>
                <a:gd name="T99" fmla="*/ 134 h 265"/>
                <a:gd name="T100" fmla="*/ 29 w 264"/>
                <a:gd name="T101" fmla="*/ 139 h 265"/>
                <a:gd name="T102" fmla="*/ 24 w 264"/>
                <a:gd name="T103" fmla="*/ 150 h 265"/>
                <a:gd name="T104" fmla="*/ 13 w 264"/>
                <a:gd name="T105" fmla="*/ 166 h 265"/>
                <a:gd name="T106" fmla="*/ 13 w 264"/>
                <a:gd name="T107" fmla="*/ 174 h 265"/>
                <a:gd name="T108" fmla="*/ 8 w 264"/>
                <a:gd name="T109" fmla="*/ 182 h 265"/>
                <a:gd name="T110" fmla="*/ 0 w 264"/>
                <a:gd name="T111" fmla="*/ 193 h 265"/>
                <a:gd name="T112" fmla="*/ 8 w 264"/>
                <a:gd name="T113" fmla="*/ 206 h 265"/>
                <a:gd name="T114" fmla="*/ 11 w 264"/>
                <a:gd name="T115" fmla="*/ 225 h 265"/>
                <a:gd name="T116" fmla="*/ 21 w 264"/>
                <a:gd name="T117" fmla="*/ 238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4" h="265" extrusionOk="0">
                  <a:moveTo>
                    <a:pt x="32" y="244"/>
                  </a:moveTo>
                  <a:lnTo>
                    <a:pt x="37" y="244"/>
                  </a:lnTo>
                  <a:lnTo>
                    <a:pt x="37" y="244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3" y="249"/>
                  </a:lnTo>
                  <a:lnTo>
                    <a:pt x="43" y="252"/>
                  </a:lnTo>
                  <a:lnTo>
                    <a:pt x="45" y="257"/>
                  </a:lnTo>
                  <a:lnTo>
                    <a:pt x="48" y="257"/>
                  </a:lnTo>
                  <a:lnTo>
                    <a:pt x="51" y="257"/>
                  </a:lnTo>
                  <a:lnTo>
                    <a:pt x="51" y="260"/>
                  </a:lnTo>
                  <a:lnTo>
                    <a:pt x="53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9" y="260"/>
                  </a:lnTo>
                  <a:lnTo>
                    <a:pt x="59" y="257"/>
                  </a:lnTo>
                  <a:lnTo>
                    <a:pt x="61" y="257"/>
                  </a:lnTo>
                  <a:lnTo>
                    <a:pt x="67" y="262"/>
                  </a:lnTo>
                  <a:lnTo>
                    <a:pt x="69" y="260"/>
                  </a:lnTo>
                  <a:lnTo>
                    <a:pt x="77" y="265"/>
                  </a:lnTo>
                  <a:lnTo>
                    <a:pt x="80" y="262"/>
                  </a:lnTo>
                  <a:lnTo>
                    <a:pt x="85" y="262"/>
                  </a:lnTo>
                  <a:lnTo>
                    <a:pt x="85" y="260"/>
                  </a:lnTo>
                  <a:lnTo>
                    <a:pt x="88" y="260"/>
                  </a:lnTo>
                  <a:lnTo>
                    <a:pt x="91" y="257"/>
                  </a:lnTo>
                  <a:lnTo>
                    <a:pt x="93" y="254"/>
                  </a:lnTo>
                  <a:lnTo>
                    <a:pt x="96" y="254"/>
                  </a:lnTo>
                  <a:lnTo>
                    <a:pt x="99" y="252"/>
                  </a:lnTo>
                  <a:lnTo>
                    <a:pt x="99" y="252"/>
                  </a:lnTo>
                  <a:lnTo>
                    <a:pt x="104" y="249"/>
                  </a:lnTo>
                  <a:lnTo>
                    <a:pt x="107" y="249"/>
                  </a:lnTo>
                  <a:lnTo>
                    <a:pt x="107" y="249"/>
                  </a:lnTo>
                  <a:lnTo>
                    <a:pt x="109" y="252"/>
                  </a:lnTo>
                  <a:lnTo>
                    <a:pt x="109" y="252"/>
                  </a:lnTo>
                  <a:lnTo>
                    <a:pt x="112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7" y="249"/>
                  </a:lnTo>
                  <a:lnTo>
                    <a:pt x="117" y="252"/>
                  </a:lnTo>
                  <a:lnTo>
                    <a:pt x="120" y="252"/>
                  </a:lnTo>
                  <a:lnTo>
                    <a:pt x="120" y="252"/>
                  </a:lnTo>
                  <a:lnTo>
                    <a:pt x="123" y="249"/>
                  </a:lnTo>
                  <a:lnTo>
                    <a:pt x="123" y="246"/>
                  </a:lnTo>
                  <a:lnTo>
                    <a:pt x="123" y="244"/>
                  </a:lnTo>
                  <a:lnTo>
                    <a:pt x="120" y="244"/>
                  </a:lnTo>
                  <a:lnTo>
                    <a:pt x="120" y="241"/>
                  </a:lnTo>
                  <a:lnTo>
                    <a:pt x="125" y="238"/>
                  </a:lnTo>
                  <a:lnTo>
                    <a:pt x="128" y="241"/>
                  </a:lnTo>
                  <a:lnTo>
                    <a:pt x="128" y="238"/>
                  </a:lnTo>
                  <a:lnTo>
                    <a:pt x="131" y="238"/>
                  </a:lnTo>
                  <a:lnTo>
                    <a:pt x="136" y="238"/>
                  </a:lnTo>
                  <a:lnTo>
                    <a:pt x="139" y="236"/>
                  </a:lnTo>
                  <a:lnTo>
                    <a:pt x="141" y="236"/>
                  </a:lnTo>
                  <a:lnTo>
                    <a:pt x="144" y="233"/>
                  </a:lnTo>
                  <a:lnTo>
                    <a:pt x="144" y="230"/>
                  </a:lnTo>
                  <a:lnTo>
                    <a:pt x="144" y="225"/>
                  </a:lnTo>
                  <a:lnTo>
                    <a:pt x="144" y="220"/>
                  </a:lnTo>
                  <a:lnTo>
                    <a:pt x="152" y="217"/>
                  </a:lnTo>
                  <a:lnTo>
                    <a:pt x="155" y="220"/>
                  </a:lnTo>
                  <a:lnTo>
                    <a:pt x="155" y="220"/>
                  </a:lnTo>
                  <a:lnTo>
                    <a:pt x="155" y="217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2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2" y="201"/>
                  </a:lnTo>
                  <a:lnTo>
                    <a:pt x="149" y="195"/>
                  </a:lnTo>
                  <a:lnTo>
                    <a:pt x="149" y="193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52" y="190"/>
                  </a:lnTo>
                  <a:lnTo>
                    <a:pt x="155" y="193"/>
                  </a:lnTo>
                  <a:lnTo>
                    <a:pt x="157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0" y="193"/>
                  </a:lnTo>
                  <a:lnTo>
                    <a:pt x="163" y="193"/>
                  </a:lnTo>
                  <a:lnTo>
                    <a:pt x="165" y="190"/>
                  </a:lnTo>
                  <a:lnTo>
                    <a:pt x="168" y="190"/>
                  </a:lnTo>
                  <a:lnTo>
                    <a:pt x="171" y="187"/>
                  </a:lnTo>
                  <a:lnTo>
                    <a:pt x="171" y="187"/>
                  </a:lnTo>
                  <a:lnTo>
                    <a:pt x="173" y="187"/>
                  </a:lnTo>
                  <a:lnTo>
                    <a:pt x="173" y="190"/>
                  </a:lnTo>
                  <a:lnTo>
                    <a:pt x="176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81" y="190"/>
                  </a:lnTo>
                  <a:lnTo>
                    <a:pt x="184" y="193"/>
                  </a:lnTo>
                  <a:lnTo>
                    <a:pt x="187" y="193"/>
                  </a:lnTo>
                  <a:lnTo>
                    <a:pt x="189" y="193"/>
                  </a:lnTo>
                  <a:lnTo>
                    <a:pt x="192" y="190"/>
                  </a:lnTo>
                  <a:lnTo>
                    <a:pt x="195" y="187"/>
                  </a:lnTo>
                  <a:lnTo>
                    <a:pt x="197" y="185"/>
                  </a:lnTo>
                  <a:lnTo>
                    <a:pt x="203" y="182"/>
                  </a:lnTo>
                  <a:lnTo>
                    <a:pt x="205" y="182"/>
                  </a:lnTo>
                  <a:lnTo>
                    <a:pt x="208" y="182"/>
                  </a:lnTo>
                  <a:lnTo>
                    <a:pt x="211" y="185"/>
                  </a:lnTo>
                  <a:lnTo>
                    <a:pt x="211" y="185"/>
                  </a:lnTo>
                  <a:lnTo>
                    <a:pt x="211" y="187"/>
                  </a:lnTo>
                  <a:lnTo>
                    <a:pt x="211" y="187"/>
                  </a:lnTo>
                  <a:lnTo>
                    <a:pt x="213" y="190"/>
                  </a:lnTo>
                  <a:lnTo>
                    <a:pt x="213" y="193"/>
                  </a:lnTo>
                  <a:lnTo>
                    <a:pt x="216" y="195"/>
                  </a:lnTo>
                  <a:lnTo>
                    <a:pt x="219" y="198"/>
                  </a:lnTo>
                  <a:lnTo>
                    <a:pt x="221" y="201"/>
                  </a:lnTo>
                  <a:lnTo>
                    <a:pt x="224" y="201"/>
                  </a:lnTo>
                  <a:lnTo>
                    <a:pt x="227" y="204"/>
                  </a:lnTo>
                  <a:lnTo>
                    <a:pt x="229" y="204"/>
                  </a:lnTo>
                  <a:lnTo>
                    <a:pt x="232" y="204"/>
                  </a:lnTo>
                  <a:lnTo>
                    <a:pt x="232" y="206"/>
                  </a:lnTo>
                  <a:lnTo>
                    <a:pt x="237" y="209"/>
                  </a:lnTo>
                  <a:lnTo>
                    <a:pt x="240" y="206"/>
                  </a:lnTo>
                  <a:lnTo>
                    <a:pt x="245" y="206"/>
                  </a:lnTo>
                  <a:lnTo>
                    <a:pt x="245" y="206"/>
                  </a:lnTo>
                  <a:lnTo>
                    <a:pt x="248" y="206"/>
                  </a:lnTo>
                  <a:lnTo>
                    <a:pt x="256" y="212"/>
                  </a:lnTo>
                  <a:lnTo>
                    <a:pt x="259" y="212"/>
                  </a:lnTo>
                  <a:lnTo>
                    <a:pt x="259" y="214"/>
                  </a:lnTo>
                  <a:lnTo>
                    <a:pt x="262" y="212"/>
                  </a:lnTo>
                  <a:lnTo>
                    <a:pt x="259" y="206"/>
                  </a:lnTo>
                  <a:lnTo>
                    <a:pt x="259" y="204"/>
                  </a:lnTo>
                  <a:lnTo>
                    <a:pt x="262" y="201"/>
                  </a:lnTo>
                  <a:lnTo>
                    <a:pt x="264" y="201"/>
                  </a:lnTo>
                  <a:lnTo>
                    <a:pt x="264" y="201"/>
                  </a:lnTo>
                  <a:lnTo>
                    <a:pt x="264" y="198"/>
                  </a:lnTo>
                  <a:lnTo>
                    <a:pt x="264" y="198"/>
                  </a:lnTo>
                  <a:lnTo>
                    <a:pt x="264" y="195"/>
                  </a:lnTo>
                  <a:lnTo>
                    <a:pt x="264" y="193"/>
                  </a:lnTo>
                  <a:lnTo>
                    <a:pt x="264" y="190"/>
                  </a:lnTo>
                  <a:lnTo>
                    <a:pt x="262" y="185"/>
                  </a:lnTo>
                  <a:lnTo>
                    <a:pt x="259" y="182"/>
                  </a:lnTo>
                  <a:lnTo>
                    <a:pt x="259" y="179"/>
                  </a:lnTo>
                  <a:lnTo>
                    <a:pt x="259" y="177"/>
                  </a:lnTo>
                  <a:lnTo>
                    <a:pt x="259" y="171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6" y="166"/>
                  </a:lnTo>
                  <a:lnTo>
                    <a:pt x="254" y="166"/>
                  </a:lnTo>
                  <a:lnTo>
                    <a:pt x="254" y="166"/>
                  </a:lnTo>
                  <a:lnTo>
                    <a:pt x="251" y="169"/>
                  </a:lnTo>
                  <a:lnTo>
                    <a:pt x="248" y="169"/>
                  </a:lnTo>
                  <a:lnTo>
                    <a:pt x="248" y="166"/>
                  </a:lnTo>
                  <a:lnTo>
                    <a:pt x="248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3"/>
                  </a:lnTo>
                  <a:lnTo>
                    <a:pt x="245" y="161"/>
                  </a:lnTo>
                  <a:lnTo>
                    <a:pt x="248" y="161"/>
                  </a:lnTo>
                  <a:lnTo>
                    <a:pt x="248" y="161"/>
                  </a:lnTo>
                  <a:lnTo>
                    <a:pt x="248" y="158"/>
                  </a:lnTo>
                  <a:lnTo>
                    <a:pt x="251" y="158"/>
                  </a:lnTo>
                  <a:lnTo>
                    <a:pt x="251" y="153"/>
                  </a:lnTo>
                  <a:lnTo>
                    <a:pt x="248" y="150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0"/>
                  </a:lnTo>
                  <a:lnTo>
                    <a:pt x="243" y="150"/>
                  </a:lnTo>
                  <a:lnTo>
                    <a:pt x="240" y="155"/>
                  </a:lnTo>
                  <a:lnTo>
                    <a:pt x="240" y="155"/>
                  </a:lnTo>
                  <a:lnTo>
                    <a:pt x="237" y="150"/>
                  </a:lnTo>
                  <a:lnTo>
                    <a:pt x="237" y="150"/>
                  </a:lnTo>
                  <a:lnTo>
                    <a:pt x="237" y="150"/>
                  </a:lnTo>
                  <a:lnTo>
                    <a:pt x="235" y="150"/>
                  </a:lnTo>
                  <a:lnTo>
                    <a:pt x="235" y="150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7"/>
                  </a:lnTo>
                  <a:lnTo>
                    <a:pt x="232" y="145"/>
                  </a:lnTo>
                  <a:lnTo>
                    <a:pt x="229" y="145"/>
                  </a:lnTo>
                  <a:lnTo>
                    <a:pt x="229" y="142"/>
                  </a:lnTo>
                  <a:lnTo>
                    <a:pt x="232" y="145"/>
                  </a:lnTo>
                  <a:lnTo>
                    <a:pt x="235" y="142"/>
                  </a:lnTo>
                  <a:lnTo>
                    <a:pt x="232" y="139"/>
                  </a:lnTo>
                  <a:lnTo>
                    <a:pt x="232" y="142"/>
                  </a:lnTo>
                  <a:lnTo>
                    <a:pt x="229" y="139"/>
                  </a:lnTo>
                  <a:lnTo>
                    <a:pt x="227" y="139"/>
                  </a:lnTo>
                  <a:lnTo>
                    <a:pt x="227" y="137"/>
                  </a:lnTo>
                  <a:lnTo>
                    <a:pt x="224" y="137"/>
                  </a:lnTo>
                  <a:lnTo>
                    <a:pt x="227" y="137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19" y="129"/>
                  </a:lnTo>
                  <a:lnTo>
                    <a:pt x="219" y="126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6" y="123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1" y="118"/>
                  </a:lnTo>
                  <a:lnTo>
                    <a:pt x="211" y="118"/>
                  </a:lnTo>
                  <a:lnTo>
                    <a:pt x="211" y="115"/>
                  </a:lnTo>
                  <a:lnTo>
                    <a:pt x="208" y="115"/>
                  </a:lnTo>
                  <a:lnTo>
                    <a:pt x="208" y="115"/>
                  </a:lnTo>
                  <a:lnTo>
                    <a:pt x="205" y="118"/>
                  </a:lnTo>
                  <a:lnTo>
                    <a:pt x="208" y="118"/>
                  </a:lnTo>
                  <a:lnTo>
                    <a:pt x="208" y="121"/>
                  </a:lnTo>
                  <a:lnTo>
                    <a:pt x="205" y="121"/>
                  </a:lnTo>
                  <a:lnTo>
                    <a:pt x="205" y="121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5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2" y="113"/>
                  </a:lnTo>
                  <a:lnTo>
                    <a:pt x="192" y="110"/>
                  </a:lnTo>
                  <a:lnTo>
                    <a:pt x="189" y="110"/>
                  </a:lnTo>
                  <a:lnTo>
                    <a:pt x="189" y="107"/>
                  </a:lnTo>
                  <a:lnTo>
                    <a:pt x="187" y="107"/>
                  </a:lnTo>
                  <a:lnTo>
                    <a:pt x="189" y="105"/>
                  </a:lnTo>
                  <a:lnTo>
                    <a:pt x="192" y="102"/>
                  </a:lnTo>
                  <a:lnTo>
                    <a:pt x="192" y="102"/>
                  </a:lnTo>
                  <a:lnTo>
                    <a:pt x="192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7" y="99"/>
                  </a:lnTo>
                  <a:lnTo>
                    <a:pt x="197" y="97"/>
                  </a:lnTo>
                  <a:lnTo>
                    <a:pt x="195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89" y="91"/>
                  </a:lnTo>
                  <a:lnTo>
                    <a:pt x="189" y="89"/>
                  </a:lnTo>
                  <a:lnTo>
                    <a:pt x="187" y="86"/>
                  </a:lnTo>
                  <a:lnTo>
                    <a:pt x="187" y="83"/>
                  </a:lnTo>
                  <a:lnTo>
                    <a:pt x="184" y="83"/>
                  </a:lnTo>
                  <a:lnTo>
                    <a:pt x="184" y="81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78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9" y="75"/>
                  </a:lnTo>
                  <a:lnTo>
                    <a:pt x="179" y="75"/>
                  </a:lnTo>
                  <a:lnTo>
                    <a:pt x="179" y="75"/>
                  </a:lnTo>
                  <a:lnTo>
                    <a:pt x="176" y="75"/>
                  </a:lnTo>
                  <a:lnTo>
                    <a:pt x="176" y="73"/>
                  </a:lnTo>
                  <a:lnTo>
                    <a:pt x="173" y="70"/>
                  </a:lnTo>
                  <a:lnTo>
                    <a:pt x="171" y="73"/>
                  </a:lnTo>
                  <a:lnTo>
                    <a:pt x="168" y="70"/>
                  </a:lnTo>
                  <a:lnTo>
                    <a:pt x="171" y="67"/>
                  </a:lnTo>
                  <a:lnTo>
                    <a:pt x="168" y="67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5" y="65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3" y="62"/>
                  </a:lnTo>
                  <a:lnTo>
                    <a:pt x="163" y="59"/>
                  </a:lnTo>
                  <a:lnTo>
                    <a:pt x="160" y="59"/>
                  </a:lnTo>
                  <a:lnTo>
                    <a:pt x="157" y="59"/>
                  </a:lnTo>
                  <a:lnTo>
                    <a:pt x="157" y="59"/>
                  </a:lnTo>
                  <a:lnTo>
                    <a:pt x="155" y="59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4" y="57"/>
                  </a:lnTo>
                  <a:lnTo>
                    <a:pt x="147" y="54"/>
                  </a:lnTo>
                  <a:lnTo>
                    <a:pt x="147" y="54"/>
                  </a:lnTo>
                  <a:lnTo>
                    <a:pt x="144" y="54"/>
                  </a:lnTo>
                  <a:lnTo>
                    <a:pt x="139" y="49"/>
                  </a:lnTo>
                  <a:lnTo>
                    <a:pt x="133" y="41"/>
                  </a:lnTo>
                  <a:lnTo>
                    <a:pt x="133" y="38"/>
                  </a:lnTo>
                  <a:lnTo>
                    <a:pt x="136" y="38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9" y="35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36" y="30"/>
                  </a:lnTo>
                  <a:lnTo>
                    <a:pt x="136" y="27"/>
                  </a:lnTo>
                  <a:lnTo>
                    <a:pt x="133" y="27"/>
                  </a:lnTo>
                  <a:lnTo>
                    <a:pt x="133" y="24"/>
                  </a:lnTo>
                  <a:lnTo>
                    <a:pt x="131" y="22"/>
                  </a:lnTo>
                  <a:lnTo>
                    <a:pt x="131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2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2"/>
                  </a:lnTo>
                  <a:lnTo>
                    <a:pt x="120" y="22"/>
                  </a:lnTo>
                  <a:lnTo>
                    <a:pt x="117" y="22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5" y="24"/>
                  </a:lnTo>
                  <a:lnTo>
                    <a:pt x="112" y="24"/>
                  </a:lnTo>
                  <a:lnTo>
                    <a:pt x="112" y="8"/>
                  </a:lnTo>
                  <a:lnTo>
                    <a:pt x="109" y="6"/>
                  </a:lnTo>
                  <a:lnTo>
                    <a:pt x="107" y="6"/>
                  </a:lnTo>
                  <a:lnTo>
                    <a:pt x="107" y="8"/>
                  </a:lnTo>
                  <a:lnTo>
                    <a:pt x="104" y="8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4" y="8"/>
                  </a:lnTo>
                  <a:lnTo>
                    <a:pt x="104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6" y="6"/>
                  </a:lnTo>
                  <a:lnTo>
                    <a:pt x="93" y="6"/>
                  </a:lnTo>
                  <a:lnTo>
                    <a:pt x="96" y="3"/>
                  </a:lnTo>
                  <a:lnTo>
                    <a:pt x="93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5" y="3"/>
                  </a:lnTo>
                  <a:lnTo>
                    <a:pt x="75" y="6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5" y="11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7" y="16"/>
                  </a:lnTo>
                  <a:lnTo>
                    <a:pt x="75" y="19"/>
                  </a:lnTo>
                  <a:lnTo>
                    <a:pt x="72" y="19"/>
                  </a:lnTo>
                  <a:lnTo>
                    <a:pt x="72" y="22"/>
                  </a:lnTo>
                  <a:lnTo>
                    <a:pt x="69" y="22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75" y="30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7" y="30"/>
                  </a:lnTo>
                  <a:lnTo>
                    <a:pt x="67" y="27"/>
                  </a:lnTo>
                  <a:lnTo>
                    <a:pt x="69" y="24"/>
                  </a:lnTo>
                  <a:lnTo>
                    <a:pt x="64" y="22"/>
                  </a:lnTo>
                  <a:lnTo>
                    <a:pt x="61" y="22"/>
                  </a:lnTo>
                  <a:lnTo>
                    <a:pt x="59" y="19"/>
                  </a:lnTo>
                  <a:lnTo>
                    <a:pt x="56" y="22"/>
                  </a:lnTo>
                  <a:lnTo>
                    <a:pt x="53" y="16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51" y="24"/>
                  </a:lnTo>
                  <a:lnTo>
                    <a:pt x="51" y="27"/>
                  </a:lnTo>
                  <a:lnTo>
                    <a:pt x="51" y="30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48" y="35"/>
                  </a:lnTo>
                  <a:lnTo>
                    <a:pt x="51" y="38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5" y="49"/>
                  </a:lnTo>
                  <a:lnTo>
                    <a:pt x="43" y="51"/>
                  </a:lnTo>
                  <a:lnTo>
                    <a:pt x="37" y="51"/>
                  </a:lnTo>
                  <a:lnTo>
                    <a:pt x="37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0" y="59"/>
                  </a:lnTo>
                  <a:lnTo>
                    <a:pt x="40" y="62"/>
                  </a:lnTo>
                  <a:lnTo>
                    <a:pt x="43" y="65"/>
                  </a:lnTo>
                  <a:lnTo>
                    <a:pt x="40" y="67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2" y="62"/>
                  </a:lnTo>
                  <a:lnTo>
                    <a:pt x="32" y="65"/>
                  </a:lnTo>
                  <a:lnTo>
                    <a:pt x="32" y="67"/>
                  </a:lnTo>
                  <a:lnTo>
                    <a:pt x="29" y="67"/>
                  </a:lnTo>
                  <a:lnTo>
                    <a:pt x="29" y="70"/>
                  </a:lnTo>
                  <a:lnTo>
                    <a:pt x="32" y="70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5"/>
                  </a:lnTo>
                  <a:lnTo>
                    <a:pt x="35" y="75"/>
                  </a:lnTo>
                  <a:lnTo>
                    <a:pt x="35" y="78"/>
                  </a:lnTo>
                  <a:lnTo>
                    <a:pt x="37" y="81"/>
                  </a:lnTo>
                  <a:lnTo>
                    <a:pt x="37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78"/>
                  </a:lnTo>
                  <a:lnTo>
                    <a:pt x="45" y="78"/>
                  </a:lnTo>
                  <a:lnTo>
                    <a:pt x="45" y="81"/>
                  </a:lnTo>
                  <a:lnTo>
                    <a:pt x="48" y="81"/>
                  </a:lnTo>
                  <a:lnTo>
                    <a:pt x="51" y="83"/>
                  </a:lnTo>
                  <a:lnTo>
                    <a:pt x="48" y="86"/>
                  </a:lnTo>
                  <a:lnTo>
                    <a:pt x="48" y="89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7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2" y="99"/>
                  </a:lnTo>
                  <a:lnTo>
                    <a:pt x="29" y="102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5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8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5" y="121"/>
                  </a:lnTo>
                  <a:lnTo>
                    <a:pt x="37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123"/>
                  </a:lnTo>
                  <a:lnTo>
                    <a:pt x="35" y="123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7" y="126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40" y="129"/>
                  </a:lnTo>
                  <a:lnTo>
                    <a:pt x="40" y="129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1"/>
                  </a:lnTo>
                  <a:lnTo>
                    <a:pt x="35" y="131"/>
                  </a:lnTo>
                  <a:lnTo>
                    <a:pt x="35" y="134"/>
                  </a:lnTo>
                  <a:lnTo>
                    <a:pt x="32" y="137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9"/>
                  </a:lnTo>
                  <a:lnTo>
                    <a:pt x="24" y="142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4" y="147"/>
                  </a:lnTo>
                  <a:lnTo>
                    <a:pt x="24" y="150"/>
                  </a:lnTo>
                  <a:lnTo>
                    <a:pt x="24" y="150"/>
                  </a:lnTo>
                  <a:lnTo>
                    <a:pt x="24" y="153"/>
                  </a:lnTo>
                  <a:lnTo>
                    <a:pt x="21" y="153"/>
                  </a:lnTo>
                  <a:lnTo>
                    <a:pt x="19" y="153"/>
                  </a:lnTo>
                  <a:lnTo>
                    <a:pt x="19" y="155"/>
                  </a:lnTo>
                  <a:lnTo>
                    <a:pt x="19" y="158"/>
                  </a:lnTo>
                  <a:lnTo>
                    <a:pt x="16" y="158"/>
                  </a:lnTo>
                  <a:lnTo>
                    <a:pt x="19" y="161"/>
                  </a:lnTo>
                  <a:lnTo>
                    <a:pt x="16" y="163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6" y="174"/>
                  </a:lnTo>
                  <a:lnTo>
                    <a:pt x="13" y="174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5"/>
                  </a:lnTo>
                  <a:lnTo>
                    <a:pt x="8" y="182"/>
                  </a:lnTo>
                  <a:lnTo>
                    <a:pt x="8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0" y="187"/>
                  </a:lnTo>
                  <a:lnTo>
                    <a:pt x="2" y="190"/>
                  </a:lnTo>
                  <a:lnTo>
                    <a:pt x="2" y="193"/>
                  </a:lnTo>
                  <a:lnTo>
                    <a:pt x="0" y="193"/>
                  </a:lnTo>
                  <a:lnTo>
                    <a:pt x="0" y="195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201"/>
                  </a:lnTo>
                  <a:lnTo>
                    <a:pt x="2" y="204"/>
                  </a:lnTo>
                  <a:lnTo>
                    <a:pt x="2" y="206"/>
                  </a:lnTo>
                  <a:lnTo>
                    <a:pt x="5" y="206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11" y="209"/>
                  </a:lnTo>
                  <a:lnTo>
                    <a:pt x="11" y="212"/>
                  </a:lnTo>
                  <a:lnTo>
                    <a:pt x="11" y="212"/>
                  </a:lnTo>
                  <a:lnTo>
                    <a:pt x="13" y="214"/>
                  </a:lnTo>
                  <a:lnTo>
                    <a:pt x="13" y="214"/>
                  </a:lnTo>
                  <a:lnTo>
                    <a:pt x="13" y="217"/>
                  </a:lnTo>
                  <a:lnTo>
                    <a:pt x="13" y="220"/>
                  </a:lnTo>
                  <a:lnTo>
                    <a:pt x="11" y="220"/>
                  </a:lnTo>
                  <a:lnTo>
                    <a:pt x="11" y="222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8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13" y="233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6" y="238"/>
                  </a:lnTo>
                  <a:lnTo>
                    <a:pt x="19" y="238"/>
                  </a:lnTo>
                  <a:lnTo>
                    <a:pt x="21" y="238"/>
                  </a:lnTo>
                  <a:lnTo>
                    <a:pt x="24" y="238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9" y="238"/>
                  </a:lnTo>
                  <a:lnTo>
                    <a:pt x="29" y="241"/>
                  </a:lnTo>
                  <a:lnTo>
                    <a:pt x="32" y="241"/>
                  </a:lnTo>
                  <a:lnTo>
                    <a:pt x="32" y="24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89" name="Freeform 8906">
              <a:extLst>
                <a:ext uri="{FF2B5EF4-FFF2-40B4-BE49-F238E27FC236}">
                  <a16:creationId xmlns:a16="http://schemas.microsoft.com/office/drawing/2014/main" id="{012BBEC1-7A98-6E4B-8641-60F5DA6E5EAA}"/>
                </a:ext>
              </a:extLst>
            </p:cNvPr>
            <p:cNvSpPr/>
            <p:nvPr/>
          </p:nvSpPr>
          <p:spPr bwMode="auto">
            <a:xfrm>
              <a:off x="1034256" y="4545013"/>
              <a:ext cx="534988" cy="628650"/>
            </a:xfrm>
            <a:custGeom>
              <a:avLst/>
              <a:gdLst>
                <a:gd name="T0" fmla="*/ 56 w 337"/>
                <a:gd name="T1" fmla="*/ 102 h 396"/>
                <a:gd name="T2" fmla="*/ 32 w 337"/>
                <a:gd name="T3" fmla="*/ 94 h 396"/>
                <a:gd name="T4" fmla="*/ 14 w 337"/>
                <a:gd name="T5" fmla="*/ 112 h 396"/>
                <a:gd name="T6" fmla="*/ 8 w 337"/>
                <a:gd name="T7" fmla="*/ 126 h 396"/>
                <a:gd name="T8" fmla="*/ 22 w 337"/>
                <a:gd name="T9" fmla="*/ 126 h 396"/>
                <a:gd name="T10" fmla="*/ 32 w 337"/>
                <a:gd name="T11" fmla="*/ 134 h 396"/>
                <a:gd name="T12" fmla="*/ 16 w 337"/>
                <a:gd name="T13" fmla="*/ 129 h 396"/>
                <a:gd name="T14" fmla="*/ 16 w 337"/>
                <a:gd name="T15" fmla="*/ 134 h 396"/>
                <a:gd name="T16" fmla="*/ 35 w 337"/>
                <a:gd name="T17" fmla="*/ 145 h 396"/>
                <a:gd name="T18" fmla="*/ 48 w 337"/>
                <a:gd name="T19" fmla="*/ 142 h 396"/>
                <a:gd name="T20" fmla="*/ 59 w 337"/>
                <a:gd name="T21" fmla="*/ 155 h 396"/>
                <a:gd name="T22" fmla="*/ 54 w 337"/>
                <a:gd name="T23" fmla="*/ 166 h 396"/>
                <a:gd name="T24" fmla="*/ 40 w 337"/>
                <a:gd name="T25" fmla="*/ 163 h 396"/>
                <a:gd name="T26" fmla="*/ 22 w 337"/>
                <a:gd name="T27" fmla="*/ 161 h 396"/>
                <a:gd name="T28" fmla="*/ 19 w 337"/>
                <a:gd name="T29" fmla="*/ 171 h 396"/>
                <a:gd name="T30" fmla="*/ 14 w 337"/>
                <a:gd name="T31" fmla="*/ 190 h 396"/>
                <a:gd name="T32" fmla="*/ 43 w 337"/>
                <a:gd name="T33" fmla="*/ 193 h 396"/>
                <a:gd name="T34" fmla="*/ 75 w 337"/>
                <a:gd name="T35" fmla="*/ 225 h 396"/>
                <a:gd name="T36" fmla="*/ 64 w 337"/>
                <a:gd name="T37" fmla="*/ 254 h 396"/>
                <a:gd name="T38" fmla="*/ 94 w 337"/>
                <a:gd name="T39" fmla="*/ 286 h 396"/>
                <a:gd name="T40" fmla="*/ 88 w 337"/>
                <a:gd name="T41" fmla="*/ 321 h 396"/>
                <a:gd name="T42" fmla="*/ 110 w 337"/>
                <a:gd name="T43" fmla="*/ 329 h 396"/>
                <a:gd name="T44" fmla="*/ 123 w 337"/>
                <a:gd name="T45" fmla="*/ 324 h 396"/>
                <a:gd name="T46" fmla="*/ 144 w 337"/>
                <a:gd name="T47" fmla="*/ 332 h 396"/>
                <a:gd name="T48" fmla="*/ 163 w 337"/>
                <a:gd name="T49" fmla="*/ 324 h 396"/>
                <a:gd name="T50" fmla="*/ 184 w 337"/>
                <a:gd name="T51" fmla="*/ 324 h 396"/>
                <a:gd name="T52" fmla="*/ 209 w 337"/>
                <a:gd name="T53" fmla="*/ 350 h 396"/>
                <a:gd name="T54" fmla="*/ 249 w 337"/>
                <a:gd name="T55" fmla="*/ 382 h 396"/>
                <a:gd name="T56" fmla="*/ 259 w 337"/>
                <a:gd name="T57" fmla="*/ 393 h 396"/>
                <a:gd name="T58" fmla="*/ 262 w 337"/>
                <a:gd name="T59" fmla="*/ 372 h 396"/>
                <a:gd name="T60" fmla="*/ 291 w 337"/>
                <a:gd name="T61" fmla="*/ 361 h 396"/>
                <a:gd name="T62" fmla="*/ 313 w 337"/>
                <a:gd name="T63" fmla="*/ 348 h 396"/>
                <a:gd name="T64" fmla="*/ 331 w 337"/>
                <a:gd name="T65" fmla="*/ 308 h 396"/>
                <a:gd name="T66" fmla="*/ 299 w 337"/>
                <a:gd name="T67" fmla="*/ 308 h 396"/>
                <a:gd name="T68" fmla="*/ 281 w 337"/>
                <a:gd name="T69" fmla="*/ 284 h 396"/>
                <a:gd name="T70" fmla="*/ 265 w 337"/>
                <a:gd name="T71" fmla="*/ 267 h 396"/>
                <a:gd name="T72" fmla="*/ 270 w 337"/>
                <a:gd name="T73" fmla="*/ 227 h 396"/>
                <a:gd name="T74" fmla="*/ 249 w 337"/>
                <a:gd name="T75" fmla="*/ 198 h 396"/>
                <a:gd name="T76" fmla="*/ 257 w 337"/>
                <a:gd name="T77" fmla="*/ 177 h 396"/>
                <a:gd name="T78" fmla="*/ 289 w 337"/>
                <a:gd name="T79" fmla="*/ 171 h 396"/>
                <a:gd name="T80" fmla="*/ 305 w 337"/>
                <a:gd name="T81" fmla="*/ 174 h 396"/>
                <a:gd name="T82" fmla="*/ 323 w 337"/>
                <a:gd name="T83" fmla="*/ 158 h 396"/>
                <a:gd name="T84" fmla="*/ 321 w 337"/>
                <a:gd name="T85" fmla="*/ 139 h 396"/>
                <a:gd name="T86" fmla="*/ 310 w 337"/>
                <a:gd name="T87" fmla="*/ 115 h 396"/>
                <a:gd name="T88" fmla="*/ 313 w 337"/>
                <a:gd name="T89" fmla="*/ 94 h 396"/>
                <a:gd name="T90" fmla="*/ 331 w 337"/>
                <a:gd name="T91" fmla="*/ 75 h 396"/>
                <a:gd name="T92" fmla="*/ 331 w 337"/>
                <a:gd name="T93" fmla="*/ 40 h 396"/>
                <a:gd name="T94" fmla="*/ 323 w 337"/>
                <a:gd name="T95" fmla="*/ 16 h 396"/>
                <a:gd name="T96" fmla="*/ 313 w 337"/>
                <a:gd name="T97" fmla="*/ 14 h 396"/>
                <a:gd name="T98" fmla="*/ 278 w 337"/>
                <a:gd name="T99" fmla="*/ 24 h 396"/>
                <a:gd name="T100" fmla="*/ 241 w 337"/>
                <a:gd name="T101" fmla="*/ 11 h 396"/>
                <a:gd name="T102" fmla="*/ 219 w 337"/>
                <a:gd name="T103" fmla="*/ 14 h 396"/>
                <a:gd name="T104" fmla="*/ 203 w 337"/>
                <a:gd name="T105" fmla="*/ 35 h 396"/>
                <a:gd name="T106" fmla="*/ 179 w 337"/>
                <a:gd name="T107" fmla="*/ 32 h 396"/>
                <a:gd name="T108" fmla="*/ 176 w 337"/>
                <a:gd name="T109" fmla="*/ 51 h 396"/>
                <a:gd name="T110" fmla="*/ 174 w 337"/>
                <a:gd name="T111" fmla="*/ 54 h 396"/>
                <a:gd name="T112" fmla="*/ 158 w 337"/>
                <a:gd name="T113" fmla="*/ 64 h 396"/>
                <a:gd name="T114" fmla="*/ 158 w 337"/>
                <a:gd name="T115" fmla="*/ 80 h 396"/>
                <a:gd name="T116" fmla="*/ 147 w 337"/>
                <a:gd name="T117" fmla="*/ 94 h 396"/>
                <a:gd name="T118" fmla="*/ 142 w 337"/>
                <a:gd name="T119" fmla="*/ 107 h 396"/>
                <a:gd name="T120" fmla="*/ 126 w 337"/>
                <a:gd name="T121" fmla="*/ 118 h 396"/>
                <a:gd name="T122" fmla="*/ 99 w 337"/>
                <a:gd name="T123" fmla="*/ 115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7" h="396" extrusionOk="0">
                  <a:moveTo>
                    <a:pt x="83" y="99"/>
                  </a:moveTo>
                  <a:lnTo>
                    <a:pt x="75" y="91"/>
                  </a:lnTo>
                  <a:lnTo>
                    <a:pt x="72" y="91"/>
                  </a:lnTo>
                  <a:lnTo>
                    <a:pt x="70" y="91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67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59" y="99"/>
                  </a:lnTo>
                  <a:lnTo>
                    <a:pt x="59" y="102"/>
                  </a:lnTo>
                  <a:lnTo>
                    <a:pt x="56" y="102"/>
                  </a:lnTo>
                  <a:lnTo>
                    <a:pt x="56" y="99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48" y="99"/>
                  </a:lnTo>
                  <a:lnTo>
                    <a:pt x="46" y="99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5" y="94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30" y="91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4" y="99"/>
                  </a:lnTo>
                  <a:lnTo>
                    <a:pt x="22" y="102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4" y="107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11" y="110"/>
                  </a:lnTo>
                  <a:lnTo>
                    <a:pt x="11" y="112"/>
                  </a:lnTo>
                  <a:lnTo>
                    <a:pt x="14" y="112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1" y="115"/>
                  </a:lnTo>
                  <a:lnTo>
                    <a:pt x="11" y="118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6" y="123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22" y="126"/>
                  </a:lnTo>
                  <a:lnTo>
                    <a:pt x="27" y="129"/>
                  </a:lnTo>
                  <a:lnTo>
                    <a:pt x="30" y="129"/>
                  </a:lnTo>
                  <a:lnTo>
                    <a:pt x="32" y="129"/>
                  </a:lnTo>
                  <a:lnTo>
                    <a:pt x="32" y="131"/>
                  </a:lnTo>
                  <a:lnTo>
                    <a:pt x="35" y="134"/>
                  </a:lnTo>
                  <a:lnTo>
                    <a:pt x="38" y="134"/>
                  </a:lnTo>
                  <a:lnTo>
                    <a:pt x="38" y="131"/>
                  </a:lnTo>
                  <a:lnTo>
                    <a:pt x="40" y="131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35" y="137"/>
                  </a:lnTo>
                  <a:lnTo>
                    <a:pt x="35" y="134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9" y="134"/>
                  </a:lnTo>
                  <a:lnTo>
                    <a:pt x="19" y="134"/>
                  </a:lnTo>
                  <a:lnTo>
                    <a:pt x="19" y="137"/>
                  </a:lnTo>
                  <a:lnTo>
                    <a:pt x="19" y="137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7" y="139"/>
                  </a:lnTo>
                  <a:lnTo>
                    <a:pt x="30" y="139"/>
                  </a:lnTo>
                  <a:lnTo>
                    <a:pt x="32" y="139"/>
                  </a:lnTo>
                  <a:lnTo>
                    <a:pt x="32" y="142"/>
                  </a:lnTo>
                  <a:lnTo>
                    <a:pt x="35" y="145"/>
                  </a:lnTo>
                  <a:lnTo>
                    <a:pt x="35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5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3" y="142"/>
                  </a:lnTo>
                  <a:lnTo>
                    <a:pt x="43" y="139"/>
                  </a:lnTo>
                  <a:lnTo>
                    <a:pt x="46" y="139"/>
                  </a:lnTo>
                  <a:lnTo>
                    <a:pt x="46" y="139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4" y="142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4" y="145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5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4" y="158"/>
                  </a:lnTo>
                  <a:lnTo>
                    <a:pt x="54" y="161"/>
                  </a:lnTo>
                  <a:lnTo>
                    <a:pt x="54" y="161"/>
                  </a:lnTo>
                  <a:lnTo>
                    <a:pt x="51" y="161"/>
                  </a:lnTo>
                  <a:lnTo>
                    <a:pt x="51" y="163"/>
                  </a:lnTo>
                  <a:lnTo>
                    <a:pt x="51" y="163"/>
                  </a:lnTo>
                  <a:lnTo>
                    <a:pt x="51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51" y="169"/>
                  </a:lnTo>
                  <a:lnTo>
                    <a:pt x="51" y="169"/>
                  </a:lnTo>
                  <a:lnTo>
                    <a:pt x="51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6" y="169"/>
                  </a:lnTo>
                  <a:lnTo>
                    <a:pt x="46" y="169"/>
                  </a:lnTo>
                  <a:lnTo>
                    <a:pt x="46" y="169"/>
                  </a:lnTo>
                  <a:lnTo>
                    <a:pt x="46" y="166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8" y="161"/>
                  </a:lnTo>
                  <a:lnTo>
                    <a:pt x="38" y="161"/>
                  </a:lnTo>
                  <a:lnTo>
                    <a:pt x="35" y="161"/>
                  </a:lnTo>
                  <a:lnTo>
                    <a:pt x="35" y="161"/>
                  </a:lnTo>
                  <a:lnTo>
                    <a:pt x="32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27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1"/>
                  </a:lnTo>
                  <a:lnTo>
                    <a:pt x="16" y="161"/>
                  </a:lnTo>
                  <a:lnTo>
                    <a:pt x="14" y="161"/>
                  </a:lnTo>
                  <a:lnTo>
                    <a:pt x="14" y="161"/>
                  </a:lnTo>
                  <a:lnTo>
                    <a:pt x="11" y="161"/>
                  </a:lnTo>
                  <a:lnTo>
                    <a:pt x="11" y="161"/>
                  </a:lnTo>
                  <a:lnTo>
                    <a:pt x="8" y="161"/>
                  </a:lnTo>
                  <a:lnTo>
                    <a:pt x="8" y="158"/>
                  </a:lnTo>
                  <a:lnTo>
                    <a:pt x="6" y="161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9" y="171"/>
                  </a:lnTo>
                  <a:lnTo>
                    <a:pt x="19" y="171"/>
                  </a:lnTo>
                  <a:lnTo>
                    <a:pt x="16" y="171"/>
                  </a:lnTo>
                  <a:lnTo>
                    <a:pt x="11" y="177"/>
                  </a:lnTo>
                  <a:lnTo>
                    <a:pt x="8" y="177"/>
                  </a:lnTo>
                  <a:lnTo>
                    <a:pt x="0" y="187"/>
                  </a:lnTo>
                  <a:lnTo>
                    <a:pt x="0" y="190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8" y="187"/>
                  </a:lnTo>
                  <a:lnTo>
                    <a:pt x="11" y="190"/>
                  </a:lnTo>
                  <a:lnTo>
                    <a:pt x="11" y="190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1" y="193"/>
                  </a:lnTo>
                  <a:lnTo>
                    <a:pt x="11" y="195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9" y="195"/>
                  </a:lnTo>
                  <a:lnTo>
                    <a:pt x="19" y="195"/>
                  </a:lnTo>
                  <a:lnTo>
                    <a:pt x="19" y="198"/>
                  </a:lnTo>
                  <a:lnTo>
                    <a:pt x="24" y="193"/>
                  </a:lnTo>
                  <a:lnTo>
                    <a:pt x="27" y="195"/>
                  </a:lnTo>
                  <a:lnTo>
                    <a:pt x="32" y="187"/>
                  </a:lnTo>
                  <a:lnTo>
                    <a:pt x="38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6" y="193"/>
                  </a:lnTo>
                  <a:lnTo>
                    <a:pt x="46" y="195"/>
                  </a:lnTo>
                  <a:lnTo>
                    <a:pt x="48" y="195"/>
                  </a:lnTo>
                  <a:lnTo>
                    <a:pt x="48" y="198"/>
                  </a:lnTo>
                  <a:lnTo>
                    <a:pt x="62" y="209"/>
                  </a:lnTo>
                  <a:lnTo>
                    <a:pt x="62" y="211"/>
                  </a:lnTo>
                  <a:lnTo>
                    <a:pt x="72" y="217"/>
                  </a:lnTo>
                  <a:lnTo>
                    <a:pt x="72" y="219"/>
                  </a:lnTo>
                  <a:lnTo>
                    <a:pt x="72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2"/>
                  </a:lnTo>
                  <a:lnTo>
                    <a:pt x="75" y="225"/>
                  </a:lnTo>
                  <a:lnTo>
                    <a:pt x="75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7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4" y="230"/>
                  </a:lnTo>
                  <a:lnTo>
                    <a:pt x="62" y="233"/>
                  </a:lnTo>
                  <a:lnTo>
                    <a:pt x="62" y="235"/>
                  </a:lnTo>
                  <a:lnTo>
                    <a:pt x="70" y="241"/>
                  </a:lnTo>
                  <a:lnTo>
                    <a:pt x="67" y="243"/>
                  </a:lnTo>
                  <a:lnTo>
                    <a:pt x="67" y="246"/>
                  </a:lnTo>
                  <a:lnTo>
                    <a:pt x="67" y="249"/>
                  </a:lnTo>
                  <a:lnTo>
                    <a:pt x="70" y="251"/>
                  </a:lnTo>
                  <a:lnTo>
                    <a:pt x="64" y="254"/>
                  </a:lnTo>
                  <a:lnTo>
                    <a:pt x="64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59" y="257"/>
                  </a:lnTo>
                  <a:lnTo>
                    <a:pt x="62" y="257"/>
                  </a:lnTo>
                  <a:lnTo>
                    <a:pt x="62" y="259"/>
                  </a:lnTo>
                  <a:lnTo>
                    <a:pt x="64" y="262"/>
                  </a:lnTo>
                  <a:lnTo>
                    <a:pt x="62" y="265"/>
                  </a:lnTo>
                  <a:lnTo>
                    <a:pt x="72" y="275"/>
                  </a:lnTo>
                  <a:lnTo>
                    <a:pt x="75" y="273"/>
                  </a:lnTo>
                  <a:lnTo>
                    <a:pt x="83" y="278"/>
                  </a:lnTo>
                  <a:lnTo>
                    <a:pt x="80" y="284"/>
                  </a:lnTo>
                  <a:lnTo>
                    <a:pt x="83" y="286"/>
                  </a:lnTo>
                  <a:lnTo>
                    <a:pt x="91" y="292"/>
                  </a:lnTo>
                  <a:lnTo>
                    <a:pt x="94" y="286"/>
                  </a:lnTo>
                  <a:lnTo>
                    <a:pt x="96" y="286"/>
                  </a:lnTo>
                  <a:lnTo>
                    <a:pt x="99" y="289"/>
                  </a:lnTo>
                  <a:lnTo>
                    <a:pt x="94" y="294"/>
                  </a:lnTo>
                  <a:lnTo>
                    <a:pt x="91" y="294"/>
                  </a:lnTo>
                  <a:lnTo>
                    <a:pt x="88" y="302"/>
                  </a:lnTo>
                  <a:lnTo>
                    <a:pt x="91" y="305"/>
                  </a:lnTo>
                  <a:lnTo>
                    <a:pt x="91" y="308"/>
                  </a:lnTo>
                  <a:lnTo>
                    <a:pt x="94" y="310"/>
                  </a:lnTo>
                  <a:lnTo>
                    <a:pt x="91" y="310"/>
                  </a:lnTo>
                  <a:lnTo>
                    <a:pt x="91" y="313"/>
                  </a:lnTo>
                  <a:lnTo>
                    <a:pt x="91" y="313"/>
                  </a:lnTo>
                  <a:lnTo>
                    <a:pt x="91" y="316"/>
                  </a:lnTo>
                  <a:lnTo>
                    <a:pt x="88" y="318"/>
                  </a:lnTo>
                  <a:lnTo>
                    <a:pt x="91" y="318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91" y="324"/>
                  </a:lnTo>
                  <a:lnTo>
                    <a:pt x="91" y="324"/>
                  </a:lnTo>
                  <a:lnTo>
                    <a:pt x="91" y="324"/>
                  </a:lnTo>
                  <a:lnTo>
                    <a:pt x="94" y="326"/>
                  </a:lnTo>
                  <a:lnTo>
                    <a:pt x="96" y="326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2" y="329"/>
                  </a:lnTo>
                  <a:lnTo>
                    <a:pt x="104" y="326"/>
                  </a:lnTo>
                  <a:lnTo>
                    <a:pt x="104" y="329"/>
                  </a:lnTo>
                  <a:lnTo>
                    <a:pt x="107" y="329"/>
                  </a:lnTo>
                  <a:lnTo>
                    <a:pt x="107" y="329"/>
                  </a:lnTo>
                  <a:lnTo>
                    <a:pt x="110" y="329"/>
                  </a:lnTo>
                  <a:lnTo>
                    <a:pt x="110" y="332"/>
                  </a:lnTo>
                  <a:lnTo>
                    <a:pt x="112" y="334"/>
                  </a:lnTo>
                  <a:lnTo>
                    <a:pt x="115" y="337"/>
                  </a:lnTo>
                  <a:lnTo>
                    <a:pt x="118" y="337"/>
                  </a:lnTo>
                  <a:lnTo>
                    <a:pt x="118" y="337"/>
                  </a:lnTo>
                  <a:lnTo>
                    <a:pt x="120" y="340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23" y="334"/>
                  </a:lnTo>
                  <a:lnTo>
                    <a:pt x="123" y="332"/>
                  </a:lnTo>
                  <a:lnTo>
                    <a:pt x="123" y="332"/>
                  </a:lnTo>
                  <a:lnTo>
                    <a:pt x="123" y="329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4"/>
                  </a:lnTo>
                  <a:lnTo>
                    <a:pt x="123" y="324"/>
                  </a:lnTo>
                  <a:lnTo>
                    <a:pt x="126" y="321"/>
                  </a:lnTo>
                  <a:lnTo>
                    <a:pt x="128" y="321"/>
                  </a:lnTo>
                  <a:lnTo>
                    <a:pt x="128" y="321"/>
                  </a:lnTo>
                  <a:lnTo>
                    <a:pt x="131" y="321"/>
                  </a:lnTo>
                  <a:lnTo>
                    <a:pt x="131" y="321"/>
                  </a:lnTo>
                  <a:lnTo>
                    <a:pt x="131" y="324"/>
                  </a:lnTo>
                  <a:lnTo>
                    <a:pt x="131" y="324"/>
                  </a:lnTo>
                  <a:lnTo>
                    <a:pt x="134" y="332"/>
                  </a:lnTo>
                  <a:lnTo>
                    <a:pt x="136" y="332"/>
                  </a:lnTo>
                  <a:lnTo>
                    <a:pt x="136" y="332"/>
                  </a:lnTo>
                  <a:lnTo>
                    <a:pt x="139" y="332"/>
                  </a:lnTo>
                  <a:lnTo>
                    <a:pt x="144" y="332"/>
                  </a:lnTo>
                  <a:lnTo>
                    <a:pt x="144" y="332"/>
                  </a:lnTo>
                  <a:lnTo>
                    <a:pt x="144" y="332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4" y="326"/>
                  </a:lnTo>
                  <a:lnTo>
                    <a:pt x="144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50" y="324"/>
                  </a:lnTo>
                  <a:lnTo>
                    <a:pt x="150" y="324"/>
                  </a:lnTo>
                  <a:lnTo>
                    <a:pt x="163" y="332"/>
                  </a:lnTo>
                  <a:lnTo>
                    <a:pt x="163" y="329"/>
                  </a:lnTo>
                  <a:lnTo>
                    <a:pt x="166" y="329"/>
                  </a:lnTo>
                  <a:lnTo>
                    <a:pt x="166" y="326"/>
                  </a:lnTo>
                  <a:lnTo>
                    <a:pt x="166" y="326"/>
                  </a:lnTo>
                  <a:lnTo>
                    <a:pt x="163" y="324"/>
                  </a:lnTo>
                  <a:lnTo>
                    <a:pt x="163" y="324"/>
                  </a:lnTo>
                  <a:lnTo>
                    <a:pt x="163" y="324"/>
                  </a:lnTo>
                  <a:lnTo>
                    <a:pt x="163" y="321"/>
                  </a:lnTo>
                  <a:lnTo>
                    <a:pt x="163" y="316"/>
                  </a:lnTo>
                  <a:lnTo>
                    <a:pt x="163" y="313"/>
                  </a:lnTo>
                  <a:lnTo>
                    <a:pt x="166" y="310"/>
                  </a:lnTo>
                  <a:lnTo>
                    <a:pt x="166" y="310"/>
                  </a:lnTo>
                  <a:lnTo>
                    <a:pt x="171" y="310"/>
                  </a:lnTo>
                  <a:lnTo>
                    <a:pt x="174" y="310"/>
                  </a:lnTo>
                  <a:lnTo>
                    <a:pt x="174" y="313"/>
                  </a:lnTo>
                  <a:lnTo>
                    <a:pt x="176" y="313"/>
                  </a:lnTo>
                  <a:lnTo>
                    <a:pt x="176" y="318"/>
                  </a:lnTo>
                  <a:lnTo>
                    <a:pt x="179" y="318"/>
                  </a:lnTo>
                  <a:lnTo>
                    <a:pt x="179" y="321"/>
                  </a:lnTo>
                  <a:lnTo>
                    <a:pt x="184" y="324"/>
                  </a:lnTo>
                  <a:lnTo>
                    <a:pt x="184" y="326"/>
                  </a:lnTo>
                  <a:lnTo>
                    <a:pt x="182" y="329"/>
                  </a:lnTo>
                  <a:lnTo>
                    <a:pt x="184" y="329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7" y="334"/>
                  </a:lnTo>
                  <a:lnTo>
                    <a:pt x="184" y="340"/>
                  </a:lnTo>
                  <a:lnTo>
                    <a:pt x="187" y="342"/>
                  </a:lnTo>
                  <a:lnTo>
                    <a:pt x="190" y="345"/>
                  </a:lnTo>
                  <a:lnTo>
                    <a:pt x="192" y="345"/>
                  </a:lnTo>
                  <a:lnTo>
                    <a:pt x="192" y="348"/>
                  </a:lnTo>
                  <a:lnTo>
                    <a:pt x="195" y="350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209" y="350"/>
                  </a:lnTo>
                  <a:lnTo>
                    <a:pt x="214" y="385"/>
                  </a:lnTo>
                  <a:lnTo>
                    <a:pt x="225" y="393"/>
                  </a:lnTo>
                  <a:lnTo>
                    <a:pt x="227" y="393"/>
                  </a:lnTo>
                  <a:lnTo>
                    <a:pt x="230" y="393"/>
                  </a:lnTo>
                  <a:lnTo>
                    <a:pt x="230" y="393"/>
                  </a:lnTo>
                  <a:lnTo>
                    <a:pt x="233" y="393"/>
                  </a:lnTo>
                  <a:lnTo>
                    <a:pt x="235" y="390"/>
                  </a:lnTo>
                  <a:lnTo>
                    <a:pt x="238" y="390"/>
                  </a:lnTo>
                  <a:lnTo>
                    <a:pt x="241" y="388"/>
                  </a:lnTo>
                  <a:lnTo>
                    <a:pt x="243" y="388"/>
                  </a:lnTo>
                  <a:lnTo>
                    <a:pt x="246" y="385"/>
                  </a:lnTo>
                  <a:lnTo>
                    <a:pt x="246" y="385"/>
                  </a:lnTo>
                  <a:lnTo>
                    <a:pt x="249" y="385"/>
                  </a:lnTo>
                  <a:lnTo>
                    <a:pt x="249" y="382"/>
                  </a:lnTo>
                  <a:lnTo>
                    <a:pt x="249" y="382"/>
                  </a:lnTo>
                  <a:lnTo>
                    <a:pt x="251" y="382"/>
                  </a:lnTo>
                  <a:lnTo>
                    <a:pt x="251" y="385"/>
                  </a:lnTo>
                  <a:lnTo>
                    <a:pt x="251" y="385"/>
                  </a:lnTo>
                  <a:lnTo>
                    <a:pt x="251" y="388"/>
                  </a:lnTo>
                  <a:lnTo>
                    <a:pt x="251" y="390"/>
                  </a:lnTo>
                  <a:lnTo>
                    <a:pt x="251" y="393"/>
                  </a:lnTo>
                  <a:lnTo>
                    <a:pt x="251" y="393"/>
                  </a:lnTo>
                  <a:lnTo>
                    <a:pt x="249" y="393"/>
                  </a:lnTo>
                  <a:lnTo>
                    <a:pt x="249" y="396"/>
                  </a:lnTo>
                  <a:lnTo>
                    <a:pt x="251" y="396"/>
                  </a:lnTo>
                  <a:lnTo>
                    <a:pt x="251" y="396"/>
                  </a:lnTo>
                  <a:lnTo>
                    <a:pt x="254" y="396"/>
                  </a:lnTo>
                  <a:lnTo>
                    <a:pt x="254" y="396"/>
                  </a:lnTo>
                  <a:lnTo>
                    <a:pt x="257" y="396"/>
                  </a:lnTo>
                  <a:lnTo>
                    <a:pt x="259" y="393"/>
                  </a:lnTo>
                  <a:lnTo>
                    <a:pt x="259" y="390"/>
                  </a:lnTo>
                  <a:lnTo>
                    <a:pt x="259" y="390"/>
                  </a:lnTo>
                  <a:lnTo>
                    <a:pt x="259" y="388"/>
                  </a:lnTo>
                  <a:lnTo>
                    <a:pt x="259" y="385"/>
                  </a:lnTo>
                  <a:lnTo>
                    <a:pt x="259" y="385"/>
                  </a:lnTo>
                  <a:lnTo>
                    <a:pt x="262" y="385"/>
                  </a:lnTo>
                  <a:lnTo>
                    <a:pt x="262" y="382"/>
                  </a:lnTo>
                  <a:lnTo>
                    <a:pt x="265" y="380"/>
                  </a:lnTo>
                  <a:lnTo>
                    <a:pt x="265" y="380"/>
                  </a:lnTo>
                  <a:lnTo>
                    <a:pt x="267" y="380"/>
                  </a:lnTo>
                  <a:lnTo>
                    <a:pt x="267" y="377"/>
                  </a:lnTo>
                  <a:lnTo>
                    <a:pt x="265" y="374"/>
                  </a:lnTo>
                  <a:lnTo>
                    <a:pt x="265" y="372"/>
                  </a:lnTo>
                  <a:lnTo>
                    <a:pt x="262" y="372"/>
                  </a:lnTo>
                  <a:lnTo>
                    <a:pt x="262" y="372"/>
                  </a:lnTo>
                  <a:lnTo>
                    <a:pt x="265" y="369"/>
                  </a:lnTo>
                  <a:lnTo>
                    <a:pt x="267" y="369"/>
                  </a:lnTo>
                  <a:lnTo>
                    <a:pt x="270" y="369"/>
                  </a:lnTo>
                  <a:lnTo>
                    <a:pt x="273" y="366"/>
                  </a:lnTo>
                  <a:lnTo>
                    <a:pt x="273" y="366"/>
                  </a:lnTo>
                  <a:lnTo>
                    <a:pt x="273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8" y="364"/>
                  </a:lnTo>
                  <a:lnTo>
                    <a:pt x="283" y="364"/>
                  </a:lnTo>
                  <a:lnTo>
                    <a:pt x="283" y="364"/>
                  </a:lnTo>
                  <a:lnTo>
                    <a:pt x="286" y="361"/>
                  </a:lnTo>
                  <a:lnTo>
                    <a:pt x="286" y="361"/>
                  </a:lnTo>
                  <a:lnTo>
                    <a:pt x="289" y="361"/>
                  </a:lnTo>
                  <a:lnTo>
                    <a:pt x="291" y="361"/>
                  </a:lnTo>
                  <a:lnTo>
                    <a:pt x="291" y="361"/>
                  </a:lnTo>
                  <a:lnTo>
                    <a:pt x="291" y="361"/>
                  </a:lnTo>
                  <a:lnTo>
                    <a:pt x="294" y="361"/>
                  </a:lnTo>
                  <a:lnTo>
                    <a:pt x="297" y="361"/>
                  </a:lnTo>
                  <a:lnTo>
                    <a:pt x="299" y="361"/>
                  </a:lnTo>
                  <a:lnTo>
                    <a:pt x="302" y="361"/>
                  </a:lnTo>
                  <a:lnTo>
                    <a:pt x="302" y="361"/>
                  </a:lnTo>
                  <a:lnTo>
                    <a:pt x="305" y="361"/>
                  </a:lnTo>
                  <a:lnTo>
                    <a:pt x="305" y="361"/>
                  </a:lnTo>
                  <a:lnTo>
                    <a:pt x="302" y="358"/>
                  </a:lnTo>
                  <a:lnTo>
                    <a:pt x="305" y="358"/>
                  </a:lnTo>
                  <a:lnTo>
                    <a:pt x="307" y="356"/>
                  </a:lnTo>
                  <a:lnTo>
                    <a:pt x="310" y="353"/>
                  </a:lnTo>
                  <a:lnTo>
                    <a:pt x="313" y="350"/>
                  </a:lnTo>
                  <a:lnTo>
                    <a:pt x="313" y="348"/>
                  </a:lnTo>
                  <a:lnTo>
                    <a:pt x="315" y="345"/>
                  </a:lnTo>
                  <a:lnTo>
                    <a:pt x="318" y="340"/>
                  </a:lnTo>
                  <a:lnTo>
                    <a:pt x="321" y="337"/>
                  </a:lnTo>
                  <a:lnTo>
                    <a:pt x="323" y="334"/>
                  </a:lnTo>
                  <a:lnTo>
                    <a:pt x="326" y="332"/>
                  </a:lnTo>
                  <a:lnTo>
                    <a:pt x="329" y="329"/>
                  </a:lnTo>
                  <a:lnTo>
                    <a:pt x="329" y="326"/>
                  </a:lnTo>
                  <a:lnTo>
                    <a:pt x="331" y="321"/>
                  </a:lnTo>
                  <a:lnTo>
                    <a:pt x="331" y="321"/>
                  </a:lnTo>
                  <a:lnTo>
                    <a:pt x="334" y="318"/>
                  </a:lnTo>
                  <a:lnTo>
                    <a:pt x="334" y="318"/>
                  </a:lnTo>
                  <a:lnTo>
                    <a:pt x="329" y="313"/>
                  </a:lnTo>
                  <a:lnTo>
                    <a:pt x="334" y="308"/>
                  </a:lnTo>
                  <a:lnTo>
                    <a:pt x="331" y="308"/>
                  </a:lnTo>
                  <a:lnTo>
                    <a:pt x="331" y="308"/>
                  </a:lnTo>
                  <a:lnTo>
                    <a:pt x="329" y="305"/>
                  </a:lnTo>
                  <a:lnTo>
                    <a:pt x="321" y="316"/>
                  </a:lnTo>
                  <a:lnTo>
                    <a:pt x="313" y="313"/>
                  </a:lnTo>
                  <a:lnTo>
                    <a:pt x="310" y="313"/>
                  </a:lnTo>
                  <a:lnTo>
                    <a:pt x="307" y="313"/>
                  </a:lnTo>
                  <a:lnTo>
                    <a:pt x="307" y="316"/>
                  </a:lnTo>
                  <a:lnTo>
                    <a:pt x="305" y="316"/>
                  </a:lnTo>
                  <a:lnTo>
                    <a:pt x="305" y="318"/>
                  </a:lnTo>
                  <a:lnTo>
                    <a:pt x="305" y="318"/>
                  </a:lnTo>
                  <a:lnTo>
                    <a:pt x="302" y="321"/>
                  </a:lnTo>
                  <a:lnTo>
                    <a:pt x="297" y="316"/>
                  </a:lnTo>
                  <a:lnTo>
                    <a:pt x="297" y="313"/>
                  </a:lnTo>
                  <a:lnTo>
                    <a:pt x="297" y="313"/>
                  </a:lnTo>
                  <a:lnTo>
                    <a:pt x="299" y="310"/>
                  </a:lnTo>
                  <a:lnTo>
                    <a:pt x="299" y="308"/>
                  </a:lnTo>
                  <a:lnTo>
                    <a:pt x="299" y="302"/>
                  </a:lnTo>
                  <a:lnTo>
                    <a:pt x="302" y="300"/>
                  </a:lnTo>
                  <a:lnTo>
                    <a:pt x="302" y="297"/>
                  </a:lnTo>
                  <a:lnTo>
                    <a:pt x="299" y="297"/>
                  </a:lnTo>
                  <a:lnTo>
                    <a:pt x="297" y="297"/>
                  </a:lnTo>
                  <a:lnTo>
                    <a:pt x="297" y="297"/>
                  </a:lnTo>
                  <a:lnTo>
                    <a:pt x="297" y="294"/>
                  </a:lnTo>
                  <a:lnTo>
                    <a:pt x="297" y="292"/>
                  </a:lnTo>
                  <a:lnTo>
                    <a:pt x="297" y="292"/>
                  </a:lnTo>
                  <a:lnTo>
                    <a:pt x="294" y="289"/>
                  </a:lnTo>
                  <a:lnTo>
                    <a:pt x="294" y="289"/>
                  </a:lnTo>
                  <a:lnTo>
                    <a:pt x="289" y="286"/>
                  </a:lnTo>
                  <a:lnTo>
                    <a:pt x="286" y="286"/>
                  </a:lnTo>
                  <a:lnTo>
                    <a:pt x="283" y="284"/>
                  </a:lnTo>
                  <a:lnTo>
                    <a:pt x="281" y="284"/>
                  </a:lnTo>
                  <a:lnTo>
                    <a:pt x="278" y="284"/>
                  </a:lnTo>
                  <a:lnTo>
                    <a:pt x="275" y="281"/>
                  </a:lnTo>
                  <a:lnTo>
                    <a:pt x="273" y="281"/>
                  </a:lnTo>
                  <a:lnTo>
                    <a:pt x="273" y="278"/>
                  </a:lnTo>
                  <a:lnTo>
                    <a:pt x="273" y="278"/>
                  </a:lnTo>
                  <a:lnTo>
                    <a:pt x="275" y="275"/>
                  </a:lnTo>
                  <a:lnTo>
                    <a:pt x="275" y="273"/>
                  </a:lnTo>
                  <a:lnTo>
                    <a:pt x="275" y="270"/>
                  </a:lnTo>
                  <a:lnTo>
                    <a:pt x="278" y="270"/>
                  </a:lnTo>
                  <a:lnTo>
                    <a:pt x="278" y="270"/>
                  </a:lnTo>
                  <a:lnTo>
                    <a:pt x="273" y="265"/>
                  </a:lnTo>
                  <a:lnTo>
                    <a:pt x="270" y="267"/>
                  </a:lnTo>
                  <a:lnTo>
                    <a:pt x="267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2" y="267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65" y="262"/>
                  </a:lnTo>
                  <a:lnTo>
                    <a:pt x="265" y="259"/>
                  </a:lnTo>
                  <a:lnTo>
                    <a:pt x="265" y="257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7" y="249"/>
                  </a:lnTo>
                  <a:lnTo>
                    <a:pt x="267" y="246"/>
                  </a:lnTo>
                  <a:lnTo>
                    <a:pt x="267" y="241"/>
                  </a:lnTo>
                  <a:lnTo>
                    <a:pt x="273" y="227"/>
                  </a:lnTo>
                  <a:lnTo>
                    <a:pt x="270" y="227"/>
                  </a:lnTo>
                  <a:lnTo>
                    <a:pt x="270" y="227"/>
                  </a:lnTo>
                  <a:lnTo>
                    <a:pt x="270" y="225"/>
                  </a:lnTo>
                  <a:lnTo>
                    <a:pt x="267" y="222"/>
                  </a:lnTo>
                  <a:lnTo>
                    <a:pt x="267" y="219"/>
                  </a:lnTo>
                  <a:lnTo>
                    <a:pt x="267" y="217"/>
                  </a:lnTo>
                  <a:lnTo>
                    <a:pt x="267" y="214"/>
                  </a:lnTo>
                  <a:lnTo>
                    <a:pt x="267" y="211"/>
                  </a:lnTo>
                  <a:lnTo>
                    <a:pt x="262" y="209"/>
                  </a:lnTo>
                  <a:lnTo>
                    <a:pt x="262" y="206"/>
                  </a:lnTo>
                  <a:lnTo>
                    <a:pt x="259" y="206"/>
                  </a:lnTo>
                  <a:lnTo>
                    <a:pt x="257" y="206"/>
                  </a:lnTo>
                  <a:lnTo>
                    <a:pt x="257" y="203"/>
                  </a:lnTo>
                  <a:lnTo>
                    <a:pt x="254" y="201"/>
                  </a:lnTo>
                  <a:lnTo>
                    <a:pt x="251" y="201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6" y="198"/>
                  </a:lnTo>
                  <a:lnTo>
                    <a:pt x="246" y="195"/>
                  </a:lnTo>
                  <a:lnTo>
                    <a:pt x="243" y="195"/>
                  </a:lnTo>
                  <a:lnTo>
                    <a:pt x="243" y="195"/>
                  </a:lnTo>
                  <a:lnTo>
                    <a:pt x="243" y="193"/>
                  </a:lnTo>
                  <a:lnTo>
                    <a:pt x="246" y="193"/>
                  </a:lnTo>
                  <a:lnTo>
                    <a:pt x="246" y="187"/>
                  </a:lnTo>
                  <a:lnTo>
                    <a:pt x="249" y="187"/>
                  </a:lnTo>
                  <a:lnTo>
                    <a:pt x="249" y="185"/>
                  </a:lnTo>
                  <a:lnTo>
                    <a:pt x="251" y="187"/>
                  </a:lnTo>
                  <a:lnTo>
                    <a:pt x="251" y="187"/>
                  </a:lnTo>
                  <a:lnTo>
                    <a:pt x="254" y="187"/>
                  </a:lnTo>
                  <a:lnTo>
                    <a:pt x="257" y="179"/>
                  </a:lnTo>
                  <a:lnTo>
                    <a:pt x="257" y="179"/>
                  </a:lnTo>
                  <a:lnTo>
                    <a:pt x="257" y="177"/>
                  </a:lnTo>
                  <a:lnTo>
                    <a:pt x="262" y="179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7" y="166"/>
                  </a:lnTo>
                  <a:lnTo>
                    <a:pt x="267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73" y="166"/>
                  </a:lnTo>
                  <a:lnTo>
                    <a:pt x="275" y="169"/>
                  </a:lnTo>
                  <a:lnTo>
                    <a:pt x="278" y="166"/>
                  </a:lnTo>
                  <a:lnTo>
                    <a:pt x="283" y="166"/>
                  </a:lnTo>
                  <a:lnTo>
                    <a:pt x="283" y="169"/>
                  </a:lnTo>
                  <a:lnTo>
                    <a:pt x="286" y="169"/>
                  </a:lnTo>
                  <a:lnTo>
                    <a:pt x="286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91" y="171"/>
                  </a:lnTo>
                  <a:lnTo>
                    <a:pt x="291" y="171"/>
                  </a:lnTo>
                  <a:lnTo>
                    <a:pt x="294" y="171"/>
                  </a:lnTo>
                  <a:lnTo>
                    <a:pt x="294" y="174"/>
                  </a:lnTo>
                  <a:lnTo>
                    <a:pt x="297" y="174"/>
                  </a:lnTo>
                  <a:lnTo>
                    <a:pt x="297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5" y="174"/>
                  </a:lnTo>
                  <a:lnTo>
                    <a:pt x="305" y="174"/>
                  </a:lnTo>
                  <a:lnTo>
                    <a:pt x="307" y="174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69"/>
                  </a:lnTo>
                  <a:lnTo>
                    <a:pt x="310" y="166"/>
                  </a:lnTo>
                  <a:lnTo>
                    <a:pt x="310" y="166"/>
                  </a:lnTo>
                  <a:lnTo>
                    <a:pt x="313" y="163"/>
                  </a:lnTo>
                  <a:lnTo>
                    <a:pt x="313" y="163"/>
                  </a:lnTo>
                  <a:lnTo>
                    <a:pt x="315" y="163"/>
                  </a:lnTo>
                  <a:lnTo>
                    <a:pt x="315" y="163"/>
                  </a:lnTo>
                  <a:lnTo>
                    <a:pt x="318" y="163"/>
                  </a:lnTo>
                  <a:lnTo>
                    <a:pt x="321" y="161"/>
                  </a:lnTo>
                  <a:lnTo>
                    <a:pt x="321" y="161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50"/>
                  </a:lnTo>
                  <a:lnTo>
                    <a:pt x="321" y="147"/>
                  </a:lnTo>
                  <a:lnTo>
                    <a:pt x="323" y="147"/>
                  </a:lnTo>
                  <a:lnTo>
                    <a:pt x="323" y="145"/>
                  </a:lnTo>
                  <a:lnTo>
                    <a:pt x="323" y="145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1" y="139"/>
                  </a:lnTo>
                  <a:lnTo>
                    <a:pt x="321" y="139"/>
                  </a:lnTo>
                  <a:lnTo>
                    <a:pt x="321" y="137"/>
                  </a:lnTo>
                  <a:lnTo>
                    <a:pt x="318" y="134"/>
                  </a:lnTo>
                  <a:lnTo>
                    <a:pt x="318" y="131"/>
                  </a:lnTo>
                  <a:lnTo>
                    <a:pt x="318" y="134"/>
                  </a:lnTo>
                  <a:lnTo>
                    <a:pt x="313" y="129"/>
                  </a:lnTo>
                  <a:lnTo>
                    <a:pt x="313" y="129"/>
                  </a:lnTo>
                  <a:lnTo>
                    <a:pt x="315" y="129"/>
                  </a:lnTo>
                  <a:lnTo>
                    <a:pt x="315" y="126"/>
                  </a:lnTo>
                  <a:lnTo>
                    <a:pt x="318" y="123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8" y="118"/>
                  </a:lnTo>
                  <a:lnTo>
                    <a:pt x="315" y="118"/>
                  </a:lnTo>
                  <a:lnTo>
                    <a:pt x="313" y="115"/>
                  </a:lnTo>
                  <a:lnTo>
                    <a:pt x="310" y="115"/>
                  </a:lnTo>
                  <a:lnTo>
                    <a:pt x="307" y="112"/>
                  </a:lnTo>
                  <a:lnTo>
                    <a:pt x="307" y="110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2" y="107"/>
                  </a:lnTo>
                  <a:lnTo>
                    <a:pt x="307" y="107"/>
                  </a:lnTo>
                  <a:lnTo>
                    <a:pt x="305" y="102"/>
                  </a:lnTo>
                  <a:lnTo>
                    <a:pt x="307" y="102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3" y="99"/>
                  </a:lnTo>
                  <a:lnTo>
                    <a:pt x="313" y="99"/>
                  </a:lnTo>
                  <a:lnTo>
                    <a:pt x="313" y="96"/>
                  </a:lnTo>
                  <a:lnTo>
                    <a:pt x="313" y="94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5" y="91"/>
                  </a:lnTo>
                  <a:lnTo>
                    <a:pt x="315" y="88"/>
                  </a:lnTo>
                  <a:lnTo>
                    <a:pt x="315" y="86"/>
                  </a:lnTo>
                  <a:lnTo>
                    <a:pt x="318" y="86"/>
                  </a:lnTo>
                  <a:lnTo>
                    <a:pt x="318" y="86"/>
                  </a:lnTo>
                  <a:lnTo>
                    <a:pt x="321" y="83"/>
                  </a:lnTo>
                  <a:lnTo>
                    <a:pt x="321" y="80"/>
                  </a:lnTo>
                  <a:lnTo>
                    <a:pt x="323" y="83"/>
                  </a:lnTo>
                  <a:lnTo>
                    <a:pt x="326" y="80"/>
                  </a:lnTo>
                  <a:lnTo>
                    <a:pt x="326" y="78"/>
                  </a:lnTo>
                  <a:lnTo>
                    <a:pt x="329" y="78"/>
                  </a:lnTo>
                  <a:lnTo>
                    <a:pt x="329" y="75"/>
                  </a:lnTo>
                  <a:lnTo>
                    <a:pt x="331" y="75"/>
                  </a:lnTo>
                  <a:lnTo>
                    <a:pt x="334" y="72"/>
                  </a:lnTo>
                  <a:lnTo>
                    <a:pt x="337" y="72"/>
                  </a:lnTo>
                  <a:lnTo>
                    <a:pt x="337" y="70"/>
                  </a:lnTo>
                  <a:lnTo>
                    <a:pt x="337" y="70"/>
                  </a:lnTo>
                  <a:lnTo>
                    <a:pt x="337" y="67"/>
                  </a:lnTo>
                  <a:lnTo>
                    <a:pt x="337" y="64"/>
                  </a:lnTo>
                  <a:lnTo>
                    <a:pt x="337" y="62"/>
                  </a:lnTo>
                  <a:lnTo>
                    <a:pt x="337" y="56"/>
                  </a:lnTo>
                  <a:lnTo>
                    <a:pt x="334" y="54"/>
                  </a:lnTo>
                  <a:lnTo>
                    <a:pt x="334" y="48"/>
                  </a:lnTo>
                  <a:lnTo>
                    <a:pt x="334" y="46"/>
                  </a:lnTo>
                  <a:lnTo>
                    <a:pt x="334" y="43"/>
                  </a:lnTo>
                  <a:lnTo>
                    <a:pt x="334" y="40"/>
                  </a:lnTo>
                  <a:lnTo>
                    <a:pt x="331" y="40"/>
                  </a:lnTo>
                  <a:lnTo>
                    <a:pt x="331" y="40"/>
                  </a:lnTo>
                  <a:lnTo>
                    <a:pt x="329" y="40"/>
                  </a:lnTo>
                  <a:lnTo>
                    <a:pt x="329" y="40"/>
                  </a:lnTo>
                  <a:lnTo>
                    <a:pt x="329" y="38"/>
                  </a:lnTo>
                  <a:lnTo>
                    <a:pt x="326" y="35"/>
                  </a:lnTo>
                  <a:lnTo>
                    <a:pt x="326" y="32"/>
                  </a:lnTo>
                  <a:lnTo>
                    <a:pt x="323" y="32"/>
                  </a:lnTo>
                  <a:lnTo>
                    <a:pt x="323" y="30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6" y="24"/>
                  </a:lnTo>
                  <a:lnTo>
                    <a:pt x="326" y="24"/>
                  </a:lnTo>
                  <a:lnTo>
                    <a:pt x="329" y="22"/>
                  </a:lnTo>
                  <a:lnTo>
                    <a:pt x="326" y="22"/>
                  </a:lnTo>
                  <a:lnTo>
                    <a:pt x="326" y="19"/>
                  </a:lnTo>
                  <a:lnTo>
                    <a:pt x="323" y="16"/>
                  </a:lnTo>
                  <a:lnTo>
                    <a:pt x="326" y="8"/>
                  </a:lnTo>
                  <a:lnTo>
                    <a:pt x="326" y="6"/>
                  </a:lnTo>
                  <a:lnTo>
                    <a:pt x="326" y="3"/>
                  </a:lnTo>
                  <a:lnTo>
                    <a:pt x="323" y="0"/>
                  </a:lnTo>
                  <a:lnTo>
                    <a:pt x="318" y="3"/>
                  </a:lnTo>
                  <a:lnTo>
                    <a:pt x="318" y="6"/>
                  </a:lnTo>
                  <a:lnTo>
                    <a:pt x="321" y="6"/>
                  </a:lnTo>
                  <a:lnTo>
                    <a:pt x="321" y="8"/>
                  </a:lnTo>
                  <a:lnTo>
                    <a:pt x="321" y="11"/>
                  </a:lnTo>
                  <a:lnTo>
                    <a:pt x="318" y="14"/>
                  </a:lnTo>
                  <a:lnTo>
                    <a:pt x="318" y="14"/>
                  </a:lnTo>
                  <a:lnTo>
                    <a:pt x="315" y="14"/>
                  </a:lnTo>
                  <a:lnTo>
                    <a:pt x="315" y="11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0" y="14"/>
                  </a:lnTo>
                  <a:lnTo>
                    <a:pt x="307" y="14"/>
                  </a:lnTo>
                  <a:lnTo>
                    <a:pt x="307" y="14"/>
                  </a:lnTo>
                  <a:lnTo>
                    <a:pt x="305" y="11"/>
                  </a:lnTo>
                  <a:lnTo>
                    <a:pt x="305" y="11"/>
                  </a:lnTo>
                  <a:lnTo>
                    <a:pt x="302" y="11"/>
                  </a:lnTo>
                  <a:lnTo>
                    <a:pt x="297" y="14"/>
                  </a:lnTo>
                  <a:lnTo>
                    <a:pt x="297" y="14"/>
                  </a:lnTo>
                  <a:lnTo>
                    <a:pt x="294" y="16"/>
                  </a:lnTo>
                  <a:lnTo>
                    <a:pt x="291" y="16"/>
                  </a:lnTo>
                  <a:lnTo>
                    <a:pt x="289" y="19"/>
                  </a:lnTo>
                  <a:lnTo>
                    <a:pt x="286" y="22"/>
                  </a:lnTo>
                  <a:lnTo>
                    <a:pt x="283" y="22"/>
                  </a:lnTo>
                  <a:lnTo>
                    <a:pt x="283" y="24"/>
                  </a:lnTo>
                  <a:lnTo>
                    <a:pt x="278" y="24"/>
                  </a:lnTo>
                  <a:lnTo>
                    <a:pt x="275" y="27"/>
                  </a:lnTo>
                  <a:lnTo>
                    <a:pt x="267" y="22"/>
                  </a:lnTo>
                  <a:lnTo>
                    <a:pt x="265" y="24"/>
                  </a:lnTo>
                  <a:lnTo>
                    <a:pt x="259" y="19"/>
                  </a:lnTo>
                  <a:lnTo>
                    <a:pt x="257" y="19"/>
                  </a:lnTo>
                  <a:lnTo>
                    <a:pt x="257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1" y="22"/>
                  </a:lnTo>
                  <a:lnTo>
                    <a:pt x="249" y="22"/>
                  </a:lnTo>
                  <a:lnTo>
                    <a:pt x="249" y="19"/>
                  </a:lnTo>
                  <a:lnTo>
                    <a:pt x="246" y="19"/>
                  </a:lnTo>
                  <a:lnTo>
                    <a:pt x="243" y="19"/>
                  </a:lnTo>
                  <a:lnTo>
                    <a:pt x="241" y="14"/>
                  </a:lnTo>
                  <a:lnTo>
                    <a:pt x="241" y="11"/>
                  </a:lnTo>
                  <a:lnTo>
                    <a:pt x="238" y="8"/>
                  </a:lnTo>
                  <a:lnTo>
                    <a:pt x="238" y="8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33" y="8"/>
                  </a:lnTo>
                  <a:lnTo>
                    <a:pt x="233" y="8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27" y="8"/>
                  </a:lnTo>
                  <a:lnTo>
                    <a:pt x="225" y="8"/>
                  </a:lnTo>
                  <a:lnTo>
                    <a:pt x="222" y="8"/>
                  </a:lnTo>
                  <a:lnTo>
                    <a:pt x="222" y="11"/>
                  </a:lnTo>
                  <a:lnTo>
                    <a:pt x="219" y="11"/>
                  </a:lnTo>
                  <a:lnTo>
                    <a:pt x="219" y="14"/>
                  </a:lnTo>
                  <a:lnTo>
                    <a:pt x="219" y="16"/>
                  </a:lnTo>
                  <a:lnTo>
                    <a:pt x="219" y="19"/>
                  </a:lnTo>
                  <a:lnTo>
                    <a:pt x="219" y="24"/>
                  </a:lnTo>
                  <a:lnTo>
                    <a:pt x="219" y="24"/>
                  </a:lnTo>
                  <a:lnTo>
                    <a:pt x="217" y="27"/>
                  </a:lnTo>
                  <a:lnTo>
                    <a:pt x="217" y="27"/>
                  </a:lnTo>
                  <a:lnTo>
                    <a:pt x="217" y="30"/>
                  </a:lnTo>
                  <a:lnTo>
                    <a:pt x="217" y="30"/>
                  </a:lnTo>
                  <a:lnTo>
                    <a:pt x="217" y="32"/>
                  </a:lnTo>
                  <a:lnTo>
                    <a:pt x="217" y="32"/>
                  </a:lnTo>
                  <a:lnTo>
                    <a:pt x="214" y="35"/>
                  </a:lnTo>
                  <a:lnTo>
                    <a:pt x="211" y="35"/>
                  </a:lnTo>
                  <a:lnTo>
                    <a:pt x="209" y="35"/>
                  </a:lnTo>
                  <a:lnTo>
                    <a:pt x="206" y="35"/>
                  </a:lnTo>
                  <a:lnTo>
                    <a:pt x="203" y="35"/>
                  </a:lnTo>
                  <a:lnTo>
                    <a:pt x="200" y="35"/>
                  </a:lnTo>
                  <a:lnTo>
                    <a:pt x="198" y="35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2" y="38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90" y="38"/>
                  </a:lnTo>
                  <a:lnTo>
                    <a:pt x="187" y="38"/>
                  </a:lnTo>
                  <a:lnTo>
                    <a:pt x="184" y="35"/>
                  </a:lnTo>
                  <a:lnTo>
                    <a:pt x="182" y="35"/>
                  </a:lnTo>
                  <a:lnTo>
                    <a:pt x="182" y="35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6" y="35"/>
                  </a:lnTo>
                  <a:lnTo>
                    <a:pt x="174" y="35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6" y="40"/>
                  </a:lnTo>
                  <a:lnTo>
                    <a:pt x="176" y="43"/>
                  </a:lnTo>
                  <a:lnTo>
                    <a:pt x="179" y="43"/>
                  </a:lnTo>
                  <a:lnTo>
                    <a:pt x="179" y="46"/>
                  </a:lnTo>
                  <a:lnTo>
                    <a:pt x="176" y="46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1"/>
                  </a:lnTo>
                  <a:lnTo>
                    <a:pt x="179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82" y="54"/>
                  </a:lnTo>
                  <a:lnTo>
                    <a:pt x="184" y="56"/>
                  </a:lnTo>
                  <a:lnTo>
                    <a:pt x="187" y="56"/>
                  </a:lnTo>
                  <a:lnTo>
                    <a:pt x="190" y="56"/>
                  </a:lnTo>
                  <a:lnTo>
                    <a:pt x="190" y="56"/>
                  </a:lnTo>
                  <a:lnTo>
                    <a:pt x="190" y="59"/>
                  </a:lnTo>
                  <a:lnTo>
                    <a:pt x="190" y="59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2" y="62"/>
                  </a:lnTo>
                  <a:lnTo>
                    <a:pt x="179" y="62"/>
                  </a:lnTo>
                  <a:lnTo>
                    <a:pt x="174" y="54"/>
                  </a:lnTo>
                  <a:lnTo>
                    <a:pt x="174" y="54"/>
                  </a:lnTo>
                  <a:lnTo>
                    <a:pt x="174" y="56"/>
                  </a:lnTo>
                  <a:lnTo>
                    <a:pt x="171" y="56"/>
                  </a:lnTo>
                  <a:lnTo>
                    <a:pt x="171" y="56"/>
                  </a:lnTo>
                  <a:lnTo>
                    <a:pt x="168" y="59"/>
                  </a:lnTo>
                  <a:lnTo>
                    <a:pt x="166" y="59"/>
                  </a:lnTo>
                  <a:lnTo>
                    <a:pt x="166" y="59"/>
                  </a:lnTo>
                  <a:lnTo>
                    <a:pt x="163" y="59"/>
                  </a:lnTo>
                  <a:lnTo>
                    <a:pt x="163" y="59"/>
                  </a:lnTo>
                  <a:lnTo>
                    <a:pt x="160" y="62"/>
                  </a:lnTo>
                  <a:lnTo>
                    <a:pt x="160" y="62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67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8" y="70"/>
                  </a:lnTo>
                  <a:lnTo>
                    <a:pt x="160" y="72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8"/>
                  </a:lnTo>
                  <a:lnTo>
                    <a:pt x="160" y="78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8" y="86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91"/>
                  </a:lnTo>
                  <a:lnTo>
                    <a:pt x="155" y="91"/>
                  </a:lnTo>
                  <a:lnTo>
                    <a:pt x="155" y="91"/>
                  </a:lnTo>
                  <a:lnTo>
                    <a:pt x="152" y="94"/>
                  </a:lnTo>
                  <a:lnTo>
                    <a:pt x="152" y="94"/>
                  </a:lnTo>
                  <a:lnTo>
                    <a:pt x="150" y="94"/>
                  </a:lnTo>
                  <a:lnTo>
                    <a:pt x="150" y="91"/>
                  </a:lnTo>
                  <a:lnTo>
                    <a:pt x="147" y="91"/>
                  </a:lnTo>
                  <a:lnTo>
                    <a:pt x="147" y="91"/>
                  </a:lnTo>
                  <a:lnTo>
                    <a:pt x="147" y="94"/>
                  </a:lnTo>
                  <a:lnTo>
                    <a:pt x="147" y="94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9"/>
                  </a:lnTo>
                  <a:lnTo>
                    <a:pt x="152" y="99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4"/>
                  </a:lnTo>
                  <a:lnTo>
                    <a:pt x="150" y="104"/>
                  </a:lnTo>
                  <a:lnTo>
                    <a:pt x="150" y="107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4" y="104"/>
                  </a:lnTo>
                  <a:lnTo>
                    <a:pt x="144" y="107"/>
                  </a:lnTo>
                  <a:lnTo>
                    <a:pt x="142" y="107"/>
                  </a:lnTo>
                  <a:lnTo>
                    <a:pt x="139" y="107"/>
                  </a:lnTo>
                  <a:lnTo>
                    <a:pt x="139" y="110"/>
                  </a:lnTo>
                  <a:lnTo>
                    <a:pt x="136" y="110"/>
                  </a:lnTo>
                  <a:lnTo>
                    <a:pt x="136" y="110"/>
                  </a:lnTo>
                  <a:lnTo>
                    <a:pt x="134" y="112"/>
                  </a:lnTo>
                  <a:lnTo>
                    <a:pt x="134" y="115"/>
                  </a:lnTo>
                  <a:lnTo>
                    <a:pt x="131" y="115"/>
                  </a:lnTo>
                  <a:lnTo>
                    <a:pt x="131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8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18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2" y="126"/>
                  </a:lnTo>
                  <a:lnTo>
                    <a:pt x="110" y="121"/>
                  </a:lnTo>
                  <a:lnTo>
                    <a:pt x="110" y="121"/>
                  </a:lnTo>
                  <a:lnTo>
                    <a:pt x="104" y="118"/>
                  </a:lnTo>
                  <a:lnTo>
                    <a:pt x="104" y="118"/>
                  </a:lnTo>
                  <a:lnTo>
                    <a:pt x="102" y="118"/>
                  </a:lnTo>
                  <a:lnTo>
                    <a:pt x="102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0"/>
                  </a:lnTo>
                  <a:lnTo>
                    <a:pt x="96" y="110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99"/>
                  </a:lnTo>
                  <a:lnTo>
                    <a:pt x="83" y="9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0" name="Freeform 8907">
              <a:extLst>
                <a:ext uri="{FF2B5EF4-FFF2-40B4-BE49-F238E27FC236}">
                  <a16:creationId xmlns:a16="http://schemas.microsoft.com/office/drawing/2014/main" id="{A6F0DCA5-2393-1143-898B-D1BAF2F30507}"/>
                </a:ext>
              </a:extLst>
            </p:cNvPr>
            <p:cNvSpPr/>
            <p:nvPr/>
          </p:nvSpPr>
          <p:spPr bwMode="auto">
            <a:xfrm>
              <a:off x="1224756" y="4956175"/>
              <a:ext cx="560387" cy="585788"/>
            </a:xfrm>
            <a:custGeom>
              <a:avLst/>
              <a:gdLst>
                <a:gd name="T0" fmla="*/ 291 w 353"/>
                <a:gd name="T1" fmla="*/ 326 h 369"/>
                <a:gd name="T2" fmla="*/ 281 w 353"/>
                <a:gd name="T3" fmla="*/ 340 h 369"/>
                <a:gd name="T4" fmla="*/ 275 w 353"/>
                <a:gd name="T5" fmla="*/ 345 h 369"/>
                <a:gd name="T6" fmla="*/ 270 w 353"/>
                <a:gd name="T7" fmla="*/ 348 h 369"/>
                <a:gd name="T8" fmla="*/ 267 w 353"/>
                <a:gd name="T9" fmla="*/ 348 h 369"/>
                <a:gd name="T10" fmla="*/ 257 w 353"/>
                <a:gd name="T11" fmla="*/ 356 h 369"/>
                <a:gd name="T12" fmla="*/ 246 w 353"/>
                <a:gd name="T13" fmla="*/ 364 h 369"/>
                <a:gd name="T14" fmla="*/ 235 w 353"/>
                <a:gd name="T15" fmla="*/ 367 h 369"/>
                <a:gd name="T16" fmla="*/ 225 w 353"/>
                <a:gd name="T17" fmla="*/ 361 h 369"/>
                <a:gd name="T18" fmla="*/ 222 w 353"/>
                <a:gd name="T19" fmla="*/ 353 h 369"/>
                <a:gd name="T20" fmla="*/ 214 w 353"/>
                <a:gd name="T21" fmla="*/ 340 h 369"/>
                <a:gd name="T22" fmla="*/ 185 w 353"/>
                <a:gd name="T23" fmla="*/ 310 h 369"/>
                <a:gd name="T24" fmla="*/ 169 w 353"/>
                <a:gd name="T25" fmla="*/ 300 h 369"/>
                <a:gd name="T26" fmla="*/ 153 w 353"/>
                <a:gd name="T27" fmla="*/ 257 h 369"/>
                <a:gd name="T28" fmla="*/ 139 w 353"/>
                <a:gd name="T29" fmla="*/ 233 h 369"/>
                <a:gd name="T30" fmla="*/ 121 w 353"/>
                <a:gd name="T31" fmla="*/ 209 h 369"/>
                <a:gd name="T32" fmla="*/ 115 w 353"/>
                <a:gd name="T33" fmla="*/ 180 h 369"/>
                <a:gd name="T34" fmla="*/ 115 w 353"/>
                <a:gd name="T35" fmla="*/ 163 h 369"/>
                <a:gd name="T36" fmla="*/ 99 w 353"/>
                <a:gd name="T37" fmla="*/ 150 h 369"/>
                <a:gd name="T38" fmla="*/ 89 w 353"/>
                <a:gd name="T39" fmla="*/ 131 h 369"/>
                <a:gd name="T40" fmla="*/ 78 w 353"/>
                <a:gd name="T41" fmla="*/ 115 h 369"/>
                <a:gd name="T42" fmla="*/ 64 w 353"/>
                <a:gd name="T43" fmla="*/ 110 h 369"/>
                <a:gd name="T44" fmla="*/ 43 w 353"/>
                <a:gd name="T45" fmla="*/ 110 h 369"/>
                <a:gd name="T46" fmla="*/ 38 w 353"/>
                <a:gd name="T47" fmla="*/ 91 h 369"/>
                <a:gd name="T48" fmla="*/ 22 w 353"/>
                <a:gd name="T49" fmla="*/ 99 h 369"/>
                <a:gd name="T50" fmla="*/ 11 w 353"/>
                <a:gd name="T51" fmla="*/ 89 h 369"/>
                <a:gd name="T52" fmla="*/ 3 w 353"/>
                <a:gd name="T53" fmla="*/ 67 h 369"/>
                <a:gd name="T54" fmla="*/ 16 w 353"/>
                <a:gd name="T55" fmla="*/ 73 h 369"/>
                <a:gd name="T56" fmla="*/ 30 w 353"/>
                <a:gd name="T57" fmla="*/ 65 h 369"/>
                <a:gd name="T58" fmla="*/ 43 w 353"/>
                <a:gd name="T59" fmla="*/ 54 h 369"/>
                <a:gd name="T60" fmla="*/ 62 w 353"/>
                <a:gd name="T61" fmla="*/ 70 h 369"/>
                <a:gd name="T62" fmla="*/ 78 w 353"/>
                <a:gd name="T63" fmla="*/ 89 h 369"/>
                <a:gd name="T64" fmla="*/ 126 w 353"/>
                <a:gd name="T65" fmla="*/ 126 h 369"/>
                <a:gd name="T66" fmla="*/ 129 w 353"/>
                <a:gd name="T67" fmla="*/ 134 h 369"/>
                <a:gd name="T68" fmla="*/ 139 w 353"/>
                <a:gd name="T69" fmla="*/ 126 h 369"/>
                <a:gd name="T70" fmla="*/ 147 w 353"/>
                <a:gd name="T71" fmla="*/ 110 h 369"/>
                <a:gd name="T72" fmla="*/ 169 w 353"/>
                <a:gd name="T73" fmla="*/ 102 h 369"/>
                <a:gd name="T74" fmla="*/ 185 w 353"/>
                <a:gd name="T75" fmla="*/ 99 h 369"/>
                <a:gd name="T76" fmla="*/ 211 w 353"/>
                <a:gd name="T77" fmla="*/ 62 h 369"/>
                <a:gd name="T78" fmla="*/ 187 w 353"/>
                <a:gd name="T79" fmla="*/ 54 h 369"/>
                <a:gd name="T80" fmla="*/ 182 w 353"/>
                <a:gd name="T81" fmla="*/ 41 h 369"/>
                <a:gd name="T82" fmla="*/ 195 w 353"/>
                <a:gd name="T83" fmla="*/ 19 h 369"/>
                <a:gd name="T84" fmla="*/ 217 w 353"/>
                <a:gd name="T85" fmla="*/ 16 h 369"/>
                <a:gd name="T86" fmla="*/ 241 w 353"/>
                <a:gd name="T87" fmla="*/ 25 h 369"/>
                <a:gd name="T88" fmla="*/ 257 w 353"/>
                <a:gd name="T89" fmla="*/ 22 h 369"/>
                <a:gd name="T90" fmla="*/ 315 w 353"/>
                <a:gd name="T91" fmla="*/ 62 h 369"/>
                <a:gd name="T92" fmla="*/ 307 w 353"/>
                <a:gd name="T93" fmla="*/ 91 h 369"/>
                <a:gd name="T94" fmla="*/ 315 w 353"/>
                <a:gd name="T95" fmla="*/ 126 h 369"/>
                <a:gd name="T96" fmla="*/ 345 w 353"/>
                <a:gd name="T97" fmla="*/ 126 h 369"/>
                <a:gd name="T98" fmla="*/ 329 w 353"/>
                <a:gd name="T99" fmla="*/ 137 h 369"/>
                <a:gd name="T100" fmla="*/ 323 w 353"/>
                <a:gd name="T101" fmla="*/ 182 h 369"/>
                <a:gd name="T102" fmla="*/ 326 w 353"/>
                <a:gd name="T103" fmla="*/ 217 h 369"/>
                <a:gd name="T104" fmla="*/ 305 w 353"/>
                <a:gd name="T105" fmla="*/ 228 h 369"/>
                <a:gd name="T106" fmla="*/ 275 w 353"/>
                <a:gd name="T107" fmla="*/ 225 h 369"/>
                <a:gd name="T108" fmla="*/ 302 w 353"/>
                <a:gd name="T109" fmla="*/ 257 h 369"/>
                <a:gd name="T110" fmla="*/ 267 w 353"/>
                <a:gd name="T111" fmla="*/ 289 h 369"/>
                <a:gd name="T112" fmla="*/ 281 w 353"/>
                <a:gd name="T113" fmla="*/ 302 h 369"/>
                <a:gd name="T114" fmla="*/ 297 w 353"/>
                <a:gd name="T115" fmla="*/ 31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3" h="369" extrusionOk="0">
                  <a:moveTo>
                    <a:pt x="294" y="324"/>
                  </a:moveTo>
                  <a:lnTo>
                    <a:pt x="294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1" y="329"/>
                  </a:lnTo>
                  <a:lnTo>
                    <a:pt x="291" y="329"/>
                  </a:lnTo>
                  <a:lnTo>
                    <a:pt x="291" y="329"/>
                  </a:lnTo>
                  <a:lnTo>
                    <a:pt x="291" y="326"/>
                  </a:lnTo>
                  <a:lnTo>
                    <a:pt x="291" y="326"/>
                  </a:lnTo>
                  <a:lnTo>
                    <a:pt x="291" y="324"/>
                  </a:lnTo>
                  <a:lnTo>
                    <a:pt x="291" y="324"/>
                  </a:lnTo>
                  <a:lnTo>
                    <a:pt x="291" y="326"/>
                  </a:lnTo>
                  <a:lnTo>
                    <a:pt x="289" y="326"/>
                  </a:lnTo>
                  <a:lnTo>
                    <a:pt x="289" y="329"/>
                  </a:lnTo>
                  <a:lnTo>
                    <a:pt x="289" y="332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6" y="337"/>
                  </a:lnTo>
                  <a:lnTo>
                    <a:pt x="286" y="334"/>
                  </a:lnTo>
                  <a:lnTo>
                    <a:pt x="286" y="334"/>
                  </a:lnTo>
                  <a:lnTo>
                    <a:pt x="283" y="334"/>
                  </a:lnTo>
                  <a:lnTo>
                    <a:pt x="283" y="337"/>
                  </a:lnTo>
                  <a:lnTo>
                    <a:pt x="281" y="340"/>
                  </a:lnTo>
                  <a:lnTo>
                    <a:pt x="281" y="340"/>
                  </a:lnTo>
                  <a:lnTo>
                    <a:pt x="278" y="343"/>
                  </a:lnTo>
                  <a:lnTo>
                    <a:pt x="278" y="343"/>
                  </a:lnTo>
                  <a:lnTo>
                    <a:pt x="278" y="345"/>
                  </a:lnTo>
                  <a:lnTo>
                    <a:pt x="275" y="345"/>
                  </a:lnTo>
                  <a:lnTo>
                    <a:pt x="275" y="348"/>
                  </a:lnTo>
                  <a:lnTo>
                    <a:pt x="275" y="348"/>
                  </a:lnTo>
                  <a:lnTo>
                    <a:pt x="273" y="351"/>
                  </a:lnTo>
                  <a:lnTo>
                    <a:pt x="273" y="348"/>
                  </a:lnTo>
                  <a:lnTo>
                    <a:pt x="275" y="348"/>
                  </a:lnTo>
                  <a:lnTo>
                    <a:pt x="275" y="348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5" y="343"/>
                  </a:lnTo>
                  <a:lnTo>
                    <a:pt x="275" y="343"/>
                  </a:lnTo>
                  <a:lnTo>
                    <a:pt x="275" y="340"/>
                  </a:lnTo>
                  <a:lnTo>
                    <a:pt x="275" y="340"/>
                  </a:lnTo>
                  <a:lnTo>
                    <a:pt x="275" y="340"/>
                  </a:lnTo>
                  <a:lnTo>
                    <a:pt x="275" y="343"/>
                  </a:lnTo>
                  <a:lnTo>
                    <a:pt x="273" y="343"/>
                  </a:lnTo>
                  <a:lnTo>
                    <a:pt x="273" y="345"/>
                  </a:lnTo>
                  <a:lnTo>
                    <a:pt x="273" y="345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5"/>
                  </a:lnTo>
                  <a:lnTo>
                    <a:pt x="270" y="345"/>
                  </a:lnTo>
                  <a:lnTo>
                    <a:pt x="270" y="343"/>
                  </a:lnTo>
                  <a:lnTo>
                    <a:pt x="273" y="343"/>
                  </a:lnTo>
                  <a:lnTo>
                    <a:pt x="273" y="340"/>
                  </a:lnTo>
                  <a:lnTo>
                    <a:pt x="273" y="340"/>
                  </a:lnTo>
                  <a:lnTo>
                    <a:pt x="270" y="340"/>
                  </a:lnTo>
                  <a:lnTo>
                    <a:pt x="270" y="343"/>
                  </a:lnTo>
                  <a:lnTo>
                    <a:pt x="270" y="343"/>
                  </a:lnTo>
                  <a:lnTo>
                    <a:pt x="267" y="345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5" y="351"/>
                  </a:lnTo>
                  <a:lnTo>
                    <a:pt x="265" y="348"/>
                  </a:lnTo>
                  <a:lnTo>
                    <a:pt x="265" y="348"/>
                  </a:lnTo>
                  <a:lnTo>
                    <a:pt x="265" y="351"/>
                  </a:lnTo>
                  <a:lnTo>
                    <a:pt x="262" y="351"/>
                  </a:lnTo>
                  <a:lnTo>
                    <a:pt x="262" y="353"/>
                  </a:lnTo>
                  <a:lnTo>
                    <a:pt x="262" y="356"/>
                  </a:lnTo>
                  <a:lnTo>
                    <a:pt x="262" y="353"/>
                  </a:lnTo>
                  <a:lnTo>
                    <a:pt x="262" y="353"/>
                  </a:lnTo>
                  <a:lnTo>
                    <a:pt x="259" y="353"/>
                  </a:lnTo>
                  <a:lnTo>
                    <a:pt x="259" y="353"/>
                  </a:lnTo>
                  <a:lnTo>
                    <a:pt x="257" y="356"/>
                  </a:lnTo>
                  <a:lnTo>
                    <a:pt x="257" y="356"/>
                  </a:lnTo>
                  <a:lnTo>
                    <a:pt x="257" y="359"/>
                  </a:lnTo>
                  <a:lnTo>
                    <a:pt x="254" y="359"/>
                  </a:lnTo>
                  <a:lnTo>
                    <a:pt x="254" y="359"/>
                  </a:lnTo>
                  <a:lnTo>
                    <a:pt x="254" y="359"/>
                  </a:lnTo>
                  <a:lnTo>
                    <a:pt x="254" y="356"/>
                  </a:lnTo>
                  <a:lnTo>
                    <a:pt x="254" y="356"/>
                  </a:lnTo>
                  <a:lnTo>
                    <a:pt x="254" y="356"/>
                  </a:lnTo>
                  <a:lnTo>
                    <a:pt x="251" y="359"/>
                  </a:lnTo>
                  <a:lnTo>
                    <a:pt x="249" y="361"/>
                  </a:lnTo>
                  <a:lnTo>
                    <a:pt x="246" y="361"/>
                  </a:lnTo>
                  <a:lnTo>
                    <a:pt x="246" y="364"/>
                  </a:lnTo>
                  <a:lnTo>
                    <a:pt x="243" y="367"/>
                  </a:lnTo>
                  <a:lnTo>
                    <a:pt x="243" y="367"/>
                  </a:lnTo>
                  <a:lnTo>
                    <a:pt x="241" y="367"/>
                  </a:lnTo>
                  <a:lnTo>
                    <a:pt x="241" y="369"/>
                  </a:lnTo>
                  <a:lnTo>
                    <a:pt x="241" y="367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38" y="369"/>
                  </a:lnTo>
                  <a:lnTo>
                    <a:pt x="235" y="369"/>
                  </a:lnTo>
                  <a:lnTo>
                    <a:pt x="235" y="369"/>
                  </a:lnTo>
                  <a:lnTo>
                    <a:pt x="235" y="367"/>
                  </a:lnTo>
                  <a:lnTo>
                    <a:pt x="235" y="367"/>
                  </a:lnTo>
                  <a:lnTo>
                    <a:pt x="235" y="364"/>
                  </a:lnTo>
                  <a:lnTo>
                    <a:pt x="235" y="364"/>
                  </a:lnTo>
                  <a:lnTo>
                    <a:pt x="235" y="361"/>
                  </a:lnTo>
                  <a:lnTo>
                    <a:pt x="235" y="359"/>
                  </a:lnTo>
                  <a:lnTo>
                    <a:pt x="233" y="359"/>
                  </a:lnTo>
                  <a:lnTo>
                    <a:pt x="233" y="361"/>
                  </a:lnTo>
                  <a:lnTo>
                    <a:pt x="230" y="361"/>
                  </a:lnTo>
                  <a:lnTo>
                    <a:pt x="227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7" y="359"/>
                  </a:lnTo>
                  <a:lnTo>
                    <a:pt x="230" y="359"/>
                  </a:lnTo>
                  <a:lnTo>
                    <a:pt x="230" y="356"/>
                  </a:lnTo>
                  <a:lnTo>
                    <a:pt x="230" y="356"/>
                  </a:lnTo>
                  <a:lnTo>
                    <a:pt x="230" y="356"/>
                  </a:lnTo>
                  <a:lnTo>
                    <a:pt x="230" y="353"/>
                  </a:lnTo>
                  <a:lnTo>
                    <a:pt x="227" y="353"/>
                  </a:lnTo>
                  <a:lnTo>
                    <a:pt x="225" y="353"/>
                  </a:lnTo>
                  <a:lnTo>
                    <a:pt x="225" y="353"/>
                  </a:lnTo>
                  <a:lnTo>
                    <a:pt x="222" y="351"/>
                  </a:lnTo>
                  <a:lnTo>
                    <a:pt x="222" y="353"/>
                  </a:lnTo>
                  <a:lnTo>
                    <a:pt x="222" y="353"/>
                  </a:lnTo>
                  <a:lnTo>
                    <a:pt x="222" y="356"/>
                  </a:lnTo>
                  <a:lnTo>
                    <a:pt x="222" y="356"/>
                  </a:lnTo>
                  <a:lnTo>
                    <a:pt x="222" y="356"/>
                  </a:lnTo>
                  <a:lnTo>
                    <a:pt x="219" y="353"/>
                  </a:lnTo>
                  <a:lnTo>
                    <a:pt x="219" y="353"/>
                  </a:lnTo>
                  <a:lnTo>
                    <a:pt x="219" y="351"/>
                  </a:lnTo>
                  <a:lnTo>
                    <a:pt x="217" y="348"/>
                  </a:lnTo>
                  <a:lnTo>
                    <a:pt x="217" y="345"/>
                  </a:lnTo>
                  <a:lnTo>
                    <a:pt x="214" y="345"/>
                  </a:lnTo>
                  <a:lnTo>
                    <a:pt x="214" y="343"/>
                  </a:lnTo>
                  <a:lnTo>
                    <a:pt x="214" y="343"/>
                  </a:lnTo>
                  <a:lnTo>
                    <a:pt x="214" y="340"/>
                  </a:lnTo>
                  <a:lnTo>
                    <a:pt x="211" y="340"/>
                  </a:lnTo>
                  <a:lnTo>
                    <a:pt x="211" y="337"/>
                  </a:lnTo>
                  <a:lnTo>
                    <a:pt x="211" y="334"/>
                  </a:lnTo>
                  <a:lnTo>
                    <a:pt x="209" y="332"/>
                  </a:lnTo>
                  <a:lnTo>
                    <a:pt x="206" y="329"/>
                  </a:lnTo>
                  <a:lnTo>
                    <a:pt x="203" y="326"/>
                  </a:lnTo>
                  <a:lnTo>
                    <a:pt x="198" y="324"/>
                  </a:lnTo>
                  <a:lnTo>
                    <a:pt x="195" y="321"/>
                  </a:lnTo>
                  <a:lnTo>
                    <a:pt x="193" y="318"/>
                  </a:lnTo>
                  <a:lnTo>
                    <a:pt x="190" y="316"/>
                  </a:lnTo>
                  <a:lnTo>
                    <a:pt x="185" y="313"/>
                  </a:lnTo>
                  <a:lnTo>
                    <a:pt x="185" y="310"/>
                  </a:lnTo>
                  <a:lnTo>
                    <a:pt x="182" y="310"/>
                  </a:lnTo>
                  <a:lnTo>
                    <a:pt x="179" y="308"/>
                  </a:lnTo>
                  <a:lnTo>
                    <a:pt x="179" y="308"/>
                  </a:lnTo>
                  <a:lnTo>
                    <a:pt x="177" y="305"/>
                  </a:lnTo>
                  <a:lnTo>
                    <a:pt x="174" y="305"/>
                  </a:lnTo>
                  <a:lnTo>
                    <a:pt x="174" y="302"/>
                  </a:lnTo>
                  <a:lnTo>
                    <a:pt x="171" y="302"/>
                  </a:lnTo>
                  <a:lnTo>
                    <a:pt x="171" y="302"/>
                  </a:lnTo>
                  <a:lnTo>
                    <a:pt x="169" y="302"/>
                  </a:lnTo>
                  <a:lnTo>
                    <a:pt x="169" y="302"/>
                  </a:lnTo>
                  <a:lnTo>
                    <a:pt x="166" y="300"/>
                  </a:lnTo>
                  <a:lnTo>
                    <a:pt x="169" y="300"/>
                  </a:lnTo>
                  <a:lnTo>
                    <a:pt x="169" y="294"/>
                  </a:lnTo>
                  <a:lnTo>
                    <a:pt x="169" y="289"/>
                  </a:lnTo>
                  <a:lnTo>
                    <a:pt x="169" y="286"/>
                  </a:lnTo>
                  <a:lnTo>
                    <a:pt x="169" y="284"/>
                  </a:lnTo>
                  <a:lnTo>
                    <a:pt x="166" y="281"/>
                  </a:lnTo>
                  <a:lnTo>
                    <a:pt x="166" y="278"/>
                  </a:lnTo>
                  <a:lnTo>
                    <a:pt x="163" y="276"/>
                  </a:lnTo>
                  <a:lnTo>
                    <a:pt x="161" y="273"/>
                  </a:lnTo>
                  <a:lnTo>
                    <a:pt x="158" y="268"/>
                  </a:lnTo>
                  <a:lnTo>
                    <a:pt x="158" y="265"/>
                  </a:lnTo>
                  <a:lnTo>
                    <a:pt x="155" y="260"/>
                  </a:lnTo>
                  <a:lnTo>
                    <a:pt x="153" y="257"/>
                  </a:lnTo>
                  <a:lnTo>
                    <a:pt x="150" y="254"/>
                  </a:lnTo>
                  <a:lnTo>
                    <a:pt x="150" y="252"/>
                  </a:lnTo>
                  <a:lnTo>
                    <a:pt x="147" y="249"/>
                  </a:lnTo>
                  <a:lnTo>
                    <a:pt x="145" y="246"/>
                  </a:lnTo>
                  <a:lnTo>
                    <a:pt x="145" y="244"/>
                  </a:lnTo>
                  <a:lnTo>
                    <a:pt x="142" y="241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39" y="233"/>
                  </a:lnTo>
                  <a:lnTo>
                    <a:pt x="137" y="233"/>
                  </a:lnTo>
                  <a:lnTo>
                    <a:pt x="137" y="233"/>
                  </a:lnTo>
                  <a:lnTo>
                    <a:pt x="134" y="230"/>
                  </a:lnTo>
                  <a:lnTo>
                    <a:pt x="131" y="228"/>
                  </a:lnTo>
                  <a:lnTo>
                    <a:pt x="131" y="225"/>
                  </a:lnTo>
                  <a:lnTo>
                    <a:pt x="129" y="222"/>
                  </a:lnTo>
                  <a:lnTo>
                    <a:pt x="129" y="220"/>
                  </a:lnTo>
                  <a:lnTo>
                    <a:pt x="126" y="217"/>
                  </a:lnTo>
                  <a:lnTo>
                    <a:pt x="123" y="217"/>
                  </a:lnTo>
                  <a:lnTo>
                    <a:pt x="123" y="214"/>
                  </a:lnTo>
                  <a:lnTo>
                    <a:pt x="121" y="212"/>
                  </a:lnTo>
                  <a:lnTo>
                    <a:pt x="121" y="209"/>
                  </a:lnTo>
                  <a:lnTo>
                    <a:pt x="118" y="209"/>
                  </a:lnTo>
                  <a:lnTo>
                    <a:pt x="115" y="204"/>
                  </a:lnTo>
                  <a:lnTo>
                    <a:pt x="115" y="201"/>
                  </a:lnTo>
                  <a:lnTo>
                    <a:pt x="115" y="196"/>
                  </a:lnTo>
                  <a:lnTo>
                    <a:pt x="115" y="193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88"/>
                  </a:lnTo>
                  <a:lnTo>
                    <a:pt x="118" y="185"/>
                  </a:lnTo>
                  <a:lnTo>
                    <a:pt x="118" y="182"/>
                  </a:lnTo>
                  <a:lnTo>
                    <a:pt x="115" y="182"/>
                  </a:lnTo>
                  <a:lnTo>
                    <a:pt x="115" y="180"/>
                  </a:lnTo>
                  <a:lnTo>
                    <a:pt x="115" y="180"/>
                  </a:lnTo>
                  <a:lnTo>
                    <a:pt x="118" y="180"/>
                  </a:lnTo>
                  <a:lnTo>
                    <a:pt x="118" y="174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5" y="169"/>
                  </a:lnTo>
                  <a:lnTo>
                    <a:pt x="115" y="169"/>
                  </a:lnTo>
                  <a:lnTo>
                    <a:pt x="115" y="169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3"/>
                  </a:lnTo>
                  <a:lnTo>
                    <a:pt x="115" y="163"/>
                  </a:lnTo>
                  <a:lnTo>
                    <a:pt x="113" y="161"/>
                  </a:lnTo>
                  <a:lnTo>
                    <a:pt x="113" y="161"/>
                  </a:lnTo>
                  <a:lnTo>
                    <a:pt x="113" y="158"/>
                  </a:lnTo>
                  <a:lnTo>
                    <a:pt x="110" y="158"/>
                  </a:lnTo>
                  <a:lnTo>
                    <a:pt x="110" y="155"/>
                  </a:lnTo>
                  <a:lnTo>
                    <a:pt x="107" y="155"/>
                  </a:lnTo>
                  <a:lnTo>
                    <a:pt x="107" y="153"/>
                  </a:lnTo>
                  <a:lnTo>
                    <a:pt x="105" y="153"/>
                  </a:lnTo>
                  <a:lnTo>
                    <a:pt x="105" y="150"/>
                  </a:lnTo>
                  <a:lnTo>
                    <a:pt x="102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9" y="150"/>
                  </a:lnTo>
                  <a:lnTo>
                    <a:pt x="97" y="147"/>
                  </a:lnTo>
                  <a:lnTo>
                    <a:pt x="97" y="145"/>
                  </a:lnTo>
                  <a:lnTo>
                    <a:pt x="94" y="142"/>
                  </a:lnTo>
                  <a:lnTo>
                    <a:pt x="91" y="142"/>
                  </a:lnTo>
                  <a:lnTo>
                    <a:pt x="89" y="139"/>
                  </a:lnTo>
                  <a:lnTo>
                    <a:pt x="89" y="137"/>
                  </a:lnTo>
                  <a:lnTo>
                    <a:pt x="89" y="137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89" y="131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3"/>
                  </a:lnTo>
                  <a:lnTo>
                    <a:pt x="86" y="123"/>
                  </a:lnTo>
                  <a:lnTo>
                    <a:pt x="83" y="121"/>
                  </a:lnTo>
                  <a:lnTo>
                    <a:pt x="80" y="121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0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5" y="105"/>
                  </a:lnTo>
                  <a:lnTo>
                    <a:pt x="72" y="107"/>
                  </a:lnTo>
                  <a:lnTo>
                    <a:pt x="70" y="107"/>
                  </a:lnTo>
                  <a:lnTo>
                    <a:pt x="70" y="107"/>
                  </a:lnTo>
                  <a:lnTo>
                    <a:pt x="67" y="107"/>
                  </a:lnTo>
                  <a:lnTo>
                    <a:pt x="64" y="110"/>
                  </a:lnTo>
                  <a:lnTo>
                    <a:pt x="62" y="110"/>
                  </a:lnTo>
                  <a:lnTo>
                    <a:pt x="59" y="110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4" y="107"/>
                  </a:lnTo>
                  <a:lnTo>
                    <a:pt x="51" y="107"/>
                  </a:lnTo>
                  <a:lnTo>
                    <a:pt x="51" y="110"/>
                  </a:lnTo>
                  <a:lnTo>
                    <a:pt x="48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3" y="110"/>
                  </a:lnTo>
                  <a:lnTo>
                    <a:pt x="40" y="107"/>
                  </a:lnTo>
                  <a:lnTo>
                    <a:pt x="38" y="107"/>
                  </a:lnTo>
                  <a:lnTo>
                    <a:pt x="35" y="105"/>
                  </a:lnTo>
                  <a:lnTo>
                    <a:pt x="32" y="105"/>
                  </a:lnTo>
                  <a:lnTo>
                    <a:pt x="30" y="105"/>
                  </a:lnTo>
                  <a:lnTo>
                    <a:pt x="32" y="102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97"/>
                  </a:lnTo>
                  <a:lnTo>
                    <a:pt x="38" y="94"/>
                  </a:lnTo>
                  <a:lnTo>
                    <a:pt x="38" y="91"/>
                  </a:lnTo>
                  <a:lnTo>
                    <a:pt x="38" y="91"/>
                  </a:lnTo>
                  <a:lnTo>
                    <a:pt x="35" y="89"/>
                  </a:lnTo>
                  <a:lnTo>
                    <a:pt x="32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27" y="91"/>
                  </a:lnTo>
                  <a:lnTo>
                    <a:pt x="30" y="91"/>
                  </a:lnTo>
                  <a:lnTo>
                    <a:pt x="27" y="94"/>
                  </a:lnTo>
                  <a:lnTo>
                    <a:pt x="27" y="91"/>
                  </a:lnTo>
                  <a:lnTo>
                    <a:pt x="24" y="94"/>
                  </a:lnTo>
                  <a:lnTo>
                    <a:pt x="24" y="97"/>
                  </a:lnTo>
                  <a:lnTo>
                    <a:pt x="22" y="97"/>
                  </a:lnTo>
                  <a:lnTo>
                    <a:pt x="22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4" y="91"/>
                  </a:lnTo>
                  <a:lnTo>
                    <a:pt x="11" y="91"/>
                  </a:lnTo>
                  <a:lnTo>
                    <a:pt x="11" y="89"/>
                  </a:lnTo>
                  <a:lnTo>
                    <a:pt x="8" y="89"/>
                  </a:lnTo>
                  <a:lnTo>
                    <a:pt x="6" y="86"/>
                  </a:lnTo>
                  <a:lnTo>
                    <a:pt x="3" y="83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3" y="75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3" y="70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6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9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43" y="73"/>
                  </a:lnTo>
                  <a:lnTo>
                    <a:pt x="43" y="70"/>
                  </a:lnTo>
                  <a:lnTo>
                    <a:pt x="46" y="70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2"/>
                  </a:lnTo>
                  <a:lnTo>
                    <a:pt x="43" y="57"/>
                  </a:lnTo>
                  <a:lnTo>
                    <a:pt x="43" y="54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6" y="59"/>
                  </a:lnTo>
                  <a:lnTo>
                    <a:pt x="59" y="59"/>
                  </a:lnTo>
                  <a:lnTo>
                    <a:pt x="59" y="62"/>
                  </a:lnTo>
                  <a:lnTo>
                    <a:pt x="64" y="65"/>
                  </a:lnTo>
                  <a:lnTo>
                    <a:pt x="64" y="67"/>
                  </a:lnTo>
                  <a:lnTo>
                    <a:pt x="62" y="70"/>
                  </a:lnTo>
                  <a:lnTo>
                    <a:pt x="64" y="70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7" y="75"/>
                  </a:lnTo>
                  <a:lnTo>
                    <a:pt x="64" y="81"/>
                  </a:lnTo>
                  <a:lnTo>
                    <a:pt x="67" y="83"/>
                  </a:lnTo>
                  <a:lnTo>
                    <a:pt x="70" y="86"/>
                  </a:lnTo>
                  <a:lnTo>
                    <a:pt x="72" y="86"/>
                  </a:lnTo>
                  <a:lnTo>
                    <a:pt x="72" y="89"/>
                  </a:lnTo>
                  <a:lnTo>
                    <a:pt x="75" y="91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89" y="91"/>
                  </a:lnTo>
                  <a:lnTo>
                    <a:pt x="94" y="126"/>
                  </a:lnTo>
                  <a:lnTo>
                    <a:pt x="105" y="134"/>
                  </a:lnTo>
                  <a:lnTo>
                    <a:pt x="107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3" y="134"/>
                  </a:lnTo>
                  <a:lnTo>
                    <a:pt x="115" y="131"/>
                  </a:lnTo>
                  <a:lnTo>
                    <a:pt x="118" y="131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9" y="126"/>
                  </a:lnTo>
                  <a:lnTo>
                    <a:pt x="129" y="123"/>
                  </a:lnTo>
                  <a:lnTo>
                    <a:pt x="129" y="123"/>
                  </a:lnTo>
                  <a:lnTo>
                    <a:pt x="131" y="123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9"/>
                  </a:lnTo>
                  <a:lnTo>
                    <a:pt x="131" y="131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9" y="137"/>
                  </a:lnTo>
                  <a:lnTo>
                    <a:pt x="131" y="137"/>
                  </a:lnTo>
                  <a:lnTo>
                    <a:pt x="131" y="137"/>
                  </a:lnTo>
                  <a:lnTo>
                    <a:pt x="134" y="137"/>
                  </a:lnTo>
                  <a:lnTo>
                    <a:pt x="134" y="137"/>
                  </a:lnTo>
                  <a:lnTo>
                    <a:pt x="137" y="137"/>
                  </a:lnTo>
                  <a:lnTo>
                    <a:pt x="139" y="134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29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2" y="126"/>
                  </a:lnTo>
                  <a:lnTo>
                    <a:pt x="142" y="123"/>
                  </a:lnTo>
                  <a:lnTo>
                    <a:pt x="145" y="121"/>
                  </a:lnTo>
                  <a:lnTo>
                    <a:pt x="145" y="121"/>
                  </a:lnTo>
                  <a:lnTo>
                    <a:pt x="147" y="121"/>
                  </a:lnTo>
                  <a:lnTo>
                    <a:pt x="147" y="118"/>
                  </a:lnTo>
                  <a:lnTo>
                    <a:pt x="145" y="115"/>
                  </a:lnTo>
                  <a:lnTo>
                    <a:pt x="145" y="113"/>
                  </a:lnTo>
                  <a:lnTo>
                    <a:pt x="142" y="113"/>
                  </a:lnTo>
                  <a:lnTo>
                    <a:pt x="142" y="113"/>
                  </a:lnTo>
                  <a:lnTo>
                    <a:pt x="145" y="110"/>
                  </a:lnTo>
                  <a:lnTo>
                    <a:pt x="147" y="110"/>
                  </a:lnTo>
                  <a:lnTo>
                    <a:pt x="150" y="110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3" y="105"/>
                  </a:lnTo>
                  <a:lnTo>
                    <a:pt x="155" y="105"/>
                  </a:lnTo>
                  <a:lnTo>
                    <a:pt x="155" y="105"/>
                  </a:lnTo>
                  <a:lnTo>
                    <a:pt x="158" y="105"/>
                  </a:lnTo>
                  <a:lnTo>
                    <a:pt x="163" y="105"/>
                  </a:lnTo>
                  <a:lnTo>
                    <a:pt x="163" y="105"/>
                  </a:lnTo>
                  <a:lnTo>
                    <a:pt x="166" y="102"/>
                  </a:lnTo>
                  <a:lnTo>
                    <a:pt x="166" y="102"/>
                  </a:lnTo>
                  <a:lnTo>
                    <a:pt x="169" y="102"/>
                  </a:lnTo>
                  <a:lnTo>
                    <a:pt x="171" y="102"/>
                  </a:lnTo>
                  <a:lnTo>
                    <a:pt x="171" y="102"/>
                  </a:lnTo>
                  <a:lnTo>
                    <a:pt x="171" y="102"/>
                  </a:lnTo>
                  <a:lnTo>
                    <a:pt x="174" y="102"/>
                  </a:lnTo>
                  <a:lnTo>
                    <a:pt x="177" y="102"/>
                  </a:lnTo>
                  <a:lnTo>
                    <a:pt x="179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5" y="102"/>
                  </a:lnTo>
                  <a:lnTo>
                    <a:pt x="185" y="102"/>
                  </a:lnTo>
                  <a:lnTo>
                    <a:pt x="182" y="99"/>
                  </a:lnTo>
                  <a:lnTo>
                    <a:pt x="185" y="99"/>
                  </a:lnTo>
                  <a:lnTo>
                    <a:pt x="187" y="97"/>
                  </a:lnTo>
                  <a:lnTo>
                    <a:pt x="190" y="94"/>
                  </a:lnTo>
                  <a:lnTo>
                    <a:pt x="193" y="91"/>
                  </a:lnTo>
                  <a:lnTo>
                    <a:pt x="193" y="89"/>
                  </a:lnTo>
                  <a:lnTo>
                    <a:pt x="195" y="86"/>
                  </a:lnTo>
                  <a:lnTo>
                    <a:pt x="198" y="81"/>
                  </a:lnTo>
                  <a:lnTo>
                    <a:pt x="201" y="78"/>
                  </a:lnTo>
                  <a:lnTo>
                    <a:pt x="203" y="75"/>
                  </a:lnTo>
                  <a:lnTo>
                    <a:pt x="206" y="73"/>
                  </a:lnTo>
                  <a:lnTo>
                    <a:pt x="209" y="70"/>
                  </a:lnTo>
                  <a:lnTo>
                    <a:pt x="209" y="67"/>
                  </a:lnTo>
                  <a:lnTo>
                    <a:pt x="211" y="62"/>
                  </a:lnTo>
                  <a:lnTo>
                    <a:pt x="211" y="62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09" y="54"/>
                  </a:lnTo>
                  <a:lnTo>
                    <a:pt x="214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09" y="46"/>
                  </a:lnTo>
                  <a:lnTo>
                    <a:pt x="201" y="57"/>
                  </a:lnTo>
                  <a:lnTo>
                    <a:pt x="193" y="54"/>
                  </a:lnTo>
                  <a:lnTo>
                    <a:pt x="190" y="54"/>
                  </a:lnTo>
                  <a:lnTo>
                    <a:pt x="187" y="54"/>
                  </a:lnTo>
                  <a:lnTo>
                    <a:pt x="187" y="57"/>
                  </a:lnTo>
                  <a:lnTo>
                    <a:pt x="185" y="57"/>
                  </a:lnTo>
                  <a:lnTo>
                    <a:pt x="185" y="59"/>
                  </a:lnTo>
                  <a:lnTo>
                    <a:pt x="185" y="59"/>
                  </a:lnTo>
                  <a:lnTo>
                    <a:pt x="182" y="62"/>
                  </a:lnTo>
                  <a:lnTo>
                    <a:pt x="177" y="57"/>
                  </a:lnTo>
                  <a:lnTo>
                    <a:pt x="177" y="54"/>
                  </a:lnTo>
                  <a:lnTo>
                    <a:pt x="177" y="54"/>
                  </a:lnTo>
                  <a:lnTo>
                    <a:pt x="179" y="51"/>
                  </a:lnTo>
                  <a:lnTo>
                    <a:pt x="179" y="49"/>
                  </a:lnTo>
                  <a:lnTo>
                    <a:pt x="179" y="43"/>
                  </a:lnTo>
                  <a:lnTo>
                    <a:pt x="182" y="41"/>
                  </a:lnTo>
                  <a:lnTo>
                    <a:pt x="182" y="38"/>
                  </a:lnTo>
                  <a:lnTo>
                    <a:pt x="182" y="35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2" y="30"/>
                  </a:lnTo>
                  <a:lnTo>
                    <a:pt x="182" y="27"/>
                  </a:lnTo>
                  <a:lnTo>
                    <a:pt x="185" y="25"/>
                  </a:lnTo>
                  <a:lnTo>
                    <a:pt x="187" y="25"/>
                  </a:lnTo>
                  <a:lnTo>
                    <a:pt x="190" y="22"/>
                  </a:lnTo>
                  <a:lnTo>
                    <a:pt x="193" y="22"/>
                  </a:lnTo>
                  <a:lnTo>
                    <a:pt x="195" y="19"/>
                  </a:lnTo>
                  <a:lnTo>
                    <a:pt x="195" y="19"/>
                  </a:lnTo>
                  <a:lnTo>
                    <a:pt x="198" y="19"/>
                  </a:lnTo>
                  <a:lnTo>
                    <a:pt x="201" y="19"/>
                  </a:lnTo>
                  <a:lnTo>
                    <a:pt x="203" y="19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9" y="25"/>
                  </a:lnTo>
                  <a:lnTo>
                    <a:pt x="209" y="25"/>
                  </a:lnTo>
                  <a:lnTo>
                    <a:pt x="211" y="22"/>
                  </a:lnTo>
                  <a:lnTo>
                    <a:pt x="214" y="22"/>
                  </a:lnTo>
                  <a:lnTo>
                    <a:pt x="217" y="22"/>
                  </a:lnTo>
                  <a:lnTo>
                    <a:pt x="217" y="16"/>
                  </a:lnTo>
                  <a:lnTo>
                    <a:pt x="222" y="16"/>
                  </a:lnTo>
                  <a:lnTo>
                    <a:pt x="225" y="16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27" y="22"/>
                  </a:lnTo>
                  <a:lnTo>
                    <a:pt x="230" y="22"/>
                  </a:lnTo>
                  <a:lnTo>
                    <a:pt x="233" y="25"/>
                  </a:lnTo>
                  <a:lnTo>
                    <a:pt x="233" y="27"/>
                  </a:lnTo>
                  <a:lnTo>
                    <a:pt x="235" y="30"/>
                  </a:lnTo>
                  <a:lnTo>
                    <a:pt x="238" y="30"/>
                  </a:lnTo>
                  <a:lnTo>
                    <a:pt x="241" y="30"/>
                  </a:lnTo>
                  <a:lnTo>
                    <a:pt x="241" y="25"/>
                  </a:lnTo>
                  <a:lnTo>
                    <a:pt x="246" y="25"/>
                  </a:lnTo>
                  <a:lnTo>
                    <a:pt x="246" y="25"/>
                  </a:lnTo>
                  <a:lnTo>
                    <a:pt x="249" y="19"/>
                  </a:lnTo>
                  <a:lnTo>
                    <a:pt x="251" y="19"/>
                  </a:lnTo>
                  <a:lnTo>
                    <a:pt x="243" y="14"/>
                  </a:lnTo>
                  <a:lnTo>
                    <a:pt x="254" y="0"/>
                  </a:lnTo>
                  <a:lnTo>
                    <a:pt x="257" y="0"/>
                  </a:lnTo>
                  <a:lnTo>
                    <a:pt x="257" y="3"/>
                  </a:lnTo>
                  <a:lnTo>
                    <a:pt x="259" y="3"/>
                  </a:lnTo>
                  <a:lnTo>
                    <a:pt x="259" y="6"/>
                  </a:lnTo>
                  <a:lnTo>
                    <a:pt x="262" y="8"/>
                  </a:lnTo>
                  <a:lnTo>
                    <a:pt x="257" y="22"/>
                  </a:lnTo>
                  <a:lnTo>
                    <a:pt x="262" y="22"/>
                  </a:lnTo>
                  <a:lnTo>
                    <a:pt x="265" y="22"/>
                  </a:lnTo>
                  <a:lnTo>
                    <a:pt x="267" y="30"/>
                  </a:lnTo>
                  <a:lnTo>
                    <a:pt x="278" y="30"/>
                  </a:lnTo>
                  <a:lnTo>
                    <a:pt x="278" y="25"/>
                  </a:lnTo>
                  <a:lnTo>
                    <a:pt x="283" y="22"/>
                  </a:lnTo>
                  <a:lnTo>
                    <a:pt x="289" y="35"/>
                  </a:lnTo>
                  <a:lnTo>
                    <a:pt x="297" y="41"/>
                  </a:lnTo>
                  <a:lnTo>
                    <a:pt x="302" y="46"/>
                  </a:lnTo>
                  <a:lnTo>
                    <a:pt x="305" y="59"/>
                  </a:lnTo>
                  <a:lnTo>
                    <a:pt x="315" y="62"/>
                  </a:lnTo>
                  <a:lnTo>
                    <a:pt x="315" y="62"/>
                  </a:lnTo>
                  <a:lnTo>
                    <a:pt x="318" y="65"/>
                  </a:lnTo>
                  <a:lnTo>
                    <a:pt x="318" y="67"/>
                  </a:lnTo>
                  <a:lnTo>
                    <a:pt x="313" y="70"/>
                  </a:lnTo>
                  <a:lnTo>
                    <a:pt x="310" y="70"/>
                  </a:lnTo>
                  <a:lnTo>
                    <a:pt x="310" y="75"/>
                  </a:lnTo>
                  <a:lnTo>
                    <a:pt x="307" y="78"/>
                  </a:lnTo>
                  <a:lnTo>
                    <a:pt x="307" y="78"/>
                  </a:lnTo>
                  <a:lnTo>
                    <a:pt x="310" y="81"/>
                  </a:lnTo>
                  <a:lnTo>
                    <a:pt x="307" y="83"/>
                  </a:lnTo>
                  <a:lnTo>
                    <a:pt x="307" y="86"/>
                  </a:lnTo>
                  <a:lnTo>
                    <a:pt x="307" y="89"/>
                  </a:lnTo>
                  <a:lnTo>
                    <a:pt x="307" y="91"/>
                  </a:lnTo>
                  <a:lnTo>
                    <a:pt x="310" y="94"/>
                  </a:lnTo>
                  <a:lnTo>
                    <a:pt x="310" y="94"/>
                  </a:lnTo>
                  <a:lnTo>
                    <a:pt x="310" y="99"/>
                  </a:lnTo>
                  <a:lnTo>
                    <a:pt x="310" y="102"/>
                  </a:lnTo>
                  <a:lnTo>
                    <a:pt x="310" y="105"/>
                  </a:lnTo>
                  <a:lnTo>
                    <a:pt x="310" y="110"/>
                  </a:lnTo>
                  <a:lnTo>
                    <a:pt x="310" y="110"/>
                  </a:lnTo>
                  <a:lnTo>
                    <a:pt x="310" y="113"/>
                  </a:lnTo>
                  <a:lnTo>
                    <a:pt x="313" y="115"/>
                  </a:lnTo>
                  <a:lnTo>
                    <a:pt x="313" y="121"/>
                  </a:lnTo>
                  <a:lnTo>
                    <a:pt x="313" y="123"/>
                  </a:lnTo>
                  <a:lnTo>
                    <a:pt x="315" y="126"/>
                  </a:lnTo>
                  <a:lnTo>
                    <a:pt x="315" y="129"/>
                  </a:lnTo>
                  <a:lnTo>
                    <a:pt x="318" y="131"/>
                  </a:lnTo>
                  <a:lnTo>
                    <a:pt x="318" y="131"/>
                  </a:lnTo>
                  <a:lnTo>
                    <a:pt x="321" y="131"/>
                  </a:lnTo>
                  <a:lnTo>
                    <a:pt x="323" y="131"/>
                  </a:lnTo>
                  <a:lnTo>
                    <a:pt x="326" y="131"/>
                  </a:lnTo>
                  <a:lnTo>
                    <a:pt x="329" y="131"/>
                  </a:lnTo>
                  <a:lnTo>
                    <a:pt x="334" y="129"/>
                  </a:lnTo>
                  <a:lnTo>
                    <a:pt x="337" y="129"/>
                  </a:lnTo>
                  <a:lnTo>
                    <a:pt x="340" y="129"/>
                  </a:lnTo>
                  <a:lnTo>
                    <a:pt x="342" y="126"/>
                  </a:lnTo>
                  <a:lnTo>
                    <a:pt x="345" y="126"/>
                  </a:lnTo>
                  <a:lnTo>
                    <a:pt x="345" y="126"/>
                  </a:lnTo>
                  <a:lnTo>
                    <a:pt x="348" y="126"/>
                  </a:lnTo>
                  <a:lnTo>
                    <a:pt x="350" y="129"/>
                  </a:lnTo>
                  <a:lnTo>
                    <a:pt x="350" y="131"/>
                  </a:lnTo>
                  <a:lnTo>
                    <a:pt x="353" y="131"/>
                  </a:lnTo>
                  <a:lnTo>
                    <a:pt x="353" y="134"/>
                  </a:lnTo>
                  <a:lnTo>
                    <a:pt x="353" y="137"/>
                  </a:lnTo>
                  <a:lnTo>
                    <a:pt x="350" y="137"/>
                  </a:lnTo>
                  <a:lnTo>
                    <a:pt x="345" y="134"/>
                  </a:lnTo>
                  <a:lnTo>
                    <a:pt x="340" y="134"/>
                  </a:lnTo>
                  <a:lnTo>
                    <a:pt x="334" y="137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6" y="142"/>
                  </a:lnTo>
                  <a:lnTo>
                    <a:pt x="326" y="150"/>
                  </a:lnTo>
                  <a:lnTo>
                    <a:pt x="326" y="155"/>
                  </a:lnTo>
                  <a:lnTo>
                    <a:pt x="326" y="161"/>
                  </a:lnTo>
                  <a:lnTo>
                    <a:pt x="326" y="161"/>
                  </a:lnTo>
                  <a:lnTo>
                    <a:pt x="326" y="163"/>
                  </a:lnTo>
                  <a:lnTo>
                    <a:pt x="323" y="169"/>
                  </a:lnTo>
                  <a:lnTo>
                    <a:pt x="323" y="171"/>
                  </a:lnTo>
                  <a:lnTo>
                    <a:pt x="326" y="174"/>
                  </a:lnTo>
                  <a:lnTo>
                    <a:pt x="323" y="182"/>
                  </a:lnTo>
                  <a:lnTo>
                    <a:pt x="332" y="188"/>
                  </a:lnTo>
                  <a:lnTo>
                    <a:pt x="326" y="196"/>
                  </a:lnTo>
                  <a:lnTo>
                    <a:pt x="337" y="198"/>
                  </a:lnTo>
                  <a:lnTo>
                    <a:pt x="334" y="201"/>
                  </a:lnTo>
                  <a:lnTo>
                    <a:pt x="334" y="204"/>
                  </a:lnTo>
                  <a:lnTo>
                    <a:pt x="334" y="209"/>
                  </a:lnTo>
                  <a:lnTo>
                    <a:pt x="334" y="212"/>
                  </a:lnTo>
                  <a:lnTo>
                    <a:pt x="334" y="214"/>
                  </a:lnTo>
                  <a:lnTo>
                    <a:pt x="332" y="214"/>
                  </a:lnTo>
                  <a:lnTo>
                    <a:pt x="329" y="217"/>
                  </a:lnTo>
                  <a:lnTo>
                    <a:pt x="329" y="217"/>
                  </a:lnTo>
                  <a:lnTo>
                    <a:pt x="326" y="217"/>
                  </a:lnTo>
                  <a:lnTo>
                    <a:pt x="323" y="217"/>
                  </a:lnTo>
                  <a:lnTo>
                    <a:pt x="321" y="214"/>
                  </a:lnTo>
                  <a:lnTo>
                    <a:pt x="318" y="214"/>
                  </a:lnTo>
                  <a:lnTo>
                    <a:pt x="315" y="217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0" y="220"/>
                  </a:lnTo>
                  <a:lnTo>
                    <a:pt x="310" y="222"/>
                  </a:lnTo>
                  <a:lnTo>
                    <a:pt x="307" y="225"/>
                  </a:lnTo>
                  <a:lnTo>
                    <a:pt x="307" y="228"/>
                  </a:lnTo>
                  <a:lnTo>
                    <a:pt x="305" y="228"/>
                  </a:lnTo>
                  <a:lnTo>
                    <a:pt x="305" y="228"/>
                  </a:lnTo>
                  <a:lnTo>
                    <a:pt x="302" y="225"/>
                  </a:lnTo>
                  <a:lnTo>
                    <a:pt x="299" y="225"/>
                  </a:lnTo>
                  <a:lnTo>
                    <a:pt x="297" y="222"/>
                  </a:lnTo>
                  <a:lnTo>
                    <a:pt x="294" y="222"/>
                  </a:lnTo>
                  <a:lnTo>
                    <a:pt x="291" y="220"/>
                  </a:lnTo>
                  <a:lnTo>
                    <a:pt x="289" y="220"/>
                  </a:lnTo>
                  <a:lnTo>
                    <a:pt x="286" y="220"/>
                  </a:lnTo>
                  <a:lnTo>
                    <a:pt x="283" y="222"/>
                  </a:lnTo>
                  <a:lnTo>
                    <a:pt x="278" y="222"/>
                  </a:lnTo>
                  <a:lnTo>
                    <a:pt x="275" y="222"/>
                  </a:lnTo>
                  <a:lnTo>
                    <a:pt x="275" y="222"/>
                  </a:lnTo>
                  <a:lnTo>
                    <a:pt x="275" y="225"/>
                  </a:lnTo>
                  <a:lnTo>
                    <a:pt x="278" y="228"/>
                  </a:lnTo>
                  <a:lnTo>
                    <a:pt x="278" y="228"/>
                  </a:lnTo>
                  <a:lnTo>
                    <a:pt x="281" y="230"/>
                  </a:lnTo>
                  <a:lnTo>
                    <a:pt x="283" y="230"/>
                  </a:lnTo>
                  <a:lnTo>
                    <a:pt x="283" y="233"/>
                  </a:lnTo>
                  <a:lnTo>
                    <a:pt x="291" y="238"/>
                  </a:lnTo>
                  <a:lnTo>
                    <a:pt x="286" y="249"/>
                  </a:lnTo>
                  <a:lnTo>
                    <a:pt x="286" y="252"/>
                  </a:lnTo>
                  <a:lnTo>
                    <a:pt x="291" y="252"/>
                  </a:lnTo>
                  <a:lnTo>
                    <a:pt x="294" y="254"/>
                  </a:lnTo>
                  <a:lnTo>
                    <a:pt x="297" y="254"/>
                  </a:lnTo>
                  <a:lnTo>
                    <a:pt x="302" y="257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297" y="265"/>
                  </a:lnTo>
                  <a:lnTo>
                    <a:pt x="294" y="268"/>
                  </a:lnTo>
                  <a:lnTo>
                    <a:pt x="289" y="270"/>
                  </a:lnTo>
                  <a:lnTo>
                    <a:pt x="286" y="273"/>
                  </a:lnTo>
                  <a:lnTo>
                    <a:pt x="283" y="276"/>
                  </a:lnTo>
                  <a:lnTo>
                    <a:pt x="281" y="278"/>
                  </a:lnTo>
                  <a:lnTo>
                    <a:pt x="278" y="281"/>
                  </a:lnTo>
                  <a:lnTo>
                    <a:pt x="275" y="284"/>
                  </a:lnTo>
                  <a:lnTo>
                    <a:pt x="270" y="286"/>
                  </a:lnTo>
                  <a:lnTo>
                    <a:pt x="267" y="289"/>
                  </a:lnTo>
                  <a:lnTo>
                    <a:pt x="267" y="292"/>
                  </a:lnTo>
                  <a:lnTo>
                    <a:pt x="265" y="294"/>
                  </a:lnTo>
                  <a:lnTo>
                    <a:pt x="267" y="294"/>
                  </a:lnTo>
                  <a:lnTo>
                    <a:pt x="267" y="294"/>
                  </a:lnTo>
                  <a:lnTo>
                    <a:pt x="270" y="294"/>
                  </a:lnTo>
                  <a:lnTo>
                    <a:pt x="273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8" y="300"/>
                  </a:lnTo>
                  <a:lnTo>
                    <a:pt x="278" y="300"/>
                  </a:lnTo>
                  <a:lnTo>
                    <a:pt x="281" y="302"/>
                  </a:lnTo>
                  <a:lnTo>
                    <a:pt x="281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6" y="302"/>
                  </a:lnTo>
                  <a:lnTo>
                    <a:pt x="286" y="302"/>
                  </a:lnTo>
                  <a:lnTo>
                    <a:pt x="286" y="300"/>
                  </a:lnTo>
                  <a:lnTo>
                    <a:pt x="286" y="302"/>
                  </a:lnTo>
                  <a:lnTo>
                    <a:pt x="289" y="302"/>
                  </a:lnTo>
                  <a:lnTo>
                    <a:pt x="291" y="302"/>
                  </a:lnTo>
                  <a:lnTo>
                    <a:pt x="291" y="305"/>
                  </a:lnTo>
                  <a:lnTo>
                    <a:pt x="291" y="308"/>
                  </a:lnTo>
                  <a:lnTo>
                    <a:pt x="297" y="308"/>
                  </a:lnTo>
                  <a:lnTo>
                    <a:pt x="297" y="310"/>
                  </a:lnTo>
                  <a:lnTo>
                    <a:pt x="294" y="310"/>
                  </a:lnTo>
                  <a:lnTo>
                    <a:pt x="294" y="310"/>
                  </a:lnTo>
                  <a:lnTo>
                    <a:pt x="294" y="313"/>
                  </a:lnTo>
                  <a:lnTo>
                    <a:pt x="294" y="313"/>
                  </a:lnTo>
                  <a:lnTo>
                    <a:pt x="291" y="316"/>
                  </a:lnTo>
                  <a:lnTo>
                    <a:pt x="291" y="318"/>
                  </a:lnTo>
                  <a:lnTo>
                    <a:pt x="291" y="318"/>
                  </a:lnTo>
                  <a:lnTo>
                    <a:pt x="294" y="321"/>
                  </a:lnTo>
                  <a:lnTo>
                    <a:pt x="294" y="321"/>
                  </a:lnTo>
                  <a:lnTo>
                    <a:pt x="294" y="324"/>
                  </a:lnTo>
                  <a:lnTo>
                    <a:pt x="294" y="3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1" name="Freeform 8908">
              <a:extLst>
                <a:ext uri="{FF2B5EF4-FFF2-40B4-BE49-F238E27FC236}">
                  <a16:creationId xmlns:a16="http://schemas.microsoft.com/office/drawing/2014/main" id="{20F3815B-CB32-D841-8A41-25468A82CD7E}"/>
                </a:ext>
              </a:extLst>
            </p:cNvPr>
            <p:cNvSpPr/>
            <p:nvPr/>
          </p:nvSpPr>
          <p:spPr bwMode="auto">
            <a:xfrm>
              <a:off x="1645443" y="4965701"/>
              <a:ext cx="274639" cy="517524"/>
            </a:xfrm>
            <a:custGeom>
              <a:avLst/>
              <a:gdLst>
                <a:gd name="T0" fmla="*/ 29 w 173"/>
                <a:gd name="T1" fmla="*/ 323 h 326"/>
                <a:gd name="T2" fmla="*/ 34 w 173"/>
                <a:gd name="T3" fmla="*/ 307 h 326"/>
                <a:gd name="T4" fmla="*/ 40 w 173"/>
                <a:gd name="T5" fmla="*/ 307 h 326"/>
                <a:gd name="T6" fmla="*/ 40 w 173"/>
                <a:gd name="T7" fmla="*/ 299 h 326"/>
                <a:gd name="T8" fmla="*/ 45 w 173"/>
                <a:gd name="T9" fmla="*/ 302 h 326"/>
                <a:gd name="T10" fmla="*/ 50 w 173"/>
                <a:gd name="T11" fmla="*/ 315 h 326"/>
                <a:gd name="T12" fmla="*/ 58 w 173"/>
                <a:gd name="T13" fmla="*/ 312 h 326"/>
                <a:gd name="T14" fmla="*/ 64 w 173"/>
                <a:gd name="T15" fmla="*/ 312 h 326"/>
                <a:gd name="T16" fmla="*/ 69 w 173"/>
                <a:gd name="T17" fmla="*/ 320 h 326"/>
                <a:gd name="T18" fmla="*/ 77 w 173"/>
                <a:gd name="T19" fmla="*/ 320 h 326"/>
                <a:gd name="T20" fmla="*/ 83 w 173"/>
                <a:gd name="T21" fmla="*/ 315 h 326"/>
                <a:gd name="T22" fmla="*/ 88 w 173"/>
                <a:gd name="T23" fmla="*/ 315 h 326"/>
                <a:gd name="T24" fmla="*/ 96 w 173"/>
                <a:gd name="T25" fmla="*/ 315 h 326"/>
                <a:gd name="T26" fmla="*/ 101 w 173"/>
                <a:gd name="T27" fmla="*/ 310 h 326"/>
                <a:gd name="T28" fmla="*/ 107 w 173"/>
                <a:gd name="T29" fmla="*/ 310 h 326"/>
                <a:gd name="T30" fmla="*/ 112 w 173"/>
                <a:gd name="T31" fmla="*/ 315 h 326"/>
                <a:gd name="T32" fmla="*/ 112 w 173"/>
                <a:gd name="T33" fmla="*/ 326 h 326"/>
                <a:gd name="T34" fmla="*/ 115 w 173"/>
                <a:gd name="T35" fmla="*/ 318 h 326"/>
                <a:gd name="T36" fmla="*/ 120 w 173"/>
                <a:gd name="T37" fmla="*/ 307 h 326"/>
                <a:gd name="T38" fmla="*/ 123 w 173"/>
                <a:gd name="T39" fmla="*/ 304 h 326"/>
                <a:gd name="T40" fmla="*/ 123 w 173"/>
                <a:gd name="T41" fmla="*/ 323 h 326"/>
                <a:gd name="T42" fmla="*/ 125 w 173"/>
                <a:gd name="T43" fmla="*/ 312 h 326"/>
                <a:gd name="T44" fmla="*/ 131 w 173"/>
                <a:gd name="T45" fmla="*/ 315 h 326"/>
                <a:gd name="T46" fmla="*/ 136 w 173"/>
                <a:gd name="T47" fmla="*/ 312 h 326"/>
                <a:gd name="T48" fmla="*/ 141 w 173"/>
                <a:gd name="T49" fmla="*/ 312 h 326"/>
                <a:gd name="T50" fmla="*/ 147 w 173"/>
                <a:gd name="T51" fmla="*/ 307 h 326"/>
                <a:gd name="T52" fmla="*/ 152 w 173"/>
                <a:gd name="T53" fmla="*/ 302 h 326"/>
                <a:gd name="T54" fmla="*/ 155 w 173"/>
                <a:gd name="T55" fmla="*/ 299 h 326"/>
                <a:gd name="T56" fmla="*/ 157 w 173"/>
                <a:gd name="T57" fmla="*/ 299 h 326"/>
                <a:gd name="T58" fmla="*/ 157 w 173"/>
                <a:gd name="T59" fmla="*/ 296 h 326"/>
                <a:gd name="T60" fmla="*/ 149 w 173"/>
                <a:gd name="T61" fmla="*/ 286 h 326"/>
                <a:gd name="T62" fmla="*/ 139 w 173"/>
                <a:gd name="T63" fmla="*/ 267 h 326"/>
                <a:gd name="T64" fmla="*/ 141 w 173"/>
                <a:gd name="T65" fmla="*/ 264 h 326"/>
                <a:gd name="T66" fmla="*/ 141 w 173"/>
                <a:gd name="T67" fmla="*/ 251 h 326"/>
                <a:gd name="T68" fmla="*/ 152 w 173"/>
                <a:gd name="T69" fmla="*/ 262 h 326"/>
                <a:gd name="T70" fmla="*/ 168 w 173"/>
                <a:gd name="T71" fmla="*/ 227 h 326"/>
                <a:gd name="T72" fmla="*/ 160 w 173"/>
                <a:gd name="T73" fmla="*/ 152 h 326"/>
                <a:gd name="T74" fmla="*/ 120 w 173"/>
                <a:gd name="T75" fmla="*/ 131 h 326"/>
                <a:gd name="T76" fmla="*/ 128 w 173"/>
                <a:gd name="T77" fmla="*/ 104 h 326"/>
                <a:gd name="T78" fmla="*/ 136 w 173"/>
                <a:gd name="T79" fmla="*/ 85 h 326"/>
                <a:gd name="T80" fmla="*/ 128 w 173"/>
                <a:gd name="T81" fmla="*/ 32 h 326"/>
                <a:gd name="T82" fmla="*/ 104 w 173"/>
                <a:gd name="T83" fmla="*/ 0 h 326"/>
                <a:gd name="T84" fmla="*/ 83 w 173"/>
                <a:gd name="T85" fmla="*/ 8 h 326"/>
                <a:gd name="T86" fmla="*/ 67 w 173"/>
                <a:gd name="T87" fmla="*/ 5 h 326"/>
                <a:gd name="T88" fmla="*/ 50 w 173"/>
                <a:gd name="T89" fmla="*/ 0 h 326"/>
                <a:gd name="T90" fmla="*/ 56 w 173"/>
                <a:gd name="T91" fmla="*/ 10 h 326"/>
                <a:gd name="T92" fmla="*/ 48 w 173"/>
                <a:gd name="T93" fmla="*/ 5 h 326"/>
                <a:gd name="T94" fmla="*/ 34 w 173"/>
                <a:gd name="T95" fmla="*/ 5 h 326"/>
                <a:gd name="T96" fmla="*/ 32 w 173"/>
                <a:gd name="T97" fmla="*/ 27 h 326"/>
                <a:gd name="T98" fmla="*/ 48 w 173"/>
                <a:gd name="T99" fmla="*/ 64 h 326"/>
                <a:gd name="T100" fmla="*/ 45 w 173"/>
                <a:gd name="T101" fmla="*/ 88 h 326"/>
                <a:gd name="T102" fmla="*/ 50 w 173"/>
                <a:gd name="T103" fmla="*/ 123 h 326"/>
                <a:gd name="T104" fmla="*/ 80 w 173"/>
                <a:gd name="T105" fmla="*/ 120 h 326"/>
                <a:gd name="T106" fmla="*/ 69 w 173"/>
                <a:gd name="T107" fmla="*/ 131 h 326"/>
                <a:gd name="T108" fmla="*/ 58 w 173"/>
                <a:gd name="T109" fmla="*/ 165 h 326"/>
                <a:gd name="T110" fmla="*/ 67 w 173"/>
                <a:gd name="T111" fmla="*/ 208 h 326"/>
                <a:gd name="T112" fmla="*/ 45 w 173"/>
                <a:gd name="T113" fmla="*/ 216 h 326"/>
                <a:gd name="T114" fmla="*/ 21 w 173"/>
                <a:gd name="T115" fmla="*/ 214 h 326"/>
                <a:gd name="T116" fmla="*/ 26 w 173"/>
                <a:gd name="T117" fmla="*/ 232 h 326"/>
                <a:gd name="T118" fmla="*/ 24 w 173"/>
                <a:gd name="T119" fmla="*/ 264 h 326"/>
                <a:gd name="T120" fmla="*/ 2 w 173"/>
                <a:gd name="T121" fmla="*/ 288 h 326"/>
                <a:gd name="T122" fmla="*/ 21 w 173"/>
                <a:gd name="T123" fmla="*/ 296 h 326"/>
                <a:gd name="T124" fmla="*/ 29 w 173"/>
                <a:gd name="T125" fmla="*/ 30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3" h="326" extrusionOk="0">
                  <a:moveTo>
                    <a:pt x="29" y="318"/>
                  </a:moveTo>
                  <a:lnTo>
                    <a:pt x="32" y="315"/>
                  </a:lnTo>
                  <a:lnTo>
                    <a:pt x="32" y="315"/>
                  </a:lnTo>
                  <a:lnTo>
                    <a:pt x="32" y="318"/>
                  </a:lnTo>
                  <a:lnTo>
                    <a:pt x="32" y="318"/>
                  </a:lnTo>
                  <a:lnTo>
                    <a:pt x="29" y="320"/>
                  </a:lnTo>
                  <a:lnTo>
                    <a:pt x="29" y="323"/>
                  </a:lnTo>
                  <a:lnTo>
                    <a:pt x="29" y="323"/>
                  </a:lnTo>
                  <a:lnTo>
                    <a:pt x="29" y="326"/>
                  </a:lnTo>
                  <a:lnTo>
                    <a:pt x="29" y="326"/>
                  </a:lnTo>
                  <a:lnTo>
                    <a:pt x="29" y="323"/>
                  </a:lnTo>
                  <a:lnTo>
                    <a:pt x="32" y="323"/>
                  </a:lnTo>
                  <a:lnTo>
                    <a:pt x="32" y="320"/>
                  </a:lnTo>
                  <a:lnTo>
                    <a:pt x="32" y="318"/>
                  </a:lnTo>
                  <a:lnTo>
                    <a:pt x="34" y="318"/>
                  </a:lnTo>
                  <a:lnTo>
                    <a:pt x="34" y="318"/>
                  </a:lnTo>
                  <a:lnTo>
                    <a:pt x="34" y="315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07"/>
                  </a:lnTo>
                  <a:lnTo>
                    <a:pt x="34" y="307"/>
                  </a:lnTo>
                  <a:lnTo>
                    <a:pt x="37" y="307"/>
                  </a:lnTo>
                  <a:lnTo>
                    <a:pt x="37" y="310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5"/>
                  </a:lnTo>
                  <a:lnTo>
                    <a:pt x="37" y="312"/>
                  </a:lnTo>
                  <a:lnTo>
                    <a:pt x="37" y="312"/>
                  </a:lnTo>
                  <a:lnTo>
                    <a:pt x="40" y="310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37" y="299"/>
                  </a:lnTo>
                  <a:lnTo>
                    <a:pt x="37" y="299"/>
                  </a:lnTo>
                  <a:lnTo>
                    <a:pt x="40" y="299"/>
                  </a:lnTo>
                  <a:lnTo>
                    <a:pt x="40" y="299"/>
                  </a:lnTo>
                  <a:lnTo>
                    <a:pt x="40" y="302"/>
                  </a:lnTo>
                  <a:lnTo>
                    <a:pt x="42" y="302"/>
                  </a:lnTo>
                  <a:lnTo>
                    <a:pt x="40" y="299"/>
                  </a:lnTo>
                  <a:lnTo>
                    <a:pt x="40" y="296"/>
                  </a:lnTo>
                  <a:lnTo>
                    <a:pt x="40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8" y="304"/>
                  </a:lnTo>
                  <a:lnTo>
                    <a:pt x="48" y="307"/>
                  </a:lnTo>
                  <a:lnTo>
                    <a:pt x="48" y="310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5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5"/>
                  </a:lnTo>
                  <a:lnTo>
                    <a:pt x="50" y="312"/>
                  </a:lnTo>
                  <a:lnTo>
                    <a:pt x="50" y="312"/>
                  </a:lnTo>
                  <a:lnTo>
                    <a:pt x="53" y="310"/>
                  </a:lnTo>
                  <a:lnTo>
                    <a:pt x="56" y="310"/>
                  </a:lnTo>
                  <a:lnTo>
                    <a:pt x="56" y="307"/>
                  </a:lnTo>
                  <a:lnTo>
                    <a:pt x="58" y="307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8" y="312"/>
                  </a:lnTo>
                  <a:lnTo>
                    <a:pt x="58" y="312"/>
                  </a:lnTo>
                  <a:lnTo>
                    <a:pt x="58" y="310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1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69" y="318"/>
                  </a:lnTo>
                  <a:lnTo>
                    <a:pt x="69" y="320"/>
                  </a:lnTo>
                  <a:lnTo>
                    <a:pt x="69" y="320"/>
                  </a:lnTo>
                  <a:lnTo>
                    <a:pt x="72" y="320"/>
                  </a:lnTo>
                  <a:lnTo>
                    <a:pt x="72" y="318"/>
                  </a:lnTo>
                  <a:lnTo>
                    <a:pt x="72" y="320"/>
                  </a:lnTo>
                  <a:lnTo>
                    <a:pt x="75" y="320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77" y="320"/>
                  </a:lnTo>
                  <a:lnTo>
                    <a:pt x="80" y="318"/>
                  </a:lnTo>
                  <a:lnTo>
                    <a:pt x="80" y="318"/>
                  </a:lnTo>
                  <a:lnTo>
                    <a:pt x="80" y="318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0" y="320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3" y="315"/>
                  </a:lnTo>
                  <a:lnTo>
                    <a:pt x="83" y="315"/>
                  </a:lnTo>
                  <a:lnTo>
                    <a:pt x="85" y="315"/>
                  </a:lnTo>
                  <a:lnTo>
                    <a:pt x="85" y="315"/>
                  </a:lnTo>
                  <a:lnTo>
                    <a:pt x="85" y="315"/>
                  </a:lnTo>
                  <a:lnTo>
                    <a:pt x="85" y="318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3" y="318"/>
                  </a:lnTo>
                  <a:lnTo>
                    <a:pt x="85" y="318"/>
                  </a:lnTo>
                  <a:lnTo>
                    <a:pt x="85" y="315"/>
                  </a:lnTo>
                  <a:lnTo>
                    <a:pt x="88" y="315"/>
                  </a:lnTo>
                  <a:lnTo>
                    <a:pt x="88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91" y="312"/>
                  </a:lnTo>
                  <a:lnTo>
                    <a:pt x="93" y="312"/>
                  </a:lnTo>
                  <a:lnTo>
                    <a:pt x="93" y="315"/>
                  </a:lnTo>
                  <a:lnTo>
                    <a:pt x="93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96" y="315"/>
                  </a:lnTo>
                  <a:lnTo>
                    <a:pt x="99" y="315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99" y="312"/>
                  </a:lnTo>
                  <a:lnTo>
                    <a:pt x="101" y="312"/>
                  </a:lnTo>
                  <a:lnTo>
                    <a:pt x="101" y="312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1" y="310"/>
                  </a:lnTo>
                  <a:lnTo>
                    <a:pt x="104" y="310"/>
                  </a:lnTo>
                  <a:lnTo>
                    <a:pt x="104" y="312"/>
                  </a:lnTo>
                  <a:lnTo>
                    <a:pt x="104" y="312"/>
                  </a:lnTo>
                  <a:lnTo>
                    <a:pt x="107" y="312"/>
                  </a:lnTo>
                  <a:lnTo>
                    <a:pt x="107" y="312"/>
                  </a:lnTo>
                  <a:lnTo>
                    <a:pt x="107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7" y="310"/>
                  </a:lnTo>
                  <a:lnTo>
                    <a:pt x="109" y="310"/>
                  </a:lnTo>
                  <a:lnTo>
                    <a:pt x="109" y="310"/>
                  </a:lnTo>
                  <a:lnTo>
                    <a:pt x="109" y="310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2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09" y="315"/>
                  </a:lnTo>
                  <a:lnTo>
                    <a:pt x="112" y="315"/>
                  </a:lnTo>
                  <a:lnTo>
                    <a:pt x="112" y="315"/>
                  </a:lnTo>
                  <a:lnTo>
                    <a:pt x="112" y="318"/>
                  </a:lnTo>
                  <a:lnTo>
                    <a:pt x="112" y="318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2" y="323"/>
                  </a:lnTo>
                  <a:lnTo>
                    <a:pt x="112" y="323"/>
                  </a:lnTo>
                  <a:lnTo>
                    <a:pt x="112" y="323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5" y="326"/>
                  </a:lnTo>
                  <a:lnTo>
                    <a:pt x="115" y="323"/>
                  </a:lnTo>
                  <a:lnTo>
                    <a:pt x="115" y="323"/>
                  </a:lnTo>
                  <a:lnTo>
                    <a:pt x="115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7" y="318"/>
                  </a:lnTo>
                  <a:lnTo>
                    <a:pt x="117" y="318"/>
                  </a:lnTo>
                  <a:lnTo>
                    <a:pt x="117" y="318"/>
                  </a:lnTo>
                  <a:lnTo>
                    <a:pt x="115" y="318"/>
                  </a:lnTo>
                  <a:lnTo>
                    <a:pt x="115" y="318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5" y="315"/>
                  </a:lnTo>
                  <a:lnTo>
                    <a:pt x="117" y="315"/>
                  </a:lnTo>
                  <a:lnTo>
                    <a:pt x="117" y="315"/>
                  </a:lnTo>
                  <a:lnTo>
                    <a:pt x="120" y="315"/>
                  </a:lnTo>
                  <a:lnTo>
                    <a:pt x="120" y="312"/>
                  </a:lnTo>
                  <a:lnTo>
                    <a:pt x="120" y="312"/>
                  </a:lnTo>
                  <a:lnTo>
                    <a:pt x="120" y="310"/>
                  </a:lnTo>
                  <a:lnTo>
                    <a:pt x="120" y="307"/>
                  </a:lnTo>
                  <a:lnTo>
                    <a:pt x="120" y="307"/>
                  </a:lnTo>
                  <a:lnTo>
                    <a:pt x="120" y="304"/>
                  </a:lnTo>
                  <a:lnTo>
                    <a:pt x="120" y="304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3" y="307"/>
                  </a:lnTo>
                  <a:lnTo>
                    <a:pt x="123" y="307"/>
                  </a:lnTo>
                  <a:lnTo>
                    <a:pt x="123" y="310"/>
                  </a:lnTo>
                  <a:lnTo>
                    <a:pt x="123" y="312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3" y="318"/>
                  </a:lnTo>
                  <a:lnTo>
                    <a:pt x="120" y="320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23" y="323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20"/>
                  </a:lnTo>
                  <a:lnTo>
                    <a:pt x="123" y="318"/>
                  </a:lnTo>
                  <a:lnTo>
                    <a:pt x="125" y="318"/>
                  </a:lnTo>
                  <a:lnTo>
                    <a:pt x="125" y="318"/>
                  </a:lnTo>
                  <a:lnTo>
                    <a:pt x="125" y="315"/>
                  </a:lnTo>
                  <a:lnTo>
                    <a:pt x="125" y="315"/>
                  </a:lnTo>
                  <a:lnTo>
                    <a:pt x="125" y="315"/>
                  </a:lnTo>
                  <a:lnTo>
                    <a:pt x="125" y="312"/>
                  </a:lnTo>
                  <a:lnTo>
                    <a:pt x="125" y="312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5" y="310"/>
                  </a:lnTo>
                  <a:lnTo>
                    <a:pt x="128" y="310"/>
                  </a:lnTo>
                  <a:lnTo>
                    <a:pt x="128" y="310"/>
                  </a:lnTo>
                  <a:lnTo>
                    <a:pt x="128" y="312"/>
                  </a:lnTo>
                  <a:lnTo>
                    <a:pt x="131" y="312"/>
                  </a:lnTo>
                  <a:lnTo>
                    <a:pt x="131" y="312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5"/>
                  </a:lnTo>
                  <a:lnTo>
                    <a:pt x="131" y="312"/>
                  </a:lnTo>
                  <a:lnTo>
                    <a:pt x="133" y="312"/>
                  </a:lnTo>
                  <a:lnTo>
                    <a:pt x="133" y="312"/>
                  </a:lnTo>
                  <a:lnTo>
                    <a:pt x="133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6" y="312"/>
                  </a:lnTo>
                  <a:lnTo>
                    <a:pt x="139" y="312"/>
                  </a:lnTo>
                  <a:lnTo>
                    <a:pt x="139" y="312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2"/>
                  </a:lnTo>
                  <a:lnTo>
                    <a:pt x="141" y="312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07"/>
                  </a:lnTo>
                  <a:lnTo>
                    <a:pt x="144" y="307"/>
                  </a:lnTo>
                  <a:lnTo>
                    <a:pt x="144" y="307"/>
                  </a:lnTo>
                  <a:lnTo>
                    <a:pt x="144" y="307"/>
                  </a:lnTo>
                  <a:lnTo>
                    <a:pt x="147" y="307"/>
                  </a:lnTo>
                  <a:lnTo>
                    <a:pt x="147" y="307"/>
                  </a:lnTo>
                  <a:lnTo>
                    <a:pt x="147" y="307"/>
                  </a:lnTo>
                  <a:lnTo>
                    <a:pt x="149" y="307"/>
                  </a:lnTo>
                  <a:lnTo>
                    <a:pt x="149" y="307"/>
                  </a:lnTo>
                  <a:lnTo>
                    <a:pt x="149" y="307"/>
                  </a:lnTo>
                  <a:lnTo>
                    <a:pt x="149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4"/>
                  </a:lnTo>
                  <a:lnTo>
                    <a:pt x="152" y="302"/>
                  </a:lnTo>
                  <a:lnTo>
                    <a:pt x="152" y="302"/>
                  </a:lnTo>
                  <a:lnTo>
                    <a:pt x="152" y="302"/>
                  </a:lnTo>
                  <a:lnTo>
                    <a:pt x="152" y="299"/>
                  </a:lnTo>
                  <a:lnTo>
                    <a:pt x="152" y="299"/>
                  </a:lnTo>
                  <a:lnTo>
                    <a:pt x="155" y="299"/>
                  </a:lnTo>
                  <a:lnTo>
                    <a:pt x="152" y="299"/>
                  </a:lnTo>
                  <a:lnTo>
                    <a:pt x="152" y="299"/>
                  </a:lnTo>
                  <a:lnTo>
                    <a:pt x="152" y="296"/>
                  </a:lnTo>
                  <a:lnTo>
                    <a:pt x="152" y="296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302"/>
                  </a:lnTo>
                  <a:lnTo>
                    <a:pt x="155" y="302"/>
                  </a:lnTo>
                  <a:lnTo>
                    <a:pt x="155" y="304"/>
                  </a:lnTo>
                  <a:lnTo>
                    <a:pt x="155" y="304"/>
                  </a:lnTo>
                  <a:lnTo>
                    <a:pt x="155" y="302"/>
                  </a:lnTo>
                  <a:lnTo>
                    <a:pt x="155" y="302"/>
                  </a:lnTo>
                  <a:lnTo>
                    <a:pt x="157" y="302"/>
                  </a:lnTo>
                  <a:lnTo>
                    <a:pt x="157" y="302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299"/>
                  </a:lnTo>
                  <a:lnTo>
                    <a:pt x="157" y="302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57" y="296"/>
                  </a:lnTo>
                  <a:lnTo>
                    <a:pt x="157" y="296"/>
                  </a:lnTo>
                  <a:lnTo>
                    <a:pt x="157" y="296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5" y="291"/>
                  </a:lnTo>
                  <a:lnTo>
                    <a:pt x="152" y="291"/>
                  </a:lnTo>
                  <a:lnTo>
                    <a:pt x="152" y="291"/>
                  </a:lnTo>
                  <a:lnTo>
                    <a:pt x="152" y="288"/>
                  </a:lnTo>
                  <a:lnTo>
                    <a:pt x="152" y="288"/>
                  </a:lnTo>
                  <a:lnTo>
                    <a:pt x="152" y="288"/>
                  </a:lnTo>
                  <a:lnTo>
                    <a:pt x="152" y="286"/>
                  </a:lnTo>
                  <a:lnTo>
                    <a:pt x="152" y="286"/>
                  </a:lnTo>
                  <a:lnTo>
                    <a:pt x="149" y="286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47" y="280"/>
                  </a:lnTo>
                  <a:lnTo>
                    <a:pt x="147" y="278"/>
                  </a:lnTo>
                  <a:lnTo>
                    <a:pt x="147" y="275"/>
                  </a:lnTo>
                  <a:lnTo>
                    <a:pt x="147" y="275"/>
                  </a:lnTo>
                  <a:lnTo>
                    <a:pt x="147" y="272"/>
                  </a:lnTo>
                  <a:lnTo>
                    <a:pt x="144" y="272"/>
                  </a:lnTo>
                  <a:lnTo>
                    <a:pt x="144" y="270"/>
                  </a:lnTo>
                  <a:lnTo>
                    <a:pt x="144" y="267"/>
                  </a:lnTo>
                  <a:lnTo>
                    <a:pt x="139" y="267"/>
                  </a:lnTo>
                  <a:lnTo>
                    <a:pt x="136" y="267"/>
                  </a:lnTo>
                  <a:lnTo>
                    <a:pt x="136" y="267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6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4" y="264"/>
                  </a:lnTo>
                  <a:lnTo>
                    <a:pt x="139" y="262"/>
                  </a:lnTo>
                  <a:lnTo>
                    <a:pt x="139" y="259"/>
                  </a:lnTo>
                  <a:lnTo>
                    <a:pt x="139" y="259"/>
                  </a:lnTo>
                  <a:lnTo>
                    <a:pt x="139" y="256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41" y="251"/>
                  </a:lnTo>
                  <a:lnTo>
                    <a:pt x="141" y="251"/>
                  </a:lnTo>
                  <a:lnTo>
                    <a:pt x="144" y="251"/>
                  </a:lnTo>
                  <a:lnTo>
                    <a:pt x="144" y="251"/>
                  </a:lnTo>
                  <a:lnTo>
                    <a:pt x="147" y="251"/>
                  </a:lnTo>
                  <a:lnTo>
                    <a:pt x="149" y="251"/>
                  </a:lnTo>
                  <a:lnTo>
                    <a:pt x="149" y="251"/>
                  </a:lnTo>
                  <a:lnTo>
                    <a:pt x="152" y="254"/>
                  </a:lnTo>
                  <a:lnTo>
                    <a:pt x="152" y="254"/>
                  </a:lnTo>
                  <a:lnTo>
                    <a:pt x="152" y="256"/>
                  </a:lnTo>
                  <a:lnTo>
                    <a:pt x="152" y="259"/>
                  </a:lnTo>
                  <a:lnTo>
                    <a:pt x="152" y="259"/>
                  </a:lnTo>
                  <a:lnTo>
                    <a:pt x="152" y="262"/>
                  </a:lnTo>
                  <a:lnTo>
                    <a:pt x="152" y="262"/>
                  </a:lnTo>
                  <a:lnTo>
                    <a:pt x="157" y="264"/>
                  </a:lnTo>
                  <a:lnTo>
                    <a:pt x="160" y="267"/>
                  </a:lnTo>
                  <a:lnTo>
                    <a:pt x="163" y="267"/>
                  </a:lnTo>
                  <a:lnTo>
                    <a:pt x="165" y="267"/>
                  </a:lnTo>
                  <a:lnTo>
                    <a:pt x="168" y="267"/>
                  </a:lnTo>
                  <a:lnTo>
                    <a:pt x="171" y="264"/>
                  </a:lnTo>
                  <a:lnTo>
                    <a:pt x="171" y="264"/>
                  </a:lnTo>
                  <a:lnTo>
                    <a:pt x="171" y="259"/>
                  </a:lnTo>
                  <a:lnTo>
                    <a:pt x="168" y="232"/>
                  </a:lnTo>
                  <a:lnTo>
                    <a:pt x="168" y="227"/>
                  </a:lnTo>
                  <a:lnTo>
                    <a:pt x="173" y="200"/>
                  </a:lnTo>
                  <a:lnTo>
                    <a:pt x="173" y="195"/>
                  </a:lnTo>
                  <a:lnTo>
                    <a:pt x="171" y="195"/>
                  </a:lnTo>
                  <a:lnTo>
                    <a:pt x="168" y="192"/>
                  </a:lnTo>
                  <a:lnTo>
                    <a:pt x="168" y="190"/>
                  </a:lnTo>
                  <a:lnTo>
                    <a:pt x="168" y="179"/>
                  </a:lnTo>
                  <a:lnTo>
                    <a:pt x="168" y="171"/>
                  </a:lnTo>
                  <a:lnTo>
                    <a:pt x="168" y="165"/>
                  </a:lnTo>
                  <a:lnTo>
                    <a:pt x="168" y="163"/>
                  </a:lnTo>
                  <a:lnTo>
                    <a:pt x="163" y="152"/>
                  </a:lnTo>
                  <a:lnTo>
                    <a:pt x="160" y="152"/>
                  </a:lnTo>
                  <a:lnTo>
                    <a:pt x="157" y="152"/>
                  </a:lnTo>
                  <a:lnTo>
                    <a:pt x="155" y="149"/>
                  </a:lnTo>
                  <a:lnTo>
                    <a:pt x="147" y="144"/>
                  </a:lnTo>
                  <a:lnTo>
                    <a:pt x="141" y="141"/>
                  </a:lnTo>
                  <a:lnTo>
                    <a:pt x="139" y="139"/>
                  </a:lnTo>
                  <a:lnTo>
                    <a:pt x="133" y="128"/>
                  </a:lnTo>
                  <a:lnTo>
                    <a:pt x="125" y="139"/>
                  </a:lnTo>
                  <a:lnTo>
                    <a:pt x="123" y="139"/>
                  </a:lnTo>
                  <a:lnTo>
                    <a:pt x="123" y="139"/>
                  </a:lnTo>
                  <a:lnTo>
                    <a:pt x="120" y="133"/>
                  </a:lnTo>
                  <a:lnTo>
                    <a:pt x="120" y="131"/>
                  </a:lnTo>
                  <a:lnTo>
                    <a:pt x="117" y="128"/>
                  </a:lnTo>
                  <a:lnTo>
                    <a:pt x="117" y="123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20" y="117"/>
                  </a:lnTo>
                  <a:lnTo>
                    <a:pt x="120" y="117"/>
                  </a:lnTo>
                  <a:lnTo>
                    <a:pt x="120" y="101"/>
                  </a:lnTo>
                  <a:lnTo>
                    <a:pt x="123" y="101"/>
                  </a:lnTo>
                  <a:lnTo>
                    <a:pt x="125" y="104"/>
                  </a:lnTo>
                  <a:lnTo>
                    <a:pt x="128" y="104"/>
                  </a:lnTo>
                  <a:lnTo>
                    <a:pt x="128" y="101"/>
                  </a:lnTo>
                  <a:lnTo>
                    <a:pt x="131" y="101"/>
                  </a:lnTo>
                  <a:lnTo>
                    <a:pt x="131" y="104"/>
                  </a:lnTo>
                  <a:lnTo>
                    <a:pt x="133" y="101"/>
                  </a:lnTo>
                  <a:lnTo>
                    <a:pt x="128" y="96"/>
                  </a:lnTo>
                  <a:lnTo>
                    <a:pt x="133" y="91"/>
                  </a:lnTo>
                  <a:lnTo>
                    <a:pt x="133" y="91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3"/>
                  </a:lnTo>
                  <a:lnTo>
                    <a:pt x="120" y="64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2" y="51"/>
                  </a:lnTo>
                  <a:lnTo>
                    <a:pt x="131" y="37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5" y="27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99" y="2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3" y="8"/>
                  </a:lnTo>
                  <a:lnTo>
                    <a:pt x="91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0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2"/>
                  </a:lnTo>
                  <a:lnTo>
                    <a:pt x="61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0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5" y="8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37" y="2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4" y="13"/>
                  </a:lnTo>
                  <a:lnTo>
                    <a:pt x="32" y="24"/>
                  </a:lnTo>
                  <a:lnTo>
                    <a:pt x="29" y="24"/>
                  </a:lnTo>
                  <a:lnTo>
                    <a:pt x="32" y="27"/>
                  </a:lnTo>
                  <a:lnTo>
                    <a:pt x="34" y="29"/>
                  </a:lnTo>
                  <a:lnTo>
                    <a:pt x="34" y="32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7" y="40"/>
                  </a:lnTo>
                  <a:lnTo>
                    <a:pt x="40" y="53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9"/>
                  </a:lnTo>
                  <a:lnTo>
                    <a:pt x="53" y="61"/>
                  </a:lnTo>
                  <a:lnTo>
                    <a:pt x="48" y="64"/>
                  </a:lnTo>
                  <a:lnTo>
                    <a:pt x="45" y="64"/>
                  </a:lnTo>
                  <a:lnTo>
                    <a:pt x="45" y="69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5" y="75"/>
                  </a:lnTo>
                  <a:lnTo>
                    <a:pt x="42" y="77"/>
                  </a:lnTo>
                  <a:lnTo>
                    <a:pt x="42" y="80"/>
                  </a:lnTo>
                  <a:lnTo>
                    <a:pt x="42" y="83"/>
                  </a:lnTo>
                  <a:lnTo>
                    <a:pt x="42" y="85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93"/>
                  </a:lnTo>
                  <a:lnTo>
                    <a:pt x="45" y="96"/>
                  </a:lnTo>
                  <a:lnTo>
                    <a:pt x="45" y="99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7"/>
                  </a:lnTo>
                  <a:lnTo>
                    <a:pt x="48" y="109"/>
                  </a:lnTo>
                  <a:lnTo>
                    <a:pt x="48" y="115"/>
                  </a:lnTo>
                  <a:lnTo>
                    <a:pt x="48" y="117"/>
                  </a:lnTo>
                  <a:lnTo>
                    <a:pt x="50" y="120"/>
                  </a:lnTo>
                  <a:lnTo>
                    <a:pt x="50" y="123"/>
                  </a:lnTo>
                  <a:lnTo>
                    <a:pt x="53" y="125"/>
                  </a:lnTo>
                  <a:lnTo>
                    <a:pt x="53" y="125"/>
                  </a:lnTo>
                  <a:lnTo>
                    <a:pt x="56" y="125"/>
                  </a:lnTo>
                  <a:lnTo>
                    <a:pt x="58" y="125"/>
                  </a:lnTo>
                  <a:lnTo>
                    <a:pt x="61" y="125"/>
                  </a:lnTo>
                  <a:lnTo>
                    <a:pt x="64" y="125"/>
                  </a:lnTo>
                  <a:lnTo>
                    <a:pt x="69" y="123"/>
                  </a:lnTo>
                  <a:lnTo>
                    <a:pt x="72" y="123"/>
                  </a:lnTo>
                  <a:lnTo>
                    <a:pt x="75" y="123"/>
                  </a:lnTo>
                  <a:lnTo>
                    <a:pt x="77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0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31"/>
                  </a:lnTo>
                  <a:lnTo>
                    <a:pt x="85" y="131"/>
                  </a:lnTo>
                  <a:lnTo>
                    <a:pt x="80" y="128"/>
                  </a:lnTo>
                  <a:lnTo>
                    <a:pt x="75" y="128"/>
                  </a:lnTo>
                  <a:lnTo>
                    <a:pt x="69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1" y="136"/>
                  </a:lnTo>
                  <a:lnTo>
                    <a:pt x="61" y="144"/>
                  </a:lnTo>
                  <a:lnTo>
                    <a:pt x="61" y="149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58" y="163"/>
                  </a:lnTo>
                  <a:lnTo>
                    <a:pt x="58" y="165"/>
                  </a:lnTo>
                  <a:lnTo>
                    <a:pt x="61" y="168"/>
                  </a:lnTo>
                  <a:lnTo>
                    <a:pt x="58" y="176"/>
                  </a:lnTo>
                  <a:lnTo>
                    <a:pt x="67" y="182"/>
                  </a:lnTo>
                  <a:lnTo>
                    <a:pt x="61" y="190"/>
                  </a:lnTo>
                  <a:lnTo>
                    <a:pt x="72" y="192"/>
                  </a:lnTo>
                  <a:lnTo>
                    <a:pt x="69" y="195"/>
                  </a:lnTo>
                  <a:lnTo>
                    <a:pt x="69" y="198"/>
                  </a:lnTo>
                  <a:lnTo>
                    <a:pt x="69" y="203"/>
                  </a:lnTo>
                  <a:lnTo>
                    <a:pt x="69" y="206"/>
                  </a:lnTo>
                  <a:lnTo>
                    <a:pt x="69" y="208"/>
                  </a:lnTo>
                  <a:lnTo>
                    <a:pt x="67" y="208"/>
                  </a:lnTo>
                  <a:lnTo>
                    <a:pt x="64" y="211"/>
                  </a:lnTo>
                  <a:lnTo>
                    <a:pt x="64" y="211"/>
                  </a:lnTo>
                  <a:lnTo>
                    <a:pt x="61" y="211"/>
                  </a:lnTo>
                  <a:lnTo>
                    <a:pt x="58" y="211"/>
                  </a:lnTo>
                  <a:lnTo>
                    <a:pt x="56" y="208"/>
                  </a:lnTo>
                  <a:lnTo>
                    <a:pt x="53" y="208"/>
                  </a:lnTo>
                  <a:lnTo>
                    <a:pt x="50" y="211"/>
                  </a:lnTo>
                  <a:lnTo>
                    <a:pt x="45" y="211"/>
                  </a:lnTo>
                  <a:lnTo>
                    <a:pt x="45" y="211"/>
                  </a:lnTo>
                  <a:lnTo>
                    <a:pt x="45" y="214"/>
                  </a:lnTo>
                  <a:lnTo>
                    <a:pt x="45" y="216"/>
                  </a:lnTo>
                  <a:lnTo>
                    <a:pt x="42" y="219"/>
                  </a:lnTo>
                  <a:lnTo>
                    <a:pt x="42" y="222"/>
                  </a:lnTo>
                  <a:lnTo>
                    <a:pt x="40" y="222"/>
                  </a:lnTo>
                  <a:lnTo>
                    <a:pt x="40" y="222"/>
                  </a:lnTo>
                  <a:lnTo>
                    <a:pt x="37" y="219"/>
                  </a:lnTo>
                  <a:lnTo>
                    <a:pt x="34" y="219"/>
                  </a:lnTo>
                  <a:lnTo>
                    <a:pt x="32" y="216"/>
                  </a:lnTo>
                  <a:lnTo>
                    <a:pt x="29" y="216"/>
                  </a:lnTo>
                  <a:lnTo>
                    <a:pt x="26" y="214"/>
                  </a:lnTo>
                  <a:lnTo>
                    <a:pt x="24" y="214"/>
                  </a:lnTo>
                  <a:lnTo>
                    <a:pt x="21" y="214"/>
                  </a:lnTo>
                  <a:lnTo>
                    <a:pt x="18" y="216"/>
                  </a:lnTo>
                  <a:lnTo>
                    <a:pt x="13" y="216"/>
                  </a:lnTo>
                  <a:lnTo>
                    <a:pt x="10" y="216"/>
                  </a:lnTo>
                  <a:lnTo>
                    <a:pt x="10" y="216"/>
                  </a:lnTo>
                  <a:lnTo>
                    <a:pt x="10" y="219"/>
                  </a:lnTo>
                  <a:lnTo>
                    <a:pt x="13" y="222"/>
                  </a:lnTo>
                  <a:lnTo>
                    <a:pt x="13" y="222"/>
                  </a:lnTo>
                  <a:lnTo>
                    <a:pt x="16" y="224"/>
                  </a:lnTo>
                  <a:lnTo>
                    <a:pt x="18" y="224"/>
                  </a:lnTo>
                  <a:lnTo>
                    <a:pt x="18" y="227"/>
                  </a:lnTo>
                  <a:lnTo>
                    <a:pt x="26" y="232"/>
                  </a:lnTo>
                  <a:lnTo>
                    <a:pt x="21" y="243"/>
                  </a:lnTo>
                  <a:lnTo>
                    <a:pt x="21" y="246"/>
                  </a:lnTo>
                  <a:lnTo>
                    <a:pt x="26" y="246"/>
                  </a:lnTo>
                  <a:lnTo>
                    <a:pt x="29" y="248"/>
                  </a:lnTo>
                  <a:lnTo>
                    <a:pt x="32" y="248"/>
                  </a:lnTo>
                  <a:lnTo>
                    <a:pt x="37" y="251"/>
                  </a:lnTo>
                  <a:lnTo>
                    <a:pt x="37" y="256"/>
                  </a:lnTo>
                  <a:lnTo>
                    <a:pt x="37" y="256"/>
                  </a:lnTo>
                  <a:lnTo>
                    <a:pt x="32" y="259"/>
                  </a:lnTo>
                  <a:lnTo>
                    <a:pt x="29" y="262"/>
                  </a:lnTo>
                  <a:lnTo>
                    <a:pt x="24" y="264"/>
                  </a:lnTo>
                  <a:lnTo>
                    <a:pt x="21" y="267"/>
                  </a:lnTo>
                  <a:lnTo>
                    <a:pt x="18" y="270"/>
                  </a:lnTo>
                  <a:lnTo>
                    <a:pt x="16" y="272"/>
                  </a:lnTo>
                  <a:lnTo>
                    <a:pt x="13" y="275"/>
                  </a:lnTo>
                  <a:lnTo>
                    <a:pt x="10" y="278"/>
                  </a:lnTo>
                  <a:lnTo>
                    <a:pt x="5" y="280"/>
                  </a:lnTo>
                  <a:lnTo>
                    <a:pt x="2" y="283"/>
                  </a:lnTo>
                  <a:lnTo>
                    <a:pt x="2" y="286"/>
                  </a:lnTo>
                  <a:lnTo>
                    <a:pt x="0" y="288"/>
                  </a:lnTo>
                  <a:lnTo>
                    <a:pt x="2" y="288"/>
                  </a:lnTo>
                  <a:lnTo>
                    <a:pt x="2" y="288"/>
                  </a:lnTo>
                  <a:lnTo>
                    <a:pt x="5" y="288"/>
                  </a:lnTo>
                  <a:lnTo>
                    <a:pt x="8" y="291"/>
                  </a:lnTo>
                  <a:lnTo>
                    <a:pt x="10" y="291"/>
                  </a:lnTo>
                  <a:lnTo>
                    <a:pt x="10" y="291"/>
                  </a:lnTo>
                  <a:lnTo>
                    <a:pt x="13" y="294"/>
                  </a:lnTo>
                  <a:lnTo>
                    <a:pt x="13" y="294"/>
                  </a:lnTo>
                  <a:lnTo>
                    <a:pt x="16" y="296"/>
                  </a:lnTo>
                  <a:lnTo>
                    <a:pt x="16" y="296"/>
                  </a:lnTo>
                  <a:lnTo>
                    <a:pt x="18" y="296"/>
                  </a:lnTo>
                  <a:lnTo>
                    <a:pt x="18" y="296"/>
                  </a:lnTo>
                  <a:lnTo>
                    <a:pt x="21" y="296"/>
                  </a:lnTo>
                  <a:lnTo>
                    <a:pt x="21" y="296"/>
                  </a:lnTo>
                  <a:lnTo>
                    <a:pt x="21" y="294"/>
                  </a:lnTo>
                  <a:lnTo>
                    <a:pt x="21" y="296"/>
                  </a:lnTo>
                  <a:lnTo>
                    <a:pt x="24" y="296"/>
                  </a:lnTo>
                  <a:lnTo>
                    <a:pt x="26" y="296"/>
                  </a:lnTo>
                  <a:lnTo>
                    <a:pt x="26" y="299"/>
                  </a:lnTo>
                  <a:lnTo>
                    <a:pt x="26" y="302"/>
                  </a:lnTo>
                  <a:lnTo>
                    <a:pt x="32" y="302"/>
                  </a:lnTo>
                  <a:lnTo>
                    <a:pt x="32" y="304"/>
                  </a:lnTo>
                  <a:lnTo>
                    <a:pt x="29" y="304"/>
                  </a:lnTo>
                  <a:lnTo>
                    <a:pt x="29" y="304"/>
                  </a:lnTo>
                  <a:lnTo>
                    <a:pt x="29" y="307"/>
                  </a:lnTo>
                  <a:lnTo>
                    <a:pt x="29" y="307"/>
                  </a:lnTo>
                  <a:lnTo>
                    <a:pt x="26" y="310"/>
                  </a:lnTo>
                  <a:lnTo>
                    <a:pt x="26" y="312"/>
                  </a:lnTo>
                  <a:lnTo>
                    <a:pt x="26" y="312"/>
                  </a:lnTo>
                  <a:lnTo>
                    <a:pt x="29" y="315"/>
                  </a:lnTo>
                  <a:lnTo>
                    <a:pt x="29" y="315"/>
                  </a:lnTo>
                  <a:lnTo>
                    <a:pt x="29" y="318"/>
                  </a:lnTo>
                  <a:lnTo>
                    <a:pt x="29" y="31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2" name="Freeform 8909">
              <a:extLst>
                <a:ext uri="{FF2B5EF4-FFF2-40B4-BE49-F238E27FC236}">
                  <a16:creationId xmlns:a16="http://schemas.microsoft.com/office/drawing/2014/main" id="{EAAC65CE-8165-1D41-AEF2-AB637336FBF4}"/>
                </a:ext>
              </a:extLst>
            </p:cNvPr>
            <p:cNvSpPr/>
            <p:nvPr/>
          </p:nvSpPr>
          <p:spPr bwMode="auto">
            <a:xfrm>
              <a:off x="1059655" y="5402264"/>
              <a:ext cx="241299" cy="157163"/>
            </a:xfrm>
            <a:custGeom>
              <a:avLst/>
              <a:gdLst>
                <a:gd name="T0" fmla="*/ 54 w 152"/>
                <a:gd name="T1" fmla="*/ 5 h 99"/>
                <a:gd name="T2" fmla="*/ 59 w 152"/>
                <a:gd name="T3" fmla="*/ 3 h 99"/>
                <a:gd name="T4" fmla="*/ 70 w 152"/>
                <a:gd name="T5" fmla="*/ 8 h 99"/>
                <a:gd name="T6" fmla="*/ 78 w 152"/>
                <a:gd name="T7" fmla="*/ 8 h 99"/>
                <a:gd name="T8" fmla="*/ 80 w 152"/>
                <a:gd name="T9" fmla="*/ 16 h 99"/>
                <a:gd name="T10" fmla="*/ 80 w 152"/>
                <a:gd name="T11" fmla="*/ 24 h 99"/>
                <a:gd name="T12" fmla="*/ 91 w 152"/>
                <a:gd name="T13" fmla="*/ 24 h 99"/>
                <a:gd name="T14" fmla="*/ 99 w 152"/>
                <a:gd name="T15" fmla="*/ 35 h 99"/>
                <a:gd name="T16" fmla="*/ 107 w 152"/>
                <a:gd name="T17" fmla="*/ 37 h 99"/>
                <a:gd name="T18" fmla="*/ 120 w 152"/>
                <a:gd name="T19" fmla="*/ 29 h 99"/>
                <a:gd name="T20" fmla="*/ 123 w 152"/>
                <a:gd name="T21" fmla="*/ 32 h 99"/>
                <a:gd name="T22" fmla="*/ 131 w 152"/>
                <a:gd name="T23" fmla="*/ 40 h 99"/>
                <a:gd name="T24" fmla="*/ 134 w 152"/>
                <a:gd name="T25" fmla="*/ 45 h 99"/>
                <a:gd name="T26" fmla="*/ 139 w 152"/>
                <a:gd name="T27" fmla="*/ 48 h 99"/>
                <a:gd name="T28" fmla="*/ 147 w 152"/>
                <a:gd name="T29" fmla="*/ 48 h 99"/>
                <a:gd name="T30" fmla="*/ 150 w 152"/>
                <a:gd name="T31" fmla="*/ 51 h 99"/>
                <a:gd name="T32" fmla="*/ 144 w 152"/>
                <a:gd name="T33" fmla="*/ 51 h 99"/>
                <a:gd name="T34" fmla="*/ 136 w 152"/>
                <a:gd name="T35" fmla="*/ 53 h 99"/>
                <a:gd name="T36" fmla="*/ 134 w 152"/>
                <a:gd name="T37" fmla="*/ 59 h 99"/>
                <a:gd name="T38" fmla="*/ 128 w 152"/>
                <a:gd name="T39" fmla="*/ 70 h 99"/>
                <a:gd name="T40" fmla="*/ 134 w 152"/>
                <a:gd name="T41" fmla="*/ 72 h 99"/>
                <a:gd name="T42" fmla="*/ 128 w 152"/>
                <a:gd name="T43" fmla="*/ 86 h 99"/>
                <a:gd name="T44" fmla="*/ 126 w 152"/>
                <a:gd name="T45" fmla="*/ 88 h 99"/>
                <a:gd name="T46" fmla="*/ 118 w 152"/>
                <a:gd name="T47" fmla="*/ 94 h 99"/>
                <a:gd name="T48" fmla="*/ 115 w 152"/>
                <a:gd name="T49" fmla="*/ 88 h 99"/>
                <a:gd name="T50" fmla="*/ 107 w 152"/>
                <a:gd name="T51" fmla="*/ 88 h 99"/>
                <a:gd name="T52" fmla="*/ 107 w 152"/>
                <a:gd name="T53" fmla="*/ 83 h 99"/>
                <a:gd name="T54" fmla="*/ 96 w 152"/>
                <a:gd name="T55" fmla="*/ 86 h 99"/>
                <a:gd name="T56" fmla="*/ 88 w 152"/>
                <a:gd name="T57" fmla="*/ 94 h 99"/>
                <a:gd name="T58" fmla="*/ 88 w 152"/>
                <a:gd name="T59" fmla="*/ 88 h 99"/>
                <a:gd name="T60" fmla="*/ 83 w 152"/>
                <a:gd name="T61" fmla="*/ 86 h 99"/>
                <a:gd name="T62" fmla="*/ 80 w 152"/>
                <a:gd name="T63" fmla="*/ 80 h 99"/>
                <a:gd name="T64" fmla="*/ 70 w 152"/>
                <a:gd name="T65" fmla="*/ 88 h 99"/>
                <a:gd name="T66" fmla="*/ 62 w 152"/>
                <a:gd name="T67" fmla="*/ 91 h 99"/>
                <a:gd name="T68" fmla="*/ 56 w 152"/>
                <a:gd name="T69" fmla="*/ 96 h 99"/>
                <a:gd name="T70" fmla="*/ 48 w 152"/>
                <a:gd name="T71" fmla="*/ 99 h 99"/>
                <a:gd name="T72" fmla="*/ 46 w 152"/>
                <a:gd name="T73" fmla="*/ 91 h 99"/>
                <a:gd name="T74" fmla="*/ 40 w 152"/>
                <a:gd name="T75" fmla="*/ 91 h 99"/>
                <a:gd name="T76" fmla="*/ 35 w 152"/>
                <a:gd name="T77" fmla="*/ 91 h 99"/>
                <a:gd name="T78" fmla="*/ 30 w 152"/>
                <a:gd name="T79" fmla="*/ 86 h 99"/>
                <a:gd name="T80" fmla="*/ 27 w 152"/>
                <a:gd name="T81" fmla="*/ 72 h 99"/>
                <a:gd name="T82" fmla="*/ 27 w 152"/>
                <a:gd name="T83" fmla="*/ 67 h 99"/>
                <a:gd name="T84" fmla="*/ 27 w 152"/>
                <a:gd name="T85" fmla="*/ 64 h 99"/>
                <a:gd name="T86" fmla="*/ 24 w 152"/>
                <a:gd name="T87" fmla="*/ 59 h 99"/>
                <a:gd name="T88" fmla="*/ 22 w 152"/>
                <a:gd name="T89" fmla="*/ 53 h 99"/>
                <a:gd name="T90" fmla="*/ 19 w 152"/>
                <a:gd name="T91" fmla="*/ 51 h 99"/>
                <a:gd name="T92" fmla="*/ 14 w 152"/>
                <a:gd name="T93" fmla="*/ 48 h 99"/>
                <a:gd name="T94" fmla="*/ 8 w 152"/>
                <a:gd name="T95" fmla="*/ 48 h 99"/>
                <a:gd name="T96" fmla="*/ 6 w 152"/>
                <a:gd name="T97" fmla="*/ 48 h 99"/>
                <a:gd name="T98" fmla="*/ 3 w 152"/>
                <a:gd name="T99" fmla="*/ 40 h 99"/>
                <a:gd name="T100" fmla="*/ 3 w 152"/>
                <a:gd name="T101" fmla="*/ 35 h 99"/>
                <a:gd name="T102" fmla="*/ 0 w 152"/>
                <a:gd name="T103" fmla="*/ 32 h 99"/>
                <a:gd name="T104" fmla="*/ 3 w 152"/>
                <a:gd name="T105" fmla="*/ 27 h 99"/>
                <a:gd name="T106" fmla="*/ 8 w 152"/>
                <a:gd name="T107" fmla="*/ 24 h 99"/>
                <a:gd name="T108" fmla="*/ 11 w 152"/>
                <a:gd name="T109" fmla="*/ 19 h 99"/>
                <a:gd name="T110" fmla="*/ 19 w 152"/>
                <a:gd name="T111" fmla="*/ 13 h 99"/>
                <a:gd name="T112" fmla="*/ 22 w 152"/>
                <a:gd name="T113" fmla="*/ 5 h 99"/>
                <a:gd name="T114" fmla="*/ 30 w 152"/>
                <a:gd name="T115" fmla="*/ 8 h 99"/>
                <a:gd name="T116" fmla="*/ 40 w 152"/>
                <a:gd name="T117" fmla="*/ 8 h 99"/>
                <a:gd name="T118" fmla="*/ 46 w 152"/>
                <a:gd name="T11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99" extrusionOk="0">
                  <a:moveTo>
                    <a:pt x="46" y="0"/>
                  </a:moveTo>
                  <a:lnTo>
                    <a:pt x="46" y="3"/>
                  </a:lnTo>
                  <a:lnTo>
                    <a:pt x="48" y="3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9" y="3"/>
                  </a:lnTo>
                  <a:lnTo>
                    <a:pt x="62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70" y="8"/>
                  </a:lnTo>
                  <a:lnTo>
                    <a:pt x="72" y="11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83" y="8"/>
                  </a:lnTo>
                  <a:lnTo>
                    <a:pt x="83" y="11"/>
                  </a:lnTo>
                  <a:lnTo>
                    <a:pt x="80" y="13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80" y="21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88" y="24"/>
                  </a:lnTo>
                  <a:lnTo>
                    <a:pt x="91" y="24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2"/>
                  </a:lnTo>
                  <a:lnTo>
                    <a:pt x="99" y="35"/>
                  </a:lnTo>
                  <a:lnTo>
                    <a:pt x="102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10" y="32"/>
                  </a:lnTo>
                  <a:lnTo>
                    <a:pt x="112" y="29"/>
                  </a:lnTo>
                  <a:lnTo>
                    <a:pt x="118" y="32"/>
                  </a:lnTo>
                  <a:lnTo>
                    <a:pt x="120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5"/>
                  </a:lnTo>
                  <a:lnTo>
                    <a:pt x="126" y="37"/>
                  </a:lnTo>
                  <a:lnTo>
                    <a:pt x="128" y="37"/>
                  </a:lnTo>
                  <a:lnTo>
                    <a:pt x="131" y="40"/>
                  </a:lnTo>
                  <a:lnTo>
                    <a:pt x="134" y="40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4" y="45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9" y="51"/>
                  </a:lnTo>
                  <a:lnTo>
                    <a:pt x="139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0" y="51"/>
                  </a:lnTo>
                  <a:lnTo>
                    <a:pt x="147" y="51"/>
                  </a:lnTo>
                  <a:lnTo>
                    <a:pt x="147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2" y="53"/>
                  </a:lnTo>
                  <a:lnTo>
                    <a:pt x="139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8" y="67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8" y="72"/>
                  </a:lnTo>
                  <a:lnTo>
                    <a:pt x="131" y="72"/>
                  </a:lnTo>
                  <a:lnTo>
                    <a:pt x="134" y="72"/>
                  </a:lnTo>
                  <a:lnTo>
                    <a:pt x="134" y="75"/>
                  </a:lnTo>
                  <a:lnTo>
                    <a:pt x="131" y="80"/>
                  </a:lnTo>
                  <a:lnTo>
                    <a:pt x="134" y="83"/>
                  </a:lnTo>
                  <a:lnTo>
                    <a:pt x="128" y="86"/>
                  </a:lnTo>
                  <a:lnTo>
                    <a:pt x="128" y="86"/>
                  </a:lnTo>
                  <a:lnTo>
                    <a:pt x="128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3" y="88"/>
                  </a:lnTo>
                  <a:lnTo>
                    <a:pt x="123" y="94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8" y="91"/>
                  </a:lnTo>
                  <a:lnTo>
                    <a:pt x="118" y="88"/>
                  </a:lnTo>
                  <a:lnTo>
                    <a:pt x="115" y="88"/>
                  </a:lnTo>
                  <a:lnTo>
                    <a:pt x="112" y="88"/>
                  </a:lnTo>
                  <a:lnTo>
                    <a:pt x="110" y="88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4" y="88"/>
                  </a:lnTo>
                  <a:lnTo>
                    <a:pt x="107" y="88"/>
                  </a:lnTo>
                  <a:lnTo>
                    <a:pt x="107" y="86"/>
                  </a:lnTo>
                  <a:lnTo>
                    <a:pt x="107" y="83"/>
                  </a:lnTo>
                  <a:lnTo>
                    <a:pt x="107" y="80"/>
                  </a:lnTo>
                  <a:lnTo>
                    <a:pt x="104" y="83"/>
                  </a:lnTo>
                  <a:lnTo>
                    <a:pt x="102" y="83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91"/>
                  </a:lnTo>
                  <a:lnTo>
                    <a:pt x="94" y="94"/>
                  </a:lnTo>
                  <a:lnTo>
                    <a:pt x="88" y="94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91" y="91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6" y="88"/>
                  </a:lnTo>
                  <a:lnTo>
                    <a:pt x="83" y="88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6" y="83"/>
                  </a:lnTo>
                  <a:lnTo>
                    <a:pt x="83" y="80"/>
                  </a:lnTo>
                  <a:lnTo>
                    <a:pt x="80" y="80"/>
                  </a:lnTo>
                  <a:lnTo>
                    <a:pt x="78" y="83"/>
                  </a:lnTo>
                  <a:lnTo>
                    <a:pt x="75" y="83"/>
                  </a:lnTo>
                  <a:lnTo>
                    <a:pt x="72" y="86"/>
                  </a:lnTo>
                  <a:lnTo>
                    <a:pt x="70" y="88"/>
                  </a:lnTo>
                  <a:lnTo>
                    <a:pt x="70" y="91"/>
                  </a:lnTo>
                  <a:lnTo>
                    <a:pt x="67" y="91"/>
                  </a:lnTo>
                  <a:lnTo>
                    <a:pt x="64" y="91"/>
                  </a:lnTo>
                  <a:lnTo>
                    <a:pt x="62" y="91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1" y="96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6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6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0" y="91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5" y="94"/>
                  </a:lnTo>
                  <a:lnTo>
                    <a:pt x="35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7" y="75"/>
                  </a:lnTo>
                  <a:lnTo>
                    <a:pt x="27" y="72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6"/>
                  </a:lnTo>
                  <a:lnTo>
                    <a:pt x="22" y="56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6" y="16"/>
                  </a:lnTo>
                  <a:lnTo>
                    <a:pt x="16" y="13"/>
                  </a:lnTo>
                  <a:lnTo>
                    <a:pt x="19" y="13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7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5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3" name="Freeform 8910">
              <a:extLst>
                <a:ext uri="{FF2B5EF4-FFF2-40B4-BE49-F238E27FC236}">
                  <a16:creationId xmlns:a16="http://schemas.microsoft.com/office/drawing/2014/main" id="{07769190-E307-8040-93F1-84F4DD0DADFB}"/>
                </a:ext>
              </a:extLst>
            </p:cNvPr>
            <p:cNvSpPr/>
            <p:nvPr/>
          </p:nvSpPr>
          <p:spPr bwMode="auto">
            <a:xfrm>
              <a:off x="1089818" y="5054600"/>
              <a:ext cx="403224" cy="500063"/>
            </a:xfrm>
            <a:custGeom>
              <a:avLst/>
              <a:gdLst>
                <a:gd name="T0" fmla="*/ 141 w 254"/>
                <a:gd name="T1" fmla="*/ 302 h 315"/>
                <a:gd name="T2" fmla="*/ 131 w 254"/>
                <a:gd name="T3" fmla="*/ 289 h 315"/>
                <a:gd name="T4" fmla="*/ 117 w 254"/>
                <a:gd name="T5" fmla="*/ 281 h 315"/>
                <a:gd name="T6" fmla="*/ 123 w 254"/>
                <a:gd name="T7" fmla="*/ 272 h 315"/>
                <a:gd name="T8" fmla="*/ 128 w 254"/>
                <a:gd name="T9" fmla="*/ 267 h 315"/>
                <a:gd name="T10" fmla="*/ 112 w 254"/>
                <a:gd name="T11" fmla="*/ 262 h 315"/>
                <a:gd name="T12" fmla="*/ 101 w 254"/>
                <a:gd name="T13" fmla="*/ 248 h 315"/>
                <a:gd name="T14" fmla="*/ 77 w 254"/>
                <a:gd name="T15" fmla="*/ 248 h 315"/>
                <a:gd name="T16" fmla="*/ 61 w 254"/>
                <a:gd name="T17" fmla="*/ 235 h 315"/>
                <a:gd name="T18" fmla="*/ 48 w 254"/>
                <a:gd name="T19" fmla="*/ 224 h 315"/>
                <a:gd name="T20" fmla="*/ 27 w 254"/>
                <a:gd name="T21" fmla="*/ 219 h 315"/>
                <a:gd name="T22" fmla="*/ 29 w 254"/>
                <a:gd name="T23" fmla="*/ 206 h 315"/>
                <a:gd name="T24" fmla="*/ 24 w 254"/>
                <a:gd name="T25" fmla="*/ 198 h 315"/>
                <a:gd name="T26" fmla="*/ 19 w 254"/>
                <a:gd name="T27" fmla="*/ 192 h 315"/>
                <a:gd name="T28" fmla="*/ 19 w 254"/>
                <a:gd name="T29" fmla="*/ 182 h 315"/>
                <a:gd name="T30" fmla="*/ 32 w 254"/>
                <a:gd name="T31" fmla="*/ 179 h 315"/>
                <a:gd name="T32" fmla="*/ 45 w 254"/>
                <a:gd name="T33" fmla="*/ 176 h 315"/>
                <a:gd name="T34" fmla="*/ 35 w 254"/>
                <a:gd name="T35" fmla="*/ 174 h 315"/>
                <a:gd name="T36" fmla="*/ 19 w 254"/>
                <a:gd name="T37" fmla="*/ 152 h 315"/>
                <a:gd name="T38" fmla="*/ 13 w 254"/>
                <a:gd name="T39" fmla="*/ 136 h 315"/>
                <a:gd name="T40" fmla="*/ 3 w 254"/>
                <a:gd name="T41" fmla="*/ 128 h 315"/>
                <a:gd name="T42" fmla="*/ 3 w 254"/>
                <a:gd name="T43" fmla="*/ 118 h 315"/>
                <a:gd name="T44" fmla="*/ 0 w 254"/>
                <a:gd name="T45" fmla="*/ 104 h 315"/>
                <a:gd name="T46" fmla="*/ 11 w 254"/>
                <a:gd name="T47" fmla="*/ 104 h 315"/>
                <a:gd name="T48" fmla="*/ 21 w 254"/>
                <a:gd name="T49" fmla="*/ 99 h 315"/>
                <a:gd name="T50" fmla="*/ 27 w 254"/>
                <a:gd name="T51" fmla="*/ 88 h 315"/>
                <a:gd name="T52" fmla="*/ 19 w 254"/>
                <a:gd name="T53" fmla="*/ 69 h 315"/>
                <a:gd name="T54" fmla="*/ 19 w 254"/>
                <a:gd name="T55" fmla="*/ 59 h 315"/>
                <a:gd name="T56" fmla="*/ 11 w 254"/>
                <a:gd name="T57" fmla="*/ 48 h 315"/>
                <a:gd name="T58" fmla="*/ 16 w 254"/>
                <a:gd name="T59" fmla="*/ 32 h 315"/>
                <a:gd name="T60" fmla="*/ 13 w 254"/>
                <a:gd name="T61" fmla="*/ 21 h 315"/>
                <a:gd name="T62" fmla="*/ 24 w 254"/>
                <a:gd name="T63" fmla="*/ 8 h 315"/>
                <a:gd name="T64" fmla="*/ 32 w 254"/>
                <a:gd name="T65" fmla="*/ 11 h 315"/>
                <a:gd name="T66" fmla="*/ 40 w 254"/>
                <a:gd name="T67" fmla="*/ 19 h 315"/>
                <a:gd name="T68" fmla="*/ 48 w 254"/>
                <a:gd name="T69" fmla="*/ 19 h 315"/>
                <a:gd name="T70" fmla="*/ 51 w 254"/>
                <a:gd name="T71" fmla="*/ 8 h 315"/>
                <a:gd name="T72" fmla="*/ 56 w 254"/>
                <a:gd name="T73" fmla="*/ 3 h 315"/>
                <a:gd name="T74" fmla="*/ 69 w 254"/>
                <a:gd name="T75" fmla="*/ 8 h 315"/>
                <a:gd name="T76" fmla="*/ 88 w 254"/>
                <a:gd name="T77" fmla="*/ 21 h 315"/>
                <a:gd name="T78" fmla="*/ 101 w 254"/>
                <a:gd name="T79" fmla="*/ 35 h 315"/>
                <a:gd name="T80" fmla="*/ 112 w 254"/>
                <a:gd name="T81" fmla="*/ 32 h 315"/>
                <a:gd name="T82" fmla="*/ 120 w 254"/>
                <a:gd name="T83" fmla="*/ 35 h 315"/>
                <a:gd name="T84" fmla="*/ 131 w 254"/>
                <a:gd name="T85" fmla="*/ 48 h 315"/>
                <a:gd name="T86" fmla="*/ 147 w 254"/>
                <a:gd name="T87" fmla="*/ 48 h 315"/>
                <a:gd name="T88" fmla="*/ 163 w 254"/>
                <a:gd name="T89" fmla="*/ 51 h 315"/>
                <a:gd name="T90" fmla="*/ 171 w 254"/>
                <a:gd name="T91" fmla="*/ 64 h 315"/>
                <a:gd name="T92" fmla="*/ 174 w 254"/>
                <a:gd name="T93" fmla="*/ 77 h 315"/>
                <a:gd name="T94" fmla="*/ 190 w 254"/>
                <a:gd name="T95" fmla="*/ 88 h 315"/>
                <a:gd name="T96" fmla="*/ 200 w 254"/>
                <a:gd name="T97" fmla="*/ 101 h 315"/>
                <a:gd name="T98" fmla="*/ 200 w 254"/>
                <a:gd name="T99" fmla="*/ 118 h 315"/>
                <a:gd name="T100" fmla="*/ 200 w 254"/>
                <a:gd name="T101" fmla="*/ 139 h 315"/>
                <a:gd name="T102" fmla="*/ 216 w 254"/>
                <a:gd name="T103" fmla="*/ 163 h 315"/>
                <a:gd name="T104" fmla="*/ 227 w 254"/>
                <a:gd name="T105" fmla="*/ 176 h 315"/>
                <a:gd name="T106" fmla="*/ 243 w 254"/>
                <a:gd name="T107" fmla="*/ 206 h 315"/>
                <a:gd name="T108" fmla="*/ 251 w 254"/>
                <a:gd name="T109" fmla="*/ 238 h 315"/>
                <a:gd name="T110" fmla="*/ 216 w 254"/>
                <a:gd name="T111" fmla="*/ 256 h 315"/>
                <a:gd name="T112" fmla="*/ 203 w 254"/>
                <a:gd name="T113" fmla="*/ 264 h 315"/>
                <a:gd name="T114" fmla="*/ 190 w 254"/>
                <a:gd name="T115" fmla="*/ 275 h 315"/>
                <a:gd name="T116" fmla="*/ 198 w 254"/>
                <a:gd name="T117" fmla="*/ 297 h 315"/>
                <a:gd name="T118" fmla="*/ 152 w 254"/>
                <a:gd name="T119" fmla="*/ 313 h 315"/>
                <a:gd name="T120" fmla="*/ 139 w 254"/>
                <a:gd name="T121" fmla="*/ 31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4" h="315" extrusionOk="0">
                  <a:moveTo>
                    <a:pt x="139" y="307"/>
                  </a:moveTo>
                  <a:lnTo>
                    <a:pt x="136" y="307"/>
                  </a:lnTo>
                  <a:lnTo>
                    <a:pt x="139" y="307"/>
                  </a:lnTo>
                  <a:lnTo>
                    <a:pt x="139" y="307"/>
                  </a:lnTo>
                  <a:lnTo>
                    <a:pt x="141" y="307"/>
                  </a:lnTo>
                  <a:lnTo>
                    <a:pt x="141" y="307"/>
                  </a:lnTo>
                  <a:lnTo>
                    <a:pt x="139" y="305"/>
                  </a:lnTo>
                  <a:lnTo>
                    <a:pt x="139" y="305"/>
                  </a:lnTo>
                  <a:lnTo>
                    <a:pt x="141" y="302"/>
                  </a:lnTo>
                  <a:lnTo>
                    <a:pt x="141" y="302"/>
                  </a:lnTo>
                  <a:lnTo>
                    <a:pt x="141" y="299"/>
                  </a:lnTo>
                  <a:lnTo>
                    <a:pt x="144" y="297"/>
                  </a:lnTo>
                  <a:lnTo>
                    <a:pt x="141" y="297"/>
                  </a:lnTo>
                  <a:lnTo>
                    <a:pt x="139" y="294"/>
                  </a:lnTo>
                  <a:lnTo>
                    <a:pt x="139" y="291"/>
                  </a:lnTo>
                  <a:lnTo>
                    <a:pt x="139" y="291"/>
                  </a:lnTo>
                  <a:lnTo>
                    <a:pt x="136" y="291"/>
                  </a:lnTo>
                  <a:lnTo>
                    <a:pt x="136" y="291"/>
                  </a:lnTo>
                  <a:lnTo>
                    <a:pt x="133" y="289"/>
                  </a:lnTo>
                  <a:lnTo>
                    <a:pt x="131" y="289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5" y="286"/>
                  </a:lnTo>
                  <a:lnTo>
                    <a:pt x="123" y="286"/>
                  </a:lnTo>
                  <a:lnTo>
                    <a:pt x="123" y="286"/>
                  </a:lnTo>
                  <a:lnTo>
                    <a:pt x="123" y="283"/>
                  </a:lnTo>
                  <a:lnTo>
                    <a:pt x="120" y="283"/>
                  </a:lnTo>
                  <a:lnTo>
                    <a:pt x="120" y="281"/>
                  </a:lnTo>
                  <a:lnTo>
                    <a:pt x="120" y="281"/>
                  </a:lnTo>
                  <a:lnTo>
                    <a:pt x="117" y="281"/>
                  </a:lnTo>
                  <a:lnTo>
                    <a:pt x="117" y="281"/>
                  </a:lnTo>
                  <a:lnTo>
                    <a:pt x="115" y="278"/>
                  </a:lnTo>
                  <a:lnTo>
                    <a:pt x="115" y="278"/>
                  </a:lnTo>
                  <a:lnTo>
                    <a:pt x="115" y="278"/>
                  </a:lnTo>
                  <a:lnTo>
                    <a:pt x="115" y="275"/>
                  </a:lnTo>
                  <a:lnTo>
                    <a:pt x="115" y="275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20" y="272"/>
                  </a:lnTo>
                  <a:lnTo>
                    <a:pt x="123" y="272"/>
                  </a:lnTo>
                  <a:lnTo>
                    <a:pt x="125" y="270"/>
                  </a:lnTo>
                  <a:lnTo>
                    <a:pt x="125" y="270"/>
                  </a:lnTo>
                  <a:lnTo>
                    <a:pt x="125" y="272"/>
                  </a:lnTo>
                  <a:lnTo>
                    <a:pt x="128" y="272"/>
                  </a:lnTo>
                  <a:lnTo>
                    <a:pt x="128" y="270"/>
                  </a:lnTo>
                  <a:lnTo>
                    <a:pt x="131" y="270"/>
                  </a:lnTo>
                  <a:lnTo>
                    <a:pt x="133" y="267"/>
                  </a:lnTo>
                  <a:lnTo>
                    <a:pt x="131" y="267"/>
                  </a:lnTo>
                  <a:lnTo>
                    <a:pt x="128" y="267"/>
                  </a:lnTo>
                  <a:lnTo>
                    <a:pt x="128" y="267"/>
                  </a:lnTo>
                  <a:lnTo>
                    <a:pt x="125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0" y="267"/>
                  </a:lnTo>
                  <a:lnTo>
                    <a:pt x="120" y="270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5" y="264"/>
                  </a:lnTo>
                  <a:lnTo>
                    <a:pt x="112" y="262"/>
                  </a:lnTo>
                  <a:lnTo>
                    <a:pt x="112" y="262"/>
                  </a:lnTo>
                  <a:lnTo>
                    <a:pt x="115" y="259"/>
                  </a:lnTo>
                  <a:lnTo>
                    <a:pt x="112" y="259"/>
                  </a:lnTo>
                  <a:lnTo>
                    <a:pt x="109" y="256"/>
                  </a:lnTo>
                  <a:lnTo>
                    <a:pt x="107" y="256"/>
                  </a:lnTo>
                  <a:lnTo>
                    <a:pt x="104" y="254"/>
                  </a:lnTo>
                  <a:lnTo>
                    <a:pt x="104" y="251"/>
                  </a:lnTo>
                  <a:lnTo>
                    <a:pt x="104" y="251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01" y="248"/>
                  </a:lnTo>
                  <a:lnTo>
                    <a:pt x="99" y="251"/>
                  </a:lnTo>
                  <a:lnTo>
                    <a:pt x="93" y="248"/>
                  </a:lnTo>
                  <a:lnTo>
                    <a:pt x="91" y="251"/>
                  </a:lnTo>
                  <a:lnTo>
                    <a:pt x="88" y="256"/>
                  </a:lnTo>
                  <a:lnTo>
                    <a:pt x="85" y="256"/>
                  </a:lnTo>
                  <a:lnTo>
                    <a:pt x="85" y="256"/>
                  </a:lnTo>
                  <a:lnTo>
                    <a:pt x="83" y="254"/>
                  </a:lnTo>
                  <a:lnTo>
                    <a:pt x="80" y="254"/>
                  </a:lnTo>
                  <a:lnTo>
                    <a:pt x="77" y="251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2" y="243"/>
                  </a:lnTo>
                  <a:lnTo>
                    <a:pt x="69" y="243"/>
                  </a:lnTo>
                  <a:lnTo>
                    <a:pt x="67" y="243"/>
                  </a:lnTo>
                  <a:lnTo>
                    <a:pt x="64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61" y="235"/>
                  </a:lnTo>
                  <a:lnTo>
                    <a:pt x="61" y="232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6" y="227"/>
                  </a:lnTo>
                  <a:lnTo>
                    <a:pt x="53" y="230"/>
                  </a:lnTo>
                  <a:lnTo>
                    <a:pt x="51" y="227"/>
                  </a:lnTo>
                  <a:lnTo>
                    <a:pt x="48" y="224"/>
                  </a:lnTo>
                  <a:lnTo>
                    <a:pt x="48" y="224"/>
                  </a:lnTo>
                  <a:lnTo>
                    <a:pt x="43" y="224"/>
                  </a:lnTo>
                  <a:lnTo>
                    <a:pt x="40" y="222"/>
                  </a:lnTo>
                  <a:lnTo>
                    <a:pt x="37" y="222"/>
                  </a:lnTo>
                  <a:lnTo>
                    <a:pt x="35" y="222"/>
                  </a:lnTo>
                  <a:lnTo>
                    <a:pt x="35" y="224"/>
                  </a:lnTo>
                  <a:lnTo>
                    <a:pt x="35" y="224"/>
                  </a:lnTo>
                  <a:lnTo>
                    <a:pt x="29" y="222"/>
                  </a:lnTo>
                  <a:lnTo>
                    <a:pt x="27" y="222"/>
                  </a:lnTo>
                  <a:lnTo>
                    <a:pt x="27" y="219"/>
                  </a:lnTo>
                  <a:lnTo>
                    <a:pt x="27" y="219"/>
                  </a:lnTo>
                  <a:lnTo>
                    <a:pt x="24" y="216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7" y="214"/>
                  </a:lnTo>
                  <a:lnTo>
                    <a:pt x="27" y="211"/>
                  </a:lnTo>
                  <a:lnTo>
                    <a:pt x="27" y="208"/>
                  </a:lnTo>
                  <a:lnTo>
                    <a:pt x="29" y="208"/>
                  </a:lnTo>
                  <a:lnTo>
                    <a:pt x="29" y="208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3"/>
                  </a:lnTo>
                  <a:lnTo>
                    <a:pt x="27" y="203"/>
                  </a:lnTo>
                  <a:lnTo>
                    <a:pt x="27" y="200"/>
                  </a:lnTo>
                  <a:lnTo>
                    <a:pt x="29" y="198"/>
                  </a:lnTo>
                  <a:lnTo>
                    <a:pt x="29" y="198"/>
                  </a:lnTo>
                  <a:lnTo>
                    <a:pt x="29" y="198"/>
                  </a:lnTo>
                  <a:lnTo>
                    <a:pt x="29" y="195"/>
                  </a:lnTo>
                  <a:lnTo>
                    <a:pt x="27" y="195"/>
                  </a:lnTo>
                  <a:lnTo>
                    <a:pt x="24" y="195"/>
                  </a:lnTo>
                  <a:lnTo>
                    <a:pt x="24" y="198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19" y="195"/>
                  </a:lnTo>
                  <a:lnTo>
                    <a:pt x="16" y="195"/>
                  </a:lnTo>
                  <a:lnTo>
                    <a:pt x="16" y="192"/>
                  </a:lnTo>
                  <a:lnTo>
                    <a:pt x="19" y="192"/>
                  </a:lnTo>
                  <a:lnTo>
                    <a:pt x="19" y="192"/>
                  </a:lnTo>
                  <a:lnTo>
                    <a:pt x="19" y="190"/>
                  </a:lnTo>
                  <a:lnTo>
                    <a:pt x="19" y="190"/>
                  </a:lnTo>
                  <a:lnTo>
                    <a:pt x="16" y="190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4"/>
                  </a:lnTo>
                  <a:lnTo>
                    <a:pt x="19" y="184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21" y="182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1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7" y="182"/>
                  </a:lnTo>
                  <a:lnTo>
                    <a:pt x="29" y="182"/>
                  </a:lnTo>
                  <a:lnTo>
                    <a:pt x="29" y="179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5" y="182"/>
                  </a:lnTo>
                  <a:lnTo>
                    <a:pt x="35" y="179"/>
                  </a:lnTo>
                  <a:lnTo>
                    <a:pt x="37" y="179"/>
                  </a:lnTo>
                  <a:lnTo>
                    <a:pt x="37" y="182"/>
                  </a:lnTo>
                  <a:lnTo>
                    <a:pt x="40" y="182"/>
                  </a:lnTo>
                  <a:lnTo>
                    <a:pt x="43" y="179"/>
                  </a:lnTo>
                  <a:lnTo>
                    <a:pt x="45" y="182"/>
                  </a:lnTo>
                  <a:lnTo>
                    <a:pt x="48" y="179"/>
                  </a:lnTo>
                  <a:lnTo>
                    <a:pt x="45" y="176"/>
                  </a:lnTo>
                  <a:lnTo>
                    <a:pt x="48" y="176"/>
                  </a:lnTo>
                  <a:lnTo>
                    <a:pt x="48" y="174"/>
                  </a:lnTo>
                  <a:lnTo>
                    <a:pt x="48" y="171"/>
                  </a:lnTo>
                  <a:lnTo>
                    <a:pt x="48" y="168"/>
                  </a:lnTo>
                  <a:lnTo>
                    <a:pt x="45" y="168"/>
                  </a:lnTo>
                  <a:lnTo>
                    <a:pt x="40" y="171"/>
                  </a:lnTo>
                  <a:lnTo>
                    <a:pt x="37" y="168"/>
                  </a:lnTo>
                  <a:lnTo>
                    <a:pt x="37" y="171"/>
                  </a:lnTo>
                  <a:lnTo>
                    <a:pt x="35" y="171"/>
                  </a:lnTo>
                  <a:lnTo>
                    <a:pt x="35" y="174"/>
                  </a:lnTo>
                  <a:lnTo>
                    <a:pt x="32" y="171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29" y="163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4" y="158"/>
                  </a:lnTo>
                  <a:lnTo>
                    <a:pt x="24" y="155"/>
                  </a:lnTo>
                  <a:lnTo>
                    <a:pt x="21" y="155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6" y="150"/>
                  </a:lnTo>
                  <a:lnTo>
                    <a:pt x="13" y="147"/>
                  </a:lnTo>
                  <a:lnTo>
                    <a:pt x="13" y="144"/>
                  </a:lnTo>
                  <a:lnTo>
                    <a:pt x="16" y="142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16" y="139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1" y="136"/>
                  </a:lnTo>
                  <a:lnTo>
                    <a:pt x="8" y="136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0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0" y="118"/>
                  </a:lnTo>
                  <a:lnTo>
                    <a:pt x="3" y="118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9" y="101"/>
                  </a:lnTo>
                  <a:lnTo>
                    <a:pt x="19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6"/>
                  </a:lnTo>
                  <a:lnTo>
                    <a:pt x="21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7" y="93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1" y="85"/>
                  </a:lnTo>
                  <a:lnTo>
                    <a:pt x="19" y="85"/>
                  </a:lnTo>
                  <a:lnTo>
                    <a:pt x="21" y="83"/>
                  </a:lnTo>
                  <a:lnTo>
                    <a:pt x="21" y="80"/>
                  </a:lnTo>
                  <a:lnTo>
                    <a:pt x="19" y="80"/>
                  </a:lnTo>
                  <a:lnTo>
                    <a:pt x="19" y="77"/>
                  </a:lnTo>
                  <a:lnTo>
                    <a:pt x="19" y="75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3" y="56"/>
                  </a:lnTo>
                  <a:lnTo>
                    <a:pt x="13" y="53"/>
                  </a:lnTo>
                  <a:lnTo>
                    <a:pt x="11" y="53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0"/>
                  </a:lnTo>
                  <a:lnTo>
                    <a:pt x="13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8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1" y="8"/>
                  </a:lnTo>
                  <a:lnTo>
                    <a:pt x="51" y="5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51" y="3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9" y="5"/>
                  </a:lnTo>
                  <a:lnTo>
                    <a:pt x="69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5" y="8"/>
                  </a:lnTo>
                  <a:lnTo>
                    <a:pt x="75" y="11"/>
                  </a:lnTo>
                  <a:lnTo>
                    <a:pt x="77" y="13"/>
                  </a:lnTo>
                  <a:lnTo>
                    <a:pt x="80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5" y="19"/>
                  </a:lnTo>
                  <a:lnTo>
                    <a:pt x="88" y="21"/>
                  </a:lnTo>
                  <a:lnTo>
                    <a:pt x="91" y="24"/>
                  </a:lnTo>
                  <a:lnTo>
                    <a:pt x="93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9" y="29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7" y="37"/>
                  </a:lnTo>
                  <a:lnTo>
                    <a:pt x="107" y="35"/>
                  </a:lnTo>
                  <a:lnTo>
                    <a:pt x="109" y="35"/>
                  </a:lnTo>
                  <a:lnTo>
                    <a:pt x="109" y="32"/>
                  </a:lnTo>
                  <a:lnTo>
                    <a:pt x="112" y="29"/>
                  </a:lnTo>
                  <a:lnTo>
                    <a:pt x="112" y="32"/>
                  </a:lnTo>
                  <a:lnTo>
                    <a:pt x="115" y="29"/>
                  </a:lnTo>
                  <a:lnTo>
                    <a:pt x="112" y="29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7" y="27"/>
                  </a:lnTo>
                  <a:lnTo>
                    <a:pt x="120" y="27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7" y="37"/>
                  </a:lnTo>
                  <a:lnTo>
                    <a:pt x="117" y="40"/>
                  </a:lnTo>
                  <a:lnTo>
                    <a:pt x="115" y="43"/>
                  </a:lnTo>
                  <a:lnTo>
                    <a:pt x="117" y="43"/>
                  </a:lnTo>
                  <a:lnTo>
                    <a:pt x="120" y="43"/>
                  </a:lnTo>
                  <a:lnTo>
                    <a:pt x="123" y="45"/>
                  </a:lnTo>
                  <a:lnTo>
                    <a:pt x="125" y="45"/>
                  </a:lnTo>
                  <a:lnTo>
                    <a:pt x="128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6" y="48"/>
                  </a:lnTo>
                  <a:lnTo>
                    <a:pt x="136" y="45"/>
                  </a:lnTo>
                  <a:lnTo>
                    <a:pt x="139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52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60" y="43"/>
                  </a:lnTo>
                  <a:lnTo>
                    <a:pt x="163" y="45"/>
                  </a:lnTo>
                  <a:lnTo>
                    <a:pt x="163" y="45"/>
                  </a:lnTo>
                  <a:lnTo>
                    <a:pt x="163" y="48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3" y="53"/>
                  </a:lnTo>
                  <a:lnTo>
                    <a:pt x="163" y="53"/>
                  </a:lnTo>
                  <a:lnTo>
                    <a:pt x="165" y="56"/>
                  </a:lnTo>
                  <a:lnTo>
                    <a:pt x="165" y="56"/>
                  </a:lnTo>
                  <a:lnTo>
                    <a:pt x="165" y="59"/>
                  </a:lnTo>
                  <a:lnTo>
                    <a:pt x="168" y="59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74" y="64"/>
                  </a:lnTo>
                  <a:lnTo>
                    <a:pt x="174" y="67"/>
                  </a:lnTo>
                  <a:lnTo>
                    <a:pt x="174" y="67"/>
                  </a:lnTo>
                  <a:lnTo>
                    <a:pt x="174" y="69"/>
                  </a:lnTo>
                  <a:lnTo>
                    <a:pt x="176" y="72"/>
                  </a:lnTo>
                  <a:lnTo>
                    <a:pt x="176" y="72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4" y="77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4" y="88"/>
                  </a:lnTo>
                  <a:lnTo>
                    <a:pt x="187" y="88"/>
                  </a:lnTo>
                  <a:lnTo>
                    <a:pt x="190" y="88"/>
                  </a:lnTo>
                  <a:lnTo>
                    <a:pt x="190" y="91"/>
                  </a:lnTo>
                  <a:lnTo>
                    <a:pt x="192" y="91"/>
                  </a:lnTo>
                  <a:lnTo>
                    <a:pt x="192" y="93"/>
                  </a:lnTo>
                  <a:lnTo>
                    <a:pt x="195" y="93"/>
                  </a:lnTo>
                  <a:lnTo>
                    <a:pt x="195" y="96"/>
                  </a:lnTo>
                  <a:lnTo>
                    <a:pt x="198" y="96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104"/>
                  </a:lnTo>
                  <a:lnTo>
                    <a:pt x="200" y="104"/>
                  </a:lnTo>
                  <a:lnTo>
                    <a:pt x="200" y="107"/>
                  </a:lnTo>
                  <a:lnTo>
                    <a:pt x="200" y="107"/>
                  </a:lnTo>
                  <a:lnTo>
                    <a:pt x="200" y="107"/>
                  </a:lnTo>
                  <a:lnTo>
                    <a:pt x="203" y="109"/>
                  </a:lnTo>
                  <a:lnTo>
                    <a:pt x="203" y="109"/>
                  </a:lnTo>
                  <a:lnTo>
                    <a:pt x="203" y="112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0" y="120"/>
                  </a:lnTo>
                  <a:lnTo>
                    <a:pt x="203" y="120"/>
                  </a:lnTo>
                  <a:lnTo>
                    <a:pt x="203" y="123"/>
                  </a:lnTo>
                  <a:lnTo>
                    <a:pt x="200" y="126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31"/>
                  </a:lnTo>
                  <a:lnTo>
                    <a:pt x="200" y="134"/>
                  </a:lnTo>
                  <a:lnTo>
                    <a:pt x="200" y="139"/>
                  </a:lnTo>
                  <a:lnTo>
                    <a:pt x="200" y="142"/>
                  </a:lnTo>
                  <a:lnTo>
                    <a:pt x="203" y="147"/>
                  </a:lnTo>
                  <a:lnTo>
                    <a:pt x="206" y="147"/>
                  </a:lnTo>
                  <a:lnTo>
                    <a:pt x="206" y="150"/>
                  </a:lnTo>
                  <a:lnTo>
                    <a:pt x="208" y="152"/>
                  </a:lnTo>
                  <a:lnTo>
                    <a:pt x="208" y="155"/>
                  </a:lnTo>
                  <a:lnTo>
                    <a:pt x="211" y="155"/>
                  </a:lnTo>
                  <a:lnTo>
                    <a:pt x="214" y="158"/>
                  </a:lnTo>
                  <a:lnTo>
                    <a:pt x="214" y="160"/>
                  </a:lnTo>
                  <a:lnTo>
                    <a:pt x="216" y="163"/>
                  </a:lnTo>
                  <a:lnTo>
                    <a:pt x="216" y="166"/>
                  </a:lnTo>
                  <a:lnTo>
                    <a:pt x="219" y="168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4" y="171"/>
                  </a:lnTo>
                  <a:lnTo>
                    <a:pt x="227" y="174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6"/>
                  </a:lnTo>
                  <a:lnTo>
                    <a:pt x="227" y="179"/>
                  </a:lnTo>
                  <a:lnTo>
                    <a:pt x="230" y="182"/>
                  </a:lnTo>
                  <a:lnTo>
                    <a:pt x="230" y="184"/>
                  </a:lnTo>
                  <a:lnTo>
                    <a:pt x="232" y="187"/>
                  </a:lnTo>
                  <a:lnTo>
                    <a:pt x="235" y="190"/>
                  </a:lnTo>
                  <a:lnTo>
                    <a:pt x="235" y="192"/>
                  </a:lnTo>
                  <a:lnTo>
                    <a:pt x="238" y="195"/>
                  </a:lnTo>
                  <a:lnTo>
                    <a:pt x="240" y="198"/>
                  </a:lnTo>
                  <a:lnTo>
                    <a:pt x="243" y="203"/>
                  </a:lnTo>
                  <a:lnTo>
                    <a:pt x="243" y="206"/>
                  </a:lnTo>
                  <a:lnTo>
                    <a:pt x="246" y="211"/>
                  </a:lnTo>
                  <a:lnTo>
                    <a:pt x="248" y="214"/>
                  </a:lnTo>
                  <a:lnTo>
                    <a:pt x="251" y="216"/>
                  </a:lnTo>
                  <a:lnTo>
                    <a:pt x="251" y="219"/>
                  </a:lnTo>
                  <a:lnTo>
                    <a:pt x="254" y="222"/>
                  </a:lnTo>
                  <a:lnTo>
                    <a:pt x="254" y="224"/>
                  </a:lnTo>
                  <a:lnTo>
                    <a:pt x="254" y="227"/>
                  </a:lnTo>
                  <a:lnTo>
                    <a:pt x="254" y="232"/>
                  </a:lnTo>
                  <a:lnTo>
                    <a:pt x="254" y="238"/>
                  </a:lnTo>
                  <a:lnTo>
                    <a:pt x="251" y="238"/>
                  </a:lnTo>
                  <a:lnTo>
                    <a:pt x="243" y="240"/>
                  </a:lnTo>
                  <a:lnTo>
                    <a:pt x="240" y="251"/>
                  </a:lnTo>
                  <a:lnTo>
                    <a:pt x="238" y="251"/>
                  </a:lnTo>
                  <a:lnTo>
                    <a:pt x="232" y="251"/>
                  </a:lnTo>
                  <a:lnTo>
                    <a:pt x="230" y="254"/>
                  </a:lnTo>
                  <a:lnTo>
                    <a:pt x="224" y="254"/>
                  </a:lnTo>
                  <a:lnTo>
                    <a:pt x="222" y="256"/>
                  </a:lnTo>
                  <a:lnTo>
                    <a:pt x="219" y="256"/>
                  </a:lnTo>
                  <a:lnTo>
                    <a:pt x="216" y="256"/>
                  </a:lnTo>
                  <a:lnTo>
                    <a:pt x="216" y="256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08" y="254"/>
                  </a:lnTo>
                  <a:lnTo>
                    <a:pt x="206" y="254"/>
                  </a:lnTo>
                  <a:lnTo>
                    <a:pt x="206" y="259"/>
                  </a:lnTo>
                  <a:lnTo>
                    <a:pt x="203" y="259"/>
                  </a:lnTo>
                  <a:lnTo>
                    <a:pt x="203" y="259"/>
                  </a:lnTo>
                  <a:lnTo>
                    <a:pt x="200" y="262"/>
                  </a:lnTo>
                  <a:lnTo>
                    <a:pt x="200" y="262"/>
                  </a:lnTo>
                  <a:lnTo>
                    <a:pt x="203" y="264"/>
                  </a:lnTo>
                  <a:lnTo>
                    <a:pt x="206" y="264"/>
                  </a:lnTo>
                  <a:lnTo>
                    <a:pt x="208" y="264"/>
                  </a:lnTo>
                  <a:lnTo>
                    <a:pt x="208" y="267"/>
                  </a:lnTo>
                  <a:lnTo>
                    <a:pt x="211" y="270"/>
                  </a:lnTo>
                  <a:lnTo>
                    <a:pt x="211" y="270"/>
                  </a:lnTo>
                  <a:lnTo>
                    <a:pt x="211" y="272"/>
                  </a:lnTo>
                  <a:lnTo>
                    <a:pt x="203" y="278"/>
                  </a:lnTo>
                  <a:lnTo>
                    <a:pt x="198" y="278"/>
                  </a:lnTo>
                  <a:lnTo>
                    <a:pt x="198" y="278"/>
                  </a:lnTo>
                  <a:lnTo>
                    <a:pt x="190" y="275"/>
                  </a:lnTo>
                  <a:lnTo>
                    <a:pt x="190" y="275"/>
                  </a:lnTo>
                  <a:lnTo>
                    <a:pt x="184" y="275"/>
                  </a:lnTo>
                  <a:lnTo>
                    <a:pt x="182" y="278"/>
                  </a:lnTo>
                  <a:lnTo>
                    <a:pt x="190" y="283"/>
                  </a:lnTo>
                  <a:lnTo>
                    <a:pt x="190" y="286"/>
                  </a:lnTo>
                  <a:lnTo>
                    <a:pt x="190" y="286"/>
                  </a:lnTo>
                  <a:lnTo>
                    <a:pt x="192" y="286"/>
                  </a:lnTo>
                  <a:lnTo>
                    <a:pt x="203" y="294"/>
                  </a:lnTo>
                  <a:lnTo>
                    <a:pt x="200" y="297"/>
                  </a:lnTo>
                  <a:lnTo>
                    <a:pt x="198" y="297"/>
                  </a:lnTo>
                  <a:lnTo>
                    <a:pt x="192" y="307"/>
                  </a:lnTo>
                  <a:lnTo>
                    <a:pt x="190" y="305"/>
                  </a:lnTo>
                  <a:lnTo>
                    <a:pt x="184" y="315"/>
                  </a:lnTo>
                  <a:lnTo>
                    <a:pt x="171" y="307"/>
                  </a:lnTo>
                  <a:lnTo>
                    <a:pt x="174" y="299"/>
                  </a:lnTo>
                  <a:lnTo>
                    <a:pt x="165" y="294"/>
                  </a:lnTo>
                  <a:lnTo>
                    <a:pt x="163" y="299"/>
                  </a:lnTo>
                  <a:lnTo>
                    <a:pt x="163" y="299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49" y="310"/>
                  </a:lnTo>
                  <a:lnTo>
                    <a:pt x="149" y="313"/>
                  </a:lnTo>
                  <a:lnTo>
                    <a:pt x="147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1" y="313"/>
                  </a:lnTo>
                  <a:lnTo>
                    <a:pt x="141" y="313"/>
                  </a:lnTo>
                  <a:lnTo>
                    <a:pt x="139" y="313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39" y="307"/>
                  </a:lnTo>
                  <a:lnTo>
                    <a:pt x="139" y="310"/>
                  </a:lnTo>
                  <a:lnTo>
                    <a:pt x="139" y="30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4" name="Freeform 8911">
              <a:extLst>
                <a:ext uri="{FF2B5EF4-FFF2-40B4-BE49-F238E27FC236}">
                  <a16:creationId xmlns:a16="http://schemas.microsoft.com/office/drawing/2014/main" id="{C46E16B1-BB8D-9745-A369-86EE48EA43E8}"/>
                </a:ext>
              </a:extLst>
            </p:cNvPr>
            <p:cNvSpPr/>
            <p:nvPr/>
          </p:nvSpPr>
          <p:spPr bwMode="auto">
            <a:xfrm>
              <a:off x="1224756" y="5534025"/>
              <a:ext cx="76200" cy="144463"/>
            </a:xfrm>
            <a:custGeom>
              <a:avLst/>
              <a:gdLst>
                <a:gd name="T0" fmla="*/ 22 w 48"/>
                <a:gd name="T1" fmla="*/ 91 h 91"/>
                <a:gd name="T2" fmla="*/ 19 w 48"/>
                <a:gd name="T3" fmla="*/ 91 h 91"/>
                <a:gd name="T4" fmla="*/ 19 w 48"/>
                <a:gd name="T5" fmla="*/ 88 h 91"/>
                <a:gd name="T6" fmla="*/ 16 w 48"/>
                <a:gd name="T7" fmla="*/ 85 h 91"/>
                <a:gd name="T8" fmla="*/ 16 w 48"/>
                <a:gd name="T9" fmla="*/ 80 h 91"/>
                <a:gd name="T10" fmla="*/ 11 w 48"/>
                <a:gd name="T11" fmla="*/ 77 h 91"/>
                <a:gd name="T12" fmla="*/ 8 w 48"/>
                <a:gd name="T13" fmla="*/ 80 h 91"/>
                <a:gd name="T14" fmla="*/ 6 w 48"/>
                <a:gd name="T15" fmla="*/ 80 h 91"/>
                <a:gd name="T16" fmla="*/ 6 w 48"/>
                <a:gd name="T17" fmla="*/ 83 h 91"/>
                <a:gd name="T18" fmla="*/ 3 w 48"/>
                <a:gd name="T19" fmla="*/ 83 h 91"/>
                <a:gd name="T20" fmla="*/ 0 w 48"/>
                <a:gd name="T21" fmla="*/ 85 h 91"/>
                <a:gd name="T22" fmla="*/ 0 w 48"/>
                <a:gd name="T23" fmla="*/ 83 h 91"/>
                <a:gd name="T24" fmla="*/ 0 w 48"/>
                <a:gd name="T25" fmla="*/ 80 h 91"/>
                <a:gd name="T26" fmla="*/ 3 w 48"/>
                <a:gd name="T27" fmla="*/ 77 h 91"/>
                <a:gd name="T28" fmla="*/ 3 w 48"/>
                <a:gd name="T29" fmla="*/ 75 h 91"/>
                <a:gd name="T30" fmla="*/ 3 w 48"/>
                <a:gd name="T31" fmla="*/ 72 h 91"/>
                <a:gd name="T32" fmla="*/ 0 w 48"/>
                <a:gd name="T33" fmla="*/ 69 h 91"/>
                <a:gd name="T34" fmla="*/ 3 w 48"/>
                <a:gd name="T35" fmla="*/ 64 h 91"/>
                <a:gd name="T36" fmla="*/ 3 w 48"/>
                <a:gd name="T37" fmla="*/ 61 h 91"/>
                <a:gd name="T38" fmla="*/ 6 w 48"/>
                <a:gd name="T39" fmla="*/ 59 h 91"/>
                <a:gd name="T40" fmla="*/ 6 w 48"/>
                <a:gd name="T41" fmla="*/ 61 h 91"/>
                <a:gd name="T42" fmla="*/ 6 w 48"/>
                <a:gd name="T43" fmla="*/ 64 h 91"/>
                <a:gd name="T44" fmla="*/ 8 w 48"/>
                <a:gd name="T45" fmla="*/ 67 h 91"/>
                <a:gd name="T46" fmla="*/ 11 w 48"/>
                <a:gd name="T47" fmla="*/ 67 h 91"/>
                <a:gd name="T48" fmla="*/ 14 w 48"/>
                <a:gd name="T49" fmla="*/ 69 h 91"/>
                <a:gd name="T50" fmla="*/ 16 w 48"/>
                <a:gd name="T51" fmla="*/ 69 h 91"/>
                <a:gd name="T52" fmla="*/ 19 w 48"/>
                <a:gd name="T53" fmla="*/ 67 h 91"/>
                <a:gd name="T54" fmla="*/ 22 w 48"/>
                <a:gd name="T55" fmla="*/ 67 h 91"/>
                <a:gd name="T56" fmla="*/ 24 w 48"/>
                <a:gd name="T57" fmla="*/ 64 h 91"/>
                <a:gd name="T58" fmla="*/ 27 w 48"/>
                <a:gd name="T59" fmla="*/ 61 h 91"/>
                <a:gd name="T60" fmla="*/ 27 w 48"/>
                <a:gd name="T61" fmla="*/ 53 h 91"/>
                <a:gd name="T62" fmla="*/ 27 w 48"/>
                <a:gd name="T63" fmla="*/ 51 h 91"/>
                <a:gd name="T64" fmla="*/ 27 w 48"/>
                <a:gd name="T65" fmla="*/ 48 h 91"/>
                <a:gd name="T66" fmla="*/ 27 w 48"/>
                <a:gd name="T67" fmla="*/ 45 h 91"/>
                <a:gd name="T68" fmla="*/ 27 w 48"/>
                <a:gd name="T69" fmla="*/ 45 h 91"/>
                <a:gd name="T70" fmla="*/ 27 w 48"/>
                <a:gd name="T71" fmla="*/ 43 h 91"/>
                <a:gd name="T72" fmla="*/ 24 w 48"/>
                <a:gd name="T73" fmla="*/ 40 h 91"/>
                <a:gd name="T74" fmla="*/ 24 w 48"/>
                <a:gd name="T75" fmla="*/ 32 h 91"/>
                <a:gd name="T76" fmla="*/ 22 w 48"/>
                <a:gd name="T77" fmla="*/ 35 h 91"/>
                <a:gd name="T78" fmla="*/ 19 w 48"/>
                <a:gd name="T79" fmla="*/ 35 h 91"/>
                <a:gd name="T80" fmla="*/ 27 w 48"/>
                <a:gd name="T81" fmla="*/ 16 h 91"/>
                <a:gd name="T82" fmla="*/ 24 w 48"/>
                <a:gd name="T83" fmla="*/ 13 h 91"/>
                <a:gd name="T84" fmla="*/ 22 w 48"/>
                <a:gd name="T85" fmla="*/ 13 h 91"/>
                <a:gd name="T86" fmla="*/ 24 w 48"/>
                <a:gd name="T87" fmla="*/ 11 h 91"/>
                <a:gd name="T88" fmla="*/ 24 w 48"/>
                <a:gd name="T89" fmla="*/ 8 h 91"/>
                <a:gd name="T90" fmla="*/ 32 w 48"/>
                <a:gd name="T91" fmla="*/ 0 h 91"/>
                <a:gd name="T92" fmla="*/ 35 w 48"/>
                <a:gd name="T93" fmla="*/ 8 h 91"/>
                <a:gd name="T94" fmla="*/ 38 w 48"/>
                <a:gd name="T95" fmla="*/ 8 h 91"/>
                <a:gd name="T96" fmla="*/ 43 w 48"/>
                <a:gd name="T97" fmla="*/ 5 h 91"/>
                <a:gd name="T98" fmla="*/ 46 w 48"/>
                <a:gd name="T99" fmla="*/ 11 h 91"/>
                <a:gd name="T100" fmla="*/ 46 w 48"/>
                <a:gd name="T101" fmla="*/ 13 h 91"/>
                <a:gd name="T102" fmla="*/ 48 w 48"/>
                <a:gd name="T103" fmla="*/ 21 h 91"/>
                <a:gd name="T104" fmla="*/ 48 w 48"/>
                <a:gd name="T105" fmla="*/ 29 h 91"/>
                <a:gd name="T106" fmla="*/ 48 w 48"/>
                <a:gd name="T107" fmla="*/ 40 h 91"/>
                <a:gd name="T108" fmla="*/ 48 w 48"/>
                <a:gd name="T109" fmla="*/ 48 h 91"/>
                <a:gd name="T110" fmla="*/ 43 w 48"/>
                <a:gd name="T111" fmla="*/ 56 h 91"/>
                <a:gd name="T112" fmla="*/ 43 w 48"/>
                <a:gd name="T113" fmla="*/ 64 h 91"/>
                <a:gd name="T114" fmla="*/ 38 w 48"/>
                <a:gd name="T115" fmla="*/ 72 h 91"/>
                <a:gd name="T116" fmla="*/ 32 w 48"/>
                <a:gd name="T117" fmla="*/ 77 h 91"/>
                <a:gd name="T118" fmla="*/ 30 w 48"/>
                <a:gd name="T119" fmla="*/ 8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91" extrusionOk="0">
                  <a:moveTo>
                    <a:pt x="27" y="91"/>
                  </a:moveTo>
                  <a:lnTo>
                    <a:pt x="22" y="91"/>
                  </a:lnTo>
                  <a:lnTo>
                    <a:pt x="22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88"/>
                  </a:lnTo>
                  <a:lnTo>
                    <a:pt x="16" y="88"/>
                  </a:lnTo>
                  <a:lnTo>
                    <a:pt x="16" y="85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1" y="77"/>
                  </a:lnTo>
                  <a:lnTo>
                    <a:pt x="11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3" y="64"/>
                  </a:lnTo>
                  <a:lnTo>
                    <a:pt x="3" y="64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6" y="69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4"/>
                  </a:lnTo>
                  <a:lnTo>
                    <a:pt x="24" y="61"/>
                  </a:lnTo>
                  <a:lnTo>
                    <a:pt x="27" y="61"/>
                  </a:lnTo>
                  <a:lnTo>
                    <a:pt x="27" y="56"/>
                  </a:lnTo>
                  <a:lnTo>
                    <a:pt x="27" y="53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4" y="43"/>
                  </a:lnTo>
                  <a:lnTo>
                    <a:pt x="24" y="40"/>
                  </a:lnTo>
                  <a:lnTo>
                    <a:pt x="24" y="37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19" y="35"/>
                  </a:lnTo>
                  <a:lnTo>
                    <a:pt x="16" y="29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4" y="13"/>
                  </a:lnTo>
                  <a:lnTo>
                    <a:pt x="22" y="16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7" y="5"/>
                  </a:lnTo>
                  <a:lnTo>
                    <a:pt x="32" y="0"/>
                  </a:lnTo>
                  <a:lnTo>
                    <a:pt x="40" y="3"/>
                  </a:lnTo>
                  <a:lnTo>
                    <a:pt x="35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0" y="11"/>
                  </a:lnTo>
                  <a:lnTo>
                    <a:pt x="43" y="5"/>
                  </a:lnTo>
                  <a:lnTo>
                    <a:pt x="48" y="8"/>
                  </a:lnTo>
                  <a:lnTo>
                    <a:pt x="46" y="11"/>
                  </a:lnTo>
                  <a:lnTo>
                    <a:pt x="48" y="11"/>
                  </a:lnTo>
                  <a:lnTo>
                    <a:pt x="46" y="13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4"/>
                  </a:lnTo>
                  <a:lnTo>
                    <a:pt x="48" y="29"/>
                  </a:lnTo>
                  <a:lnTo>
                    <a:pt x="48" y="35"/>
                  </a:lnTo>
                  <a:lnTo>
                    <a:pt x="48" y="40"/>
                  </a:lnTo>
                  <a:lnTo>
                    <a:pt x="48" y="43"/>
                  </a:lnTo>
                  <a:lnTo>
                    <a:pt x="48" y="48"/>
                  </a:lnTo>
                  <a:lnTo>
                    <a:pt x="46" y="53"/>
                  </a:lnTo>
                  <a:lnTo>
                    <a:pt x="43" y="56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0" y="67"/>
                  </a:lnTo>
                  <a:lnTo>
                    <a:pt x="38" y="72"/>
                  </a:lnTo>
                  <a:lnTo>
                    <a:pt x="35" y="77"/>
                  </a:lnTo>
                  <a:lnTo>
                    <a:pt x="32" y="77"/>
                  </a:lnTo>
                  <a:lnTo>
                    <a:pt x="32" y="85"/>
                  </a:lnTo>
                  <a:lnTo>
                    <a:pt x="30" y="88"/>
                  </a:lnTo>
                  <a:lnTo>
                    <a:pt x="27" y="9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5" name="Freeform 8912">
              <a:extLst>
                <a:ext uri="{FF2B5EF4-FFF2-40B4-BE49-F238E27FC236}">
                  <a16:creationId xmlns:a16="http://schemas.microsoft.com/office/drawing/2014/main" id="{CDE3018E-985C-7D44-ADE5-1F579B823348}"/>
                </a:ext>
              </a:extLst>
            </p:cNvPr>
            <p:cNvSpPr/>
            <p:nvPr/>
          </p:nvSpPr>
          <p:spPr bwMode="auto">
            <a:xfrm>
              <a:off x="1267618" y="5432425"/>
              <a:ext cx="322263" cy="585788"/>
            </a:xfrm>
            <a:custGeom>
              <a:avLst/>
              <a:gdLst>
                <a:gd name="T0" fmla="*/ 78 w 203"/>
                <a:gd name="T1" fmla="*/ 37 h 369"/>
                <a:gd name="T2" fmla="*/ 88 w 203"/>
                <a:gd name="T3" fmla="*/ 24 h 369"/>
                <a:gd name="T4" fmla="*/ 112 w 203"/>
                <a:gd name="T5" fmla="*/ 16 h 369"/>
                <a:gd name="T6" fmla="*/ 147 w 203"/>
                <a:gd name="T7" fmla="*/ 5 h 369"/>
                <a:gd name="T8" fmla="*/ 179 w 203"/>
                <a:gd name="T9" fmla="*/ 29 h 369"/>
                <a:gd name="T10" fmla="*/ 192 w 203"/>
                <a:gd name="T11" fmla="*/ 53 h 369"/>
                <a:gd name="T12" fmla="*/ 203 w 203"/>
                <a:gd name="T13" fmla="*/ 56 h 369"/>
                <a:gd name="T14" fmla="*/ 198 w 203"/>
                <a:gd name="T15" fmla="*/ 64 h 369"/>
                <a:gd name="T16" fmla="*/ 187 w 203"/>
                <a:gd name="T17" fmla="*/ 69 h 369"/>
                <a:gd name="T18" fmla="*/ 184 w 203"/>
                <a:gd name="T19" fmla="*/ 72 h 369"/>
                <a:gd name="T20" fmla="*/ 182 w 203"/>
                <a:gd name="T21" fmla="*/ 77 h 369"/>
                <a:gd name="T22" fmla="*/ 179 w 203"/>
                <a:gd name="T23" fmla="*/ 80 h 369"/>
                <a:gd name="T24" fmla="*/ 182 w 203"/>
                <a:gd name="T25" fmla="*/ 104 h 369"/>
                <a:gd name="T26" fmla="*/ 187 w 203"/>
                <a:gd name="T27" fmla="*/ 131 h 369"/>
                <a:gd name="T28" fmla="*/ 182 w 203"/>
                <a:gd name="T29" fmla="*/ 152 h 369"/>
                <a:gd name="T30" fmla="*/ 176 w 203"/>
                <a:gd name="T31" fmla="*/ 160 h 369"/>
                <a:gd name="T32" fmla="*/ 168 w 203"/>
                <a:gd name="T33" fmla="*/ 168 h 369"/>
                <a:gd name="T34" fmla="*/ 168 w 203"/>
                <a:gd name="T35" fmla="*/ 176 h 369"/>
                <a:gd name="T36" fmla="*/ 187 w 203"/>
                <a:gd name="T37" fmla="*/ 155 h 369"/>
                <a:gd name="T38" fmla="*/ 198 w 203"/>
                <a:gd name="T39" fmla="*/ 155 h 369"/>
                <a:gd name="T40" fmla="*/ 176 w 203"/>
                <a:gd name="T41" fmla="*/ 171 h 369"/>
                <a:gd name="T42" fmla="*/ 160 w 203"/>
                <a:gd name="T43" fmla="*/ 195 h 369"/>
                <a:gd name="T44" fmla="*/ 166 w 203"/>
                <a:gd name="T45" fmla="*/ 197 h 369"/>
                <a:gd name="T46" fmla="*/ 144 w 203"/>
                <a:gd name="T47" fmla="*/ 216 h 369"/>
                <a:gd name="T48" fmla="*/ 150 w 203"/>
                <a:gd name="T49" fmla="*/ 240 h 369"/>
                <a:gd name="T50" fmla="*/ 150 w 203"/>
                <a:gd name="T51" fmla="*/ 264 h 369"/>
                <a:gd name="T52" fmla="*/ 152 w 203"/>
                <a:gd name="T53" fmla="*/ 296 h 369"/>
                <a:gd name="T54" fmla="*/ 150 w 203"/>
                <a:gd name="T55" fmla="*/ 328 h 369"/>
                <a:gd name="T56" fmla="*/ 158 w 203"/>
                <a:gd name="T57" fmla="*/ 347 h 369"/>
                <a:gd name="T58" fmla="*/ 131 w 203"/>
                <a:gd name="T59" fmla="*/ 358 h 369"/>
                <a:gd name="T60" fmla="*/ 107 w 203"/>
                <a:gd name="T61" fmla="*/ 355 h 369"/>
                <a:gd name="T62" fmla="*/ 94 w 203"/>
                <a:gd name="T63" fmla="*/ 363 h 369"/>
                <a:gd name="T64" fmla="*/ 80 w 203"/>
                <a:gd name="T65" fmla="*/ 366 h 369"/>
                <a:gd name="T66" fmla="*/ 67 w 203"/>
                <a:gd name="T67" fmla="*/ 352 h 369"/>
                <a:gd name="T68" fmla="*/ 59 w 203"/>
                <a:gd name="T69" fmla="*/ 331 h 369"/>
                <a:gd name="T70" fmla="*/ 59 w 203"/>
                <a:gd name="T71" fmla="*/ 323 h 369"/>
                <a:gd name="T72" fmla="*/ 56 w 203"/>
                <a:gd name="T73" fmla="*/ 312 h 369"/>
                <a:gd name="T74" fmla="*/ 53 w 203"/>
                <a:gd name="T75" fmla="*/ 302 h 369"/>
                <a:gd name="T76" fmla="*/ 51 w 203"/>
                <a:gd name="T77" fmla="*/ 280 h 369"/>
                <a:gd name="T78" fmla="*/ 37 w 203"/>
                <a:gd name="T79" fmla="*/ 278 h 369"/>
                <a:gd name="T80" fmla="*/ 35 w 203"/>
                <a:gd name="T81" fmla="*/ 267 h 369"/>
                <a:gd name="T82" fmla="*/ 27 w 203"/>
                <a:gd name="T83" fmla="*/ 248 h 369"/>
                <a:gd name="T84" fmla="*/ 16 w 203"/>
                <a:gd name="T85" fmla="*/ 240 h 369"/>
                <a:gd name="T86" fmla="*/ 11 w 203"/>
                <a:gd name="T87" fmla="*/ 235 h 369"/>
                <a:gd name="T88" fmla="*/ 0 w 203"/>
                <a:gd name="T89" fmla="*/ 211 h 369"/>
                <a:gd name="T90" fmla="*/ 16 w 203"/>
                <a:gd name="T91" fmla="*/ 203 h 369"/>
                <a:gd name="T92" fmla="*/ 37 w 203"/>
                <a:gd name="T93" fmla="*/ 192 h 369"/>
                <a:gd name="T94" fmla="*/ 51 w 203"/>
                <a:gd name="T95" fmla="*/ 187 h 369"/>
                <a:gd name="T96" fmla="*/ 70 w 203"/>
                <a:gd name="T97" fmla="*/ 181 h 369"/>
                <a:gd name="T98" fmla="*/ 88 w 203"/>
                <a:gd name="T99" fmla="*/ 184 h 369"/>
                <a:gd name="T100" fmla="*/ 94 w 203"/>
                <a:gd name="T101" fmla="*/ 165 h 369"/>
                <a:gd name="T102" fmla="*/ 102 w 203"/>
                <a:gd name="T103" fmla="*/ 141 h 369"/>
                <a:gd name="T104" fmla="*/ 118 w 203"/>
                <a:gd name="T105" fmla="*/ 128 h 369"/>
                <a:gd name="T106" fmla="*/ 136 w 203"/>
                <a:gd name="T107" fmla="*/ 117 h 369"/>
                <a:gd name="T108" fmla="*/ 131 w 203"/>
                <a:gd name="T109" fmla="*/ 109 h 369"/>
                <a:gd name="T110" fmla="*/ 128 w 203"/>
                <a:gd name="T111" fmla="*/ 99 h 369"/>
                <a:gd name="T112" fmla="*/ 112 w 203"/>
                <a:gd name="T113" fmla="*/ 104 h 369"/>
                <a:gd name="T114" fmla="*/ 104 w 203"/>
                <a:gd name="T115" fmla="*/ 96 h 369"/>
                <a:gd name="T116" fmla="*/ 91 w 203"/>
                <a:gd name="T117" fmla="*/ 8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369" extrusionOk="0">
                  <a:moveTo>
                    <a:pt x="80" y="69"/>
                  </a:moveTo>
                  <a:lnTo>
                    <a:pt x="86" y="59"/>
                  </a:lnTo>
                  <a:lnTo>
                    <a:pt x="88" y="59"/>
                  </a:lnTo>
                  <a:lnTo>
                    <a:pt x="91" y="56"/>
                  </a:lnTo>
                  <a:lnTo>
                    <a:pt x="80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5"/>
                  </a:lnTo>
                  <a:lnTo>
                    <a:pt x="70" y="40"/>
                  </a:lnTo>
                  <a:lnTo>
                    <a:pt x="72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91" y="40"/>
                  </a:lnTo>
                  <a:lnTo>
                    <a:pt x="99" y="34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1" y="26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4" y="21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2" y="18"/>
                  </a:lnTo>
                  <a:lnTo>
                    <a:pt x="102" y="16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7" y="18"/>
                  </a:lnTo>
                  <a:lnTo>
                    <a:pt x="110" y="18"/>
                  </a:lnTo>
                  <a:lnTo>
                    <a:pt x="112" y="16"/>
                  </a:lnTo>
                  <a:lnTo>
                    <a:pt x="118" y="16"/>
                  </a:lnTo>
                  <a:lnTo>
                    <a:pt x="120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31" y="2"/>
                  </a:lnTo>
                  <a:lnTo>
                    <a:pt x="139" y="0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7" y="2"/>
                  </a:lnTo>
                  <a:lnTo>
                    <a:pt x="147" y="5"/>
                  </a:lnTo>
                  <a:lnTo>
                    <a:pt x="150" y="5"/>
                  </a:lnTo>
                  <a:lnTo>
                    <a:pt x="152" y="8"/>
                  </a:lnTo>
                  <a:lnTo>
                    <a:pt x="152" y="8"/>
                  </a:lnTo>
                  <a:lnTo>
                    <a:pt x="155" y="10"/>
                  </a:lnTo>
                  <a:lnTo>
                    <a:pt x="158" y="10"/>
                  </a:lnTo>
                  <a:lnTo>
                    <a:pt x="158" y="13"/>
                  </a:lnTo>
                  <a:lnTo>
                    <a:pt x="163" y="16"/>
                  </a:lnTo>
                  <a:lnTo>
                    <a:pt x="166" y="18"/>
                  </a:lnTo>
                  <a:lnTo>
                    <a:pt x="168" y="21"/>
                  </a:lnTo>
                  <a:lnTo>
                    <a:pt x="171" y="24"/>
                  </a:lnTo>
                  <a:lnTo>
                    <a:pt x="176" y="26"/>
                  </a:lnTo>
                  <a:lnTo>
                    <a:pt x="179" y="29"/>
                  </a:lnTo>
                  <a:lnTo>
                    <a:pt x="182" y="32"/>
                  </a:lnTo>
                  <a:lnTo>
                    <a:pt x="184" y="34"/>
                  </a:lnTo>
                  <a:lnTo>
                    <a:pt x="184" y="37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5"/>
                  </a:lnTo>
                  <a:lnTo>
                    <a:pt x="190" y="45"/>
                  </a:lnTo>
                  <a:lnTo>
                    <a:pt x="190" y="48"/>
                  </a:lnTo>
                  <a:lnTo>
                    <a:pt x="192" y="51"/>
                  </a:lnTo>
                  <a:lnTo>
                    <a:pt x="192" y="53"/>
                  </a:lnTo>
                  <a:lnTo>
                    <a:pt x="192" y="53"/>
                  </a:lnTo>
                  <a:lnTo>
                    <a:pt x="195" y="56"/>
                  </a:lnTo>
                  <a:lnTo>
                    <a:pt x="195" y="56"/>
                  </a:lnTo>
                  <a:lnTo>
                    <a:pt x="195" y="56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195" y="51"/>
                  </a:lnTo>
                  <a:lnTo>
                    <a:pt x="198" y="53"/>
                  </a:lnTo>
                  <a:lnTo>
                    <a:pt x="198" y="53"/>
                  </a:lnTo>
                  <a:lnTo>
                    <a:pt x="200" y="53"/>
                  </a:lnTo>
                  <a:lnTo>
                    <a:pt x="203" y="53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3" y="59"/>
                  </a:lnTo>
                  <a:lnTo>
                    <a:pt x="200" y="59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5" y="61"/>
                  </a:lnTo>
                  <a:lnTo>
                    <a:pt x="195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2" y="67"/>
                  </a:lnTo>
                  <a:lnTo>
                    <a:pt x="192" y="64"/>
                  </a:lnTo>
                  <a:lnTo>
                    <a:pt x="190" y="64"/>
                  </a:lnTo>
                  <a:lnTo>
                    <a:pt x="190" y="67"/>
                  </a:lnTo>
                  <a:lnTo>
                    <a:pt x="190" y="67"/>
                  </a:lnTo>
                  <a:lnTo>
                    <a:pt x="190" y="69"/>
                  </a:lnTo>
                  <a:lnTo>
                    <a:pt x="190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7"/>
                  </a:lnTo>
                  <a:lnTo>
                    <a:pt x="187" y="64"/>
                  </a:lnTo>
                  <a:lnTo>
                    <a:pt x="187" y="64"/>
                  </a:lnTo>
                  <a:lnTo>
                    <a:pt x="184" y="67"/>
                  </a:lnTo>
                  <a:lnTo>
                    <a:pt x="184" y="67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69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5"/>
                  </a:lnTo>
                  <a:lnTo>
                    <a:pt x="184" y="75"/>
                  </a:lnTo>
                  <a:lnTo>
                    <a:pt x="182" y="75"/>
                  </a:lnTo>
                  <a:lnTo>
                    <a:pt x="182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6" y="75"/>
                  </a:lnTo>
                  <a:lnTo>
                    <a:pt x="174" y="75"/>
                  </a:lnTo>
                  <a:lnTo>
                    <a:pt x="174" y="77"/>
                  </a:lnTo>
                  <a:lnTo>
                    <a:pt x="176" y="77"/>
                  </a:lnTo>
                  <a:lnTo>
                    <a:pt x="176" y="77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8"/>
                  </a:lnTo>
                  <a:lnTo>
                    <a:pt x="182" y="88"/>
                  </a:lnTo>
                  <a:lnTo>
                    <a:pt x="184" y="91"/>
                  </a:lnTo>
                  <a:lnTo>
                    <a:pt x="184" y="93"/>
                  </a:lnTo>
                  <a:lnTo>
                    <a:pt x="184" y="96"/>
                  </a:lnTo>
                  <a:lnTo>
                    <a:pt x="184" y="99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4"/>
                  </a:lnTo>
                  <a:lnTo>
                    <a:pt x="182" y="107"/>
                  </a:lnTo>
                  <a:lnTo>
                    <a:pt x="182" y="109"/>
                  </a:lnTo>
                  <a:lnTo>
                    <a:pt x="182" y="112"/>
                  </a:lnTo>
                  <a:lnTo>
                    <a:pt x="184" y="112"/>
                  </a:lnTo>
                  <a:lnTo>
                    <a:pt x="187" y="112"/>
                  </a:lnTo>
                  <a:lnTo>
                    <a:pt x="190" y="112"/>
                  </a:lnTo>
                  <a:lnTo>
                    <a:pt x="190" y="115"/>
                  </a:lnTo>
                  <a:lnTo>
                    <a:pt x="187" y="117"/>
                  </a:lnTo>
                  <a:lnTo>
                    <a:pt x="187" y="123"/>
                  </a:lnTo>
                  <a:lnTo>
                    <a:pt x="184" y="125"/>
                  </a:lnTo>
                  <a:lnTo>
                    <a:pt x="187" y="128"/>
                  </a:lnTo>
                  <a:lnTo>
                    <a:pt x="187" y="131"/>
                  </a:lnTo>
                  <a:lnTo>
                    <a:pt x="187" y="133"/>
                  </a:lnTo>
                  <a:lnTo>
                    <a:pt x="184" y="136"/>
                  </a:lnTo>
                  <a:lnTo>
                    <a:pt x="184" y="139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4"/>
                  </a:lnTo>
                  <a:lnTo>
                    <a:pt x="184" y="147"/>
                  </a:lnTo>
                  <a:lnTo>
                    <a:pt x="184" y="147"/>
                  </a:lnTo>
                  <a:lnTo>
                    <a:pt x="184" y="149"/>
                  </a:lnTo>
                  <a:lnTo>
                    <a:pt x="184" y="149"/>
                  </a:lnTo>
                  <a:lnTo>
                    <a:pt x="182" y="149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55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1" y="163"/>
                  </a:lnTo>
                  <a:lnTo>
                    <a:pt x="171" y="165"/>
                  </a:lnTo>
                  <a:lnTo>
                    <a:pt x="171" y="165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68" y="168"/>
                  </a:lnTo>
                  <a:lnTo>
                    <a:pt x="168" y="171"/>
                  </a:lnTo>
                  <a:lnTo>
                    <a:pt x="168" y="168"/>
                  </a:lnTo>
                  <a:lnTo>
                    <a:pt x="166" y="171"/>
                  </a:lnTo>
                  <a:lnTo>
                    <a:pt x="166" y="171"/>
                  </a:lnTo>
                  <a:lnTo>
                    <a:pt x="168" y="171"/>
                  </a:lnTo>
                  <a:lnTo>
                    <a:pt x="168" y="171"/>
                  </a:lnTo>
                  <a:lnTo>
                    <a:pt x="168" y="173"/>
                  </a:lnTo>
                  <a:lnTo>
                    <a:pt x="168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6"/>
                  </a:lnTo>
                  <a:lnTo>
                    <a:pt x="166" y="176"/>
                  </a:lnTo>
                  <a:lnTo>
                    <a:pt x="168" y="176"/>
                  </a:lnTo>
                  <a:lnTo>
                    <a:pt x="171" y="173"/>
                  </a:lnTo>
                  <a:lnTo>
                    <a:pt x="174" y="171"/>
                  </a:lnTo>
                  <a:lnTo>
                    <a:pt x="174" y="168"/>
                  </a:lnTo>
                  <a:lnTo>
                    <a:pt x="176" y="168"/>
                  </a:lnTo>
                  <a:lnTo>
                    <a:pt x="176" y="165"/>
                  </a:lnTo>
                  <a:lnTo>
                    <a:pt x="176" y="165"/>
                  </a:lnTo>
                  <a:lnTo>
                    <a:pt x="179" y="163"/>
                  </a:lnTo>
                  <a:lnTo>
                    <a:pt x="179" y="163"/>
                  </a:lnTo>
                  <a:lnTo>
                    <a:pt x="182" y="160"/>
                  </a:lnTo>
                  <a:lnTo>
                    <a:pt x="184" y="157"/>
                  </a:lnTo>
                  <a:lnTo>
                    <a:pt x="184" y="157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95" y="152"/>
                  </a:lnTo>
                  <a:lnTo>
                    <a:pt x="195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5" y="157"/>
                  </a:lnTo>
                  <a:lnTo>
                    <a:pt x="192" y="157"/>
                  </a:lnTo>
                  <a:lnTo>
                    <a:pt x="187" y="160"/>
                  </a:lnTo>
                  <a:lnTo>
                    <a:pt x="184" y="163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2" y="168"/>
                  </a:lnTo>
                  <a:lnTo>
                    <a:pt x="176" y="171"/>
                  </a:lnTo>
                  <a:lnTo>
                    <a:pt x="174" y="176"/>
                  </a:lnTo>
                  <a:lnTo>
                    <a:pt x="171" y="179"/>
                  </a:lnTo>
                  <a:lnTo>
                    <a:pt x="171" y="179"/>
                  </a:lnTo>
                  <a:lnTo>
                    <a:pt x="168" y="181"/>
                  </a:lnTo>
                  <a:lnTo>
                    <a:pt x="166" y="181"/>
                  </a:lnTo>
                  <a:lnTo>
                    <a:pt x="163" y="187"/>
                  </a:lnTo>
                  <a:lnTo>
                    <a:pt x="163" y="187"/>
                  </a:lnTo>
                  <a:lnTo>
                    <a:pt x="160" y="189"/>
                  </a:lnTo>
                  <a:lnTo>
                    <a:pt x="160" y="192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7"/>
                  </a:lnTo>
                  <a:lnTo>
                    <a:pt x="163" y="197"/>
                  </a:lnTo>
                  <a:lnTo>
                    <a:pt x="163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8" y="200"/>
                  </a:lnTo>
                  <a:lnTo>
                    <a:pt x="155" y="200"/>
                  </a:lnTo>
                  <a:lnTo>
                    <a:pt x="152" y="203"/>
                  </a:lnTo>
                  <a:lnTo>
                    <a:pt x="152" y="206"/>
                  </a:lnTo>
                  <a:lnTo>
                    <a:pt x="150" y="208"/>
                  </a:lnTo>
                  <a:lnTo>
                    <a:pt x="147" y="211"/>
                  </a:lnTo>
                  <a:lnTo>
                    <a:pt x="147" y="214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7" y="219"/>
                  </a:lnTo>
                  <a:lnTo>
                    <a:pt x="147" y="222"/>
                  </a:lnTo>
                  <a:lnTo>
                    <a:pt x="147" y="227"/>
                  </a:lnTo>
                  <a:lnTo>
                    <a:pt x="147" y="230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52" y="232"/>
                  </a:lnTo>
                  <a:lnTo>
                    <a:pt x="152" y="235"/>
                  </a:lnTo>
                  <a:lnTo>
                    <a:pt x="150" y="238"/>
                  </a:lnTo>
                  <a:lnTo>
                    <a:pt x="150" y="240"/>
                  </a:lnTo>
                  <a:lnTo>
                    <a:pt x="147" y="243"/>
                  </a:lnTo>
                  <a:lnTo>
                    <a:pt x="147" y="243"/>
                  </a:lnTo>
                  <a:lnTo>
                    <a:pt x="147" y="246"/>
                  </a:lnTo>
                  <a:lnTo>
                    <a:pt x="144" y="251"/>
                  </a:lnTo>
                  <a:lnTo>
                    <a:pt x="144" y="251"/>
                  </a:lnTo>
                  <a:lnTo>
                    <a:pt x="144" y="254"/>
                  </a:lnTo>
                  <a:lnTo>
                    <a:pt x="144" y="256"/>
                  </a:lnTo>
                  <a:lnTo>
                    <a:pt x="147" y="259"/>
                  </a:lnTo>
                  <a:lnTo>
                    <a:pt x="147" y="259"/>
                  </a:lnTo>
                  <a:lnTo>
                    <a:pt x="147" y="262"/>
                  </a:lnTo>
                  <a:lnTo>
                    <a:pt x="150" y="262"/>
                  </a:lnTo>
                  <a:lnTo>
                    <a:pt x="150" y="264"/>
                  </a:lnTo>
                  <a:lnTo>
                    <a:pt x="150" y="267"/>
                  </a:lnTo>
                  <a:lnTo>
                    <a:pt x="150" y="270"/>
                  </a:lnTo>
                  <a:lnTo>
                    <a:pt x="150" y="272"/>
                  </a:lnTo>
                  <a:lnTo>
                    <a:pt x="147" y="278"/>
                  </a:lnTo>
                  <a:lnTo>
                    <a:pt x="150" y="280"/>
                  </a:lnTo>
                  <a:lnTo>
                    <a:pt x="150" y="283"/>
                  </a:lnTo>
                  <a:lnTo>
                    <a:pt x="150" y="286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2" y="291"/>
                  </a:lnTo>
                  <a:lnTo>
                    <a:pt x="152" y="296"/>
                  </a:lnTo>
                  <a:lnTo>
                    <a:pt x="152" y="296"/>
                  </a:lnTo>
                  <a:lnTo>
                    <a:pt x="152" y="299"/>
                  </a:lnTo>
                  <a:lnTo>
                    <a:pt x="152" y="304"/>
                  </a:lnTo>
                  <a:lnTo>
                    <a:pt x="152" y="307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5"/>
                  </a:lnTo>
                  <a:lnTo>
                    <a:pt x="152" y="318"/>
                  </a:lnTo>
                  <a:lnTo>
                    <a:pt x="152" y="320"/>
                  </a:lnTo>
                  <a:lnTo>
                    <a:pt x="150" y="323"/>
                  </a:lnTo>
                  <a:lnTo>
                    <a:pt x="150" y="326"/>
                  </a:lnTo>
                  <a:lnTo>
                    <a:pt x="150" y="328"/>
                  </a:lnTo>
                  <a:lnTo>
                    <a:pt x="150" y="331"/>
                  </a:lnTo>
                  <a:lnTo>
                    <a:pt x="152" y="334"/>
                  </a:lnTo>
                  <a:lnTo>
                    <a:pt x="152" y="336"/>
                  </a:lnTo>
                  <a:lnTo>
                    <a:pt x="155" y="336"/>
                  </a:lnTo>
                  <a:lnTo>
                    <a:pt x="155" y="339"/>
                  </a:lnTo>
                  <a:lnTo>
                    <a:pt x="158" y="342"/>
                  </a:lnTo>
                  <a:lnTo>
                    <a:pt x="158" y="342"/>
                  </a:lnTo>
                  <a:lnTo>
                    <a:pt x="158" y="344"/>
                  </a:lnTo>
                  <a:lnTo>
                    <a:pt x="158" y="347"/>
                  </a:lnTo>
                  <a:lnTo>
                    <a:pt x="160" y="350"/>
                  </a:lnTo>
                  <a:lnTo>
                    <a:pt x="158" y="347"/>
                  </a:lnTo>
                  <a:lnTo>
                    <a:pt x="158" y="347"/>
                  </a:lnTo>
                  <a:lnTo>
                    <a:pt x="155" y="347"/>
                  </a:lnTo>
                  <a:lnTo>
                    <a:pt x="155" y="350"/>
                  </a:lnTo>
                  <a:lnTo>
                    <a:pt x="152" y="350"/>
                  </a:lnTo>
                  <a:lnTo>
                    <a:pt x="150" y="350"/>
                  </a:lnTo>
                  <a:lnTo>
                    <a:pt x="147" y="352"/>
                  </a:lnTo>
                  <a:lnTo>
                    <a:pt x="144" y="352"/>
                  </a:lnTo>
                  <a:lnTo>
                    <a:pt x="142" y="352"/>
                  </a:lnTo>
                  <a:lnTo>
                    <a:pt x="142" y="355"/>
                  </a:lnTo>
                  <a:lnTo>
                    <a:pt x="139" y="355"/>
                  </a:lnTo>
                  <a:lnTo>
                    <a:pt x="139" y="355"/>
                  </a:lnTo>
                  <a:lnTo>
                    <a:pt x="136" y="358"/>
                  </a:lnTo>
                  <a:lnTo>
                    <a:pt x="131" y="358"/>
                  </a:lnTo>
                  <a:lnTo>
                    <a:pt x="128" y="358"/>
                  </a:lnTo>
                  <a:lnTo>
                    <a:pt x="126" y="358"/>
                  </a:lnTo>
                  <a:lnTo>
                    <a:pt x="123" y="358"/>
                  </a:lnTo>
                  <a:lnTo>
                    <a:pt x="120" y="358"/>
                  </a:lnTo>
                  <a:lnTo>
                    <a:pt x="118" y="358"/>
                  </a:lnTo>
                  <a:lnTo>
                    <a:pt x="115" y="358"/>
                  </a:lnTo>
                  <a:lnTo>
                    <a:pt x="112" y="355"/>
                  </a:lnTo>
                  <a:lnTo>
                    <a:pt x="110" y="355"/>
                  </a:lnTo>
                  <a:lnTo>
                    <a:pt x="110" y="355"/>
                  </a:lnTo>
                  <a:lnTo>
                    <a:pt x="110" y="355"/>
                  </a:lnTo>
                  <a:lnTo>
                    <a:pt x="107" y="355"/>
                  </a:lnTo>
                  <a:lnTo>
                    <a:pt x="107" y="355"/>
                  </a:lnTo>
                  <a:lnTo>
                    <a:pt x="107" y="358"/>
                  </a:lnTo>
                  <a:lnTo>
                    <a:pt x="104" y="358"/>
                  </a:lnTo>
                  <a:lnTo>
                    <a:pt x="104" y="358"/>
                  </a:lnTo>
                  <a:lnTo>
                    <a:pt x="102" y="358"/>
                  </a:lnTo>
                  <a:lnTo>
                    <a:pt x="102" y="361"/>
                  </a:lnTo>
                  <a:lnTo>
                    <a:pt x="99" y="361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6" y="363"/>
                  </a:lnTo>
                  <a:lnTo>
                    <a:pt x="96" y="363"/>
                  </a:lnTo>
                  <a:lnTo>
                    <a:pt x="94" y="363"/>
                  </a:lnTo>
                  <a:lnTo>
                    <a:pt x="94" y="363"/>
                  </a:lnTo>
                  <a:lnTo>
                    <a:pt x="91" y="363"/>
                  </a:lnTo>
                  <a:lnTo>
                    <a:pt x="91" y="366"/>
                  </a:lnTo>
                  <a:lnTo>
                    <a:pt x="91" y="366"/>
                  </a:lnTo>
                  <a:lnTo>
                    <a:pt x="91" y="369"/>
                  </a:lnTo>
                  <a:lnTo>
                    <a:pt x="88" y="369"/>
                  </a:lnTo>
                  <a:lnTo>
                    <a:pt x="88" y="369"/>
                  </a:lnTo>
                  <a:lnTo>
                    <a:pt x="86" y="366"/>
                  </a:lnTo>
                  <a:lnTo>
                    <a:pt x="86" y="366"/>
                  </a:lnTo>
                  <a:lnTo>
                    <a:pt x="83" y="366"/>
                  </a:lnTo>
                  <a:lnTo>
                    <a:pt x="83" y="366"/>
                  </a:lnTo>
                  <a:lnTo>
                    <a:pt x="80" y="366"/>
                  </a:lnTo>
                  <a:lnTo>
                    <a:pt x="80" y="366"/>
                  </a:lnTo>
                  <a:lnTo>
                    <a:pt x="78" y="366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70" y="358"/>
                  </a:lnTo>
                  <a:lnTo>
                    <a:pt x="67" y="358"/>
                  </a:lnTo>
                  <a:lnTo>
                    <a:pt x="67" y="358"/>
                  </a:lnTo>
                  <a:lnTo>
                    <a:pt x="64" y="355"/>
                  </a:lnTo>
                  <a:lnTo>
                    <a:pt x="67" y="352"/>
                  </a:lnTo>
                  <a:lnTo>
                    <a:pt x="67" y="352"/>
                  </a:lnTo>
                  <a:lnTo>
                    <a:pt x="64" y="350"/>
                  </a:lnTo>
                  <a:lnTo>
                    <a:pt x="62" y="350"/>
                  </a:lnTo>
                  <a:lnTo>
                    <a:pt x="59" y="347"/>
                  </a:lnTo>
                  <a:lnTo>
                    <a:pt x="59" y="344"/>
                  </a:lnTo>
                  <a:lnTo>
                    <a:pt x="56" y="339"/>
                  </a:lnTo>
                  <a:lnTo>
                    <a:pt x="56" y="336"/>
                  </a:lnTo>
                  <a:lnTo>
                    <a:pt x="56" y="334"/>
                  </a:lnTo>
                  <a:lnTo>
                    <a:pt x="56" y="334"/>
                  </a:lnTo>
                  <a:lnTo>
                    <a:pt x="59" y="334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6" y="331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6"/>
                  </a:lnTo>
                  <a:lnTo>
                    <a:pt x="59" y="323"/>
                  </a:lnTo>
                  <a:lnTo>
                    <a:pt x="59" y="323"/>
                  </a:lnTo>
                  <a:lnTo>
                    <a:pt x="59" y="323"/>
                  </a:lnTo>
                  <a:lnTo>
                    <a:pt x="59" y="320"/>
                  </a:lnTo>
                  <a:lnTo>
                    <a:pt x="59" y="320"/>
                  </a:lnTo>
                  <a:lnTo>
                    <a:pt x="59" y="320"/>
                  </a:lnTo>
                  <a:lnTo>
                    <a:pt x="62" y="318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62" y="312"/>
                  </a:lnTo>
                  <a:lnTo>
                    <a:pt x="59" y="312"/>
                  </a:lnTo>
                  <a:lnTo>
                    <a:pt x="59" y="312"/>
                  </a:lnTo>
                  <a:lnTo>
                    <a:pt x="56" y="312"/>
                  </a:lnTo>
                  <a:lnTo>
                    <a:pt x="56" y="312"/>
                  </a:lnTo>
                  <a:lnTo>
                    <a:pt x="53" y="312"/>
                  </a:lnTo>
                  <a:lnTo>
                    <a:pt x="53" y="312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lnTo>
                    <a:pt x="53" y="307"/>
                  </a:lnTo>
                  <a:lnTo>
                    <a:pt x="53" y="307"/>
                  </a:lnTo>
                  <a:lnTo>
                    <a:pt x="53" y="307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2"/>
                  </a:lnTo>
                  <a:lnTo>
                    <a:pt x="53" y="299"/>
                  </a:lnTo>
                  <a:lnTo>
                    <a:pt x="53" y="299"/>
                  </a:lnTo>
                  <a:lnTo>
                    <a:pt x="53" y="296"/>
                  </a:lnTo>
                  <a:lnTo>
                    <a:pt x="53" y="296"/>
                  </a:lnTo>
                  <a:lnTo>
                    <a:pt x="53" y="294"/>
                  </a:lnTo>
                  <a:lnTo>
                    <a:pt x="51" y="294"/>
                  </a:lnTo>
                  <a:lnTo>
                    <a:pt x="51" y="294"/>
                  </a:lnTo>
                  <a:lnTo>
                    <a:pt x="48" y="288"/>
                  </a:lnTo>
                  <a:lnTo>
                    <a:pt x="48" y="286"/>
                  </a:lnTo>
                  <a:lnTo>
                    <a:pt x="48" y="286"/>
                  </a:lnTo>
                  <a:lnTo>
                    <a:pt x="51" y="283"/>
                  </a:lnTo>
                  <a:lnTo>
                    <a:pt x="51" y="280"/>
                  </a:lnTo>
                  <a:lnTo>
                    <a:pt x="51" y="280"/>
                  </a:lnTo>
                  <a:lnTo>
                    <a:pt x="51" y="278"/>
                  </a:lnTo>
                  <a:lnTo>
                    <a:pt x="51" y="278"/>
                  </a:lnTo>
                  <a:lnTo>
                    <a:pt x="48" y="278"/>
                  </a:lnTo>
                  <a:lnTo>
                    <a:pt x="48" y="280"/>
                  </a:lnTo>
                  <a:lnTo>
                    <a:pt x="45" y="280"/>
                  </a:lnTo>
                  <a:lnTo>
                    <a:pt x="45" y="278"/>
                  </a:lnTo>
                  <a:lnTo>
                    <a:pt x="43" y="278"/>
                  </a:lnTo>
                  <a:lnTo>
                    <a:pt x="43" y="278"/>
                  </a:lnTo>
                  <a:lnTo>
                    <a:pt x="40" y="278"/>
                  </a:lnTo>
                  <a:lnTo>
                    <a:pt x="40" y="278"/>
                  </a:lnTo>
                  <a:lnTo>
                    <a:pt x="37" y="278"/>
                  </a:lnTo>
                  <a:lnTo>
                    <a:pt x="37" y="278"/>
                  </a:lnTo>
                  <a:lnTo>
                    <a:pt x="37" y="275"/>
                  </a:lnTo>
                  <a:lnTo>
                    <a:pt x="37" y="275"/>
                  </a:lnTo>
                  <a:lnTo>
                    <a:pt x="37" y="275"/>
                  </a:lnTo>
                  <a:lnTo>
                    <a:pt x="37" y="272"/>
                  </a:lnTo>
                  <a:lnTo>
                    <a:pt x="40" y="272"/>
                  </a:lnTo>
                  <a:lnTo>
                    <a:pt x="40" y="270"/>
                  </a:lnTo>
                  <a:lnTo>
                    <a:pt x="40" y="270"/>
                  </a:lnTo>
                  <a:lnTo>
                    <a:pt x="37" y="267"/>
                  </a:lnTo>
                  <a:lnTo>
                    <a:pt x="37" y="267"/>
                  </a:lnTo>
                  <a:lnTo>
                    <a:pt x="35" y="267"/>
                  </a:lnTo>
                  <a:lnTo>
                    <a:pt x="35" y="267"/>
                  </a:lnTo>
                  <a:lnTo>
                    <a:pt x="32" y="264"/>
                  </a:lnTo>
                  <a:lnTo>
                    <a:pt x="32" y="262"/>
                  </a:lnTo>
                  <a:lnTo>
                    <a:pt x="32" y="262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1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4" y="248"/>
                  </a:lnTo>
                  <a:lnTo>
                    <a:pt x="24" y="248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1" y="246"/>
                  </a:lnTo>
                  <a:lnTo>
                    <a:pt x="19" y="246"/>
                  </a:lnTo>
                  <a:lnTo>
                    <a:pt x="19" y="243"/>
                  </a:lnTo>
                  <a:lnTo>
                    <a:pt x="19" y="243"/>
                  </a:lnTo>
                  <a:lnTo>
                    <a:pt x="19" y="240"/>
                  </a:lnTo>
                  <a:lnTo>
                    <a:pt x="19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40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1" y="238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5"/>
                  </a:lnTo>
                  <a:lnTo>
                    <a:pt x="11" y="232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8" y="227"/>
                  </a:lnTo>
                  <a:lnTo>
                    <a:pt x="5" y="224"/>
                  </a:lnTo>
                  <a:lnTo>
                    <a:pt x="5" y="222"/>
                  </a:lnTo>
                  <a:lnTo>
                    <a:pt x="5" y="219"/>
                  </a:lnTo>
                  <a:lnTo>
                    <a:pt x="3" y="219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11" y="206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13" y="208"/>
                  </a:lnTo>
                  <a:lnTo>
                    <a:pt x="13" y="208"/>
                  </a:lnTo>
                  <a:lnTo>
                    <a:pt x="13" y="206"/>
                  </a:lnTo>
                  <a:lnTo>
                    <a:pt x="13" y="206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9" y="200"/>
                  </a:lnTo>
                  <a:lnTo>
                    <a:pt x="19" y="200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1" y="197"/>
                  </a:lnTo>
                  <a:lnTo>
                    <a:pt x="24" y="195"/>
                  </a:lnTo>
                  <a:lnTo>
                    <a:pt x="24" y="195"/>
                  </a:lnTo>
                  <a:lnTo>
                    <a:pt x="27" y="195"/>
                  </a:lnTo>
                  <a:lnTo>
                    <a:pt x="32" y="195"/>
                  </a:lnTo>
                  <a:lnTo>
                    <a:pt x="35" y="195"/>
                  </a:lnTo>
                  <a:lnTo>
                    <a:pt x="35" y="192"/>
                  </a:lnTo>
                  <a:lnTo>
                    <a:pt x="37" y="192"/>
                  </a:lnTo>
                  <a:lnTo>
                    <a:pt x="37" y="192"/>
                  </a:lnTo>
                  <a:lnTo>
                    <a:pt x="40" y="195"/>
                  </a:lnTo>
                  <a:lnTo>
                    <a:pt x="43" y="192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8" y="187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51" y="189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7"/>
                  </a:lnTo>
                  <a:lnTo>
                    <a:pt x="51" y="189"/>
                  </a:lnTo>
                  <a:lnTo>
                    <a:pt x="53" y="189"/>
                  </a:lnTo>
                  <a:lnTo>
                    <a:pt x="56" y="192"/>
                  </a:lnTo>
                  <a:lnTo>
                    <a:pt x="56" y="192"/>
                  </a:lnTo>
                  <a:lnTo>
                    <a:pt x="59" y="189"/>
                  </a:lnTo>
                  <a:lnTo>
                    <a:pt x="59" y="187"/>
                  </a:lnTo>
                  <a:lnTo>
                    <a:pt x="59" y="184"/>
                  </a:lnTo>
                  <a:lnTo>
                    <a:pt x="59" y="181"/>
                  </a:lnTo>
                  <a:lnTo>
                    <a:pt x="62" y="181"/>
                  </a:lnTo>
                  <a:lnTo>
                    <a:pt x="67" y="179"/>
                  </a:lnTo>
                  <a:lnTo>
                    <a:pt x="67" y="179"/>
                  </a:lnTo>
                  <a:lnTo>
                    <a:pt x="70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5" y="181"/>
                  </a:lnTo>
                  <a:lnTo>
                    <a:pt x="78" y="184"/>
                  </a:lnTo>
                  <a:lnTo>
                    <a:pt x="78" y="189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1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1" y="173"/>
                  </a:lnTo>
                  <a:lnTo>
                    <a:pt x="88" y="173"/>
                  </a:lnTo>
                  <a:lnTo>
                    <a:pt x="88" y="171"/>
                  </a:lnTo>
                  <a:lnTo>
                    <a:pt x="91" y="168"/>
                  </a:lnTo>
                  <a:lnTo>
                    <a:pt x="91" y="165"/>
                  </a:lnTo>
                  <a:lnTo>
                    <a:pt x="94" y="165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9" y="157"/>
                  </a:lnTo>
                  <a:lnTo>
                    <a:pt x="99" y="155"/>
                  </a:lnTo>
                  <a:lnTo>
                    <a:pt x="99" y="152"/>
                  </a:lnTo>
                  <a:lnTo>
                    <a:pt x="99" y="149"/>
                  </a:lnTo>
                  <a:lnTo>
                    <a:pt x="99" y="147"/>
                  </a:lnTo>
                  <a:lnTo>
                    <a:pt x="99" y="147"/>
                  </a:lnTo>
                  <a:lnTo>
                    <a:pt x="99" y="144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2" y="141"/>
                  </a:lnTo>
                  <a:lnTo>
                    <a:pt x="104" y="141"/>
                  </a:lnTo>
                  <a:lnTo>
                    <a:pt x="107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12" y="136"/>
                  </a:lnTo>
                  <a:lnTo>
                    <a:pt x="112" y="136"/>
                  </a:lnTo>
                  <a:lnTo>
                    <a:pt x="112" y="133"/>
                  </a:lnTo>
                  <a:lnTo>
                    <a:pt x="112" y="133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8" y="131"/>
                  </a:lnTo>
                  <a:lnTo>
                    <a:pt x="118" y="128"/>
                  </a:lnTo>
                  <a:lnTo>
                    <a:pt x="120" y="128"/>
                  </a:lnTo>
                  <a:lnTo>
                    <a:pt x="123" y="128"/>
                  </a:lnTo>
                  <a:lnTo>
                    <a:pt x="123" y="128"/>
                  </a:lnTo>
                  <a:lnTo>
                    <a:pt x="126" y="128"/>
                  </a:lnTo>
                  <a:lnTo>
                    <a:pt x="128" y="125"/>
                  </a:lnTo>
                  <a:lnTo>
                    <a:pt x="128" y="125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4" y="123"/>
                  </a:lnTo>
                  <a:lnTo>
                    <a:pt x="134" y="120"/>
                  </a:lnTo>
                  <a:lnTo>
                    <a:pt x="136" y="120"/>
                  </a:lnTo>
                  <a:lnTo>
                    <a:pt x="136" y="117"/>
                  </a:lnTo>
                  <a:lnTo>
                    <a:pt x="136" y="117"/>
                  </a:lnTo>
                  <a:lnTo>
                    <a:pt x="134" y="117"/>
                  </a:lnTo>
                  <a:lnTo>
                    <a:pt x="131" y="117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09"/>
                  </a:lnTo>
                  <a:lnTo>
                    <a:pt x="131" y="109"/>
                  </a:lnTo>
                  <a:lnTo>
                    <a:pt x="131" y="107"/>
                  </a:lnTo>
                  <a:lnTo>
                    <a:pt x="131" y="107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4" y="101"/>
                  </a:lnTo>
                  <a:lnTo>
                    <a:pt x="131" y="101"/>
                  </a:lnTo>
                  <a:lnTo>
                    <a:pt x="131" y="99"/>
                  </a:lnTo>
                  <a:lnTo>
                    <a:pt x="131" y="99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18" y="99"/>
                  </a:lnTo>
                  <a:lnTo>
                    <a:pt x="118" y="101"/>
                  </a:lnTo>
                  <a:lnTo>
                    <a:pt x="118" y="101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2" y="104"/>
                  </a:lnTo>
                  <a:lnTo>
                    <a:pt x="110" y="104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4"/>
                  </a:lnTo>
                  <a:lnTo>
                    <a:pt x="102" y="101"/>
                  </a:lnTo>
                  <a:lnTo>
                    <a:pt x="102" y="101"/>
                  </a:lnTo>
                  <a:lnTo>
                    <a:pt x="102" y="99"/>
                  </a:lnTo>
                  <a:lnTo>
                    <a:pt x="102" y="99"/>
                  </a:lnTo>
                  <a:lnTo>
                    <a:pt x="102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7" y="96"/>
                  </a:lnTo>
                  <a:lnTo>
                    <a:pt x="110" y="93"/>
                  </a:lnTo>
                  <a:lnTo>
                    <a:pt x="99" y="88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96" y="83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4" y="83"/>
                  </a:lnTo>
                  <a:lnTo>
                    <a:pt x="91" y="83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5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3" y="69"/>
                  </a:lnTo>
                  <a:lnTo>
                    <a:pt x="80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6" name="Freeform 8913">
              <a:extLst>
                <a:ext uri="{FF2B5EF4-FFF2-40B4-BE49-F238E27FC236}">
                  <a16:creationId xmlns:a16="http://schemas.microsoft.com/office/drawing/2014/main" id="{E2D64E61-2559-9849-94E0-92D537BF0395}"/>
                </a:ext>
              </a:extLst>
            </p:cNvPr>
            <p:cNvSpPr/>
            <p:nvPr/>
          </p:nvSpPr>
          <p:spPr bwMode="auto">
            <a:xfrm>
              <a:off x="937417" y="5254625"/>
              <a:ext cx="228600" cy="198438"/>
            </a:xfrm>
            <a:custGeom>
              <a:avLst/>
              <a:gdLst>
                <a:gd name="T0" fmla="*/ 53 w 144"/>
                <a:gd name="T1" fmla="*/ 114 h 125"/>
                <a:gd name="T2" fmla="*/ 48 w 144"/>
                <a:gd name="T3" fmla="*/ 106 h 125"/>
                <a:gd name="T4" fmla="*/ 43 w 144"/>
                <a:gd name="T5" fmla="*/ 106 h 125"/>
                <a:gd name="T6" fmla="*/ 40 w 144"/>
                <a:gd name="T7" fmla="*/ 101 h 125"/>
                <a:gd name="T8" fmla="*/ 32 w 144"/>
                <a:gd name="T9" fmla="*/ 98 h 125"/>
                <a:gd name="T10" fmla="*/ 29 w 144"/>
                <a:gd name="T11" fmla="*/ 90 h 125"/>
                <a:gd name="T12" fmla="*/ 26 w 144"/>
                <a:gd name="T13" fmla="*/ 80 h 125"/>
                <a:gd name="T14" fmla="*/ 18 w 144"/>
                <a:gd name="T15" fmla="*/ 74 h 125"/>
                <a:gd name="T16" fmla="*/ 13 w 144"/>
                <a:gd name="T17" fmla="*/ 64 h 125"/>
                <a:gd name="T18" fmla="*/ 8 w 144"/>
                <a:gd name="T19" fmla="*/ 56 h 125"/>
                <a:gd name="T20" fmla="*/ 2 w 144"/>
                <a:gd name="T21" fmla="*/ 53 h 125"/>
                <a:gd name="T22" fmla="*/ 2 w 144"/>
                <a:gd name="T23" fmla="*/ 48 h 125"/>
                <a:gd name="T24" fmla="*/ 2 w 144"/>
                <a:gd name="T25" fmla="*/ 45 h 125"/>
                <a:gd name="T26" fmla="*/ 0 w 144"/>
                <a:gd name="T27" fmla="*/ 40 h 125"/>
                <a:gd name="T28" fmla="*/ 5 w 144"/>
                <a:gd name="T29" fmla="*/ 32 h 125"/>
                <a:gd name="T30" fmla="*/ 8 w 144"/>
                <a:gd name="T31" fmla="*/ 24 h 125"/>
                <a:gd name="T32" fmla="*/ 13 w 144"/>
                <a:gd name="T33" fmla="*/ 18 h 125"/>
                <a:gd name="T34" fmla="*/ 24 w 144"/>
                <a:gd name="T35" fmla="*/ 13 h 125"/>
                <a:gd name="T36" fmla="*/ 32 w 144"/>
                <a:gd name="T37" fmla="*/ 13 h 125"/>
                <a:gd name="T38" fmla="*/ 37 w 144"/>
                <a:gd name="T39" fmla="*/ 2 h 125"/>
                <a:gd name="T40" fmla="*/ 43 w 144"/>
                <a:gd name="T41" fmla="*/ 5 h 125"/>
                <a:gd name="T42" fmla="*/ 51 w 144"/>
                <a:gd name="T43" fmla="*/ 10 h 125"/>
                <a:gd name="T44" fmla="*/ 53 w 144"/>
                <a:gd name="T45" fmla="*/ 16 h 125"/>
                <a:gd name="T46" fmla="*/ 59 w 144"/>
                <a:gd name="T47" fmla="*/ 18 h 125"/>
                <a:gd name="T48" fmla="*/ 56 w 144"/>
                <a:gd name="T49" fmla="*/ 24 h 125"/>
                <a:gd name="T50" fmla="*/ 56 w 144"/>
                <a:gd name="T51" fmla="*/ 29 h 125"/>
                <a:gd name="T52" fmla="*/ 61 w 144"/>
                <a:gd name="T53" fmla="*/ 32 h 125"/>
                <a:gd name="T54" fmla="*/ 67 w 144"/>
                <a:gd name="T55" fmla="*/ 32 h 125"/>
                <a:gd name="T56" fmla="*/ 72 w 144"/>
                <a:gd name="T57" fmla="*/ 29 h 125"/>
                <a:gd name="T58" fmla="*/ 80 w 144"/>
                <a:gd name="T59" fmla="*/ 29 h 125"/>
                <a:gd name="T60" fmla="*/ 91 w 144"/>
                <a:gd name="T61" fmla="*/ 18 h 125"/>
                <a:gd name="T62" fmla="*/ 88 w 144"/>
                <a:gd name="T63" fmla="*/ 10 h 125"/>
                <a:gd name="T64" fmla="*/ 91 w 144"/>
                <a:gd name="T65" fmla="*/ 8 h 125"/>
                <a:gd name="T66" fmla="*/ 96 w 144"/>
                <a:gd name="T67" fmla="*/ 8 h 125"/>
                <a:gd name="T68" fmla="*/ 104 w 144"/>
                <a:gd name="T69" fmla="*/ 10 h 125"/>
                <a:gd name="T70" fmla="*/ 115 w 144"/>
                <a:gd name="T71" fmla="*/ 13 h 125"/>
                <a:gd name="T72" fmla="*/ 112 w 144"/>
                <a:gd name="T73" fmla="*/ 24 h 125"/>
                <a:gd name="T74" fmla="*/ 120 w 144"/>
                <a:gd name="T75" fmla="*/ 32 h 125"/>
                <a:gd name="T76" fmla="*/ 128 w 144"/>
                <a:gd name="T77" fmla="*/ 42 h 125"/>
                <a:gd name="T78" fmla="*/ 133 w 144"/>
                <a:gd name="T79" fmla="*/ 42 h 125"/>
                <a:gd name="T80" fmla="*/ 144 w 144"/>
                <a:gd name="T81" fmla="*/ 48 h 125"/>
                <a:gd name="T82" fmla="*/ 139 w 144"/>
                <a:gd name="T83" fmla="*/ 53 h 125"/>
                <a:gd name="T84" fmla="*/ 131 w 144"/>
                <a:gd name="T85" fmla="*/ 56 h 125"/>
                <a:gd name="T86" fmla="*/ 123 w 144"/>
                <a:gd name="T87" fmla="*/ 56 h 125"/>
                <a:gd name="T88" fmla="*/ 117 w 144"/>
                <a:gd name="T89" fmla="*/ 53 h 125"/>
                <a:gd name="T90" fmla="*/ 112 w 144"/>
                <a:gd name="T91" fmla="*/ 58 h 125"/>
                <a:gd name="T92" fmla="*/ 115 w 144"/>
                <a:gd name="T93" fmla="*/ 64 h 125"/>
                <a:gd name="T94" fmla="*/ 112 w 144"/>
                <a:gd name="T95" fmla="*/ 69 h 125"/>
                <a:gd name="T96" fmla="*/ 120 w 144"/>
                <a:gd name="T97" fmla="*/ 74 h 125"/>
                <a:gd name="T98" fmla="*/ 125 w 144"/>
                <a:gd name="T99" fmla="*/ 69 h 125"/>
                <a:gd name="T100" fmla="*/ 123 w 144"/>
                <a:gd name="T101" fmla="*/ 77 h 125"/>
                <a:gd name="T102" fmla="*/ 125 w 144"/>
                <a:gd name="T103" fmla="*/ 82 h 125"/>
                <a:gd name="T104" fmla="*/ 120 w 144"/>
                <a:gd name="T105" fmla="*/ 88 h 125"/>
                <a:gd name="T106" fmla="*/ 120 w 144"/>
                <a:gd name="T107" fmla="*/ 96 h 125"/>
                <a:gd name="T108" fmla="*/ 109 w 144"/>
                <a:gd name="T109" fmla="*/ 101 h 125"/>
                <a:gd name="T110" fmla="*/ 99 w 144"/>
                <a:gd name="T111" fmla="*/ 98 h 125"/>
                <a:gd name="T112" fmla="*/ 93 w 144"/>
                <a:gd name="T113" fmla="*/ 106 h 125"/>
                <a:gd name="T114" fmla="*/ 85 w 144"/>
                <a:gd name="T115" fmla="*/ 114 h 125"/>
                <a:gd name="T116" fmla="*/ 83 w 144"/>
                <a:gd name="T117" fmla="*/ 120 h 125"/>
                <a:gd name="T118" fmla="*/ 77 w 144"/>
                <a:gd name="T119" fmla="*/ 125 h 125"/>
                <a:gd name="T120" fmla="*/ 72 w 144"/>
                <a:gd name="T121" fmla="*/ 122 h 125"/>
                <a:gd name="T122" fmla="*/ 64 w 144"/>
                <a:gd name="T123" fmla="*/ 117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4" h="125" extrusionOk="0">
                  <a:moveTo>
                    <a:pt x="59" y="117"/>
                  </a:moveTo>
                  <a:lnTo>
                    <a:pt x="59" y="114"/>
                  </a:lnTo>
                  <a:lnTo>
                    <a:pt x="56" y="114"/>
                  </a:lnTo>
                  <a:lnTo>
                    <a:pt x="53" y="114"/>
                  </a:lnTo>
                  <a:lnTo>
                    <a:pt x="53" y="114"/>
                  </a:lnTo>
                  <a:lnTo>
                    <a:pt x="53" y="112"/>
                  </a:lnTo>
                  <a:lnTo>
                    <a:pt x="51" y="112"/>
                  </a:lnTo>
                  <a:lnTo>
                    <a:pt x="51" y="109"/>
                  </a:lnTo>
                  <a:lnTo>
                    <a:pt x="48" y="109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0" y="104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37" y="101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6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6" y="82"/>
                  </a:lnTo>
                  <a:lnTo>
                    <a:pt x="26" y="80"/>
                  </a:lnTo>
                  <a:lnTo>
                    <a:pt x="26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1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6" y="69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3" y="64"/>
                  </a:lnTo>
                  <a:lnTo>
                    <a:pt x="10" y="64"/>
                  </a:lnTo>
                  <a:lnTo>
                    <a:pt x="10" y="61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5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5" y="53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1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6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2" y="10"/>
                  </a:lnTo>
                  <a:lnTo>
                    <a:pt x="35" y="10"/>
                  </a:lnTo>
                  <a:lnTo>
                    <a:pt x="37" y="8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3" y="2"/>
                  </a:lnTo>
                  <a:lnTo>
                    <a:pt x="43" y="5"/>
                  </a:lnTo>
                  <a:lnTo>
                    <a:pt x="45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9" y="18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59" y="26"/>
                  </a:lnTo>
                  <a:lnTo>
                    <a:pt x="56" y="26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80" y="29"/>
                  </a:lnTo>
                  <a:lnTo>
                    <a:pt x="83" y="29"/>
                  </a:lnTo>
                  <a:lnTo>
                    <a:pt x="88" y="26"/>
                  </a:lnTo>
                  <a:lnTo>
                    <a:pt x="91" y="24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3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6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4" y="10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2" y="10"/>
                  </a:lnTo>
                  <a:lnTo>
                    <a:pt x="112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2" y="16"/>
                  </a:lnTo>
                  <a:lnTo>
                    <a:pt x="109" y="18"/>
                  </a:lnTo>
                  <a:lnTo>
                    <a:pt x="109" y="21"/>
                  </a:lnTo>
                  <a:lnTo>
                    <a:pt x="112" y="24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7" y="29"/>
                  </a:lnTo>
                  <a:lnTo>
                    <a:pt x="120" y="29"/>
                  </a:lnTo>
                  <a:lnTo>
                    <a:pt x="120" y="32"/>
                  </a:lnTo>
                  <a:lnTo>
                    <a:pt x="123" y="34"/>
                  </a:lnTo>
                  <a:lnTo>
                    <a:pt x="125" y="34"/>
                  </a:lnTo>
                  <a:lnTo>
                    <a:pt x="125" y="37"/>
                  </a:lnTo>
                  <a:lnTo>
                    <a:pt x="128" y="40"/>
                  </a:lnTo>
                  <a:lnTo>
                    <a:pt x="128" y="42"/>
                  </a:lnTo>
                  <a:lnTo>
                    <a:pt x="128" y="45"/>
                  </a:lnTo>
                  <a:lnTo>
                    <a:pt x="131" y="48"/>
                  </a:lnTo>
                  <a:lnTo>
                    <a:pt x="131" y="45"/>
                  </a:lnTo>
                  <a:lnTo>
                    <a:pt x="133" y="45"/>
                  </a:lnTo>
                  <a:lnTo>
                    <a:pt x="133" y="42"/>
                  </a:lnTo>
                  <a:lnTo>
                    <a:pt x="136" y="45"/>
                  </a:lnTo>
                  <a:lnTo>
                    <a:pt x="141" y="42"/>
                  </a:lnTo>
                  <a:lnTo>
                    <a:pt x="144" y="42"/>
                  </a:lnTo>
                  <a:lnTo>
                    <a:pt x="144" y="45"/>
                  </a:lnTo>
                  <a:lnTo>
                    <a:pt x="144" y="48"/>
                  </a:lnTo>
                  <a:lnTo>
                    <a:pt x="144" y="50"/>
                  </a:lnTo>
                  <a:lnTo>
                    <a:pt x="141" y="50"/>
                  </a:lnTo>
                  <a:lnTo>
                    <a:pt x="144" y="53"/>
                  </a:lnTo>
                  <a:lnTo>
                    <a:pt x="141" y="56"/>
                  </a:lnTo>
                  <a:lnTo>
                    <a:pt x="139" y="53"/>
                  </a:lnTo>
                  <a:lnTo>
                    <a:pt x="136" y="56"/>
                  </a:lnTo>
                  <a:lnTo>
                    <a:pt x="133" y="56"/>
                  </a:lnTo>
                  <a:lnTo>
                    <a:pt x="133" y="53"/>
                  </a:lnTo>
                  <a:lnTo>
                    <a:pt x="131" y="53"/>
                  </a:lnTo>
                  <a:lnTo>
                    <a:pt x="131" y="56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5" y="53"/>
                  </a:lnTo>
                  <a:lnTo>
                    <a:pt x="125" y="56"/>
                  </a:lnTo>
                  <a:lnTo>
                    <a:pt x="123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17" y="56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8"/>
                  </a:lnTo>
                  <a:lnTo>
                    <a:pt x="112" y="58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4"/>
                  </a:lnTo>
                  <a:lnTo>
                    <a:pt x="115" y="64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2" y="66"/>
                  </a:lnTo>
                  <a:lnTo>
                    <a:pt x="112" y="69"/>
                  </a:lnTo>
                  <a:lnTo>
                    <a:pt x="115" y="69"/>
                  </a:lnTo>
                  <a:lnTo>
                    <a:pt x="117" y="69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20" y="74"/>
                  </a:lnTo>
                  <a:lnTo>
                    <a:pt x="120" y="74"/>
                  </a:lnTo>
                  <a:lnTo>
                    <a:pt x="120" y="72"/>
                  </a:lnTo>
                  <a:lnTo>
                    <a:pt x="120" y="69"/>
                  </a:lnTo>
                  <a:lnTo>
                    <a:pt x="123" y="69"/>
                  </a:lnTo>
                  <a:lnTo>
                    <a:pt x="125" y="69"/>
                  </a:lnTo>
                  <a:lnTo>
                    <a:pt x="125" y="72"/>
                  </a:lnTo>
                  <a:lnTo>
                    <a:pt x="125" y="72"/>
                  </a:lnTo>
                  <a:lnTo>
                    <a:pt x="125" y="72"/>
                  </a:lnTo>
                  <a:lnTo>
                    <a:pt x="123" y="74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82"/>
                  </a:lnTo>
                  <a:lnTo>
                    <a:pt x="123" y="85"/>
                  </a:lnTo>
                  <a:lnTo>
                    <a:pt x="123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90"/>
                  </a:lnTo>
                  <a:lnTo>
                    <a:pt x="123" y="93"/>
                  </a:lnTo>
                  <a:lnTo>
                    <a:pt x="123" y="93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7" y="98"/>
                  </a:lnTo>
                  <a:lnTo>
                    <a:pt x="117" y="101"/>
                  </a:lnTo>
                  <a:lnTo>
                    <a:pt x="115" y="101"/>
                  </a:lnTo>
                  <a:lnTo>
                    <a:pt x="112" y="101"/>
                  </a:lnTo>
                  <a:lnTo>
                    <a:pt x="109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1" y="98"/>
                  </a:lnTo>
                  <a:lnTo>
                    <a:pt x="99" y="98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4"/>
                  </a:lnTo>
                  <a:lnTo>
                    <a:pt x="96" y="106"/>
                  </a:lnTo>
                  <a:lnTo>
                    <a:pt x="93" y="106"/>
                  </a:lnTo>
                  <a:lnTo>
                    <a:pt x="93" y="109"/>
                  </a:lnTo>
                  <a:lnTo>
                    <a:pt x="91" y="112"/>
                  </a:lnTo>
                  <a:lnTo>
                    <a:pt x="88" y="112"/>
                  </a:lnTo>
                  <a:lnTo>
                    <a:pt x="85" y="112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85" y="120"/>
                  </a:lnTo>
                  <a:lnTo>
                    <a:pt x="83" y="120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22"/>
                  </a:lnTo>
                  <a:lnTo>
                    <a:pt x="77" y="122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2" y="122"/>
                  </a:lnTo>
                  <a:lnTo>
                    <a:pt x="72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20"/>
                  </a:lnTo>
                  <a:lnTo>
                    <a:pt x="67" y="120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1" y="117"/>
                  </a:lnTo>
                  <a:lnTo>
                    <a:pt x="59" y="11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7" name="Freeform 8914">
              <a:extLst>
                <a:ext uri="{FF2B5EF4-FFF2-40B4-BE49-F238E27FC236}">
                  <a16:creationId xmlns:a16="http://schemas.microsoft.com/office/drawing/2014/main" id="{ADB42390-76D5-6847-9053-32ED9847C188}"/>
                </a:ext>
              </a:extLst>
            </p:cNvPr>
            <p:cNvSpPr/>
            <p:nvPr/>
          </p:nvSpPr>
          <p:spPr bwMode="auto">
            <a:xfrm>
              <a:off x="729456" y="4752975"/>
              <a:ext cx="461963" cy="565150"/>
            </a:xfrm>
            <a:custGeom>
              <a:avLst/>
              <a:gdLst>
                <a:gd name="T0" fmla="*/ 77 w 291"/>
                <a:gd name="T1" fmla="*/ 302 h 356"/>
                <a:gd name="T2" fmla="*/ 75 w 291"/>
                <a:gd name="T3" fmla="*/ 275 h 356"/>
                <a:gd name="T4" fmla="*/ 69 w 291"/>
                <a:gd name="T5" fmla="*/ 249 h 356"/>
                <a:gd name="T6" fmla="*/ 67 w 291"/>
                <a:gd name="T7" fmla="*/ 238 h 356"/>
                <a:gd name="T8" fmla="*/ 61 w 291"/>
                <a:gd name="T9" fmla="*/ 217 h 356"/>
                <a:gd name="T10" fmla="*/ 45 w 291"/>
                <a:gd name="T11" fmla="*/ 201 h 356"/>
                <a:gd name="T12" fmla="*/ 40 w 291"/>
                <a:gd name="T13" fmla="*/ 179 h 356"/>
                <a:gd name="T14" fmla="*/ 37 w 291"/>
                <a:gd name="T15" fmla="*/ 169 h 356"/>
                <a:gd name="T16" fmla="*/ 37 w 291"/>
                <a:gd name="T17" fmla="*/ 158 h 356"/>
                <a:gd name="T18" fmla="*/ 29 w 291"/>
                <a:gd name="T19" fmla="*/ 155 h 356"/>
                <a:gd name="T20" fmla="*/ 16 w 291"/>
                <a:gd name="T21" fmla="*/ 136 h 356"/>
                <a:gd name="T22" fmla="*/ 19 w 291"/>
                <a:gd name="T23" fmla="*/ 120 h 356"/>
                <a:gd name="T24" fmla="*/ 3 w 291"/>
                <a:gd name="T25" fmla="*/ 80 h 356"/>
                <a:gd name="T26" fmla="*/ 5 w 291"/>
                <a:gd name="T27" fmla="*/ 70 h 356"/>
                <a:gd name="T28" fmla="*/ 24 w 291"/>
                <a:gd name="T29" fmla="*/ 78 h 356"/>
                <a:gd name="T30" fmla="*/ 19 w 291"/>
                <a:gd name="T31" fmla="*/ 67 h 356"/>
                <a:gd name="T32" fmla="*/ 21 w 291"/>
                <a:gd name="T33" fmla="*/ 62 h 356"/>
                <a:gd name="T34" fmla="*/ 24 w 291"/>
                <a:gd name="T35" fmla="*/ 59 h 356"/>
                <a:gd name="T36" fmla="*/ 35 w 291"/>
                <a:gd name="T37" fmla="*/ 80 h 356"/>
                <a:gd name="T38" fmla="*/ 37 w 291"/>
                <a:gd name="T39" fmla="*/ 88 h 356"/>
                <a:gd name="T40" fmla="*/ 43 w 291"/>
                <a:gd name="T41" fmla="*/ 88 h 356"/>
                <a:gd name="T42" fmla="*/ 43 w 291"/>
                <a:gd name="T43" fmla="*/ 83 h 356"/>
                <a:gd name="T44" fmla="*/ 69 w 291"/>
                <a:gd name="T45" fmla="*/ 88 h 356"/>
                <a:gd name="T46" fmla="*/ 93 w 291"/>
                <a:gd name="T47" fmla="*/ 78 h 356"/>
                <a:gd name="T48" fmla="*/ 125 w 291"/>
                <a:gd name="T49" fmla="*/ 67 h 356"/>
                <a:gd name="T50" fmla="*/ 117 w 291"/>
                <a:gd name="T51" fmla="*/ 72 h 356"/>
                <a:gd name="T52" fmla="*/ 128 w 291"/>
                <a:gd name="T53" fmla="*/ 67 h 356"/>
                <a:gd name="T54" fmla="*/ 141 w 291"/>
                <a:gd name="T55" fmla="*/ 62 h 356"/>
                <a:gd name="T56" fmla="*/ 144 w 291"/>
                <a:gd name="T57" fmla="*/ 80 h 356"/>
                <a:gd name="T58" fmla="*/ 147 w 291"/>
                <a:gd name="T59" fmla="*/ 64 h 356"/>
                <a:gd name="T60" fmla="*/ 139 w 291"/>
                <a:gd name="T61" fmla="*/ 35 h 356"/>
                <a:gd name="T62" fmla="*/ 136 w 291"/>
                <a:gd name="T63" fmla="*/ 19 h 356"/>
                <a:gd name="T64" fmla="*/ 141 w 291"/>
                <a:gd name="T65" fmla="*/ 6 h 356"/>
                <a:gd name="T66" fmla="*/ 166 w 291"/>
                <a:gd name="T67" fmla="*/ 22 h 356"/>
                <a:gd name="T68" fmla="*/ 179 w 291"/>
                <a:gd name="T69" fmla="*/ 38 h 356"/>
                <a:gd name="T70" fmla="*/ 182 w 291"/>
                <a:gd name="T71" fmla="*/ 27 h 356"/>
                <a:gd name="T72" fmla="*/ 195 w 291"/>
                <a:gd name="T73" fmla="*/ 24 h 356"/>
                <a:gd name="T74" fmla="*/ 200 w 291"/>
                <a:gd name="T75" fmla="*/ 54 h 356"/>
                <a:gd name="T76" fmla="*/ 211 w 291"/>
                <a:gd name="T77" fmla="*/ 64 h 356"/>
                <a:gd name="T78" fmla="*/ 264 w 291"/>
                <a:gd name="T79" fmla="*/ 91 h 356"/>
                <a:gd name="T80" fmla="*/ 259 w 291"/>
                <a:gd name="T81" fmla="*/ 112 h 356"/>
                <a:gd name="T82" fmla="*/ 272 w 291"/>
                <a:gd name="T83" fmla="*/ 153 h 356"/>
                <a:gd name="T84" fmla="*/ 280 w 291"/>
                <a:gd name="T85" fmla="*/ 187 h 356"/>
                <a:gd name="T86" fmla="*/ 278 w 291"/>
                <a:gd name="T87" fmla="*/ 203 h 356"/>
                <a:gd name="T88" fmla="*/ 264 w 291"/>
                <a:gd name="T89" fmla="*/ 209 h 356"/>
                <a:gd name="T90" fmla="*/ 251 w 291"/>
                <a:gd name="T91" fmla="*/ 198 h 356"/>
                <a:gd name="T92" fmla="*/ 240 w 291"/>
                <a:gd name="T93" fmla="*/ 217 h 356"/>
                <a:gd name="T94" fmla="*/ 238 w 291"/>
                <a:gd name="T95" fmla="*/ 238 h 356"/>
                <a:gd name="T96" fmla="*/ 251 w 291"/>
                <a:gd name="T97" fmla="*/ 251 h 356"/>
                <a:gd name="T98" fmla="*/ 254 w 291"/>
                <a:gd name="T99" fmla="*/ 281 h 356"/>
                <a:gd name="T100" fmla="*/ 240 w 291"/>
                <a:gd name="T101" fmla="*/ 291 h 356"/>
                <a:gd name="T102" fmla="*/ 227 w 291"/>
                <a:gd name="T103" fmla="*/ 302 h 356"/>
                <a:gd name="T104" fmla="*/ 230 w 291"/>
                <a:gd name="T105" fmla="*/ 318 h 356"/>
                <a:gd name="T106" fmla="*/ 222 w 291"/>
                <a:gd name="T107" fmla="*/ 324 h 356"/>
                <a:gd name="T108" fmla="*/ 206 w 291"/>
                <a:gd name="T109" fmla="*/ 345 h 356"/>
                <a:gd name="T110" fmla="*/ 187 w 291"/>
                <a:gd name="T111" fmla="*/ 345 h 356"/>
                <a:gd name="T112" fmla="*/ 184 w 291"/>
                <a:gd name="T113" fmla="*/ 332 h 356"/>
                <a:gd name="T114" fmla="*/ 168 w 291"/>
                <a:gd name="T115" fmla="*/ 321 h 356"/>
                <a:gd name="T116" fmla="*/ 141 w 291"/>
                <a:gd name="T117" fmla="*/ 337 h 356"/>
                <a:gd name="T118" fmla="*/ 128 w 291"/>
                <a:gd name="T119" fmla="*/ 353 h 356"/>
                <a:gd name="T120" fmla="*/ 109 w 291"/>
                <a:gd name="T121" fmla="*/ 334 h 356"/>
                <a:gd name="T122" fmla="*/ 85 w 291"/>
                <a:gd name="T123" fmla="*/ 33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1" h="356" extrusionOk="0">
                  <a:moveTo>
                    <a:pt x="83" y="337"/>
                  </a:moveTo>
                  <a:lnTo>
                    <a:pt x="83" y="337"/>
                  </a:lnTo>
                  <a:lnTo>
                    <a:pt x="80" y="334"/>
                  </a:lnTo>
                  <a:lnTo>
                    <a:pt x="80" y="332"/>
                  </a:lnTo>
                  <a:lnTo>
                    <a:pt x="80" y="332"/>
                  </a:lnTo>
                  <a:lnTo>
                    <a:pt x="80" y="329"/>
                  </a:lnTo>
                  <a:lnTo>
                    <a:pt x="80" y="326"/>
                  </a:lnTo>
                  <a:lnTo>
                    <a:pt x="80" y="324"/>
                  </a:lnTo>
                  <a:lnTo>
                    <a:pt x="83" y="324"/>
                  </a:lnTo>
                  <a:lnTo>
                    <a:pt x="77" y="313"/>
                  </a:lnTo>
                  <a:lnTo>
                    <a:pt x="77" y="310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5"/>
                  </a:lnTo>
                  <a:lnTo>
                    <a:pt x="77" y="302"/>
                  </a:lnTo>
                  <a:lnTo>
                    <a:pt x="77" y="302"/>
                  </a:lnTo>
                  <a:lnTo>
                    <a:pt x="75" y="299"/>
                  </a:lnTo>
                  <a:lnTo>
                    <a:pt x="75" y="299"/>
                  </a:lnTo>
                  <a:lnTo>
                    <a:pt x="75" y="297"/>
                  </a:lnTo>
                  <a:lnTo>
                    <a:pt x="75" y="297"/>
                  </a:lnTo>
                  <a:lnTo>
                    <a:pt x="75" y="294"/>
                  </a:lnTo>
                  <a:lnTo>
                    <a:pt x="75" y="291"/>
                  </a:lnTo>
                  <a:lnTo>
                    <a:pt x="75" y="289"/>
                  </a:lnTo>
                  <a:lnTo>
                    <a:pt x="75" y="289"/>
                  </a:lnTo>
                  <a:lnTo>
                    <a:pt x="75" y="286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75" y="281"/>
                  </a:lnTo>
                  <a:lnTo>
                    <a:pt x="75" y="278"/>
                  </a:lnTo>
                  <a:lnTo>
                    <a:pt x="75" y="278"/>
                  </a:lnTo>
                  <a:lnTo>
                    <a:pt x="75" y="275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2" y="267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2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69" y="257"/>
                  </a:lnTo>
                  <a:lnTo>
                    <a:pt x="69" y="254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9" y="243"/>
                  </a:lnTo>
                  <a:lnTo>
                    <a:pt x="69" y="243"/>
                  </a:lnTo>
                  <a:lnTo>
                    <a:pt x="69" y="243"/>
                  </a:lnTo>
                  <a:lnTo>
                    <a:pt x="69" y="241"/>
                  </a:lnTo>
                  <a:lnTo>
                    <a:pt x="69" y="241"/>
                  </a:lnTo>
                  <a:lnTo>
                    <a:pt x="69" y="241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5"/>
                  </a:lnTo>
                  <a:lnTo>
                    <a:pt x="64" y="235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3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5"/>
                  </a:lnTo>
                  <a:lnTo>
                    <a:pt x="64" y="225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7"/>
                  </a:lnTo>
                  <a:lnTo>
                    <a:pt x="59" y="217"/>
                  </a:lnTo>
                  <a:lnTo>
                    <a:pt x="59" y="214"/>
                  </a:lnTo>
                  <a:lnTo>
                    <a:pt x="59" y="211"/>
                  </a:lnTo>
                  <a:lnTo>
                    <a:pt x="59" y="211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6" y="209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3" y="206"/>
                  </a:lnTo>
                  <a:lnTo>
                    <a:pt x="51" y="206"/>
                  </a:lnTo>
                  <a:lnTo>
                    <a:pt x="51" y="203"/>
                  </a:lnTo>
                  <a:lnTo>
                    <a:pt x="51" y="203"/>
                  </a:lnTo>
                  <a:lnTo>
                    <a:pt x="48" y="201"/>
                  </a:lnTo>
                  <a:lnTo>
                    <a:pt x="48" y="201"/>
                  </a:lnTo>
                  <a:lnTo>
                    <a:pt x="45" y="201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87"/>
                  </a:lnTo>
                  <a:lnTo>
                    <a:pt x="40" y="185"/>
                  </a:lnTo>
                  <a:lnTo>
                    <a:pt x="40" y="185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3" y="182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40" y="161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29" y="155"/>
                  </a:lnTo>
                  <a:lnTo>
                    <a:pt x="29" y="155"/>
                  </a:lnTo>
                  <a:lnTo>
                    <a:pt x="29" y="153"/>
                  </a:lnTo>
                  <a:lnTo>
                    <a:pt x="27" y="153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9" y="142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9" y="134"/>
                  </a:lnTo>
                  <a:lnTo>
                    <a:pt x="16" y="131"/>
                  </a:lnTo>
                  <a:lnTo>
                    <a:pt x="19" y="131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6"/>
                  </a:lnTo>
                  <a:lnTo>
                    <a:pt x="19" y="126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4" y="110"/>
                  </a:lnTo>
                  <a:lnTo>
                    <a:pt x="21" y="107"/>
                  </a:lnTo>
                  <a:lnTo>
                    <a:pt x="19" y="102"/>
                  </a:lnTo>
                  <a:lnTo>
                    <a:pt x="13" y="91"/>
                  </a:lnTo>
                  <a:lnTo>
                    <a:pt x="11" y="88"/>
                  </a:lnTo>
                  <a:lnTo>
                    <a:pt x="11" y="86"/>
                  </a:lnTo>
                  <a:lnTo>
                    <a:pt x="8" y="83"/>
                  </a:lnTo>
                  <a:lnTo>
                    <a:pt x="5" y="83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0" y="78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1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70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8" y="62"/>
                  </a:lnTo>
                  <a:lnTo>
                    <a:pt x="11" y="62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9" y="59"/>
                  </a:lnTo>
                  <a:lnTo>
                    <a:pt x="21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4"/>
                  </a:lnTo>
                  <a:lnTo>
                    <a:pt x="32" y="64"/>
                  </a:lnTo>
                  <a:lnTo>
                    <a:pt x="32" y="67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5" y="72"/>
                  </a:lnTo>
                  <a:lnTo>
                    <a:pt x="35" y="75"/>
                  </a:lnTo>
                  <a:lnTo>
                    <a:pt x="37" y="78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5" y="86"/>
                  </a:lnTo>
                  <a:lnTo>
                    <a:pt x="35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0" y="94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3" y="88"/>
                  </a:lnTo>
                  <a:lnTo>
                    <a:pt x="43" y="91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40" y="83"/>
                  </a:lnTo>
                  <a:lnTo>
                    <a:pt x="43" y="83"/>
                  </a:lnTo>
                  <a:lnTo>
                    <a:pt x="45" y="86"/>
                  </a:lnTo>
                  <a:lnTo>
                    <a:pt x="45" y="88"/>
                  </a:lnTo>
                  <a:lnTo>
                    <a:pt x="48" y="88"/>
                  </a:lnTo>
                  <a:lnTo>
                    <a:pt x="51" y="88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6" y="91"/>
                  </a:lnTo>
                  <a:lnTo>
                    <a:pt x="59" y="91"/>
                  </a:lnTo>
                  <a:lnTo>
                    <a:pt x="59" y="91"/>
                  </a:lnTo>
                  <a:lnTo>
                    <a:pt x="61" y="91"/>
                  </a:lnTo>
                  <a:lnTo>
                    <a:pt x="64" y="91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72" y="83"/>
                  </a:lnTo>
                  <a:lnTo>
                    <a:pt x="72" y="80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7" y="75"/>
                  </a:lnTo>
                  <a:lnTo>
                    <a:pt x="77" y="75"/>
                  </a:lnTo>
                  <a:lnTo>
                    <a:pt x="80" y="75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8" y="75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6" y="78"/>
                  </a:lnTo>
                  <a:lnTo>
                    <a:pt x="101" y="75"/>
                  </a:lnTo>
                  <a:lnTo>
                    <a:pt x="104" y="72"/>
                  </a:lnTo>
                  <a:lnTo>
                    <a:pt x="107" y="70"/>
                  </a:lnTo>
                  <a:lnTo>
                    <a:pt x="109" y="67"/>
                  </a:lnTo>
                  <a:lnTo>
                    <a:pt x="112" y="64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7" y="62"/>
                  </a:lnTo>
                  <a:lnTo>
                    <a:pt x="120" y="62"/>
                  </a:lnTo>
                  <a:lnTo>
                    <a:pt x="120" y="62"/>
                  </a:lnTo>
                  <a:lnTo>
                    <a:pt x="123" y="62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0" y="67"/>
                  </a:lnTo>
                  <a:lnTo>
                    <a:pt x="120" y="67"/>
                  </a:lnTo>
                  <a:lnTo>
                    <a:pt x="120" y="70"/>
                  </a:lnTo>
                  <a:lnTo>
                    <a:pt x="117" y="70"/>
                  </a:lnTo>
                  <a:lnTo>
                    <a:pt x="117" y="70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7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5" y="72"/>
                  </a:lnTo>
                  <a:lnTo>
                    <a:pt x="123" y="72"/>
                  </a:lnTo>
                  <a:lnTo>
                    <a:pt x="123" y="75"/>
                  </a:lnTo>
                  <a:lnTo>
                    <a:pt x="123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5" y="72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9" y="62"/>
                  </a:lnTo>
                  <a:lnTo>
                    <a:pt x="141" y="62"/>
                  </a:lnTo>
                  <a:lnTo>
                    <a:pt x="141" y="59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4" y="56"/>
                  </a:lnTo>
                  <a:lnTo>
                    <a:pt x="147" y="56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1" y="67"/>
                  </a:lnTo>
                  <a:lnTo>
                    <a:pt x="141" y="70"/>
                  </a:lnTo>
                  <a:lnTo>
                    <a:pt x="141" y="72"/>
                  </a:lnTo>
                  <a:lnTo>
                    <a:pt x="141" y="75"/>
                  </a:lnTo>
                  <a:lnTo>
                    <a:pt x="141" y="75"/>
                  </a:lnTo>
                  <a:lnTo>
                    <a:pt x="141" y="78"/>
                  </a:lnTo>
                  <a:lnTo>
                    <a:pt x="141" y="78"/>
                  </a:lnTo>
                  <a:lnTo>
                    <a:pt x="141" y="80"/>
                  </a:lnTo>
                  <a:lnTo>
                    <a:pt x="144" y="80"/>
                  </a:lnTo>
                  <a:lnTo>
                    <a:pt x="144" y="80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52" y="83"/>
                  </a:lnTo>
                  <a:lnTo>
                    <a:pt x="152" y="80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52" y="75"/>
                  </a:lnTo>
                  <a:lnTo>
                    <a:pt x="149" y="72"/>
                  </a:lnTo>
                  <a:lnTo>
                    <a:pt x="149" y="70"/>
                  </a:lnTo>
                  <a:lnTo>
                    <a:pt x="147" y="67"/>
                  </a:lnTo>
                  <a:lnTo>
                    <a:pt x="147" y="64"/>
                  </a:lnTo>
                  <a:lnTo>
                    <a:pt x="147" y="62"/>
                  </a:lnTo>
                  <a:lnTo>
                    <a:pt x="144" y="62"/>
                  </a:lnTo>
                  <a:lnTo>
                    <a:pt x="147" y="59"/>
                  </a:lnTo>
                  <a:lnTo>
                    <a:pt x="147" y="56"/>
                  </a:lnTo>
                  <a:lnTo>
                    <a:pt x="147" y="54"/>
                  </a:lnTo>
                  <a:lnTo>
                    <a:pt x="147" y="51"/>
                  </a:lnTo>
                  <a:lnTo>
                    <a:pt x="147" y="48"/>
                  </a:lnTo>
                  <a:lnTo>
                    <a:pt x="144" y="43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5"/>
                  </a:lnTo>
                  <a:lnTo>
                    <a:pt x="141" y="35"/>
                  </a:lnTo>
                  <a:lnTo>
                    <a:pt x="139" y="35"/>
                  </a:lnTo>
                  <a:lnTo>
                    <a:pt x="139" y="35"/>
                  </a:lnTo>
                  <a:lnTo>
                    <a:pt x="139" y="35"/>
                  </a:lnTo>
                  <a:lnTo>
                    <a:pt x="136" y="35"/>
                  </a:lnTo>
                  <a:lnTo>
                    <a:pt x="139" y="35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40"/>
                  </a:lnTo>
                  <a:lnTo>
                    <a:pt x="139" y="40"/>
                  </a:lnTo>
                  <a:lnTo>
                    <a:pt x="136" y="38"/>
                  </a:lnTo>
                  <a:lnTo>
                    <a:pt x="136" y="32"/>
                  </a:lnTo>
                  <a:lnTo>
                    <a:pt x="136" y="30"/>
                  </a:lnTo>
                  <a:lnTo>
                    <a:pt x="136" y="24"/>
                  </a:lnTo>
                  <a:lnTo>
                    <a:pt x="136" y="19"/>
                  </a:lnTo>
                  <a:lnTo>
                    <a:pt x="139" y="16"/>
                  </a:lnTo>
                  <a:lnTo>
                    <a:pt x="139" y="14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8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1" y="0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1" y="6"/>
                  </a:lnTo>
                  <a:lnTo>
                    <a:pt x="141" y="8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7" y="14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52" y="19"/>
                  </a:lnTo>
                  <a:lnTo>
                    <a:pt x="155" y="19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3" y="19"/>
                  </a:lnTo>
                  <a:lnTo>
                    <a:pt x="163" y="22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8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4" y="22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4" y="24"/>
                  </a:lnTo>
                  <a:lnTo>
                    <a:pt x="171" y="24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30"/>
                  </a:lnTo>
                  <a:lnTo>
                    <a:pt x="174" y="32"/>
                  </a:lnTo>
                  <a:lnTo>
                    <a:pt x="176" y="35"/>
                  </a:lnTo>
                  <a:lnTo>
                    <a:pt x="176" y="35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4" y="38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38"/>
                  </a:lnTo>
                  <a:lnTo>
                    <a:pt x="187" y="38"/>
                  </a:lnTo>
                  <a:lnTo>
                    <a:pt x="187" y="35"/>
                  </a:lnTo>
                  <a:lnTo>
                    <a:pt x="187" y="32"/>
                  </a:lnTo>
                  <a:lnTo>
                    <a:pt x="187" y="30"/>
                  </a:lnTo>
                  <a:lnTo>
                    <a:pt x="184" y="30"/>
                  </a:lnTo>
                  <a:lnTo>
                    <a:pt x="184" y="30"/>
                  </a:lnTo>
                  <a:lnTo>
                    <a:pt x="184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4"/>
                  </a:lnTo>
                  <a:lnTo>
                    <a:pt x="182" y="24"/>
                  </a:lnTo>
                  <a:lnTo>
                    <a:pt x="184" y="24"/>
                  </a:lnTo>
                  <a:lnTo>
                    <a:pt x="184" y="22"/>
                  </a:lnTo>
                  <a:lnTo>
                    <a:pt x="187" y="22"/>
                  </a:lnTo>
                  <a:lnTo>
                    <a:pt x="187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2" y="22"/>
                  </a:lnTo>
                  <a:lnTo>
                    <a:pt x="192" y="22"/>
                  </a:lnTo>
                  <a:lnTo>
                    <a:pt x="192" y="24"/>
                  </a:lnTo>
                  <a:lnTo>
                    <a:pt x="195" y="24"/>
                  </a:lnTo>
                  <a:lnTo>
                    <a:pt x="195" y="24"/>
                  </a:lnTo>
                  <a:lnTo>
                    <a:pt x="198" y="24"/>
                  </a:lnTo>
                  <a:lnTo>
                    <a:pt x="198" y="27"/>
                  </a:lnTo>
                  <a:lnTo>
                    <a:pt x="200" y="27"/>
                  </a:lnTo>
                  <a:lnTo>
                    <a:pt x="198" y="30"/>
                  </a:lnTo>
                  <a:lnTo>
                    <a:pt x="206" y="38"/>
                  </a:lnTo>
                  <a:lnTo>
                    <a:pt x="208" y="38"/>
                  </a:lnTo>
                  <a:lnTo>
                    <a:pt x="211" y="40"/>
                  </a:lnTo>
                  <a:lnTo>
                    <a:pt x="211" y="40"/>
                  </a:lnTo>
                  <a:lnTo>
                    <a:pt x="208" y="40"/>
                  </a:lnTo>
                  <a:lnTo>
                    <a:pt x="203" y="46"/>
                  </a:lnTo>
                  <a:lnTo>
                    <a:pt x="200" y="46"/>
                  </a:lnTo>
                  <a:lnTo>
                    <a:pt x="192" y="56"/>
                  </a:lnTo>
                  <a:lnTo>
                    <a:pt x="192" y="59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6"/>
                  </a:lnTo>
                  <a:lnTo>
                    <a:pt x="203" y="59"/>
                  </a:lnTo>
                  <a:lnTo>
                    <a:pt x="203" y="59"/>
                  </a:lnTo>
                  <a:lnTo>
                    <a:pt x="206" y="59"/>
                  </a:lnTo>
                  <a:lnTo>
                    <a:pt x="206" y="59"/>
                  </a:lnTo>
                  <a:lnTo>
                    <a:pt x="203" y="62"/>
                  </a:lnTo>
                  <a:lnTo>
                    <a:pt x="203" y="64"/>
                  </a:lnTo>
                  <a:lnTo>
                    <a:pt x="206" y="64"/>
                  </a:lnTo>
                  <a:lnTo>
                    <a:pt x="206" y="64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08" y="64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1" y="67"/>
                  </a:lnTo>
                  <a:lnTo>
                    <a:pt x="216" y="62"/>
                  </a:lnTo>
                  <a:lnTo>
                    <a:pt x="219" y="64"/>
                  </a:lnTo>
                  <a:lnTo>
                    <a:pt x="224" y="56"/>
                  </a:lnTo>
                  <a:lnTo>
                    <a:pt x="230" y="62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8" y="62"/>
                  </a:lnTo>
                  <a:lnTo>
                    <a:pt x="238" y="64"/>
                  </a:lnTo>
                  <a:lnTo>
                    <a:pt x="240" y="64"/>
                  </a:lnTo>
                  <a:lnTo>
                    <a:pt x="240" y="67"/>
                  </a:lnTo>
                  <a:lnTo>
                    <a:pt x="254" y="78"/>
                  </a:lnTo>
                  <a:lnTo>
                    <a:pt x="254" y="80"/>
                  </a:lnTo>
                  <a:lnTo>
                    <a:pt x="264" y="86"/>
                  </a:lnTo>
                  <a:lnTo>
                    <a:pt x="264" y="88"/>
                  </a:lnTo>
                  <a:lnTo>
                    <a:pt x="264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7" y="94"/>
                  </a:lnTo>
                  <a:lnTo>
                    <a:pt x="267" y="94"/>
                  </a:lnTo>
                  <a:lnTo>
                    <a:pt x="264" y="94"/>
                  </a:lnTo>
                  <a:lnTo>
                    <a:pt x="264" y="94"/>
                  </a:lnTo>
                  <a:lnTo>
                    <a:pt x="264" y="96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56" y="99"/>
                  </a:lnTo>
                  <a:lnTo>
                    <a:pt x="254" y="102"/>
                  </a:lnTo>
                  <a:lnTo>
                    <a:pt x="254" y="104"/>
                  </a:lnTo>
                  <a:lnTo>
                    <a:pt x="262" y="110"/>
                  </a:lnTo>
                  <a:lnTo>
                    <a:pt x="259" y="112"/>
                  </a:lnTo>
                  <a:lnTo>
                    <a:pt x="259" y="115"/>
                  </a:lnTo>
                  <a:lnTo>
                    <a:pt x="259" y="118"/>
                  </a:lnTo>
                  <a:lnTo>
                    <a:pt x="262" y="120"/>
                  </a:lnTo>
                  <a:lnTo>
                    <a:pt x="256" y="123"/>
                  </a:lnTo>
                  <a:lnTo>
                    <a:pt x="256" y="123"/>
                  </a:lnTo>
                  <a:lnTo>
                    <a:pt x="254" y="123"/>
                  </a:lnTo>
                  <a:lnTo>
                    <a:pt x="254" y="123"/>
                  </a:lnTo>
                  <a:lnTo>
                    <a:pt x="251" y="126"/>
                  </a:lnTo>
                  <a:lnTo>
                    <a:pt x="254" y="126"/>
                  </a:lnTo>
                  <a:lnTo>
                    <a:pt x="254" y="128"/>
                  </a:lnTo>
                  <a:lnTo>
                    <a:pt x="256" y="131"/>
                  </a:lnTo>
                  <a:lnTo>
                    <a:pt x="254" y="134"/>
                  </a:lnTo>
                  <a:lnTo>
                    <a:pt x="264" y="144"/>
                  </a:lnTo>
                  <a:lnTo>
                    <a:pt x="267" y="142"/>
                  </a:lnTo>
                  <a:lnTo>
                    <a:pt x="275" y="147"/>
                  </a:lnTo>
                  <a:lnTo>
                    <a:pt x="272" y="153"/>
                  </a:lnTo>
                  <a:lnTo>
                    <a:pt x="275" y="155"/>
                  </a:lnTo>
                  <a:lnTo>
                    <a:pt x="283" y="161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91" y="158"/>
                  </a:lnTo>
                  <a:lnTo>
                    <a:pt x="286" y="163"/>
                  </a:lnTo>
                  <a:lnTo>
                    <a:pt x="283" y="163"/>
                  </a:lnTo>
                  <a:lnTo>
                    <a:pt x="280" y="171"/>
                  </a:lnTo>
                  <a:lnTo>
                    <a:pt x="283" y="174"/>
                  </a:lnTo>
                  <a:lnTo>
                    <a:pt x="283" y="177"/>
                  </a:lnTo>
                  <a:lnTo>
                    <a:pt x="286" y="179"/>
                  </a:lnTo>
                  <a:lnTo>
                    <a:pt x="283" y="179"/>
                  </a:lnTo>
                  <a:lnTo>
                    <a:pt x="283" y="182"/>
                  </a:lnTo>
                  <a:lnTo>
                    <a:pt x="283" y="182"/>
                  </a:lnTo>
                  <a:lnTo>
                    <a:pt x="283" y="185"/>
                  </a:lnTo>
                  <a:lnTo>
                    <a:pt x="280" y="187"/>
                  </a:lnTo>
                  <a:lnTo>
                    <a:pt x="283" y="187"/>
                  </a:lnTo>
                  <a:lnTo>
                    <a:pt x="280" y="190"/>
                  </a:lnTo>
                  <a:lnTo>
                    <a:pt x="278" y="190"/>
                  </a:lnTo>
                  <a:lnTo>
                    <a:pt x="278" y="190"/>
                  </a:lnTo>
                  <a:lnTo>
                    <a:pt x="278" y="190"/>
                  </a:lnTo>
                  <a:lnTo>
                    <a:pt x="278" y="193"/>
                  </a:lnTo>
                  <a:lnTo>
                    <a:pt x="275" y="193"/>
                  </a:lnTo>
                  <a:lnTo>
                    <a:pt x="275" y="195"/>
                  </a:lnTo>
                  <a:lnTo>
                    <a:pt x="278" y="195"/>
                  </a:lnTo>
                  <a:lnTo>
                    <a:pt x="278" y="198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80" y="201"/>
                  </a:lnTo>
                  <a:lnTo>
                    <a:pt x="280" y="201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6"/>
                  </a:lnTo>
                  <a:lnTo>
                    <a:pt x="278" y="206"/>
                  </a:lnTo>
                  <a:lnTo>
                    <a:pt x="275" y="206"/>
                  </a:lnTo>
                  <a:lnTo>
                    <a:pt x="275" y="209"/>
                  </a:lnTo>
                  <a:lnTo>
                    <a:pt x="275" y="209"/>
                  </a:lnTo>
                  <a:lnTo>
                    <a:pt x="275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0" y="203"/>
                  </a:lnTo>
                  <a:lnTo>
                    <a:pt x="270" y="203"/>
                  </a:lnTo>
                  <a:lnTo>
                    <a:pt x="267" y="206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4" y="209"/>
                  </a:lnTo>
                  <a:lnTo>
                    <a:pt x="264" y="209"/>
                  </a:lnTo>
                  <a:lnTo>
                    <a:pt x="262" y="209"/>
                  </a:lnTo>
                  <a:lnTo>
                    <a:pt x="262" y="206"/>
                  </a:lnTo>
                  <a:lnTo>
                    <a:pt x="262" y="206"/>
                  </a:lnTo>
                  <a:lnTo>
                    <a:pt x="259" y="206"/>
                  </a:lnTo>
                  <a:lnTo>
                    <a:pt x="259" y="206"/>
                  </a:lnTo>
                  <a:lnTo>
                    <a:pt x="259" y="203"/>
                  </a:lnTo>
                  <a:lnTo>
                    <a:pt x="259" y="203"/>
                  </a:lnTo>
                  <a:lnTo>
                    <a:pt x="259" y="201"/>
                  </a:lnTo>
                  <a:lnTo>
                    <a:pt x="259" y="201"/>
                  </a:lnTo>
                  <a:lnTo>
                    <a:pt x="256" y="201"/>
                  </a:lnTo>
                  <a:lnTo>
                    <a:pt x="256" y="201"/>
                  </a:lnTo>
                  <a:lnTo>
                    <a:pt x="256" y="201"/>
                  </a:lnTo>
                  <a:lnTo>
                    <a:pt x="254" y="201"/>
                  </a:lnTo>
                  <a:lnTo>
                    <a:pt x="254" y="201"/>
                  </a:lnTo>
                  <a:lnTo>
                    <a:pt x="254" y="198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48" y="198"/>
                  </a:lnTo>
                  <a:lnTo>
                    <a:pt x="248" y="201"/>
                  </a:lnTo>
                  <a:lnTo>
                    <a:pt x="246" y="201"/>
                  </a:lnTo>
                  <a:lnTo>
                    <a:pt x="246" y="203"/>
                  </a:lnTo>
                  <a:lnTo>
                    <a:pt x="243" y="206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40" y="209"/>
                  </a:lnTo>
                  <a:lnTo>
                    <a:pt x="240" y="211"/>
                  </a:lnTo>
                  <a:lnTo>
                    <a:pt x="240" y="211"/>
                  </a:lnTo>
                  <a:lnTo>
                    <a:pt x="243" y="211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0" y="217"/>
                  </a:lnTo>
                  <a:lnTo>
                    <a:pt x="240" y="217"/>
                  </a:lnTo>
                  <a:lnTo>
                    <a:pt x="240" y="219"/>
                  </a:lnTo>
                  <a:lnTo>
                    <a:pt x="240" y="219"/>
                  </a:lnTo>
                  <a:lnTo>
                    <a:pt x="240" y="222"/>
                  </a:lnTo>
                  <a:lnTo>
                    <a:pt x="240" y="222"/>
                  </a:lnTo>
                  <a:lnTo>
                    <a:pt x="243" y="222"/>
                  </a:lnTo>
                  <a:lnTo>
                    <a:pt x="243" y="225"/>
                  </a:lnTo>
                  <a:lnTo>
                    <a:pt x="243" y="225"/>
                  </a:lnTo>
                  <a:lnTo>
                    <a:pt x="243" y="225"/>
                  </a:lnTo>
                  <a:lnTo>
                    <a:pt x="243" y="227"/>
                  </a:lnTo>
                  <a:lnTo>
                    <a:pt x="240" y="227"/>
                  </a:lnTo>
                  <a:lnTo>
                    <a:pt x="240" y="230"/>
                  </a:lnTo>
                  <a:lnTo>
                    <a:pt x="238" y="233"/>
                  </a:lnTo>
                  <a:lnTo>
                    <a:pt x="238" y="235"/>
                  </a:lnTo>
                  <a:lnTo>
                    <a:pt x="238" y="238"/>
                  </a:lnTo>
                  <a:lnTo>
                    <a:pt x="238" y="238"/>
                  </a:lnTo>
                  <a:lnTo>
                    <a:pt x="235" y="238"/>
                  </a:lnTo>
                  <a:lnTo>
                    <a:pt x="235" y="238"/>
                  </a:lnTo>
                  <a:lnTo>
                    <a:pt x="235" y="241"/>
                  </a:lnTo>
                  <a:lnTo>
                    <a:pt x="235" y="241"/>
                  </a:lnTo>
                  <a:lnTo>
                    <a:pt x="235" y="241"/>
                  </a:lnTo>
                  <a:lnTo>
                    <a:pt x="238" y="243"/>
                  </a:lnTo>
                  <a:lnTo>
                    <a:pt x="240" y="243"/>
                  </a:lnTo>
                  <a:lnTo>
                    <a:pt x="240" y="246"/>
                  </a:lnTo>
                  <a:lnTo>
                    <a:pt x="246" y="249"/>
                  </a:lnTo>
                  <a:lnTo>
                    <a:pt x="246" y="249"/>
                  </a:lnTo>
                  <a:lnTo>
                    <a:pt x="248" y="246"/>
                  </a:lnTo>
                  <a:lnTo>
                    <a:pt x="248" y="246"/>
                  </a:lnTo>
                  <a:lnTo>
                    <a:pt x="251" y="249"/>
                  </a:lnTo>
                  <a:lnTo>
                    <a:pt x="248" y="249"/>
                  </a:lnTo>
                  <a:lnTo>
                    <a:pt x="251" y="251"/>
                  </a:lnTo>
                  <a:lnTo>
                    <a:pt x="251" y="251"/>
                  </a:lnTo>
                  <a:lnTo>
                    <a:pt x="248" y="257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46" y="259"/>
                  </a:lnTo>
                  <a:lnTo>
                    <a:pt x="246" y="265"/>
                  </a:lnTo>
                  <a:lnTo>
                    <a:pt x="246" y="267"/>
                  </a:lnTo>
                  <a:lnTo>
                    <a:pt x="246" y="270"/>
                  </a:lnTo>
                  <a:lnTo>
                    <a:pt x="248" y="270"/>
                  </a:lnTo>
                  <a:lnTo>
                    <a:pt x="248" y="273"/>
                  </a:lnTo>
                  <a:lnTo>
                    <a:pt x="246" y="275"/>
                  </a:lnTo>
                  <a:lnTo>
                    <a:pt x="248" y="275"/>
                  </a:lnTo>
                  <a:lnTo>
                    <a:pt x="251" y="278"/>
                  </a:lnTo>
                  <a:lnTo>
                    <a:pt x="251" y="278"/>
                  </a:lnTo>
                  <a:lnTo>
                    <a:pt x="254" y="278"/>
                  </a:lnTo>
                  <a:lnTo>
                    <a:pt x="254" y="281"/>
                  </a:lnTo>
                  <a:lnTo>
                    <a:pt x="254" y="281"/>
                  </a:lnTo>
                  <a:lnTo>
                    <a:pt x="254" y="281"/>
                  </a:lnTo>
                  <a:lnTo>
                    <a:pt x="254" y="283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48" y="286"/>
                  </a:lnTo>
                  <a:lnTo>
                    <a:pt x="248" y="286"/>
                  </a:lnTo>
                  <a:lnTo>
                    <a:pt x="248" y="289"/>
                  </a:lnTo>
                  <a:lnTo>
                    <a:pt x="248" y="289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91"/>
                  </a:lnTo>
                  <a:lnTo>
                    <a:pt x="243" y="291"/>
                  </a:lnTo>
                  <a:lnTo>
                    <a:pt x="243" y="291"/>
                  </a:lnTo>
                  <a:lnTo>
                    <a:pt x="243" y="291"/>
                  </a:lnTo>
                  <a:lnTo>
                    <a:pt x="240" y="291"/>
                  </a:lnTo>
                  <a:lnTo>
                    <a:pt x="240" y="291"/>
                  </a:lnTo>
                  <a:lnTo>
                    <a:pt x="238" y="294"/>
                  </a:lnTo>
                  <a:lnTo>
                    <a:pt x="238" y="294"/>
                  </a:lnTo>
                  <a:lnTo>
                    <a:pt x="238" y="294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2" y="294"/>
                  </a:lnTo>
                  <a:lnTo>
                    <a:pt x="230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4"/>
                  </a:lnTo>
                  <a:lnTo>
                    <a:pt x="227" y="297"/>
                  </a:lnTo>
                  <a:lnTo>
                    <a:pt x="227" y="297"/>
                  </a:lnTo>
                  <a:lnTo>
                    <a:pt x="227" y="299"/>
                  </a:lnTo>
                  <a:lnTo>
                    <a:pt x="227" y="302"/>
                  </a:lnTo>
                  <a:lnTo>
                    <a:pt x="227" y="302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27" y="305"/>
                  </a:lnTo>
                  <a:lnTo>
                    <a:pt x="230" y="308"/>
                  </a:lnTo>
                  <a:lnTo>
                    <a:pt x="227" y="308"/>
                  </a:lnTo>
                  <a:lnTo>
                    <a:pt x="227" y="310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30" y="316"/>
                  </a:lnTo>
                  <a:lnTo>
                    <a:pt x="230" y="316"/>
                  </a:lnTo>
                  <a:lnTo>
                    <a:pt x="227" y="316"/>
                  </a:lnTo>
                  <a:lnTo>
                    <a:pt x="230" y="318"/>
                  </a:lnTo>
                  <a:lnTo>
                    <a:pt x="230" y="318"/>
                  </a:lnTo>
                  <a:lnTo>
                    <a:pt x="230" y="318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1"/>
                  </a:lnTo>
                  <a:lnTo>
                    <a:pt x="232" y="324"/>
                  </a:lnTo>
                  <a:lnTo>
                    <a:pt x="230" y="324"/>
                  </a:lnTo>
                  <a:lnTo>
                    <a:pt x="230" y="324"/>
                  </a:lnTo>
                  <a:lnTo>
                    <a:pt x="227" y="324"/>
                  </a:lnTo>
                  <a:lnTo>
                    <a:pt x="227" y="324"/>
                  </a:lnTo>
                  <a:lnTo>
                    <a:pt x="227" y="326"/>
                  </a:lnTo>
                  <a:lnTo>
                    <a:pt x="224" y="324"/>
                  </a:lnTo>
                  <a:lnTo>
                    <a:pt x="224" y="324"/>
                  </a:lnTo>
                  <a:lnTo>
                    <a:pt x="222" y="324"/>
                  </a:lnTo>
                  <a:lnTo>
                    <a:pt x="222" y="324"/>
                  </a:lnTo>
                  <a:lnTo>
                    <a:pt x="222" y="324"/>
                  </a:lnTo>
                  <a:lnTo>
                    <a:pt x="219" y="324"/>
                  </a:lnTo>
                  <a:lnTo>
                    <a:pt x="219" y="324"/>
                  </a:lnTo>
                  <a:lnTo>
                    <a:pt x="219" y="326"/>
                  </a:lnTo>
                  <a:lnTo>
                    <a:pt x="219" y="326"/>
                  </a:lnTo>
                  <a:lnTo>
                    <a:pt x="222" y="329"/>
                  </a:lnTo>
                  <a:lnTo>
                    <a:pt x="222" y="332"/>
                  </a:lnTo>
                  <a:lnTo>
                    <a:pt x="222" y="332"/>
                  </a:lnTo>
                  <a:lnTo>
                    <a:pt x="222" y="334"/>
                  </a:lnTo>
                  <a:lnTo>
                    <a:pt x="222" y="334"/>
                  </a:lnTo>
                  <a:lnTo>
                    <a:pt x="222" y="340"/>
                  </a:lnTo>
                  <a:lnTo>
                    <a:pt x="219" y="342"/>
                  </a:lnTo>
                  <a:lnTo>
                    <a:pt x="214" y="345"/>
                  </a:lnTo>
                  <a:lnTo>
                    <a:pt x="211" y="345"/>
                  </a:lnTo>
                  <a:lnTo>
                    <a:pt x="208" y="348"/>
                  </a:lnTo>
                  <a:lnTo>
                    <a:pt x="208" y="345"/>
                  </a:lnTo>
                  <a:lnTo>
                    <a:pt x="206" y="345"/>
                  </a:lnTo>
                  <a:lnTo>
                    <a:pt x="206" y="345"/>
                  </a:lnTo>
                  <a:lnTo>
                    <a:pt x="203" y="345"/>
                  </a:lnTo>
                  <a:lnTo>
                    <a:pt x="203" y="345"/>
                  </a:lnTo>
                  <a:lnTo>
                    <a:pt x="200" y="348"/>
                  </a:lnTo>
                  <a:lnTo>
                    <a:pt x="200" y="348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195" y="348"/>
                  </a:lnTo>
                  <a:lnTo>
                    <a:pt x="195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8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5"/>
                  </a:lnTo>
                  <a:lnTo>
                    <a:pt x="187" y="345"/>
                  </a:lnTo>
                  <a:lnTo>
                    <a:pt x="187" y="345"/>
                  </a:lnTo>
                  <a:lnTo>
                    <a:pt x="187" y="342"/>
                  </a:lnTo>
                  <a:lnTo>
                    <a:pt x="190" y="342"/>
                  </a:lnTo>
                  <a:lnTo>
                    <a:pt x="190" y="340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90" y="337"/>
                  </a:lnTo>
                  <a:lnTo>
                    <a:pt x="190" y="337"/>
                  </a:lnTo>
                  <a:lnTo>
                    <a:pt x="190" y="337"/>
                  </a:lnTo>
                  <a:lnTo>
                    <a:pt x="190" y="334"/>
                  </a:lnTo>
                  <a:lnTo>
                    <a:pt x="187" y="334"/>
                  </a:lnTo>
                  <a:lnTo>
                    <a:pt x="187" y="334"/>
                  </a:lnTo>
                  <a:lnTo>
                    <a:pt x="187" y="332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4" y="329"/>
                  </a:lnTo>
                  <a:lnTo>
                    <a:pt x="184" y="329"/>
                  </a:lnTo>
                  <a:lnTo>
                    <a:pt x="182" y="329"/>
                  </a:lnTo>
                  <a:lnTo>
                    <a:pt x="182" y="326"/>
                  </a:lnTo>
                  <a:lnTo>
                    <a:pt x="182" y="326"/>
                  </a:lnTo>
                  <a:lnTo>
                    <a:pt x="179" y="326"/>
                  </a:lnTo>
                  <a:lnTo>
                    <a:pt x="179" y="326"/>
                  </a:lnTo>
                  <a:lnTo>
                    <a:pt x="179" y="324"/>
                  </a:lnTo>
                  <a:lnTo>
                    <a:pt x="176" y="324"/>
                  </a:lnTo>
                  <a:lnTo>
                    <a:pt x="174" y="321"/>
                  </a:lnTo>
                  <a:lnTo>
                    <a:pt x="174" y="318"/>
                  </a:lnTo>
                  <a:lnTo>
                    <a:pt x="171" y="316"/>
                  </a:lnTo>
                  <a:lnTo>
                    <a:pt x="171" y="318"/>
                  </a:lnTo>
                  <a:lnTo>
                    <a:pt x="168" y="318"/>
                  </a:lnTo>
                  <a:lnTo>
                    <a:pt x="168" y="318"/>
                  </a:lnTo>
                  <a:lnTo>
                    <a:pt x="168" y="321"/>
                  </a:lnTo>
                  <a:lnTo>
                    <a:pt x="168" y="324"/>
                  </a:lnTo>
                  <a:lnTo>
                    <a:pt x="166" y="326"/>
                  </a:lnTo>
                  <a:lnTo>
                    <a:pt x="163" y="326"/>
                  </a:lnTo>
                  <a:lnTo>
                    <a:pt x="163" y="329"/>
                  </a:lnTo>
                  <a:lnTo>
                    <a:pt x="160" y="329"/>
                  </a:lnTo>
                  <a:lnTo>
                    <a:pt x="160" y="329"/>
                  </a:lnTo>
                  <a:lnTo>
                    <a:pt x="157" y="329"/>
                  </a:lnTo>
                  <a:lnTo>
                    <a:pt x="155" y="329"/>
                  </a:lnTo>
                  <a:lnTo>
                    <a:pt x="155" y="329"/>
                  </a:lnTo>
                  <a:lnTo>
                    <a:pt x="152" y="329"/>
                  </a:lnTo>
                  <a:lnTo>
                    <a:pt x="149" y="332"/>
                  </a:lnTo>
                  <a:lnTo>
                    <a:pt x="149" y="332"/>
                  </a:lnTo>
                  <a:lnTo>
                    <a:pt x="147" y="332"/>
                  </a:lnTo>
                  <a:lnTo>
                    <a:pt x="144" y="334"/>
                  </a:lnTo>
                  <a:lnTo>
                    <a:pt x="144" y="337"/>
                  </a:lnTo>
                  <a:lnTo>
                    <a:pt x="141" y="337"/>
                  </a:lnTo>
                  <a:lnTo>
                    <a:pt x="141" y="337"/>
                  </a:lnTo>
                  <a:lnTo>
                    <a:pt x="139" y="337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6" y="345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3" y="350"/>
                  </a:lnTo>
                  <a:lnTo>
                    <a:pt x="131" y="353"/>
                  </a:lnTo>
                  <a:lnTo>
                    <a:pt x="131" y="353"/>
                  </a:lnTo>
                  <a:lnTo>
                    <a:pt x="131" y="356"/>
                  </a:lnTo>
                  <a:lnTo>
                    <a:pt x="131" y="356"/>
                  </a:lnTo>
                  <a:lnTo>
                    <a:pt x="128" y="356"/>
                  </a:lnTo>
                  <a:lnTo>
                    <a:pt x="128" y="353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8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0" y="350"/>
                  </a:lnTo>
                  <a:lnTo>
                    <a:pt x="120" y="348"/>
                  </a:lnTo>
                  <a:lnTo>
                    <a:pt x="117" y="348"/>
                  </a:lnTo>
                  <a:lnTo>
                    <a:pt x="115" y="342"/>
                  </a:lnTo>
                  <a:lnTo>
                    <a:pt x="115" y="340"/>
                  </a:lnTo>
                  <a:lnTo>
                    <a:pt x="115" y="340"/>
                  </a:lnTo>
                  <a:lnTo>
                    <a:pt x="112" y="340"/>
                  </a:lnTo>
                  <a:lnTo>
                    <a:pt x="109" y="337"/>
                  </a:lnTo>
                  <a:lnTo>
                    <a:pt x="109" y="337"/>
                  </a:lnTo>
                  <a:lnTo>
                    <a:pt x="109" y="334"/>
                  </a:lnTo>
                  <a:lnTo>
                    <a:pt x="109" y="334"/>
                  </a:lnTo>
                  <a:lnTo>
                    <a:pt x="107" y="334"/>
                  </a:lnTo>
                  <a:lnTo>
                    <a:pt x="107" y="332"/>
                  </a:lnTo>
                  <a:lnTo>
                    <a:pt x="104" y="332"/>
                  </a:lnTo>
                  <a:lnTo>
                    <a:pt x="104" y="332"/>
                  </a:lnTo>
                  <a:lnTo>
                    <a:pt x="104" y="329"/>
                  </a:lnTo>
                  <a:lnTo>
                    <a:pt x="101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6" y="329"/>
                  </a:lnTo>
                  <a:lnTo>
                    <a:pt x="96" y="329"/>
                  </a:lnTo>
                  <a:lnTo>
                    <a:pt x="93" y="332"/>
                  </a:lnTo>
                  <a:lnTo>
                    <a:pt x="91" y="332"/>
                  </a:lnTo>
                  <a:lnTo>
                    <a:pt x="91" y="332"/>
                  </a:lnTo>
                  <a:lnTo>
                    <a:pt x="88" y="332"/>
                  </a:lnTo>
                  <a:lnTo>
                    <a:pt x="85" y="334"/>
                  </a:lnTo>
                  <a:lnTo>
                    <a:pt x="85" y="334"/>
                  </a:lnTo>
                  <a:lnTo>
                    <a:pt x="83" y="337"/>
                  </a:lnTo>
                  <a:lnTo>
                    <a:pt x="83" y="33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8" name="Freeform 8915">
              <a:extLst>
                <a:ext uri="{FF2B5EF4-FFF2-40B4-BE49-F238E27FC236}">
                  <a16:creationId xmlns:a16="http://schemas.microsoft.com/office/drawing/2014/main" id="{A5ECCAE8-BD8B-BE46-9B9F-ACDFD688BA38}"/>
                </a:ext>
              </a:extLst>
            </p:cNvPr>
            <p:cNvSpPr/>
            <p:nvPr/>
          </p:nvSpPr>
          <p:spPr bwMode="auto">
            <a:xfrm>
              <a:off x="881856" y="5011738"/>
              <a:ext cx="152399" cy="250826"/>
            </a:xfrm>
            <a:custGeom>
              <a:avLst/>
              <a:gdLst>
                <a:gd name="T0" fmla="*/ 19 w 96"/>
                <a:gd name="T1" fmla="*/ 16 h 158"/>
                <a:gd name="T2" fmla="*/ 16 w 96"/>
                <a:gd name="T3" fmla="*/ 11 h 158"/>
                <a:gd name="T4" fmla="*/ 16 w 96"/>
                <a:gd name="T5" fmla="*/ 8 h 158"/>
                <a:gd name="T6" fmla="*/ 8 w 96"/>
                <a:gd name="T7" fmla="*/ 8 h 158"/>
                <a:gd name="T8" fmla="*/ 8 w 96"/>
                <a:gd name="T9" fmla="*/ 3 h 158"/>
                <a:gd name="T10" fmla="*/ 3 w 96"/>
                <a:gd name="T11" fmla="*/ 3 h 158"/>
                <a:gd name="T12" fmla="*/ 5 w 96"/>
                <a:gd name="T13" fmla="*/ 11 h 158"/>
                <a:gd name="T14" fmla="*/ 5 w 96"/>
                <a:gd name="T15" fmla="*/ 19 h 158"/>
                <a:gd name="T16" fmla="*/ 13 w 96"/>
                <a:gd name="T17" fmla="*/ 32 h 158"/>
                <a:gd name="T18" fmla="*/ 24 w 96"/>
                <a:gd name="T19" fmla="*/ 38 h 158"/>
                <a:gd name="T20" fmla="*/ 32 w 96"/>
                <a:gd name="T21" fmla="*/ 48 h 158"/>
                <a:gd name="T22" fmla="*/ 43 w 96"/>
                <a:gd name="T23" fmla="*/ 51 h 158"/>
                <a:gd name="T24" fmla="*/ 45 w 96"/>
                <a:gd name="T25" fmla="*/ 43 h 158"/>
                <a:gd name="T26" fmla="*/ 45 w 96"/>
                <a:gd name="T27" fmla="*/ 32 h 158"/>
                <a:gd name="T28" fmla="*/ 53 w 96"/>
                <a:gd name="T29" fmla="*/ 38 h 158"/>
                <a:gd name="T30" fmla="*/ 53 w 96"/>
                <a:gd name="T31" fmla="*/ 40 h 158"/>
                <a:gd name="T32" fmla="*/ 51 w 96"/>
                <a:gd name="T33" fmla="*/ 43 h 158"/>
                <a:gd name="T34" fmla="*/ 53 w 96"/>
                <a:gd name="T35" fmla="*/ 46 h 158"/>
                <a:gd name="T36" fmla="*/ 61 w 96"/>
                <a:gd name="T37" fmla="*/ 48 h 158"/>
                <a:gd name="T38" fmla="*/ 64 w 96"/>
                <a:gd name="T39" fmla="*/ 54 h 158"/>
                <a:gd name="T40" fmla="*/ 61 w 96"/>
                <a:gd name="T41" fmla="*/ 62 h 158"/>
                <a:gd name="T42" fmla="*/ 59 w 96"/>
                <a:gd name="T43" fmla="*/ 64 h 158"/>
                <a:gd name="T44" fmla="*/ 59 w 96"/>
                <a:gd name="T45" fmla="*/ 75 h 158"/>
                <a:gd name="T46" fmla="*/ 51 w 96"/>
                <a:gd name="T47" fmla="*/ 75 h 158"/>
                <a:gd name="T48" fmla="*/ 45 w 96"/>
                <a:gd name="T49" fmla="*/ 80 h 158"/>
                <a:gd name="T50" fmla="*/ 37 w 96"/>
                <a:gd name="T51" fmla="*/ 88 h 158"/>
                <a:gd name="T52" fmla="*/ 32 w 96"/>
                <a:gd name="T53" fmla="*/ 99 h 158"/>
                <a:gd name="T54" fmla="*/ 35 w 96"/>
                <a:gd name="T55" fmla="*/ 110 h 158"/>
                <a:gd name="T56" fmla="*/ 35 w 96"/>
                <a:gd name="T57" fmla="*/ 118 h 158"/>
                <a:gd name="T58" fmla="*/ 29 w 96"/>
                <a:gd name="T59" fmla="*/ 120 h 158"/>
                <a:gd name="T60" fmla="*/ 19 w 96"/>
                <a:gd name="T61" fmla="*/ 115 h 158"/>
                <a:gd name="T62" fmla="*/ 16 w 96"/>
                <a:gd name="T63" fmla="*/ 107 h 158"/>
                <a:gd name="T64" fmla="*/ 13 w 96"/>
                <a:gd name="T65" fmla="*/ 115 h 158"/>
                <a:gd name="T66" fmla="*/ 5 w 96"/>
                <a:gd name="T67" fmla="*/ 120 h 158"/>
                <a:gd name="T68" fmla="*/ 11 w 96"/>
                <a:gd name="T69" fmla="*/ 131 h 158"/>
                <a:gd name="T70" fmla="*/ 13 w 96"/>
                <a:gd name="T71" fmla="*/ 139 h 158"/>
                <a:gd name="T72" fmla="*/ 21 w 96"/>
                <a:gd name="T73" fmla="*/ 145 h 158"/>
                <a:gd name="T74" fmla="*/ 27 w 96"/>
                <a:gd name="T75" fmla="*/ 158 h 158"/>
                <a:gd name="T76" fmla="*/ 35 w 96"/>
                <a:gd name="T77" fmla="*/ 153 h 158"/>
                <a:gd name="T78" fmla="*/ 45 w 96"/>
                <a:gd name="T79" fmla="*/ 145 h 158"/>
                <a:gd name="T80" fmla="*/ 51 w 96"/>
                <a:gd name="T81" fmla="*/ 128 h 158"/>
                <a:gd name="T82" fmla="*/ 61 w 96"/>
                <a:gd name="T83" fmla="*/ 123 h 158"/>
                <a:gd name="T84" fmla="*/ 67 w 96"/>
                <a:gd name="T85" fmla="*/ 110 h 158"/>
                <a:gd name="T86" fmla="*/ 72 w 96"/>
                <a:gd name="T87" fmla="*/ 94 h 158"/>
                <a:gd name="T88" fmla="*/ 86 w 96"/>
                <a:gd name="T89" fmla="*/ 91 h 158"/>
                <a:gd name="T90" fmla="*/ 86 w 96"/>
                <a:gd name="T91" fmla="*/ 107 h 158"/>
                <a:gd name="T92" fmla="*/ 78 w 96"/>
                <a:gd name="T93" fmla="*/ 118 h 158"/>
                <a:gd name="T94" fmla="*/ 86 w 96"/>
                <a:gd name="T95" fmla="*/ 118 h 158"/>
                <a:gd name="T96" fmla="*/ 91 w 96"/>
                <a:gd name="T97" fmla="*/ 104 h 158"/>
                <a:gd name="T98" fmla="*/ 94 w 96"/>
                <a:gd name="T99" fmla="*/ 88 h 158"/>
                <a:gd name="T100" fmla="*/ 94 w 96"/>
                <a:gd name="T101" fmla="*/ 72 h 158"/>
                <a:gd name="T102" fmla="*/ 91 w 96"/>
                <a:gd name="T103" fmla="*/ 56 h 158"/>
                <a:gd name="T104" fmla="*/ 75 w 96"/>
                <a:gd name="T105" fmla="*/ 46 h 158"/>
                <a:gd name="T106" fmla="*/ 72 w 96"/>
                <a:gd name="T107" fmla="*/ 40 h 158"/>
                <a:gd name="T108" fmla="*/ 67 w 96"/>
                <a:gd name="T109" fmla="*/ 30 h 158"/>
                <a:gd name="T110" fmla="*/ 59 w 96"/>
                <a:gd name="T111" fmla="*/ 2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158" extrusionOk="0">
                  <a:moveTo>
                    <a:pt x="24" y="22"/>
                  </a:moveTo>
                  <a:lnTo>
                    <a:pt x="21" y="22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24" y="40"/>
                  </a:lnTo>
                  <a:lnTo>
                    <a:pt x="27" y="40"/>
                  </a:lnTo>
                  <a:lnTo>
                    <a:pt x="27" y="43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3" y="48"/>
                  </a:lnTo>
                  <a:lnTo>
                    <a:pt x="43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8" y="51"/>
                  </a:lnTo>
                  <a:lnTo>
                    <a:pt x="48" y="48"/>
                  </a:lnTo>
                  <a:lnTo>
                    <a:pt x="45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48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3" y="4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6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4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7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1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70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2" y="118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3" y="134"/>
                  </a:lnTo>
                  <a:lnTo>
                    <a:pt x="13" y="136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5"/>
                  </a:lnTo>
                  <a:lnTo>
                    <a:pt x="21" y="145"/>
                  </a:lnTo>
                  <a:lnTo>
                    <a:pt x="21" y="147"/>
                  </a:lnTo>
                  <a:lnTo>
                    <a:pt x="19" y="150"/>
                  </a:lnTo>
                  <a:lnTo>
                    <a:pt x="21" y="153"/>
                  </a:lnTo>
                  <a:lnTo>
                    <a:pt x="21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7" y="150"/>
                  </a:lnTo>
                  <a:lnTo>
                    <a:pt x="40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8" y="139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1"/>
                  </a:lnTo>
                  <a:lnTo>
                    <a:pt x="51" y="128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6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4" y="120"/>
                  </a:lnTo>
                  <a:lnTo>
                    <a:pt x="64" y="118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4" y="110"/>
                  </a:lnTo>
                  <a:lnTo>
                    <a:pt x="67" y="110"/>
                  </a:lnTo>
                  <a:lnTo>
                    <a:pt x="67" y="107"/>
                  </a:lnTo>
                  <a:lnTo>
                    <a:pt x="70" y="107"/>
                  </a:lnTo>
                  <a:lnTo>
                    <a:pt x="70" y="104"/>
                  </a:lnTo>
                  <a:lnTo>
                    <a:pt x="67" y="102"/>
                  </a:lnTo>
                  <a:lnTo>
                    <a:pt x="70" y="99"/>
                  </a:lnTo>
                  <a:lnTo>
                    <a:pt x="70" y="96"/>
                  </a:lnTo>
                  <a:lnTo>
                    <a:pt x="72" y="94"/>
                  </a:lnTo>
                  <a:lnTo>
                    <a:pt x="75" y="94"/>
                  </a:lnTo>
                  <a:lnTo>
                    <a:pt x="75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6" y="91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6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7"/>
                  </a:lnTo>
                  <a:lnTo>
                    <a:pt x="86" y="110"/>
                  </a:lnTo>
                  <a:lnTo>
                    <a:pt x="83" y="112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6" y="123"/>
                  </a:lnTo>
                  <a:lnTo>
                    <a:pt x="86" y="120"/>
                  </a:lnTo>
                  <a:lnTo>
                    <a:pt x="86" y="118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91" y="112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1" y="107"/>
                  </a:lnTo>
                  <a:lnTo>
                    <a:pt x="91" y="104"/>
                  </a:lnTo>
                  <a:lnTo>
                    <a:pt x="91" y="102"/>
                  </a:lnTo>
                  <a:lnTo>
                    <a:pt x="91" y="99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1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3"/>
                  </a:lnTo>
                  <a:lnTo>
                    <a:pt x="96" y="80"/>
                  </a:lnTo>
                  <a:lnTo>
                    <a:pt x="96" y="75"/>
                  </a:lnTo>
                  <a:lnTo>
                    <a:pt x="94" y="75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0"/>
                  </a:lnTo>
                  <a:lnTo>
                    <a:pt x="94" y="67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1" y="56"/>
                  </a:lnTo>
                  <a:lnTo>
                    <a:pt x="88" y="51"/>
                  </a:lnTo>
                  <a:lnTo>
                    <a:pt x="86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0" y="51"/>
                  </a:lnTo>
                  <a:lnTo>
                    <a:pt x="78" y="48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2" y="46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2"/>
                  </a:lnTo>
                  <a:lnTo>
                    <a:pt x="64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499" name="Freeform 8916">
              <a:extLst>
                <a:ext uri="{FF2B5EF4-FFF2-40B4-BE49-F238E27FC236}">
                  <a16:creationId xmlns:a16="http://schemas.microsoft.com/office/drawing/2014/main" id="{F125136F-FE6C-9A45-87B1-E88A2D9100F6}"/>
                </a:ext>
              </a:extLst>
            </p:cNvPr>
            <p:cNvSpPr/>
            <p:nvPr/>
          </p:nvSpPr>
          <p:spPr bwMode="auto">
            <a:xfrm>
              <a:off x="1123156" y="4108451"/>
              <a:ext cx="306387" cy="360363"/>
            </a:xfrm>
            <a:custGeom>
              <a:avLst/>
              <a:gdLst>
                <a:gd name="T0" fmla="*/ 150 w 193"/>
                <a:gd name="T1" fmla="*/ 219 h 227"/>
                <a:gd name="T2" fmla="*/ 155 w 193"/>
                <a:gd name="T3" fmla="*/ 214 h 227"/>
                <a:gd name="T4" fmla="*/ 158 w 193"/>
                <a:gd name="T5" fmla="*/ 211 h 227"/>
                <a:gd name="T6" fmla="*/ 158 w 193"/>
                <a:gd name="T7" fmla="*/ 195 h 227"/>
                <a:gd name="T8" fmla="*/ 166 w 193"/>
                <a:gd name="T9" fmla="*/ 184 h 227"/>
                <a:gd name="T10" fmla="*/ 171 w 193"/>
                <a:gd name="T11" fmla="*/ 176 h 227"/>
                <a:gd name="T12" fmla="*/ 177 w 193"/>
                <a:gd name="T13" fmla="*/ 168 h 227"/>
                <a:gd name="T14" fmla="*/ 182 w 193"/>
                <a:gd name="T15" fmla="*/ 166 h 227"/>
                <a:gd name="T16" fmla="*/ 177 w 193"/>
                <a:gd name="T17" fmla="*/ 158 h 227"/>
                <a:gd name="T18" fmla="*/ 174 w 193"/>
                <a:gd name="T19" fmla="*/ 152 h 227"/>
                <a:gd name="T20" fmla="*/ 177 w 193"/>
                <a:gd name="T21" fmla="*/ 144 h 227"/>
                <a:gd name="T22" fmla="*/ 171 w 193"/>
                <a:gd name="T23" fmla="*/ 139 h 227"/>
                <a:gd name="T24" fmla="*/ 179 w 193"/>
                <a:gd name="T25" fmla="*/ 131 h 227"/>
                <a:gd name="T26" fmla="*/ 185 w 193"/>
                <a:gd name="T27" fmla="*/ 136 h 227"/>
                <a:gd name="T28" fmla="*/ 187 w 193"/>
                <a:gd name="T29" fmla="*/ 131 h 227"/>
                <a:gd name="T30" fmla="*/ 187 w 193"/>
                <a:gd name="T31" fmla="*/ 115 h 227"/>
                <a:gd name="T32" fmla="*/ 177 w 193"/>
                <a:gd name="T33" fmla="*/ 115 h 227"/>
                <a:gd name="T34" fmla="*/ 171 w 193"/>
                <a:gd name="T35" fmla="*/ 104 h 227"/>
                <a:gd name="T36" fmla="*/ 182 w 193"/>
                <a:gd name="T37" fmla="*/ 99 h 227"/>
                <a:gd name="T38" fmla="*/ 179 w 193"/>
                <a:gd name="T39" fmla="*/ 91 h 227"/>
                <a:gd name="T40" fmla="*/ 174 w 193"/>
                <a:gd name="T41" fmla="*/ 69 h 227"/>
                <a:gd name="T42" fmla="*/ 163 w 193"/>
                <a:gd name="T43" fmla="*/ 61 h 227"/>
                <a:gd name="T44" fmla="*/ 150 w 193"/>
                <a:gd name="T45" fmla="*/ 53 h 227"/>
                <a:gd name="T46" fmla="*/ 139 w 193"/>
                <a:gd name="T47" fmla="*/ 48 h 227"/>
                <a:gd name="T48" fmla="*/ 128 w 193"/>
                <a:gd name="T49" fmla="*/ 40 h 227"/>
                <a:gd name="T50" fmla="*/ 115 w 193"/>
                <a:gd name="T51" fmla="*/ 48 h 227"/>
                <a:gd name="T52" fmla="*/ 99 w 193"/>
                <a:gd name="T53" fmla="*/ 43 h 227"/>
                <a:gd name="T54" fmla="*/ 88 w 193"/>
                <a:gd name="T55" fmla="*/ 43 h 227"/>
                <a:gd name="T56" fmla="*/ 86 w 193"/>
                <a:gd name="T57" fmla="*/ 40 h 227"/>
                <a:gd name="T58" fmla="*/ 83 w 193"/>
                <a:gd name="T59" fmla="*/ 35 h 227"/>
                <a:gd name="T60" fmla="*/ 72 w 193"/>
                <a:gd name="T61" fmla="*/ 24 h 227"/>
                <a:gd name="T62" fmla="*/ 67 w 193"/>
                <a:gd name="T63" fmla="*/ 21 h 227"/>
                <a:gd name="T64" fmla="*/ 62 w 193"/>
                <a:gd name="T65" fmla="*/ 16 h 227"/>
                <a:gd name="T66" fmla="*/ 54 w 193"/>
                <a:gd name="T67" fmla="*/ 21 h 227"/>
                <a:gd name="T68" fmla="*/ 43 w 193"/>
                <a:gd name="T69" fmla="*/ 21 h 227"/>
                <a:gd name="T70" fmla="*/ 35 w 193"/>
                <a:gd name="T71" fmla="*/ 19 h 227"/>
                <a:gd name="T72" fmla="*/ 30 w 193"/>
                <a:gd name="T73" fmla="*/ 13 h 227"/>
                <a:gd name="T74" fmla="*/ 27 w 193"/>
                <a:gd name="T75" fmla="*/ 5 h 227"/>
                <a:gd name="T76" fmla="*/ 22 w 193"/>
                <a:gd name="T77" fmla="*/ 11 h 227"/>
                <a:gd name="T78" fmla="*/ 16 w 193"/>
                <a:gd name="T79" fmla="*/ 27 h 227"/>
                <a:gd name="T80" fmla="*/ 6 w 193"/>
                <a:gd name="T81" fmla="*/ 32 h 227"/>
                <a:gd name="T82" fmla="*/ 3 w 193"/>
                <a:gd name="T83" fmla="*/ 48 h 227"/>
                <a:gd name="T84" fmla="*/ 3 w 193"/>
                <a:gd name="T85" fmla="*/ 61 h 227"/>
                <a:gd name="T86" fmla="*/ 19 w 193"/>
                <a:gd name="T87" fmla="*/ 64 h 227"/>
                <a:gd name="T88" fmla="*/ 30 w 193"/>
                <a:gd name="T89" fmla="*/ 75 h 227"/>
                <a:gd name="T90" fmla="*/ 30 w 193"/>
                <a:gd name="T91" fmla="*/ 88 h 227"/>
                <a:gd name="T92" fmla="*/ 38 w 193"/>
                <a:gd name="T93" fmla="*/ 94 h 227"/>
                <a:gd name="T94" fmla="*/ 40 w 193"/>
                <a:gd name="T95" fmla="*/ 104 h 227"/>
                <a:gd name="T96" fmla="*/ 48 w 193"/>
                <a:gd name="T97" fmla="*/ 107 h 227"/>
                <a:gd name="T98" fmla="*/ 62 w 193"/>
                <a:gd name="T99" fmla="*/ 110 h 227"/>
                <a:gd name="T100" fmla="*/ 72 w 193"/>
                <a:gd name="T101" fmla="*/ 115 h 227"/>
                <a:gd name="T102" fmla="*/ 94 w 193"/>
                <a:gd name="T103" fmla="*/ 120 h 227"/>
                <a:gd name="T104" fmla="*/ 91 w 193"/>
                <a:gd name="T105" fmla="*/ 131 h 227"/>
                <a:gd name="T106" fmla="*/ 88 w 193"/>
                <a:gd name="T107" fmla="*/ 142 h 227"/>
                <a:gd name="T108" fmla="*/ 88 w 193"/>
                <a:gd name="T109" fmla="*/ 160 h 227"/>
                <a:gd name="T110" fmla="*/ 91 w 193"/>
                <a:gd name="T111" fmla="*/ 176 h 227"/>
                <a:gd name="T112" fmla="*/ 94 w 193"/>
                <a:gd name="T113" fmla="*/ 182 h 227"/>
                <a:gd name="T114" fmla="*/ 107 w 193"/>
                <a:gd name="T115" fmla="*/ 176 h 227"/>
                <a:gd name="T116" fmla="*/ 112 w 193"/>
                <a:gd name="T117" fmla="*/ 187 h 227"/>
                <a:gd name="T118" fmla="*/ 118 w 193"/>
                <a:gd name="T119" fmla="*/ 198 h 227"/>
                <a:gd name="T120" fmla="*/ 126 w 193"/>
                <a:gd name="T121" fmla="*/ 200 h 227"/>
                <a:gd name="T122" fmla="*/ 126 w 193"/>
                <a:gd name="T123" fmla="*/ 211 h 227"/>
                <a:gd name="T124" fmla="*/ 134 w 193"/>
                <a:gd name="T125" fmla="*/ 22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3" h="227" extrusionOk="0">
                  <a:moveTo>
                    <a:pt x="142" y="224"/>
                  </a:moveTo>
                  <a:lnTo>
                    <a:pt x="144" y="224"/>
                  </a:lnTo>
                  <a:lnTo>
                    <a:pt x="147" y="224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47" y="222"/>
                  </a:lnTo>
                  <a:lnTo>
                    <a:pt x="150" y="222"/>
                  </a:lnTo>
                  <a:lnTo>
                    <a:pt x="150" y="219"/>
                  </a:lnTo>
                  <a:lnTo>
                    <a:pt x="153" y="222"/>
                  </a:lnTo>
                  <a:lnTo>
                    <a:pt x="153" y="219"/>
                  </a:lnTo>
                  <a:lnTo>
                    <a:pt x="155" y="219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55" y="216"/>
                  </a:lnTo>
                  <a:lnTo>
                    <a:pt x="155" y="216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1"/>
                  </a:lnTo>
                  <a:lnTo>
                    <a:pt x="158" y="211"/>
                  </a:lnTo>
                  <a:lnTo>
                    <a:pt x="158" y="214"/>
                  </a:lnTo>
                  <a:lnTo>
                    <a:pt x="158" y="214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5" y="208"/>
                  </a:lnTo>
                  <a:lnTo>
                    <a:pt x="155" y="208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0"/>
                  </a:lnTo>
                  <a:lnTo>
                    <a:pt x="158" y="200"/>
                  </a:lnTo>
                  <a:lnTo>
                    <a:pt x="161" y="198"/>
                  </a:lnTo>
                  <a:lnTo>
                    <a:pt x="158" y="195"/>
                  </a:lnTo>
                  <a:lnTo>
                    <a:pt x="161" y="195"/>
                  </a:lnTo>
                  <a:lnTo>
                    <a:pt x="161" y="192"/>
                  </a:lnTo>
                  <a:lnTo>
                    <a:pt x="161" y="190"/>
                  </a:lnTo>
                  <a:lnTo>
                    <a:pt x="163" y="190"/>
                  </a:lnTo>
                  <a:lnTo>
                    <a:pt x="166" y="190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6" y="184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79"/>
                  </a:lnTo>
                  <a:lnTo>
                    <a:pt x="166" y="176"/>
                  </a:lnTo>
                  <a:lnTo>
                    <a:pt x="166" y="176"/>
                  </a:lnTo>
                  <a:lnTo>
                    <a:pt x="169" y="176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4" y="176"/>
                  </a:lnTo>
                  <a:lnTo>
                    <a:pt x="174" y="179"/>
                  </a:lnTo>
                  <a:lnTo>
                    <a:pt x="177" y="179"/>
                  </a:lnTo>
                  <a:lnTo>
                    <a:pt x="177" y="176"/>
                  </a:lnTo>
                  <a:lnTo>
                    <a:pt x="174" y="176"/>
                  </a:lnTo>
                  <a:lnTo>
                    <a:pt x="174" y="174"/>
                  </a:lnTo>
                  <a:lnTo>
                    <a:pt x="177" y="171"/>
                  </a:lnTo>
                  <a:lnTo>
                    <a:pt x="177" y="168"/>
                  </a:lnTo>
                  <a:lnTo>
                    <a:pt x="179" y="168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79" y="171"/>
                  </a:lnTo>
                  <a:lnTo>
                    <a:pt x="182" y="168"/>
                  </a:lnTo>
                  <a:lnTo>
                    <a:pt x="182" y="168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79" y="166"/>
                  </a:lnTo>
                  <a:lnTo>
                    <a:pt x="179" y="166"/>
                  </a:lnTo>
                  <a:lnTo>
                    <a:pt x="179" y="163"/>
                  </a:lnTo>
                  <a:lnTo>
                    <a:pt x="177" y="163"/>
                  </a:lnTo>
                  <a:lnTo>
                    <a:pt x="177" y="163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58"/>
                  </a:lnTo>
                  <a:lnTo>
                    <a:pt x="177" y="158"/>
                  </a:lnTo>
                  <a:lnTo>
                    <a:pt x="179" y="158"/>
                  </a:lnTo>
                  <a:lnTo>
                    <a:pt x="177" y="158"/>
                  </a:lnTo>
                  <a:lnTo>
                    <a:pt x="177" y="155"/>
                  </a:lnTo>
                  <a:lnTo>
                    <a:pt x="177" y="155"/>
                  </a:lnTo>
                  <a:lnTo>
                    <a:pt x="174" y="155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1" y="150"/>
                  </a:lnTo>
                  <a:lnTo>
                    <a:pt x="171" y="150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4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1" y="139"/>
                  </a:lnTo>
                  <a:lnTo>
                    <a:pt x="174" y="136"/>
                  </a:lnTo>
                  <a:lnTo>
                    <a:pt x="177" y="136"/>
                  </a:lnTo>
                  <a:lnTo>
                    <a:pt x="177" y="136"/>
                  </a:lnTo>
                  <a:lnTo>
                    <a:pt x="177" y="134"/>
                  </a:lnTo>
                  <a:lnTo>
                    <a:pt x="177" y="134"/>
                  </a:lnTo>
                  <a:lnTo>
                    <a:pt x="179" y="134"/>
                  </a:lnTo>
                  <a:lnTo>
                    <a:pt x="179" y="134"/>
                  </a:lnTo>
                  <a:lnTo>
                    <a:pt x="179" y="131"/>
                  </a:lnTo>
                  <a:lnTo>
                    <a:pt x="179" y="131"/>
                  </a:lnTo>
                  <a:lnTo>
                    <a:pt x="179" y="131"/>
                  </a:lnTo>
                  <a:lnTo>
                    <a:pt x="182" y="134"/>
                  </a:lnTo>
                  <a:lnTo>
                    <a:pt x="182" y="136"/>
                  </a:lnTo>
                  <a:lnTo>
                    <a:pt x="182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5" y="136"/>
                  </a:lnTo>
                  <a:lnTo>
                    <a:pt x="187" y="136"/>
                  </a:lnTo>
                  <a:lnTo>
                    <a:pt x="187" y="136"/>
                  </a:lnTo>
                  <a:lnTo>
                    <a:pt x="187" y="134"/>
                  </a:lnTo>
                  <a:lnTo>
                    <a:pt x="185" y="134"/>
                  </a:lnTo>
                  <a:lnTo>
                    <a:pt x="185" y="131"/>
                  </a:lnTo>
                  <a:lnTo>
                    <a:pt x="185" y="131"/>
                  </a:lnTo>
                  <a:lnTo>
                    <a:pt x="187" y="131"/>
                  </a:lnTo>
                  <a:lnTo>
                    <a:pt x="190" y="128"/>
                  </a:lnTo>
                  <a:lnTo>
                    <a:pt x="190" y="128"/>
                  </a:lnTo>
                  <a:lnTo>
                    <a:pt x="190" y="126"/>
                  </a:lnTo>
                  <a:lnTo>
                    <a:pt x="190" y="123"/>
                  </a:lnTo>
                  <a:lnTo>
                    <a:pt x="193" y="120"/>
                  </a:lnTo>
                  <a:lnTo>
                    <a:pt x="190" y="118"/>
                  </a:lnTo>
                  <a:lnTo>
                    <a:pt x="187" y="118"/>
                  </a:lnTo>
                  <a:lnTo>
                    <a:pt x="187" y="115"/>
                  </a:lnTo>
                  <a:lnTo>
                    <a:pt x="185" y="115"/>
                  </a:lnTo>
                  <a:lnTo>
                    <a:pt x="185" y="118"/>
                  </a:lnTo>
                  <a:lnTo>
                    <a:pt x="185" y="118"/>
                  </a:lnTo>
                  <a:lnTo>
                    <a:pt x="182" y="118"/>
                  </a:lnTo>
                  <a:lnTo>
                    <a:pt x="182" y="118"/>
                  </a:lnTo>
                  <a:lnTo>
                    <a:pt x="179" y="118"/>
                  </a:lnTo>
                  <a:lnTo>
                    <a:pt x="179" y="118"/>
                  </a:lnTo>
                  <a:lnTo>
                    <a:pt x="177" y="115"/>
                  </a:lnTo>
                  <a:lnTo>
                    <a:pt x="177" y="112"/>
                  </a:lnTo>
                  <a:lnTo>
                    <a:pt x="174" y="112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4" y="110"/>
                  </a:lnTo>
                  <a:lnTo>
                    <a:pt x="174" y="107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4" y="104"/>
                  </a:lnTo>
                  <a:lnTo>
                    <a:pt x="174" y="102"/>
                  </a:lnTo>
                  <a:lnTo>
                    <a:pt x="174" y="99"/>
                  </a:lnTo>
                  <a:lnTo>
                    <a:pt x="177" y="99"/>
                  </a:lnTo>
                  <a:lnTo>
                    <a:pt x="179" y="99"/>
                  </a:lnTo>
                  <a:lnTo>
                    <a:pt x="182" y="104"/>
                  </a:lnTo>
                  <a:lnTo>
                    <a:pt x="185" y="102"/>
                  </a:lnTo>
                  <a:lnTo>
                    <a:pt x="182" y="99"/>
                  </a:lnTo>
                  <a:lnTo>
                    <a:pt x="182" y="96"/>
                  </a:lnTo>
                  <a:lnTo>
                    <a:pt x="185" y="96"/>
                  </a:lnTo>
                  <a:lnTo>
                    <a:pt x="185" y="96"/>
                  </a:lnTo>
                  <a:lnTo>
                    <a:pt x="185" y="94"/>
                  </a:lnTo>
                  <a:lnTo>
                    <a:pt x="185" y="94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79" y="91"/>
                  </a:lnTo>
                  <a:lnTo>
                    <a:pt x="179" y="88"/>
                  </a:lnTo>
                  <a:lnTo>
                    <a:pt x="177" y="83"/>
                  </a:lnTo>
                  <a:lnTo>
                    <a:pt x="179" y="80"/>
                  </a:lnTo>
                  <a:lnTo>
                    <a:pt x="177" y="80"/>
                  </a:lnTo>
                  <a:lnTo>
                    <a:pt x="177" y="75"/>
                  </a:lnTo>
                  <a:lnTo>
                    <a:pt x="177" y="75"/>
                  </a:lnTo>
                  <a:lnTo>
                    <a:pt x="174" y="75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74" y="67"/>
                  </a:lnTo>
                  <a:lnTo>
                    <a:pt x="171" y="67"/>
                  </a:lnTo>
                  <a:lnTo>
                    <a:pt x="171" y="64"/>
                  </a:lnTo>
                  <a:lnTo>
                    <a:pt x="169" y="64"/>
                  </a:lnTo>
                  <a:lnTo>
                    <a:pt x="166" y="61"/>
                  </a:lnTo>
                  <a:lnTo>
                    <a:pt x="163" y="61"/>
                  </a:lnTo>
                  <a:lnTo>
                    <a:pt x="163" y="61"/>
                  </a:lnTo>
                  <a:lnTo>
                    <a:pt x="161" y="61"/>
                  </a:lnTo>
                  <a:lnTo>
                    <a:pt x="158" y="61"/>
                  </a:lnTo>
                  <a:lnTo>
                    <a:pt x="158" y="61"/>
                  </a:lnTo>
                  <a:lnTo>
                    <a:pt x="155" y="61"/>
                  </a:lnTo>
                  <a:lnTo>
                    <a:pt x="155" y="59"/>
                  </a:lnTo>
                  <a:lnTo>
                    <a:pt x="153" y="59"/>
                  </a:lnTo>
                  <a:lnTo>
                    <a:pt x="153" y="56"/>
                  </a:lnTo>
                  <a:lnTo>
                    <a:pt x="150" y="53"/>
                  </a:lnTo>
                  <a:lnTo>
                    <a:pt x="153" y="53"/>
                  </a:lnTo>
                  <a:lnTo>
                    <a:pt x="150" y="53"/>
                  </a:lnTo>
                  <a:lnTo>
                    <a:pt x="147" y="53"/>
                  </a:lnTo>
                  <a:lnTo>
                    <a:pt x="147" y="51"/>
                  </a:lnTo>
                  <a:lnTo>
                    <a:pt x="144" y="51"/>
                  </a:lnTo>
                  <a:lnTo>
                    <a:pt x="142" y="45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1" y="45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28" y="40"/>
                  </a:lnTo>
                  <a:lnTo>
                    <a:pt x="123" y="48"/>
                  </a:lnTo>
                  <a:lnTo>
                    <a:pt x="120" y="48"/>
                  </a:lnTo>
                  <a:lnTo>
                    <a:pt x="123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18" y="45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0" y="48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3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3" y="37"/>
                  </a:lnTo>
                  <a:lnTo>
                    <a:pt x="83" y="40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3" y="35"/>
                  </a:lnTo>
                  <a:lnTo>
                    <a:pt x="80" y="35"/>
                  </a:lnTo>
                  <a:lnTo>
                    <a:pt x="80" y="32"/>
                  </a:lnTo>
                  <a:lnTo>
                    <a:pt x="78" y="35"/>
                  </a:lnTo>
                  <a:lnTo>
                    <a:pt x="75" y="29"/>
                  </a:lnTo>
                  <a:lnTo>
                    <a:pt x="72" y="29"/>
                  </a:lnTo>
                  <a:lnTo>
                    <a:pt x="75" y="27"/>
                  </a:lnTo>
                  <a:lnTo>
                    <a:pt x="75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0" y="24"/>
                  </a:lnTo>
                  <a:lnTo>
                    <a:pt x="70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19"/>
                  </a:lnTo>
                  <a:lnTo>
                    <a:pt x="67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59" y="16"/>
                  </a:lnTo>
                  <a:lnTo>
                    <a:pt x="56" y="19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8" y="21"/>
                  </a:lnTo>
                  <a:lnTo>
                    <a:pt x="46" y="24"/>
                  </a:lnTo>
                  <a:lnTo>
                    <a:pt x="46" y="21"/>
                  </a:lnTo>
                  <a:lnTo>
                    <a:pt x="43" y="24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0" y="16"/>
                  </a:lnTo>
                  <a:lnTo>
                    <a:pt x="38" y="19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7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4" y="3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8"/>
                  </a:lnTo>
                  <a:lnTo>
                    <a:pt x="22" y="11"/>
                  </a:lnTo>
                  <a:lnTo>
                    <a:pt x="19" y="13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9"/>
                  </a:lnTo>
                  <a:lnTo>
                    <a:pt x="16" y="21"/>
                  </a:lnTo>
                  <a:lnTo>
                    <a:pt x="19" y="21"/>
                  </a:lnTo>
                  <a:lnTo>
                    <a:pt x="19" y="24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14" y="29"/>
                  </a:lnTo>
                  <a:lnTo>
                    <a:pt x="14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8" y="29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51"/>
                  </a:lnTo>
                  <a:lnTo>
                    <a:pt x="3" y="53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11" y="64"/>
                  </a:lnTo>
                  <a:lnTo>
                    <a:pt x="14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9" y="64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30" y="72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3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8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5" y="94"/>
                  </a:lnTo>
                  <a:lnTo>
                    <a:pt x="35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102"/>
                  </a:lnTo>
                  <a:lnTo>
                    <a:pt x="43" y="102"/>
                  </a:lnTo>
                  <a:lnTo>
                    <a:pt x="40" y="102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43" y="107"/>
                  </a:lnTo>
                  <a:lnTo>
                    <a:pt x="43" y="110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8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4" y="107"/>
                  </a:lnTo>
                  <a:lnTo>
                    <a:pt x="56" y="107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62" y="110"/>
                  </a:lnTo>
                  <a:lnTo>
                    <a:pt x="62" y="110"/>
                  </a:lnTo>
                  <a:lnTo>
                    <a:pt x="64" y="110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8"/>
                  </a:lnTo>
                  <a:lnTo>
                    <a:pt x="80" y="118"/>
                  </a:lnTo>
                  <a:lnTo>
                    <a:pt x="83" y="118"/>
                  </a:lnTo>
                  <a:lnTo>
                    <a:pt x="86" y="118"/>
                  </a:lnTo>
                  <a:lnTo>
                    <a:pt x="88" y="120"/>
                  </a:lnTo>
                  <a:lnTo>
                    <a:pt x="91" y="120"/>
                  </a:lnTo>
                  <a:lnTo>
                    <a:pt x="91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6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8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91" y="136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1" y="139"/>
                  </a:lnTo>
                  <a:lnTo>
                    <a:pt x="88" y="142"/>
                  </a:lnTo>
                  <a:lnTo>
                    <a:pt x="88" y="144"/>
                  </a:lnTo>
                  <a:lnTo>
                    <a:pt x="88" y="147"/>
                  </a:lnTo>
                  <a:lnTo>
                    <a:pt x="88" y="152"/>
                  </a:lnTo>
                  <a:lnTo>
                    <a:pt x="86" y="155"/>
                  </a:lnTo>
                  <a:lnTo>
                    <a:pt x="86" y="158"/>
                  </a:lnTo>
                  <a:lnTo>
                    <a:pt x="86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3"/>
                  </a:lnTo>
                  <a:lnTo>
                    <a:pt x="91" y="166"/>
                  </a:lnTo>
                  <a:lnTo>
                    <a:pt x="91" y="166"/>
                  </a:lnTo>
                  <a:lnTo>
                    <a:pt x="91" y="168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4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94" y="179"/>
                  </a:lnTo>
                  <a:lnTo>
                    <a:pt x="91" y="179"/>
                  </a:lnTo>
                  <a:lnTo>
                    <a:pt x="91" y="182"/>
                  </a:lnTo>
                  <a:lnTo>
                    <a:pt x="88" y="182"/>
                  </a:lnTo>
                  <a:lnTo>
                    <a:pt x="91" y="184"/>
                  </a:lnTo>
                  <a:lnTo>
                    <a:pt x="94" y="182"/>
                  </a:lnTo>
                  <a:lnTo>
                    <a:pt x="94" y="182"/>
                  </a:lnTo>
                  <a:lnTo>
                    <a:pt x="96" y="182"/>
                  </a:lnTo>
                  <a:lnTo>
                    <a:pt x="99" y="184"/>
                  </a:lnTo>
                  <a:lnTo>
                    <a:pt x="99" y="184"/>
                  </a:lnTo>
                  <a:lnTo>
                    <a:pt x="102" y="182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6"/>
                  </a:lnTo>
                  <a:lnTo>
                    <a:pt x="107" y="176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2" y="182"/>
                  </a:lnTo>
                  <a:lnTo>
                    <a:pt x="112" y="184"/>
                  </a:lnTo>
                  <a:lnTo>
                    <a:pt x="112" y="187"/>
                  </a:lnTo>
                  <a:lnTo>
                    <a:pt x="110" y="187"/>
                  </a:lnTo>
                  <a:lnTo>
                    <a:pt x="112" y="190"/>
                  </a:lnTo>
                  <a:lnTo>
                    <a:pt x="112" y="190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0" y="198"/>
                  </a:lnTo>
                  <a:lnTo>
                    <a:pt x="120" y="198"/>
                  </a:lnTo>
                  <a:lnTo>
                    <a:pt x="123" y="200"/>
                  </a:lnTo>
                  <a:lnTo>
                    <a:pt x="123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8" y="200"/>
                  </a:lnTo>
                  <a:lnTo>
                    <a:pt x="126" y="203"/>
                  </a:lnTo>
                  <a:lnTo>
                    <a:pt x="126" y="203"/>
                  </a:lnTo>
                  <a:lnTo>
                    <a:pt x="123" y="203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4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6" y="224"/>
                  </a:lnTo>
                  <a:lnTo>
                    <a:pt x="128" y="224"/>
                  </a:lnTo>
                  <a:lnTo>
                    <a:pt x="134" y="224"/>
                  </a:lnTo>
                  <a:lnTo>
                    <a:pt x="136" y="224"/>
                  </a:lnTo>
                  <a:lnTo>
                    <a:pt x="136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2" y="224"/>
                  </a:lnTo>
                  <a:lnTo>
                    <a:pt x="142" y="224"/>
                  </a:lnTo>
                  <a:lnTo>
                    <a:pt x="142" y="224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0" name="Freeform 8917">
              <a:extLst>
                <a:ext uri="{FF2B5EF4-FFF2-40B4-BE49-F238E27FC236}">
                  <a16:creationId xmlns:a16="http://schemas.microsoft.com/office/drawing/2014/main" id="{E013E836-652D-9644-9205-3963A7320031}"/>
                </a:ext>
              </a:extLst>
            </p:cNvPr>
            <p:cNvSpPr/>
            <p:nvPr/>
          </p:nvSpPr>
          <p:spPr bwMode="auto">
            <a:xfrm>
              <a:off x="1432718" y="3998915"/>
              <a:ext cx="301625" cy="292099"/>
            </a:xfrm>
            <a:custGeom>
              <a:avLst/>
              <a:gdLst>
                <a:gd name="T0" fmla="*/ 184 w 190"/>
                <a:gd name="T1" fmla="*/ 56 h 184"/>
                <a:gd name="T2" fmla="*/ 187 w 190"/>
                <a:gd name="T3" fmla="*/ 45 h 184"/>
                <a:gd name="T4" fmla="*/ 184 w 190"/>
                <a:gd name="T5" fmla="*/ 32 h 184"/>
                <a:gd name="T6" fmla="*/ 166 w 190"/>
                <a:gd name="T7" fmla="*/ 34 h 184"/>
                <a:gd name="T8" fmla="*/ 155 w 190"/>
                <a:gd name="T9" fmla="*/ 29 h 184"/>
                <a:gd name="T10" fmla="*/ 144 w 190"/>
                <a:gd name="T11" fmla="*/ 24 h 184"/>
                <a:gd name="T12" fmla="*/ 150 w 190"/>
                <a:gd name="T13" fmla="*/ 18 h 184"/>
                <a:gd name="T14" fmla="*/ 147 w 190"/>
                <a:gd name="T15" fmla="*/ 8 h 184"/>
                <a:gd name="T16" fmla="*/ 139 w 190"/>
                <a:gd name="T17" fmla="*/ 2 h 184"/>
                <a:gd name="T18" fmla="*/ 131 w 190"/>
                <a:gd name="T19" fmla="*/ 8 h 184"/>
                <a:gd name="T20" fmla="*/ 120 w 190"/>
                <a:gd name="T21" fmla="*/ 13 h 184"/>
                <a:gd name="T22" fmla="*/ 110 w 190"/>
                <a:gd name="T23" fmla="*/ 16 h 184"/>
                <a:gd name="T24" fmla="*/ 107 w 190"/>
                <a:gd name="T25" fmla="*/ 21 h 184"/>
                <a:gd name="T26" fmla="*/ 104 w 190"/>
                <a:gd name="T27" fmla="*/ 29 h 184"/>
                <a:gd name="T28" fmla="*/ 96 w 190"/>
                <a:gd name="T29" fmla="*/ 26 h 184"/>
                <a:gd name="T30" fmla="*/ 83 w 190"/>
                <a:gd name="T31" fmla="*/ 26 h 184"/>
                <a:gd name="T32" fmla="*/ 80 w 190"/>
                <a:gd name="T33" fmla="*/ 18 h 184"/>
                <a:gd name="T34" fmla="*/ 72 w 190"/>
                <a:gd name="T35" fmla="*/ 10 h 184"/>
                <a:gd name="T36" fmla="*/ 62 w 190"/>
                <a:gd name="T37" fmla="*/ 13 h 184"/>
                <a:gd name="T38" fmla="*/ 56 w 190"/>
                <a:gd name="T39" fmla="*/ 21 h 184"/>
                <a:gd name="T40" fmla="*/ 51 w 190"/>
                <a:gd name="T41" fmla="*/ 26 h 184"/>
                <a:gd name="T42" fmla="*/ 40 w 190"/>
                <a:gd name="T43" fmla="*/ 32 h 184"/>
                <a:gd name="T44" fmla="*/ 32 w 190"/>
                <a:gd name="T45" fmla="*/ 37 h 184"/>
                <a:gd name="T46" fmla="*/ 38 w 190"/>
                <a:gd name="T47" fmla="*/ 45 h 184"/>
                <a:gd name="T48" fmla="*/ 32 w 190"/>
                <a:gd name="T49" fmla="*/ 56 h 184"/>
                <a:gd name="T50" fmla="*/ 30 w 190"/>
                <a:gd name="T51" fmla="*/ 72 h 184"/>
                <a:gd name="T52" fmla="*/ 16 w 190"/>
                <a:gd name="T53" fmla="*/ 72 h 184"/>
                <a:gd name="T54" fmla="*/ 6 w 190"/>
                <a:gd name="T55" fmla="*/ 80 h 184"/>
                <a:gd name="T56" fmla="*/ 0 w 190"/>
                <a:gd name="T57" fmla="*/ 90 h 184"/>
                <a:gd name="T58" fmla="*/ 6 w 190"/>
                <a:gd name="T59" fmla="*/ 98 h 184"/>
                <a:gd name="T60" fmla="*/ 16 w 190"/>
                <a:gd name="T61" fmla="*/ 106 h 184"/>
                <a:gd name="T62" fmla="*/ 35 w 190"/>
                <a:gd name="T63" fmla="*/ 106 h 184"/>
                <a:gd name="T64" fmla="*/ 46 w 190"/>
                <a:gd name="T65" fmla="*/ 112 h 184"/>
                <a:gd name="T66" fmla="*/ 54 w 190"/>
                <a:gd name="T67" fmla="*/ 114 h 184"/>
                <a:gd name="T68" fmla="*/ 64 w 190"/>
                <a:gd name="T69" fmla="*/ 130 h 184"/>
                <a:gd name="T70" fmla="*/ 72 w 190"/>
                <a:gd name="T71" fmla="*/ 125 h 184"/>
                <a:gd name="T72" fmla="*/ 83 w 190"/>
                <a:gd name="T73" fmla="*/ 136 h 184"/>
                <a:gd name="T74" fmla="*/ 80 w 190"/>
                <a:gd name="T75" fmla="*/ 144 h 184"/>
                <a:gd name="T76" fmla="*/ 94 w 190"/>
                <a:gd name="T77" fmla="*/ 163 h 184"/>
                <a:gd name="T78" fmla="*/ 102 w 190"/>
                <a:gd name="T79" fmla="*/ 165 h 184"/>
                <a:gd name="T80" fmla="*/ 112 w 190"/>
                <a:gd name="T81" fmla="*/ 171 h 184"/>
                <a:gd name="T82" fmla="*/ 126 w 190"/>
                <a:gd name="T83" fmla="*/ 181 h 184"/>
                <a:gd name="T84" fmla="*/ 134 w 190"/>
                <a:gd name="T85" fmla="*/ 179 h 184"/>
                <a:gd name="T86" fmla="*/ 139 w 190"/>
                <a:gd name="T87" fmla="*/ 173 h 184"/>
                <a:gd name="T88" fmla="*/ 150 w 190"/>
                <a:gd name="T89" fmla="*/ 171 h 184"/>
                <a:gd name="T90" fmla="*/ 152 w 190"/>
                <a:gd name="T91" fmla="*/ 165 h 184"/>
                <a:gd name="T92" fmla="*/ 150 w 190"/>
                <a:gd name="T93" fmla="*/ 152 h 184"/>
                <a:gd name="T94" fmla="*/ 147 w 190"/>
                <a:gd name="T95" fmla="*/ 138 h 184"/>
                <a:gd name="T96" fmla="*/ 142 w 190"/>
                <a:gd name="T97" fmla="*/ 122 h 184"/>
                <a:gd name="T98" fmla="*/ 142 w 190"/>
                <a:gd name="T99" fmla="*/ 109 h 184"/>
                <a:gd name="T100" fmla="*/ 144 w 190"/>
                <a:gd name="T101" fmla="*/ 101 h 184"/>
                <a:gd name="T102" fmla="*/ 152 w 190"/>
                <a:gd name="T103" fmla="*/ 104 h 184"/>
                <a:gd name="T104" fmla="*/ 155 w 190"/>
                <a:gd name="T105" fmla="*/ 104 h 184"/>
                <a:gd name="T106" fmla="*/ 163 w 190"/>
                <a:gd name="T107" fmla="*/ 90 h 184"/>
                <a:gd name="T108" fmla="*/ 168 w 190"/>
                <a:gd name="T109" fmla="*/ 85 h 184"/>
                <a:gd name="T110" fmla="*/ 176 w 190"/>
                <a:gd name="T111" fmla="*/ 74 h 184"/>
                <a:gd name="T112" fmla="*/ 187 w 190"/>
                <a:gd name="T11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0" h="184" extrusionOk="0">
                  <a:moveTo>
                    <a:pt x="187" y="66"/>
                  </a:move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4" y="56"/>
                  </a:lnTo>
                  <a:lnTo>
                    <a:pt x="184" y="56"/>
                  </a:lnTo>
                  <a:lnTo>
                    <a:pt x="187" y="53"/>
                  </a:lnTo>
                  <a:lnTo>
                    <a:pt x="184" y="53"/>
                  </a:lnTo>
                  <a:lnTo>
                    <a:pt x="184" y="53"/>
                  </a:lnTo>
                  <a:lnTo>
                    <a:pt x="184" y="50"/>
                  </a:lnTo>
                  <a:lnTo>
                    <a:pt x="182" y="48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2"/>
                  </a:lnTo>
                  <a:lnTo>
                    <a:pt x="190" y="42"/>
                  </a:lnTo>
                  <a:lnTo>
                    <a:pt x="187" y="40"/>
                  </a:lnTo>
                  <a:lnTo>
                    <a:pt x="187" y="37"/>
                  </a:lnTo>
                  <a:lnTo>
                    <a:pt x="187" y="37"/>
                  </a:lnTo>
                  <a:lnTo>
                    <a:pt x="187" y="34"/>
                  </a:lnTo>
                  <a:lnTo>
                    <a:pt x="187" y="32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74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68" y="32"/>
                  </a:lnTo>
                  <a:lnTo>
                    <a:pt x="168" y="34"/>
                  </a:lnTo>
                  <a:lnTo>
                    <a:pt x="166" y="34"/>
                  </a:lnTo>
                  <a:lnTo>
                    <a:pt x="163" y="37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0" y="34"/>
                  </a:lnTo>
                  <a:lnTo>
                    <a:pt x="158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5" y="29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7" y="16"/>
                  </a:lnTo>
                  <a:lnTo>
                    <a:pt x="147" y="13"/>
                  </a:lnTo>
                  <a:lnTo>
                    <a:pt x="150" y="13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7" y="8"/>
                  </a:lnTo>
                  <a:lnTo>
                    <a:pt x="147" y="8"/>
                  </a:lnTo>
                  <a:lnTo>
                    <a:pt x="147" y="5"/>
                  </a:lnTo>
                  <a:lnTo>
                    <a:pt x="144" y="5"/>
                  </a:lnTo>
                  <a:lnTo>
                    <a:pt x="144" y="5"/>
                  </a:lnTo>
                  <a:lnTo>
                    <a:pt x="144" y="2"/>
                  </a:lnTo>
                  <a:lnTo>
                    <a:pt x="142" y="5"/>
                  </a:lnTo>
                  <a:lnTo>
                    <a:pt x="142" y="8"/>
                  </a:lnTo>
                  <a:lnTo>
                    <a:pt x="142" y="5"/>
                  </a:lnTo>
                  <a:lnTo>
                    <a:pt x="139" y="2"/>
                  </a:lnTo>
                  <a:lnTo>
                    <a:pt x="136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1" y="0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8"/>
                  </a:lnTo>
                  <a:lnTo>
                    <a:pt x="128" y="5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8" y="13"/>
                  </a:lnTo>
                  <a:lnTo>
                    <a:pt x="126" y="13"/>
                  </a:lnTo>
                  <a:lnTo>
                    <a:pt x="126" y="16"/>
                  </a:lnTo>
                  <a:lnTo>
                    <a:pt x="123" y="13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18" y="10"/>
                  </a:lnTo>
                  <a:lnTo>
                    <a:pt x="112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2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8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6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4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4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86" y="29"/>
                  </a:lnTo>
                  <a:lnTo>
                    <a:pt x="86" y="32"/>
                  </a:lnTo>
                  <a:lnTo>
                    <a:pt x="83" y="32"/>
                  </a:lnTo>
                  <a:lnTo>
                    <a:pt x="80" y="32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2" y="13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59" y="13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1" y="21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29"/>
                  </a:lnTo>
                  <a:lnTo>
                    <a:pt x="46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1"/>
                  </a:lnTo>
                  <a:lnTo>
                    <a:pt x="35" y="61"/>
                  </a:lnTo>
                  <a:lnTo>
                    <a:pt x="32" y="64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4"/>
                  </a:lnTo>
                  <a:lnTo>
                    <a:pt x="27" y="74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2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4"/>
                  </a:lnTo>
                  <a:lnTo>
                    <a:pt x="14" y="72"/>
                  </a:lnTo>
                  <a:lnTo>
                    <a:pt x="11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8" y="74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85"/>
                  </a:lnTo>
                  <a:lnTo>
                    <a:pt x="0" y="85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6"/>
                  </a:lnTo>
                  <a:lnTo>
                    <a:pt x="3" y="98"/>
                  </a:lnTo>
                  <a:lnTo>
                    <a:pt x="6" y="98"/>
                  </a:lnTo>
                  <a:lnTo>
                    <a:pt x="6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4" y="101"/>
                  </a:lnTo>
                  <a:lnTo>
                    <a:pt x="14" y="104"/>
                  </a:lnTo>
                  <a:lnTo>
                    <a:pt x="16" y="104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6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5" y="106"/>
                  </a:lnTo>
                  <a:lnTo>
                    <a:pt x="35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3" y="109"/>
                  </a:lnTo>
                  <a:lnTo>
                    <a:pt x="40" y="112"/>
                  </a:lnTo>
                  <a:lnTo>
                    <a:pt x="43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8" y="112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51" y="109"/>
                  </a:lnTo>
                  <a:lnTo>
                    <a:pt x="51" y="114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4"/>
                  </a:lnTo>
                  <a:lnTo>
                    <a:pt x="54" y="114"/>
                  </a:lnTo>
                  <a:lnTo>
                    <a:pt x="54" y="112"/>
                  </a:lnTo>
                  <a:lnTo>
                    <a:pt x="56" y="112"/>
                  </a:lnTo>
                  <a:lnTo>
                    <a:pt x="59" y="114"/>
                  </a:lnTo>
                  <a:lnTo>
                    <a:pt x="59" y="130"/>
                  </a:lnTo>
                  <a:lnTo>
                    <a:pt x="62" y="130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4" y="128"/>
                  </a:lnTo>
                  <a:lnTo>
                    <a:pt x="67" y="128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2" y="125"/>
                  </a:lnTo>
                  <a:lnTo>
                    <a:pt x="75" y="128"/>
                  </a:lnTo>
                  <a:lnTo>
                    <a:pt x="75" y="130"/>
                  </a:lnTo>
                  <a:lnTo>
                    <a:pt x="75" y="130"/>
                  </a:lnTo>
                  <a:lnTo>
                    <a:pt x="78" y="130"/>
                  </a:lnTo>
                  <a:lnTo>
                    <a:pt x="78" y="128"/>
                  </a:lnTo>
                  <a:lnTo>
                    <a:pt x="80" y="130"/>
                  </a:lnTo>
                  <a:lnTo>
                    <a:pt x="80" y="133"/>
                  </a:lnTo>
                  <a:lnTo>
                    <a:pt x="83" y="133"/>
                  </a:lnTo>
                  <a:lnTo>
                    <a:pt x="83" y="136"/>
                  </a:lnTo>
                  <a:lnTo>
                    <a:pt x="86" y="136"/>
                  </a:lnTo>
                  <a:lnTo>
                    <a:pt x="86" y="136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6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4"/>
                  </a:lnTo>
                  <a:lnTo>
                    <a:pt x="80" y="144"/>
                  </a:lnTo>
                  <a:lnTo>
                    <a:pt x="80" y="147"/>
                  </a:lnTo>
                  <a:lnTo>
                    <a:pt x="86" y="155"/>
                  </a:lnTo>
                  <a:lnTo>
                    <a:pt x="91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1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6" y="163"/>
                  </a:lnTo>
                  <a:lnTo>
                    <a:pt x="96" y="163"/>
                  </a:lnTo>
                  <a:lnTo>
                    <a:pt x="96" y="163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102" y="160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5"/>
                  </a:lnTo>
                  <a:lnTo>
                    <a:pt x="104" y="165"/>
                  </a:lnTo>
                  <a:lnTo>
                    <a:pt x="104" y="165"/>
                  </a:lnTo>
                  <a:lnTo>
                    <a:pt x="107" y="165"/>
                  </a:lnTo>
                  <a:lnTo>
                    <a:pt x="110" y="165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0" y="168"/>
                  </a:lnTo>
                  <a:lnTo>
                    <a:pt x="112" y="171"/>
                  </a:lnTo>
                  <a:lnTo>
                    <a:pt x="112" y="171"/>
                  </a:lnTo>
                  <a:lnTo>
                    <a:pt x="112" y="171"/>
                  </a:lnTo>
                  <a:lnTo>
                    <a:pt x="115" y="173"/>
                  </a:lnTo>
                  <a:lnTo>
                    <a:pt x="118" y="173"/>
                  </a:lnTo>
                  <a:lnTo>
                    <a:pt x="115" y="176"/>
                  </a:lnTo>
                  <a:lnTo>
                    <a:pt x="118" y="179"/>
                  </a:lnTo>
                  <a:lnTo>
                    <a:pt x="120" y="176"/>
                  </a:lnTo>
                  <a:lnTo>
                    <a:pt x="123" y="179"/>
                  </a:lnTo>
                  <a:lnTo>
                    <a:pt x="123" y="181"/>
                  </a:lnTo>
                  <a:lnTo>
                    <a:pt x="126" y="181"/>
                  </a:lnTo>
                  <a:lnTo>
                    <a:pt x="126" y="181"/>
                  </a:lnTo>
                  <a:lnTo>
                    <a:pt x="126" y="181"/>
                  </a:lnTo>
                  <a:lnTo>
                    <a:pt x="126" y="184"/>
                  </a:lnTo>
                  <a:lnTo>
                    <a:pt x="126" y="184"/>
                  </a:lnTo>
                  <a:lnTo>
                    <a:pt x="126" y="184"/>
                  </a:lnTo>
                  <a:lnTo>
                    <a:pt x="128" y="181"/>
                  </a:lnTo>
                  <a:lnTo>
                    <a:pt x="131" y="181"/>
                  </a:lnTo>
                  <a:lnTo>
                    <a:pt x="131" y="179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6"/>
                  </a:lnTo>
                  <a:lnTo>
                    <a:pt x="139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7" y="171"/>
                  </a:lnTo>
                  <a:lnTo>
                    <a:pt x="147" y="171"/>
                  </a:lnTo>
                  <a:lnTo>
                    <a:pt x="147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68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8"/>
                  </a:lnTo>
                  <a:lnTo>
                    <a:pt x="152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68"/>
                  </a:lnTo>
                  <a:lnTo>
                    <a:pt x="152" y="165"/>
                  </a:lnTo>
                  <a:lnTo>
                    <a:pt x="152" y="163"/>
                  </a:lnTo>
                  <a:lnTo>
                    <a:pt x="152" y="163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0" y="160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5"/>
                  </a:lnTo>
                  <a:lnTo>
                    <a:pt x="150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50" y="149"/>
                  </a:lnTo>
                  <a:lnTo>
                    <a:pt x="144" y="147"/>
                  </a:lnTo>
                  <a:lnTo>
                    <a:pt x="144" y="144"/>
                  </a:lnTo>
                  <a:lnTo>
                    <a:pt x="142" y="141"/>
                  </a:lnTo>
                  <a:lnTo>
                    <a:pt x="144" y="138"/>
                  </a:lnTo>
                  <a:lnTo>
                    <a:pt x="144" y="138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7" y="136"/>
                  </a:lnTo>
                  <a:lnTo>
                    <a:pt x="144" y="136"/>
                  </a:lnTo>
                  <a:lnTo>
                    <a:pt x="144" y="133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2" y="125"/>
                  </a:lnTo>
                  <a:lnTo>
                    <a:pt x="142" y="122"/>
                  </a:lnTo>
                  <a:lnTo>
                    <a:pt x="142" y="122"/>
                  </a:lnTo>
                  <a:lnTo>
                    <a:pt x="139" y="120"/>
                  </a:lnTo>
                  <a:lnTo>
                    <a:pt x="139" y="120"/>
                  </a:lnTo>
                  <a:lnTo>
                    <a:pt x="142" y="120"/>
                  </a:lnTo>
                  <a:lnTo>
                    <a:pt x="139" y="114"/>
                  </a:lnTo>
                  <a:lnTo>
                    <a:pt x="139" y="112"/>
                  </a:lnTo>
                  <a:lnTo>
                    <a:pt x="139" y="109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9"/>
                  </a:lnTo>
                  <a:lnTo>
                    <a:pt x="144" y="106"/>
                  </a:lnTo>
                  <a:lnTo>
                    <a:pt x="144" y="106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4" y="98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98"/>
                  </a:lnTo>
                  <a:lnTo>
                    <a:pt x="150" y="98"/>
                  </a:lnTo>
                  <a:lnTo>
                    <a:pt x="150" y="101"/>
                  </a:lnTo>
                  <a:lnTo>
                    <a:pt x="150" y="101"/>
                  </a:lnTo>
                  <a:lnTo>
                    <a:pt x="152" y="101"/>
                  </a:lnTo>
                  <a:lnTo>
                    <a:pt x="152" y="104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2" y="101"/>
                  </a:lnTo>
                  <a:lnTo>
                    <a:pt x="155" y="101"/>
                  </a:lnTo>
                  <a:lnTo>
                    <a:pt x="152" y="101"/>
                  </a:lnTo>
                  <a:lnTo>
                    <a:pt x="152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1"/>
                  </a:lnTo>
                  <a:lnTo>
                    <a:pt x="158" y="101"/>
                  </a:lnTo>
                  <a:lnTo>
                    <a:pt x="158" y="98"/>
                  </a:lnTo>
                  <a:lnTo>
                    <a:pt x="158" y="98"/>
                  </a:lnTo>
                  <a:lnTo>
                    <a:pt x="158" y="96"/>
                  </a:lnTo>
                  <a:lnTo>
                    <a:pt x="158" y="93"/>
                  </a:lnTo>
                  <a:lnTo>
                    <a:pt x="158" y="93"/>
                  </a:lnTo>
                  <a:lnTo>
                    <a:pt x="160" y="90"/>
                  </a:lnTo>
                  <a:lnTo>
                    <a:pt x="163" y="90"/>
                  </a:lnTo>
                  <a:lnTo>
                    <a:pt x="163" y="90"/>
                  </a:lnTo>
                  <a:lnTo>
                    <a:pt x="163" y="93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6" y="85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1" y="82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77"/>
                  </a:lnTo>
                  <a:lnTo>
                    <a:pt x="176" y="77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76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69"/>
                  </a:lnTo>
                  <a:lnTo>
                    <a:pt x="182" y="69"/>
                  </a:lnTo>
                  <a:lnTo>
                    <a:pt x="182" y="66"/>
                  </a:lnTo>
                  <a:lnTo>
                    <a:pt x="184" y="66"/>
                  </a:lnTo>
                  <a:lnTo>
                    <a:pt x="184" y="66"/>
                  </a:lnTo>
                  <a:lnTo>
                    <a:pt x="187" y="66"/>
                  </a:lnTo>
                  <a:lnTo>
                    <a:pt x="187" y="66"/>
                  </a:lnTo>
                  <a:lnTo>
                    <a:pt x="187" y="6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1" name="Freeform 8918">
              <a:extLst>
                <a:ext uri="{FF2B5EF4-FFF2-40B4-BE49-F238E27FC236}">
                  <a16:creationId xmlns:a16="http://schemas.microsoft.com/office/drawing/2014/main" id="{28A4DE31-A2D2-5D4E-8CF2-471E89C12E5F}"/>
                </a:ext>
              </a:extLst>
            </p:cNvPr>
            <p:cNvSpPr/>
            <p:nvPr/>
          </p:nvSpPr>
          <p:spPr bwMode="auto">
            <a:xfrm>
              <a:off x="1458117" y="3760788"/>
              <a:ext cx="271462" cy="292099"/>
            </a:xfrm>
            <a:custGeom>
              <a:avLst/>
              <a:gdLst>
                <a:gd name="T0" fmla="*/ 48 w 171"/>
                <a:gd name="T1" fmla="*/ 147 h 184"/>
                <a:gd name="T2" fmla="*/ 48 w 171"/>
                <a:gd name="T3" fmla="*/ 134 h 184"/>
                <a:gd name="T4" fmla="*/ 40 w 171"/>
                <a:gd name="T5" fmla="*/ 120 h 184"/>
                <a:gd name="T6" fmla="*/ 27 w 171"/>
                <a:gd name="T7" fmla="*/ 112 h 184"/>
                <a:gd name="T8" fmla="*/ 19 w 171"/>
                <a:gd name="T9" fmla="*/ 107 h 184"/>
                <a:gd name="T10" fmla="*/ 16 w 171"/>
                <a:gd name="T11" fmla="*/ 91 h 184"/>
                <a:gd name="T12" fmla="*/ 8 w 171"/>
                <a:gd name="T13" fmla="*/ 80 h 184"/>
                <a:gd name="T14" fmla="*/ 6 w 171"/>
                <a:gd name="T15" fmla="*/ 67 h 184"/>
                <a:gd name="T16" fmla="*/ 0 w 171"/>
                <a:gd name="T17" fmla="*/ 56 h 184"/>
                <a:gd name="T18" fmla="*/ 3 w 171"/>
                <a:gd name="T19" fmla="*/ 48 h 184"/>
                <a:gd name="T20" fmla="*/ 6 w 171"/>
                <a:gd name="T21" fmla="*/ 40 h 184"/>
                <a:gd name="T22" fmla="*/ 11 w 171"/>
                <a:gd name="T23" fmla="*/ 35 h 184"/>
                <a:gd name="T24" fmla="*/ 16 w 171"/>
                <a:gd name="T25" fmla="*/ 27 h 184"/>
                <a:gd name="T26" fmla="*/ 27 w 171"/>
                <a:gd name="T27" fmla="*/ 29 h 184"/>
                <a:gd name="T28" fmla="*/ 32 w 171"/>
                <a:gd name="T29" fmla="*/ 21 h 184"/>
                <a:gd name="T30" fmla="*/ 32 w 171"/>
                <a:gd name="T31" fmla="*/ 16 h 184"/>
                <a:gd name="T32" fmla="*/ 35 w 171"/>
                <a:gd name="T33" fmla="*/ 13 h 184"/>
                <a:gd name="T34" fmla="*/ 38 w 171"/>
                <a:gd name="T35" fmla="*/ 11 h 184"/>
                <a:gd name="T36" fmla="*/ 46 w 171"/>
                <a:gd name="T37" fmla="*/ 13 h 184"/>
                <a:gd name="T38" fmla="*/ 54 w 171"/>
                <a:gd name="T39" fmla="*/ 19 h 184"/>
                <a:gd name="T40" fmla="*/ 62 w 171"/>
                <a:gd name="T41" fmla="*/ 19 h 184"/>
                <a:gd name="T42" fmla="*/ 72 w 171"/>
                <a:gd name="T43" fmla="*/ 24 h 184"/>
                <a:gd name="T44" fmla="*/ 80 w 171"/>
                <a:gd name="T45" fmla="*/ 29 h 184"/>
                <a:gd name="T46" fmla="*/ 83 w 171"/>
                <a:gd name="T47" fmla="*/ 29 h 184"/>
                <a:gd name="T48" fmla="*/ 88 w 171"/>
                <a:gd name="T49" fmla="*/ 19 h 184"/>
                <a:gd name="T50" fmla="*/ 94 w 171"/>
                <a:gd name="T51" fmla="*/ 13 h 184"/>
                <a:gd name="T52" fmla="*/ 104 w 171"/>
                <a:gd name="T53" fmla="*/ 11 h 184"/>
                <a:gd name="T54" fmla="*/ 112 w 171"/>
                <a:gd name="T55" fmla="*/ 16 h 184"/>
                <a:gd name="T56" fmla="*/ 120 w 171"/>
                <a:gd name="T57" fmla="*/ 8 h 184"/>
                <a:gd name="T58" fmla="*/ 128 w 171"/>
                <a:gd name="T59" fmla="*/ 3 h 184"/>
                <a:gd name="T60" fmla="*/ 136 w 171"/>
                <a:gd name="T61" fmla="*/ 8 h 184"/>
                <a:gd name="T62" fmla="*/ 134 w 171"/>
                <a:gd name="T63" fmla="*/ 19 h 184"/>
                <a:gd name="T64" fmla="*/ 144 w 171"/>
                <a:gd name="T65" fmla="*/ 24 h 184"/>
                <a:gd name="T66" fmla="*/ 158 w 171"/>
                <a:gd name="T67" fmla="*/ 21 h 184"/>
                <a:gd name="T68" fmla="*/ 155 w 171"/>
                <a:gd name="T69" fmla="*/ 37 h 184"/>
                <a:gd name="T70" fmla="*/ 160 w 171"/>
                <a:gd name="T71" fmla="*/ 45 h 184"/>
                <a:gd name="T72" fmla="*/ 168 w 171"/>
                <a:gd name="T73" fmla="*/ 56 h 184"/>
                <a:gd name="T74" fmla="*/ 166 w 171"/>
                <a:gd name="T75" fmla="*/ 64 h 184"/>
                <a:gd name="T76" fmla="*/ 158 w 171"/>
                <a:gd name="T77" fmla="*/ 67 h 184"/>
                <a:gd name="T78" fmla="*/ 155 w 171"/>
                <a:gd name="T79" fmla="*/ 77 h 184"/>
                <a:gd name="T80" fmla="*/ 152 w 171"/>
                <a:gd name="T81" fmla="*/ 88 h 184"/>
                <a:gd name="T82" fmla="*/ 152 w 171"/>
                <a:gd name="T83" fmla="*/ 107 h 184"/>
                <a:gd name="T84" fmla="*/ 147 w 171"/>
                <a:gd name="T85" fmla="*/ 112 h 184"/>
                <a:gd name="T86" fmla="*/ 144 w 171"/>
                <a:gd name="T87" fmla="*/ 117 h 184"/>
                <a:gd name="T88" fmla="*/ 142 w 171"/>
                <a:gd name="T89" fmla="*/ 125 h 184"/>
                <a:gd name="T90" fmla="*/ 136 w 171"/>
                <a:gd name="T91" fmla="*/ 136 h 184"/>
                <a:gd name="T92" fmla="*/ 136 w 171"/>
                <a:gd name="T93" fmla="*/ 142 h 184"/>
                <a:gd name="T94" fmla="*/ 128 w 171"/>
                <a:gd name="T95" fmla="*/ 152 h 184"/>
                <a:gd name="T96" fmla="*/ 118 w 171"/>
                <a:gd name="T97" fmla="*/ 150 h 184"/>
                <a:gd name="T98" fmla="*/ 112 w 171"/>
                <a:gd name="T99" fmla="*/ 158 h 184"/>
                <a:gd name="T100" fmla="*/ 104 w 171"/>
                <a:gd name="T101" fmla="*/ 163 h 184"/>
                <a:gd name="T102" fmla="*/ 94 w 171"/>
                <a:gd name="T103" fmla="*/ 166 h 184"/>
                <a:gd name="T104" fmla="*/ 94 w 171"/>
                <a:gd name="T105" fmla="*/ 171 h 184"/>
                <a:gd name="T106" fmla="*/ 91 w 171"/>
                <a:gd name="T107" fmla="*/ 179 h 184"/>
                <a:gd name="T108" fmla="*/ 78 w 171"/>
                <a:gd name="T109" fmla="*/ 184 h 184"/>
                <a:gd name="T110" fmla="*/ 70 w 171"/>
                <a:gd name="T111" fmla="*/ 179 h 184"/>
                <a:gd name="T112" fmla="*/ 67 w 171"/>
                <a:gd name="T113" fmla="*/ 174 h 184"/>
                <a:gd name="T114" fmla="*/ 62 w 171"/>
                <a:gd name="T115" fmla="*/ 166 h 184"/>
                <a:gd name="T116" fmla="*/ 54 w 171"/>
                <a:gd name="T117" fmla="*/ 16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1" h="184" extrusionOk="0">
                  <a:moveTo>
                    <a:pt x="48" y="163"/>
                  </a:moveTo>
                  <a:lnTo>
                    <a:pt x="48" y="160"/>
                  </a:lnTo>
                  <a:lnTo>
                    <a:pt x="48" y="155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3" y="147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3" y="139"/>
                  </a:lnTo>
                  <a:lnTo>
                    <a:pt x="46" y="136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1" y="131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6" y="125"/>
                  </a:lnTo>
                  <a:lnTo>
                    <a:pt x="43" y="123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5" y="123"/>
                  </a:lnTo>
                  <a:lnTo>
                    <a:pt x="32" y="120"/>
                  </a:lnTo>
                  <a:lnTo>
                    <a:pt x="30" y="117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27" y="112"/>
                  </a:lnTo>
                  <a:lnTo>
                    <a:pt x="24" y="112"/>
                  </a:lnTo>
                  <a:lnTo>
                    <a:pt x="24" y="109"/>
                  </a:lnTo>
                  <a:lnTo>
                    <a:pt x="27" y="109"/>
                  </a:lnTo>
                  <a:lnTo>
                    <a:pt x="24" y="107"/>
                  </a:lnTo>
                  <a:lnTo>
                    <a:pt x="22" y="109"/>
                  </a:lnTo>
                  <a:lnTo>
                    <a:pt x="22" y="109"/>
                  </a:lnTo>
                  <a:lnTo>
                    <a:pt x="22" y="107"/>
                  </a:lnTo>
                  <a:lnTo>
                    <a:pt x="19" y="107"/>
                  </a:lnTo>
                  <a:lnTo>
                    <a:pt x="16" y="104"/>
                  </a:lnTo>
                  <a:lnTo>
                    <a:pt x="16" y="101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4" y="93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1" y="85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0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1"/>
                  </a:lnTo>
                  <a:lnTo>
                    <a:pt x="3" y="59"/>
                  </a:lnTo>
                  <a:lnTo>
                    <a:pt x="0" y="5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6" y="43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30" y="27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2" y="24"/>
                  </a:lnTo>
                  <a:lnTo>
                    <a:pt x="32" y="21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3"/>
                  </a:lnTo>
                  <a:lnTo>
                    <a:pt x="35" y="13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1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5" y="8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6" y="16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1" y="16"/>
                  </a:lnTo>
                  <a:lnTo>
                    <a:pt x="51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21"/>
                  </a:lnTo>
                  <a:lnTo>
                    <a:pt x="67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2" y="21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5" y="27"/>
                  </a:lnTo>
                  <a:lnTo>
                    <a:pt x="72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6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9" y="11"/>
                  </a:lnTo>
                  <a:lnTo>
                    <a:pt x="99" y="8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4" y="19"/>
                  </a:lnTo>
                  <a:lnTo>
                    <a:pt x="104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1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3" y="8"/>
                  </a:lnTo>
                  <a:lnTo>
                    <a:pt x="123" y="5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31" y="3"/>
                  </a:lnTo>
                  <a:lnTo>
                    <a:pt x="131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9"/>
                  </a:lnTo>
                  <a:lnTo>
                    <a:pt x="134" y="19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9" y="27"/>
                  </a:lnTo>
                  <a:lnTo>
                    <a:pt x="142" y="27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7" y="24"/>
                  </a:lnTo>
                  <a:lnTo>
                    <a:pt x="147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5" y="21"/>
                  </a:lnTo>
                  <a:lnTo>
                    <a:pt x="158" y="21"/>
                  </a:lnTo>
                  <a:lnTo>
                    <a:pt x="158" y="24"/>
                  </a:lnTo>
                  <a:lnTo>
                    <a:pt x="160" y="24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32"/>
                  </a:lnTo>
                  <a:lnTo>
                    <a:pt x="158" y="35"/>
                  </a:lnTo>
                  <a:lnTo>
                    <a:pt x="158" y="35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60" y="40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60" y="43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8"/>
                  </a:lnTo>
                  <a:lnTo>
                    <a:pt x="163" y="51"/>
                  </a:lnTo>
                  <a:lnTo>
                    <a:pt x="166" y="51"/>
                  </a:lnTo>
                  <a:lnTo>
                    <a:pt x="166" y="53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71" y="56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68" y="61"/>
                  </a:lnTo>
                  <a:lnTo>
                    <a:pt x="168" y="61"/>
                  </a:lnTo>
                  <a:lnTo>
                    <a:pt x="168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6" y="64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0" y="61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58" y="67"/>
                  </a:lnTo>
                  <a:lnTo>
                    <a:pt x="158" y="67"/>
                  </a:lnTo>
                  <a:lnTo>
                    <a:pt x="158" y="69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80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8"/>
                  </a:lnTo>
                  <a:lnTo>
                    <a:pt x="155" y="91"/>
                  </a:lnTo>
                  <a:lnTo>
                    <a:pt x="155" y="93"/>
                  </a:lnTo>
                  <a:lnTo>
                    <a:pt x="155" y="96"/>
                  </a:lnTo>
                  <a:lnTo>
                    <a:pt x="152" y="101"/>
                  </a:lnTo>
                  <a:lnTo>
                    <a:pt x="155" y="101"/>
                  </a:lnTo>
                  <a:lnTo>
                    <a:pt x="155" y="101"/>
                  </a:lnTo>
                  <a:lnTo>
                    <a:pt x="155" y="104"/>
                  </a:lnTo>
                  <a:lnTo>
                    <a:pt x="152" y="107"/>
                  </a:lnTo>
                  <a:lnTo>
                    <a:pt x="152" y="107"/>
                  </a:lnTo>
                  <a:lnTo>
                    <a:pt x="150" y="107"/>
                  </a:lnTo>
                  <a:lnTo>
                    <a:pt x="150" y="107"/>
                  </a:lnTo>
                  <a:lnTo>
                    <a:pt x="147" y="109"/>
                  </a:lnTo>
                  <a:lnTo>
                    <a:pt x="144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7"/>
                  </a:lnTo>
                  <a:lnTo>
                    <a:pt x="144" y="117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3"/>
                  </a:lnTo>
                  <a:lnTo>
                    <a:pt x="147" y="125"/>
                  </a:lnTo>
                  <a:lnTo>
                    <a:pt x="147" y="125"/>
                  </a:lnTo>
                  <a:lnTo>
                    <a:pt x="144" y="125"/>
                  </a:lnTo>
                  <a:lnTo>
                    <a:pt x="144" y="125"/>
                  </a:lnTo>
                  <a:lnTo>
                    <a:pt x="142" y="125"/>
                  </a:lnTo>
                  <a:lnTo>
                    <a:pt x="142" y="128"/>
                  </a:lnTo>
                  <a:lnTo>
                    <a:pt x="142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6" y="134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36"/>
                  </a:lnTo>
                  <a:lnTo>
                    <a:pt x="136" y="139"/>
                  </a:lnTo>
                  <a:lnTo>
                    <a:pt x="139" y="139"/>
                  </a:lnTo>
                  <a:lnTo>
                    <a:pt x="139" y="139"/>
                  </a:lnTo>
                  <a:lnTo>
                    <a:pt x="139" y="142"/>
                  </a:lnTo>
                  <a:lnTo>
                    <a:pt x="136" y="142"/>
                  </a:lnTo>
                  <a:lnTo>
                    <a:pt x="136" y="142"/>
                  </a:lnTo>
                  <a:lnTo>
                    <a:pt x="136" y="144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1" y="147"/>
                  </a:lnTo>
                  <a:lnTo>
                    <a:pt x="131" y="150"/>
                  </a:lnTo>
                  <a:lnTo>
                    <a:pt x="131" y="150"/>
                  </a:lnTo>
                  <a:lnTo>
                    <a:pt x="131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6" y="155"/>
                  </a:lnTo>
                  <a:lnTo>
                    <a:pt x="126" y="158"/>
                  </a:lnTo>
                  <a:lnTo>
                    <a:pt x="126" y="155"/>
                  </a:lnTo>
                  <a:lnTo>
                    <a:pt x="123" y="152"/>
                  </a:lnTo>
                  <a:lnTo>
                    <a:pt x="120" y="152"/>
                  </a:lnTo>
                  <a:lnTo>
                    <a:pt x="118" y="152"/>
                  </a:lnTo>
                  <a:lnTo>
                    <a:pt x="118" y="150"/>
                  </a:lnTo>
                  <a:lnTo>
                    <a:pt x="115" y="150"/>
                  </a:lnTo>
                  <a:lnTo>
                    <a:pt x="115" y="152"/>
                  </a:lnTo>
                  <a:lnTo>
                    <a:pt x="115" y="152"/>
                  </a:lnTo>
                  <a:lnTo>
                    <a:pt x="115" y="155"/>
                  </a:lnTo>
                  <a:lnTo>
                    <a:pt x="115" y="155"/>
                  </a:lnTo>
                  <a:lnTo>
                    <a:pt x="115" y="158"/>
                  </a:lnTo>
                  <a:lnTo>
                    <a:pt x="112" y="155"/>
                  </a:lnTo>
                  <a:lnTo>
                    <a:pt x="112" y="158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2" y="163"/>
                  </a:lnTo>
                  <a:lnTo>
                    <a:pt x="110" y="163"/>
                  </a:lnTo>
                  <a:lnTo>
                    <a:pt x="110" y="166"/>
                  </a:lnTo>
                  <a:lnTo>
                    <a:pt x="107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2" y="160"/>
                  </a:lnTo>
                  <a:lnTo>
                    <a:pt x="96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6" y="163"/>
                  </a:lnTo>
                  <a:lnTo>
                    <a:pt x="94" y="163"/>
                  </a:lnTo>
                  <a:lnTo>
                    <a:pt x="94" y="163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6" y="168"/>
                  </a:lnTo>
                  <a:lnTo>
                    <a:pt x="96" y="168"/>
                  </a:lnTo>
                  <a:lnTo>
                    <a:pt x="94" y="168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1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8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0" y="184"/>
                  </a:lnTo>
                  <a:lnTo>
                    <a:pt x="78" y="184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80" y="176"/>
                  </a:lnTo>
                  <a:lnTo>
                    <a:pt x="80" y="176"/>
                  </a:lnTo>
                  <a:lnTo>
                    <a:pt x="78" y="182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0" y="179"/>
                  </a:lnTo>
                  <a:lnTo>
                    <a:pt x="70" y="182"/>
                  </a:lnTo>
                  <a:lnTo>
                    <a:pt x="67" y="182"/>
                  </a:lnTo>
                  <a:lnTo>
                    <a:pt x="64" y="182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1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68"/>
                  </a:lnTo>
                  <a:lnTo>
                    <a:pt x="64" y="168"/>
                  </a:lnTo>
                  <a:lnTo>
                    <a:pt x="62" y="168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56" y="163"/>
                  </a:lnTo>
                  <a:lnTo>
                    <a:pt x="56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48" y="163"/>
                  </a:lnTo>
                  <a:lnTo>
                    <a:pt x="48" y="16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2" name="Freeform 8919">
              <a:extLst>
                <a:ext uri="{FF2B5EF4-FFF2-40B4-BE49-F238E27FC236}">
                  <a16:creationId xmlns:a16="http://schemas.microsoft.com/office/drawing/2014/main" id="{D05C6E5E-DA02-7E4B-BE0F-3DB1E93AE3D9}"/>
                </a:ext>
              </a:extLst>
            </p:cNvPr>
            <p:cNvSpPr/>
            <p:nvPr/>
          </p:nvSpPr>
          <p:spPr bwMode="auto">
            <a:xfrm>
              <a:off x="1259681" y="3829050"/>
              <a:ext cx="279399" cy="300038"/>
            </a:xfrm>
            <a:custGeom>
              <a:avLst/>
              <a:gdLst>
                <a:gd name="T0" fmla="*/ 101 w 176"/>
                <a:gd name="T1" fmla="*/ 184 h 189"/>
                <a:gd name="T2" fmla="*/ 91 w 176"/>
                <a:gd name="T3" fmla="*/ 184 h 189"/>
                <a:gd name="T4" fmla="*/ 88 w 176"/>
                <a:gd name="T5" fmla="*/ 165 h 189"/>
                <a:gd name="T6" fmla="*/ 83 w 176"/>
                <a:gd name="T7" fmla="*/ 157 h 189"/>
                <a:gd name="T8" fmla="*/ 77 w 176"/>
                <a:gd name="T9" fmla="*/ 152 h 189"/>
                <a:gd name="T10" fmla="*/ 72 w 176"/>
                <a:gd name="T11" fmla="*/ 139 h 189"/>
                <a:gd name="T12" fmla="*/ 67 w 176"/>
                <a:gd name="T13" fmla="*/ 125 h 189"/>
                <a:gd name="T14" fmla="*/ 67 w 176"/>
                <a:gd name="T15" fmla="*/ 112 h 189"/>
                <a:gd name="T16" fmla="*/ 56 w 176"/>
                <a:gd name="T17" fmla="*/ 107 h 189"/>
                <a:gd name="T18" fmla="*/ 40 w 176"/>
                <a:gd name="T19" fmla="*/ 101 h 189"/>
                <a:gd name="T20" fmla="*/ 32 w 176"/>
                <a:gd name="T21" fmla="*/ 91 h 189"/>
                <a:gd name="T22" fmla="*/ 32 w 176"/>
                <a:gd name="T23" fmla="*/ 77 h 189"/>
                <a:gd name="T24" fmla="*/ 26 w 176"/>
                <a:gd name="T25" fmla="*/ 74 h 189"/>
                <a:gd name="T26" fmla="*/ 18 w 176"/>
                <a:gd name="T27" fmla="*/ 72 h 189"/>
                <a:gd name="T28" fmla="*/ 5 w 176"/>
                <a:gd name="T29" fmla="*/ 69 h 189"/>
                <a:gd name="T30" fmla="*/ 2 w 176"/>
                <a:gd name="T31" fmla="*/ 64 h 189"/>
                <a:gd name="T32" fmla="*/ 2 w 176"/>
                <a:gd name="T33" fmla="*/ 56 h 189"/>
                <a:gd name="T34" fmla="*/ 16 w 176"/>
                <a:gd name="T35" fmla="*/ 53 h 189"/>
                <a:gd name="T36" fmla="*/ 24 w 176"/>
                <a:gd name="T37" fmla="*/ 45 h 189"/>
                <a:gd name="T38" fmla="*/ 29 w 176"/>
                <a:gd name="T39" fmla="*/ 42 h 189"/>
                <a:gd name="T40" fmla="*/ 29 w 176"/>
                <a:gd name="T41" fmla="*/ 34 h 189"/>
                <a:gd name="T42" fmla="*/ 24 w 176"/>
                <a:gd name="T43" fmla="*/ 26 h 189"/>
                <a:gd name="T44" fmla="*/ 32 w 176"/>
                <a:gd name="T45" fmla="*/ 21 h 189"/>
                <a:gd name="T46" fmla="*/ 40 w 176"/>
                <a:gd name="T47" fmla="*/ 21 h 189"/>
                <a:gd name="T48" fmla="*/ 42 w 176"/>
                <a:gd name="T49" fmla="*/ 24 h 189"/>
                <a:gd name="T50" fmla="*/ 48 w 176"/>
                <a:gd name="T51" fmla="*/ 26 h 189"/>
                <a:gd name="T52" fmla="*/ 53 w 176"/>
                <a:gd name="T53" fmla="*/ 24 h 189"/>
                <a:gd name="T54" fmla="*/ 61 w 176"/>
                <a:gd name="T55" fmla="*/ 21 h 189"/>
                <a:gd name="T56" fmla="*/ 58 w 176"/>
                <a:gd name="T57" fmla="*/ 13 h 189"/>
                <a:gd name="T58" fmla="*/ 61 w 176"/>
                <a:gd name="T59" fmla="*/ 2 h 189"/>
                <a:gd name="T60" fmla="*/ 72 w 176"/>
                <a:gd name="T61" fmla="*/ 5 h 189"/>
                <a:gd name="T62" fmla="*/ 77 w 176"/>
                <a:gd name="T63" fmla="*/ 2 h 189"/>
                <a:gd name="T64" fmla="*/ 85 w 176"/>
                <a:gd name="T65" fmla="*/ 2 h 189"/>
                <a:gd name="T66" fmla="*/ 93 w 176"/>
                <a:gd name="T67" fmla="*/ 0 h 189"/>
                <a:gd name="T68" fmla="*/ 91 w 176"/>
                <a:gd name="T69" fmla="*/ 5 h 189"/>
                <a:gd name="T70" fmla="*/ 99 w 176"/>
                <a:gd name="T71" fmla="*/ 2 h 189"/>
                <a:gd name="T72" fmla="*/ 107 w 176"/>
                <a:gd name="T73" fmla="*/ 5 h 189"/>
                <a:gd name="T74" fmla="*/ 112 w 176"/>
                <a:gd name="T75" fmla="*/ 5 h 189"/>
                <a:gd name="T76" fmla="*/ 120 w 176"/>
                <a:gd name="T77" fmla="*/ 5 h 189"/>
                <a:gd name="T78" fmla="*/ 125 w 176"/>
                <a:gd name="T79" fmla="*/ 5 h 189"/>
                <a:gd name="T80" fmla="*/ 125 w 176"/>
                <a:gd name="T81" fmla="*/ 13 h 189"/>
                <a:gd name="T82" fmla="*/ 131 w 176"/>
                <a:gd name="T83" fmla="*/ 24 h 189"/>
                <a:gd name="T84" fmla="*/ 131 w 176"/>
                <a:gd name="T85" fmla="*/ 34 h 189"/>
                <a:gd name="T86" fmla="*/ 141 w 176"/>
                <a:gd name="T87" fmla="*/ 45 h 189"/>
                <a:gd name="T88" fmla="*/ 139 w 176"/>
                <a:gd name="T89" fmla="*/ 58 h 189"/>
                <a:gd name="T90" fmla="*/ 149 w 176"/>
                <a:gd name="T91" fmla="*/ 64 h 189"/>
                <a:gd name="T92" fmla="*/ 155 w 176"/>
                <a:gd name="T93" fmla="*/ 74 h 189"/>
                <a:gd name="T94" fmla="*/ 171 w 176"/>
                <a:gd name="T95" fmla="*/ 82 h 189"/>
                <a:gd name="T96" fmla="*/ 171 w 176"/>
                <a:gd name="T97" fmla="*/ 93 h 189"/>
                <a:gd name="T98" fmla="*/ 173 w 176"/>
                <a:gd name="T99" fmla="*/ 104 h 189"/>
                <a:gd name="T100" fmla="*/ 173 w 176"/>
                <a:gd name="T101" fmla="*/ 120 h 189"/>
                <a:gd name="T102" fmla="*/ 165 w 176"/>
                <a:gd name="T103" fmla="*/ 123 h 189"/>
                <a:gd name="T104" fmla="*/ 165 w 176"/>
                <a:gd name="T105" fmla="*/ 128 h 189"/>
                <a:gd name="T106" fmla="*/ 160 w 176"/>
                <a:gd name="T107" fmla="*/ 133 h 189"/>
                <a:gd name="T108" fmla="*/ 152 w 176"/>
                <a:gd name="T109" fmla="*/ 139 h 189"/>
                <a:gd name="T110" fmla="*/ 144 w 176"/>
                <a:gd name="T111" fmla="*/ 141 h 189"/>
                <a:gd name="T112" fmla="*/ 144 w 176"/>
                <a:gd name="T113" fmla="*/ 147 h 189"/>
                <a:gd name="T114" fmla="*/ 147 w 176"/>
                <a:gd name="T115" fmla="*/ 152 h 189"/>
                <a:gd name="T116" fmla="*/ 144 w 176"/>
                <a:gd name="T117" fmla="*/ 160 h 189"/>
                <a:gd name="T118" fmla="*/ 141 w 176"/>
                <a:gd name="T119" fmla="*/ 176 h 189"/>
                <a:gd name="T120" fmla="*/ 136 w 176"/>
                <a:gd name="T121" fmla="*/ 179 h 189"/>
                <a:gd name="T122" fmla="*/ 123 w 176"/>
                <a:gd name="T123" fmla="*/ 179 h 189"/>
                <a:gd name="T124" fmla="*/ 115 w 176"/>
                <a:gd name="T125" fmla="*/ 187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" h="189" extrusionOk="0">
                  <a:moveTo>
                    <a:pt x="112" y="189"/>
                  </a:moveTo>
                  <a:lnTo>
                    <a:pt x="104" y="189"/>
                  </a:lnTo>
                  <a:lnTo>
                    <a:pt x="104" y="189"/>
                  </a:lnTo>
                  <a:lnTo>
                    <a:pt x="104" y="189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4"/>
                  </a:lnTo>
                  <a:lnTo>
                    <a:pt x="101" y="181"/>
                  </a:lnTo>
                  <a:lnTo>
                    <a:pt x="99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1" y="184"/>
                  </a:lnTo>
                  <a:lnTo>
                    <a:pt x="88" y="181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68"/>
                  </a:lnTo>
                  <a:lnTo>
                    <a:pt x="88" y="165"/>
                  </a:lnTo>
                  <a:lnTo>
                    <a:pt x="88" y="165"/>
                  </a:lnTo>
                  <a:lnTo>
                    <a:pt x="88" y="165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5" y="163"/>
                  </a:lnTo>
                  <a:lnTo>
                    <a:pt x="83" y="160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1"/>
                  </a:lnTo>
                  <a:lnTo>
                    <a:pt x="72" y="139"/>
                  </a:lnTo>
                  <a:lnTo>
                    <a:pt x="69" y="139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9" y="133"/>
                  </a:lnTo>
                  <a:lnTo>
                    <a:pt x="67" y="133"/>
                  </a:lnTo>
                  <a:lnTo>
                    <a:pt x="67" y="128"/>
                  </a:lnTo>
                  <a:lnTo>
                    <a:pt x="67" y="125"/>
                  </a:lnTo>
                  <a:lnTo>
                    <a:pt x="67" y="125"/>
                  </a:lnTo>
                  <a:lnTo>
                    <a:pt x="67" y="123"/>
                  </a:lnTo>
                  <a:lnTo>
                    <a:pt x="67" y="120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4" y="112"/>
                  </a:lnTo>
                  <a:lnTo>
                    <a:pt x="64" y="109"/>
                  </a:lnTo>
                  <a:lnTo>
                    <a:pt x="61" y="109"/>
                  </a:lnTo>
                  <a:lnTo>
                    <a:pt x="58" y="109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6" y="107"/>
                  </a:lnTo>
                  <a:lnTo>
                    <a:pt x="53" y="107"/>
                  </a:lnTo>
                  <a:lnTo>
                    <a:pt x="50" y="107"/>
                  </a:lnTo>
                  <a:lnTo>
                    <a:pt x="50" y="104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37" y="99"/>
                  </a:lnTo>
                  <a:lnTo>
                    <a:pt x="34" y="99"/>
                  </a:lnTo>
                  <a:lnTo>
                    <a:pt x="32" y="99"/>
                  </a:lnTo>
                  <a:lnTo>
                    <a:pt x="29" y="96"/>
                  </a:lnTo>
                  <a:lnTo>
                    <a:pt x="26" y="96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8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4" y="82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2" y="77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9" y="80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0" y="72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6"/>
                  </a:lnTo>
                  <a:lnTo>
                    <a:pt x="2" y="66"/>
                  </a:lnTo>
                  <a:lnTo>
                    <a:pt x="5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0" y="61"/>
                  </a:lnTo>
                  <a:lnTo>
                    <a:pt x="2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2" y="56"/>
                  </a:lnTo>
                  <a:lnTo>
                    <a:pt x="2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8" y="50"/>
                  </a:lnTo>
                  <a:lnTo>
                    <a:pt x="10" y="53"/>
                  </a:lnTo>
                  <a:lnTo>
                    <a:pt x="13" y="50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4" y="45"/>
                  </a:lnTo>
                  <a:lnTo>
                    <a:pt x="21" y="42"/>
                  </a:lnTo>
                  <a:lnTo>
                    <a:pt x="24" y="42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9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4" y="29"/>
                  </a:lnTo>
                  <a:lnTo>
                    <a:pt x="24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18"/>
                  </a:lnTo>
                  <a:lnTo>
                    <a:pt x="29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8" y="24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0" y="24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61" y="24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3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61" y="10"/>
                  </a:lnTo>
                  <a:lnTo>
                    <a:pt x="61" y="8"/>
                  </a:lnTo>
                  <a:lnTo>
                    <a:pt x="61" y="5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7" y="0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1" y="2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91" y="5"/>
                  </a:lnTo>
                  <a:lnTo>
                    <a:pt x="93" y="5"/>
                  </a:lnTo>
                  <a:lnTo>
                    <a:pt x="96" y="5"/>
                  </a:lnTo>
                  <a:lnTo>
                    <a:pt x="96" y="2"/>
                  </a:lnTo>
                  <a:lnTo>
                    <a:pt x="99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4" y="0"/>
                  </a:lnTo>
                  <a:lnTo>
                    <a:pt x="107" y="0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9" y="8"/>
                  </a:lnTo>
                  <a:lnTo>
                    <a:pt x="112" y="8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3" y="5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8" y="5"/>
                  </a:lnTo>
                  <a:lnTo>
                    <a:pt x="125" y="5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6"/>
                  </a:lnTo>
                  <a:lnTo>
                    <a:pt x="128" y="16"/>
                  </a:lnTo>
                  <a:lnTo>
                    <a:pt x="131" y="18"/>
                  </a:lnTo>
                  <a:lnTo>
                    <a:pt x="133" y="21"/>
                  </a:lnTo>
                  <a:lnTo>
                    <a:pt x="133" y="21"/>
                  </a:lnTo>
                  <a:lnTo>
                    <a:pt x="131" y="24"/>
                  </a:lnTo>
                  <a:lnTo>
                    <a:pt x="131" y="26"/>
                  </a:lnTo>
                  <a:lnTo>
                    <a:pt x="131" y="26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32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3" y="37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6" y="42"/>
                  </a:lnTo>
                  <a:lnTo>
                    <a:pt x="139" y="45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39" y="58"/>
                  </a:lnTo>
                  <a:lnTo>
                    <a:pt x="141" y="58"/>
                  </a:lnTo>
                  <a:lnTo>
                    <a:pt x="141" y="61"/>
                  </a:lnTo>
                  <a:lnTo>
                    <a:pt x="144" y="64"/>
                  </a:lnTo>
                  <a:lnTo>
                    <a:pt x="147" y="64"/>
                  </a:lnTo>
                  <a:lnTo>
                    <a:pt x="147" y="66"/>
                  </a:lnTo>
                  <a:lnTo>
                    <a:pt x="147" y="66"/>
                  </a:lnTo>
                  <a:lnTo>
                    <a:pt x="149" y="64"/>
                  </a:lnTo>
                  <a:lnTo>
                    <a:pt x="152" y="66"/>
                  </a:lnTo>
                  <a:lnTo>
                    <a:pt x="149" y="66"/>
                  </a:lnTo>
                  <a:lnTo>
                    <a:pt x="149" y="69"/>
                  </a:lnTo>
                  <a:lnTo>
                    <a:pt x="152" y="69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5" y="74"/>
                  </a:lnTo>
                  <a:lnTo>
                    <a:pt x="157" y="77"/>
                  </a:lnTo>
                  <a:lnTo>
                    <a:pt x="160" y="80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5" y="77"/>
                  </a:lnTo>
                  <a:lnTo>
                    <a:pt x="168" y="80"/>
                  </a:lnTo>
                  <a:lnTo>
                    <a:pt x="171" y="82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3" y="85"/>
                  </a:lnTo>
                  <a:lnTo>
                    <a:pt x="176" y="88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1" y="93"/>
                  </a:lnTo>
                  <a:lnTo>
                    <a:pt x="168" y="96"/>
                  </a:lnTo>
                  <a:lnTo>
                    <a:pt x="168" y="99"/>
                  </a:lnTo>
                  <a:lnTo>
                    <a:pt x="168" y="99"/>
                  </a:lnTo>
                  <a:lnTo>
                    <a:pt x="168" y="101"/>
                  </a:lnTo>
                  <a:lnTo>
                    <a:pt x="168" y="104"/>
                  </a:lnTo>
                  <a:lnTo>
                    <a:pt x="171" y="104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7"/>
                  </a:lnTo>
                  <a:lnTo>
                    <a:pt x="173" y="107"/>
                  </a:lnTo>
                  <a:lnTo>
                    <a:pt x="173" y="109"/>
                  </a:lnTo>
                  <a:lnTo>
                    <a:pt x="173" y="112"/>
                  </a:lnTo>
                  <a:lnTo>
                    <a:pt x="173" y="117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1" y="120"/>
                  </a:lnTo>
                  <a:lnTo>
                    <a:pt x="171" y="120"/>
                  </a:lnTo>
                  <a:lnTo>
                    <a:pt x="168" y="120"/>
                  </a:lnTo>
                  <a:lnTo>
                    <a:pt x="168" y="123"/>
                  </a:lnTo>
                  <a:lnTo>
                    <a:pt x="168" y="123"/>
                  </a:lnTo>
                  <a:lnTo>
                    <a:pt x="165" y="123"/>
                  </a:lnTo>
                  <a:lnTo>
                    <a:pt x="165" y="123"/>
                  </a:lnTo>
                  <a:lnTo>
                    <a:pt x="165" y="125"/>
                  </a:lnTo>
                  <a:lnTo>
                    <a:pt x="165" y="125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5" y="128"/>
                  </a:lnTo>
                  <a:lnTo>
                    <a:pt x="163" y="128"/>
                  </a:lnTo>
                  <a:lnTo>
                    <a:pt x="163" y="128"/>
                  </a:lnTo>
                  <a:lnTo>
                    <a:pt x="160" y="128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3"/>
                  </a:lnTo>
                  <a:lnTo>
                    <a:pt x="160" y="133"/>
                  </a:lnTo>
                  <a:lnTo>
                    <a:pt x="160" y="136"/>
                  </a:lnTo>
                  <a:lnTo>
                    <a:pt x="160" y="136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5" y="136"/>
                  </a:lnTo>
                  <a:lnTo>
                    <a:pt x="155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49" y="139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7" y="141"/>
                  </a:lnTo>
                  <a:lnTo>
                    <a:pt x="147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1" y="141"/>
                  </a:lnTo>
                  <a:lnTo>
                    <a:pt x="141" y="141"/>
                  </a:lnTo>
                  <a:lnTo>
                    <a:pt x="141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7" y="147"/>
                  </a:lnTo>
                  <a:lnTo>
                    <a:pt x="147" y="149"/>
                  </a:lnTo>
                  <a:lnTo>
                    <a:pt x="147" y="149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4" y="155"/>
                  </a:lnTo>
                  <a:lnTo>
                    <a:pt x="144" y="157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1" y="163"/>
                  </a:lnTo>
                  <a:lnTo>
                    <a:pt x="141" y="165"/>
                  </a:lnTo>
                  <a:lnTo>
                    <a:pt x="141" y="165"/>
                  </a:lnTo>
                  <a:lnTo>
                    <a:pt x="141" y="168"/>
                  </a:lnTo>
                  <a:lnTo>
                    <a:pt x="144" y="168"/>
                  </a:lnTo>
                  <a:lnTo>
                    <a:pt x="141" y="171"/>
                  </a:lnTo>
                  <a:lnTo>
                    <a:pt x="141" y="176"/>
                  </a:lnTo>
                  <a:lnTo>
                    <a:pt x="141" y="176"/>
                  </a:lnTo>
                  <a:lnTo>
                    <a:pt x="141" y="179"/>
                  </a:lnTo>
                  <a:lnTo>
                    <a:pt x="139" y="179"/>
                  </a:lnTo>
                  <a:lnTo>
                    <a:pt x="139" y="179"/>
                  </a:lnTo>
                  <a:lnTo>
                    <a:pt x="139" y="181"/>
                  </a:lnTo>
                  <a:lnTo>
                    <a:pt x="136" y="181"/>
                  </a:lnTo>
                  <a:lnTo>
                    <a:pt x="136" y="179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28" y="179"/>
                  </a:lnTo>
                  <a:lnTo>
                    <a:pt x="128" y="179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3" y="179"/>
                  </a:lnTo>
                  <a:lnTo>
                    <a:pt x="123" y="181"/>
                  </a:lnTo>
                  <a:lnTo>
                    <a:pt x="123" y="179"/>
                  </a:lnTo>
                  <a:lnTo>
                    <a:pt x="120" y="179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17" y="181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2" y="189"/>
                  </a:lnTo>
                  <a:lnTo>
                    <a:pt x="112" y="1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3" name="Freeform 8920">
              <a:extLst>
                <a:ext uri="{FF2B5EF4-FFF2-40B4-BE49-F238E27FC236}">
                  <a16:creationId xmlns:a16="http://schemas.microsoft.com/office/drawing/2014/main" id="{3831964B-E688-3A4D-B437-6F355E2992D2}"/>
                </a:ext>
              </a:extLst>
            </p:cNvPr>
            <p:cNvSpPr/>
            <p:nvPr/>
          </p:nvSpPr>
          <p:spPr bwMode="auto">
            <a:xfrm>
              <a:off x="1323181" y="3598863"/>
              <a:ext cx="350838" cy="242888"/>
            </a:xfrm>
            <a:custGeom>
              <a:avLst/>
              <a:gdLst>
                <a:gd name="T0" fmla="*/ 8 w 221"/>
                <a:gd name="T1" fmla="*/ 38 h 153"/>
                <a:gd name="T2" fmla="*/ 10 w 221"/>
                <a:gd name="T3" fmla="*/ 51 h 153"/>
                <a:gd name="T4" fmla="*/ 10 w 221"/>
                <a:gd name="T5" fmla="*/ 62 h 153"/>
                <a:gd name="T6" fmla="*/ 21 w 221"/>
                <a:gd name="T7" fmla="*/ 72 h 153"/>
                <a:gd name="T8" fmla="*/ 21 w 221"/>
                <a:gd name="T9" fmla="*/ 86 h 153"/>
                <a:gd name="T10" fmla="*/ 18 w 221"/>
                <a:gd name="T11" fmla="*/ 102 h 153"/>
                <a:gd name="T12" fmla="*/ 10 w 221"/>
                <a:gd name="T13" fmla="*/ 115 h 153"/>
                <a:gd name="T14" fmla="*/ 10 w 221"/>
                <a:gd name="T15" fmla="*/ 123 h 153"/>
                <a:gd name="T16" fmla="*/ 29 w 221"/>
                <a:gd name="T17" fmla="*/ 139 h 153"/>
                <a:gd name="T18" fmla="*/ 43 w 221"/>
                <a:gd name="T19" fmla="*/ 150 h 153"/>
                <a:gd name="T20" fmla="*/ 53 w 221"/>
                <a:gd name="T21" fmla="*/ 145 h 153"/>
                <a:gd name="T22" fmla="*/ 48 w 221"/>
                <a:gd name="T23" fmla="*/ 150 h 153"/>
                <a:gd name="T24" fmla="*/ 64 w 221"/>
                <a:gd name="T25" fmla="*/ 145 h 153"/>
                <a:gd name="T26" fmla="*/ 72 w 221"/>
                <a:gd name="T27" fmla="*/ 153 h 153"/>
                <a:gd name="T28" fmla="*/ 80 w 221"/>
                <a:gd name="T29" fmla="*/ 150 h 153"/>
                <a:gd name="T30" fmla="*/ 91 w 221"/>
                <a:gd name="T31" fmla="*/ 147 h 153"/>
                <a:gd name="T32" fmla="*/ 91 w 221"/>
                <a:gd name="T33" fmla="*/ 139 h 153"/>
                <a:gd name="T34" fmla="*/ 96 w 221"/>
                <a:gd name="T35" fmla="*/ 131 h 153"/>
                <a:gd name="T36" fmla="*/ 109 w 221"/>
                <a:gd name="T37" fmla="*/ 131 h 153"/>
                <a:gd name="T38" fmla="*/ 115 w 221"/>
                <a:gd name="T39" fmla="*/ 126 h 153"/>
                <a:gd name="T40" fmla="*/ 120 w 221"/>
                <a:gd name="T41" fmla="*/ 121 h 153"/>
                <a:gd name="T42" fmla="*/ 120 w 221"/>
                <a:gd name="T43" fmla="*/ 115 h 153"/>
                <a:gd name="T44" fmla="*/ 123 w 221"/>
                <a:gd name="T45" fmla="*/ 113 h 153"/>
                <a:gd name="T46" fmla="*/ 133 w 221"/>
                <a:gd name="T47" fmla="*/ 118 h 153"/>
                <a:gd name="T48" fmla="*/ 144 w 221"/>
                <a:gd name="T49" fmla="*/ 121 h 153"/>
                <a:gd name="T50" fmla="*/ 155 w 221"/>
                <a:gd name="T51" fmla="*/ 123 h 153"/>
                <a:gd name="T52" fmla="*/ 160 w 221"/>
                <a:gd name="T53" fmla="*/ 131 h 153"/>
                <a:gd name="T54" fmla="*/ 168 w 221"/>
                <a:gd name="T55" fmla="*/ 134 h 153"/>
                <a:gd name="T56" fmla="*/ 176 w 221"/>
                <a:gd name="T57" fmla="*/ 123 h 153"/>
                <a:gd name="T58" fmla="*/ 179 w 221"/>
                <a:gd name="T59" fmla="*/ 115 h 153"/>
                <a:gd name="T60" fmla="*/ 189 w 221"/>
                <a:gd name="T61" fmla="*/ 115 h 153"/>
                <a:gd name="T62" fmla="*/ 200 w 221"/>
                <a:gd name="T63" fmla="*/ 115 h 153"/>
                <a:gd name="T64" fmla="*/ 208 w 221"/>
                <a:gd name="T65" fmla="*/ 107 h 153"/>
                <a:gd name="T66" fmla="*/ 211 w 221"/>
                <a:gd name="T67" fmla="*/ 97 h 153"/>
                <a:gd name="T68" fmla="*/ 219 w 221"/>
                <a:gd name="T69" fmla="*/ 78 h 153"/>
                <a:gd name="T70" fmla="*/ 221 w 221"/>
                <a:gd name="T71" fmla="*/ 64 h 153"/>
                <a:gd name="T72" fmla="*/ 216 w 221"/>
                <a:gd name="T73" fmla="*/ 54 h 153"/>
                <a:gd name="T74" fmla="*/ 213 w 221"/>
                <a:gd name="T75" fmla="*/ 43 h 153"/>
                <a:gd name="T76" fmla="*/ 203 w 221"/>
                <a:gd name="T77" fmla="*/ 38 h 153"/>
                <a:gd name="T78" fmla="*/ 184 w 221"/>
                <a:gd name="T79" fmla="*/ 38 h 153"/>
                <a:gd name="T80" fmla="*/ 176 w 221"/>
                <a:gd name="T81" fmla="*/ 27 h 153"/>
                <a:gd name="T82" fmla="*/ 165 w 221"/>
                <a:gd name="T83" fmla="*/ 11 h 153"/>
                <a:gd name="T84" fmla="*/ 155 w 221"/>
                <a:gd name="T85" fmla="*/ 3 h 153"/>
                <a:gd name="T86" fmla="*/ 147 w 221"/>
                <a:gd name="T87" fmla="*/ 11 h 153"/>
                <a:gd name="T88" fmla="*/ 109 w 221"/>
                <a:gd name="T89" fmla="*/ 16 h 153"/>
                <a:gd name="T90" fmla="*/ 99 w 221"/>
                <a:gd name="T91" fmla="*/ 27 h 153"/>
                <a:gd name="T92" fmla="*/ 85 w 221"/>
                <a:gd name="T93" fmla="*/ 22 h 153"/>
                <a:gd name="T94" fmla="*/ 80 w 221"/>
                <a:gd name="T95" fmla="*/ 24 h 153"/>
                <a:gd name="T96" fmla="*/ 64 w 221"/>
                <a:gd name="T97" fmla="*/ 27 h 153"/>
                <a:gd name="T98" fmla="*/ 56 w 221"/>
                <a:gd name="T99" fmla="*/ 14 h 153"/>
                <a:gd name="T100" fmla="*/ 48 w 221"/>
                <a:gd name="T101" fmla="*/ 6 h 153"/>
                <a:gd name="T102" fmla="*/ 35 w 221"/>
                <a:gd name="T103" fmla="*/ 0 h 153"/>
                <a:gd name="T104" fmla="*/ 27 w 221"/>
                <a:gd name="T105" fmla="*/ 11 h 153"/>
                <a:gd name="T106" fmla="*/ 21 w 221"/>
                <a:gd name="T107" fmla="*/ 19 h 153"/>
                <a:gd name="T108" fmla="*/ 13 w 221"/>
                <a:gd name="T109" fmla="*/ 24 h 153"/>
                <a:gd name="T110" fmla="*/ 2 w 221"/>
                <a:gd name="T111" fmla="*/ 27 h 153"/>
                <a:gd name="T112" fmla="*/ 0 w 221"/>
                <a:gd name="T113" fmla="*/ 3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1" h="153" extrusionOk="0">
                  <a:moveTo>
                    <a:pt x="0" y="32"/>
                  </a:moveTo>
                  <a:lnTo>
                    <a:pt x="0" y="35"/>
                  </a:lnTo>
                  <a:lnTo>
                    <a:pt x="2" y="35"/>
                  </a:lnTo>
                  <a:lnTo>
                    <a:pt x="2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5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9"/>
                  </a:lnTo>
                  <a:lnTo>
                    <a:pt x="10" y="59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3" y="64"/>
                  </a:lnTo>
                  <a:lnTo>
                    <a:pt x="16" y="64"/>
                  </a:lnTo>
                  <a:lnTo>
                    <a:pt x="18" y="64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70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9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102"/>
                  </a:lnTo>
                  <a:lnTo>
                    <a:pt x="16" y="102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0" y="113"/>
                  </a:lnTo>
                  <a:lnTo>
                    <a:pt x="10" y="113"/>
                  </a:lnTo>
                  <a:lnTo>
                    <a:pt x="10" y="115"/>
                  </a:lnTo>
                  <a:lnTo>
                    <a:pt x="8" y="115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3" y="123"/>
                  </a:lnTo>
                  <a:lnTo>
                    <a:pt x="13" y="126"/>
                  </a:lnTo>
                  <a:lnTo>
                    <a:pt x="16" y="126"/>
                  </a:lnTo>
                  <a:lnTo>
                    <a:pt x="18" y="129"/>
                  </a:lnTo>
                  <a:lnTo>
                    <a:pt x="21" y="131"/>
                  </a:lnTo>
                  <a:lnTo>
                    <a:pt x="21" y="134"/>
                  </a:lnTo>
                  <a:lnTo>
                    <a:pt x="27" y="137"/>
                  </a:lnTo>
                  <a:lnTo>
                    <a:pt x="29" y="137"/>
                  </a:lnTo>
                  <a:lnTo>
                    <a:pt x="29" y="139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7" y="145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51" y="147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3" y="145"/>
                  </a:lnTo>
                  <a:lnTo>
                    <a:pt x="53" y="145"/>
                  </a:lnTo>
                  <a:lnTo>
                    <a:pt x="56" y="145"/>
                  </a:lnTo>
                  <a:lnTo>
                    <a:pt x="56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1" y="150"/>
                  </a:lnTo>
                  <a:lnTo>
                    <a:pt x="51" y="150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51" y="150"/>
                  </a:lnTo>
                  <a:lnTo>
                    <a:pt x="53" y="150"/>
                  </a:lnTo>
                  <a:lnTo>
                    <a:pt x="56" y="150"/>
                  </a:lnTo>
                  <a:lnTo>
                    <a:pt x="56" y="147"/>
                  </a:lnTo>
                  <a:lnTo>
                    <a:pt x="59" y="147"/>
                  </a:lnTo>
                  <a:lnTo>
                    <a:pt x="61" y="147"/>
                  </a:lnTo>
                  <a:lnTo>
                    <a:pt x="61" y="147"/>
                  </a:lnTo>
                  <a:lnTo>
                    <a:pt x="64" y="145"/>
                  </a:lnTo>
                  <a:lnTo>
                    <a:pt x="67" y="145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3"/>
                  </a:lnTo>
                  <a:lnTo>
                    <a:pt x="72" y="153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3" y="147"/>
                  </a:lnTo>
                  <a:lnTo>
                    <a:pt x="85" y="147"/>
                  </a:lnTo>
                  <a:lnTo>
                    <a:pt x="85" y="150"/>
                  </a:lnTo>
                  <a:lnTo>
                    <a:pt x="85" y="150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91" y="150"/>
                  </a:lnTo>
                  <a:lnTo>
                    <a:pt x="91" y="147"/>
                  </a:lnTo>
                  <a:lnTo>
                    <a:pt x="93" y="147"/>
                  </a:lnTo>
                  <a:lnTo>
                    <a:pt x="93" y="147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1" y="145"/>
                  </a:lnTo>
                  <a:lnTo>
                    <a:pt x="91" y="142"/>
                  </a:lnTo>
                  <a:lnTo>
                    <a:pt x="91" y="142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9" y="131"/>
                  </a:lnTo>
                  <a:lnTo>
                    <a:pt x="99" y="131"/>
                  </a:lnTo>
                  <a:lnTo>
                    <a:pt x="99" y="131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4" y="129"/>
                  </a:lnTo>
                  <a:lnTo>
                    <a:pt x="107" y="129"/>
                  </a:lnTo>
                  <a:lnTo>
                    <a:pt x="109" y="129"/>
                  </a:lnTo>
                  <a:lnTo>
                    <a:pt x="109" y="131"/>
                  </a:lnTo>
                  <a:lnTo>
                    <a:pt x="109" y="131"/>
                  </a:lnTo>
                  <a:lnTo>
                    <a:pt x="112" y="131"/>
                  </a:lnTo>
                  <a:lnTo>
                    <a:pt x="112" y="131"/>
                  </a:lnTo>
                  <a:lnTo>
                    <a:pt x="112" y="129"/>
                  </a:lnTo>
                  <a:lnTo>
                    <a:pt x="112" y="129"/>
                  </a:lnTo>
                  <a:lnTo>
                    <a:pt x="112" y="126"/>
                  </a:lnTo>
                  <a:lnTo>
                    <a:pt x="115" y="129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3" y="123"/>
                  </a:lnTo>
                  <a:lnTo>
                    <a:pt x="123" y="123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17" y="118"/>
                  </a:lnTo>
                  <a:lnTo>
                    <a:pt x="117" y="118"/>
                  </a:lnTo>
                  <a:lnTo>
                    <a:pt x="117" y="115"/>
                  </a:lnTo>
                  <a:lnTo>
                    <a:pt x="120" y="115"/>
                  </a:lnTo>
                  <a:lnTo>
                    <a:pt x="120" y="118"/>
                  </a:lnTo>
                  <a:lnTo>
                    <a:pt x="120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3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20" y="110"/>
                  </a:lnTo>
                  <a:lnTo>
                    <a:pt x="123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31" y="118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3" y="118"/>
                  </a:lnTo>
                  <a:lnTo>
                    <a:pt x="133" y="118"/>
                  </a:lnTo>
                  <a:lnTo>
                    <a:pt x="136" y="118"/>
                  </a:lnTo>
                  <a:lnTo>
                    <a:pt x="136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23"/>
                  </a:lnTo>
                  <a:lnTo>
                    <a:pt x="152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7" y="123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60" y="129"/>
                  </a:lnTo>
                  <a:lnTo>
                    <a:pt x="157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3" y="131"/>
                  </a:lnTo>
                  <a:lnTo>
                    <a:pt x="163" y="131"/>
                  </a:lnTo>
                  <a:lnTo>
                    <a:pt x="165" y="131"/>
                  </a:lnTo>
                  <a:lnTo>
                    <a:pt x="165" y="134"/>
                  </a:lnTo>
                  <a:lnTo>
                    <a:pt x="165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4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3" y="129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73" y="118"/>
                  </a:lnTo>
                  <a:lnTo>
                    <a:pt x="176" y="115"/>
                  </a:lnTo>
                  <a:lnTo>
                    <a:pt x="176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81" y="115"/>
                  </a:lnTo>
                  <a:lnTo>
                    <a:pt x="181" y="113"/>
                  </a:lnTo>
                  <a:lnTo>
                    <a:pt x="181" y="113"/>
                  </a:lnTo>
                  <a:lnTo>
                    <a:pt x="184" y="113"/>
                  </a:lnTo>
                  <a:lnTo>
                    <a:pt x="184" y="110"/>
                  </a:lnTo>
                  <a:lnTo>
                    <a:pt x="187" y="113"/>
                  </a:lnTo>
                  <a:lnTo>
                    <a:pt x="187" y="113"/>
                  </a:lnTo>
                  <a:lnTo>
                    <a:pt x="189" y="113"/>
                  </a:lnTo>
                  <a:lnTo>
                    <a:pt x="189" y="115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92" y="121"/>
                  </a:lnTo>
                  <a:lnTo>
                    <a:pt x="192" y="121"/>
                  </a:lnTo>
                  <a:lnTo>
                    <a:pt x="195" y="118"/>
                  </a:lnTo>
                  <a:lnTo>
                    <a:pt x="195" y="118"/>
                  </a:lnTo>
                  <a:lnTo>
                    <a:pt x="197" y="118"/>
                  </a:lnTo>
                  <a:lnTo>
                    <a:pt x="197" y="118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3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8" y="110"/>
                  </a:lnTo>
                  <a:lnTo>
                    <a:pt x="208" y="107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97"/>
                  </a:lnTo>
                  <a:lnTo>
                    <a:pt x="213" y="97"/>
                  </a:lnTo>
                  <a:lnTo>
                    <a:pt x="213" y="97"/>
                  </a:lnTo>
                  <a:lnTo>
                    <a:pt x="213" y="91"/>
                  </a:lnTo>
                  <a:lnTo>
                    <a:pt x="216" y="91"/>
                  </a:lnTo>
                  <a:lnTo>
                    <a:pt x="216" y="89"/>
                  </a:lnTo>
                  <a:lnTo>
                    <a:pt x="216" y="86"/>
                  </a:lnTo>
                  <a:lnTo>
                    <a:pt x="216" y="83"/>
                  </a:lnTo>
                  <a:lnTo>
                    <a:pt x="216" y="81"/>
                  </a:lnTo>
                  <a:lnTo>
                    <a:pt x="219" y="78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8"/>
                  </a:lnTo>
                  <a:lnTo>
                    <a:pt x="221" y="78"/>
                  </a:lnTo>
                  <a:lnTo>
                    <a:pt x="221" y="75"/>
                  </a:lnTo>
                  <a:lnTo>
                    <a:pt x="221" y="72"/>
                  </a:lnTo>
                  <a:lnTo>
                    <a:pt x="221" y="70"/>
                  </a:lnTo>
                  <a:lnTo>
                    <a:pt x="221" y="67"/>
                  </a:lnTo>
                  <a:lnTo>
                    <a:pt x="221" y="64"/>
                  </a:lnTo>
                  <a:lnTo>
                    <a:pt x="221" y="62"/>
                  </a:lnTo>
                  <a:lnTo>
                    <a:pt x="221" y="62"/>
                  </a:lnTo>
                  <a:lnTo>
                    <a:pt x="219" y="59"/>
                  </a:lnTo>
                  <a:lnTo>
                    <a:pt x="219" y="59"/>
                  </a:lnTo>
                  <a:lnTo>
                    <a:pt x="216" y="62"/>
                  </a:lnTo>
                  <a:lnTo>
                    <a:pt x="216" y="59"/>
                  </a:lnTo>
                  <a:lnTo>
                    <a:pt x="213" y="59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3" y="51"/>
                  </a:lnTo>
                  <a:lnTo>
                    <a:pt x="213" y="48"/>
                  </a:lnTo>
                  <a:lnTo>
                    <a:pt x="211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13" y="46"/>
                  </a:lnTo>
                  <a:lnTo>
                    <a:pt x="213" y="43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40"/>
                  </a:lnTo>
                  <a:lnTo>
                    <a:pt x="208" y="40"/>
                  </a:lnTo>
                  <a:lnTo>
                    <a:pt x="208" y="40"/>
                  </a:lnTo>
                  <a:lnTo>
                    <a:pt x="205" y="40"/>
                  </a:lnTo>
                  <a:lnTo>
                    <a:pt x="205" y="38"/>
                  </a:lnTo>
                  <a:lnTo>
                    <a:pt x="203" y="38"/>
                  </a:lnTo>
                  <a:lnTo>
                    <a:pt x="200" y="38"/>
                  </a:lnTo>
                  <a:lnTo>
                    <a:pt x="197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2" y="40"/>
                  </a:lnTo>
                  <a:lnTo>
                    <a:pt x="189" y="40"/>
                  </a:lnTo>
                  <a:lnTo>
                    <a:pt x="189" y="40"/>
                  </a:lnTo>
                  <a:lnTo>
                    <a:pt x="187" y="40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4" y="35"/>
                  </a:lnTo>
                  <a:lnTo>
                    <a:pt x="184" y="35"/>
                  </a:lnTo>
                  <a:lnTo>
                    <a:pt x="181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9" y="30"/>
                  </a:lnTo>
                  <a:lnTo>
                    <a:pt x="179" y="27"/>
                  </a:lnTo>
                  <a:lnTo>
                    <a:pt x="176" y="27"/>
                  </a:lnTo>
                  <a:lnTo>
                    <a:pt x="176" y="24"/>
                  </a:lnTo>
                  <a:lnTo>
                    <a:pt x="173" y="24"/>
                  </a:lnTo>
                  <a:lnTo>
                    <a:pt x="173" y="22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1" y="14"/>
                  </a:lnTo>
                  <a:lnTo>
                    <a:pt x="171" y="14"/>
                  </a:lnTo>
                  <a:lnTo>
                    <a:pt x="165" y="11"/>
                  </a:lnTo>
                  <a:lnTo>
                    <a:pt x="165" y="11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63" y="11"/>
                  </a:lnTo>
                  <a:lnTo>
                    <a:pt x="160" y="14"/>
                  </a:lnTo>
                  <a:lnTo>
                    <a:pt x="157" y="14"/>
                  </a:lnTo>
                  <a:lnTo>
                    <a:pt x="157" y="11"/>
                  </a:lnTo>
                  <a:lnTo>
                    <a:pt x="155" y="8"/>
                  </a:lnTo>
                  <a:lnTo>
                    <a:pt x="155" y="3"/>
                  </a:lnTo>
                  <a:lnTo>
                    <a:pt x="155" y="6"/>
                  </a:lnTo>
                  <a:lnTo>
                    <a:pt x="152" y="6"/>
                  </a:lnTo>
                  <a:lnTo>
                    <a:pt x="152" y="6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2" y="8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7" y="11"/>
                  </a:lnTo>
                  <a:lnTo>
                    <a:pt x="147" y="14"/>
                  </a:lnTo>
                  <a:lnTo>
                    <a:pt x="144" y="14"/>
                  </a:lnTo>
                  <a:lnTo>
                    <a:pt x="117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9"/>
                  </a:lnTo>
                  <a:lnTo>
                    <a:pt x="112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7" y="22"/>
                  </a:lnTo>
                  <a:lnTo>
                    <a:pt x="109" y="22"/>
                  </a:lnTo>
                  <a:lnTo>
                    <a:pt x="107" y="24"/>
                  </a:lnTo>
                  <a:lnTo>
                    <a:pt x="10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3" y="24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2"/>
                  </a:lnTo>
                  <a:lnTo>
                    <a:pt x="85" y="22"/>
                  </a:lnTo>
                  <a:lnTo>
                    <a:pt x="83" y="19"/>
                  </a:lnTo>
                  <a:lnTo>
                    <a:pt x="83" y="16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22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7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2"/>
                  </a:lnTo>
                  <a:lnTo>
                    <a:pt x="59" y="19"/>
                  </a:lnTo>
                  <a:lnTo>
                    <a:pt x="61" y="19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1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3"/>
                  </a:lnTo>
                  <a:lnTo>
                    <a:pt x="45" y="3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9" y="8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3" y="24"/>
                  </a:lnTo>
                  <a:lnTo>
                    <a:pt x="10" y="24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30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4" name="Freeform 8921">
              <a:extLst>
                <a:ext uri="{FF2B5EF4-FFF2-40B4-BE49-F238E27FC236}">
                  <a16:creationId xmlns:a16="http://schemas.microsoft.com/office/drawing/2014/main" id="{4ED26286-6299-CC49-8E46-8E0089F5E360}"/>
                </a:ext>
              </a:extLst>
            </p:cNvPr>
            <p:cNvSpPr/>
            <p:nvPr/>
          </p:nvSpPr>
          <p:spPr bwMode="auto">
            <a:xfrm>
              <a:off x="1018381" y="3624264"/>
              <a:ext cx="363537" cy="331787"/>
            </a:xfrm>
            <a:custGeom>
              <a:avLst/>
              <a:gdLst>
                <a:gd name="T0" fmla="*/ 93 w 229"/>
                <a:gd name="T1" fmla="*/ 198 h 209"/>
                <a:gd name="T2" fmla="*/ 98 w 229"/>
                <a:gd name="T3" fmla="*/ 179 h 209"/>
                <a:gd name="T4" fmla="*/ 104 w 229"/>
                <a:gd name="T5" fmla="*/ 163 h 209"/>
                <a:gd name="T6" fmla="*/ 96 w 229"/>
                <a:gd name="T7" fmla="*/ 145 h 209"/>
                <a:gd name="T8" fmla="*/ 88 w 229"/>
                <a:gd name="T9" fmla="*/ 137 h 209"/>
                <a:gd name="T10" fmla="*/ 74 w 229"/>
                <a:gd name="T11" fmla="*/ 126 h 209"/>
                <a:gd name="T12" fmla="*/ 58 w 229"/>
                <a:gd name="T13" fmla="*/ 123 h 209"/>
                <a:gd name="T14" fmla="*/ 48 w 229"/>
                <a:gd name="T15" fmla="*/ 110 h 209"/>
                <a:gd name="T16" fmla="*/ 34 w 229"/>
                <a:gd name="T17" fmla="*/ 99 h 209"/>
                <a:gd name="T18" fmla="*/ 26 w 229"/>
                <a:gd name="T19" fmla="*/ 110 h 209"/>
                <a:gd name="T20" fmla="*/ 10 w 229"/>
                <a:gd name="T21" fmla="*/ 107 h 209"/>
                <a:gd name="T22" fmla="*/ 5 w 229"/>
                <a:gd name="T23" fmla="*/ 97 h 209"/>
                <a:gd name="T24" fmla="*/ 2 w 229"/>
                <a:gd name="T25" fmla="*/ 81 h 209"/>
                <a:gd name="T26" fmla="*/ 5 w 229"/>
                <a:gd name="T27" fmla="*/ 67 h 209"/>
                <a:gd name="T28" fmla="*/ 16 w 229"/>
                <a:gd name="T29" fmla="*/ 54 h 209"/>
                <a:gd name="T30" fmla="*/ 21 w 229"/>
                <a:gd name="T31" fmla="*/ 48 h 209"/>
                <a:gd name="T32" fmla="*/ 32 w 229"/>
                <a:gd name="T33" fmla="*/ 35 h 209"/>
                <a:gd name="T34" fmla="*/ 34 w 229"/>
                <a:gd name="T35" fmla="*/ 16 h 209"/>
                <a:gd name="T36" fmla="*/ 40 w 229"/>
                <a:gd name="T37" fmla="*/ 6 h 209"/>
                <a:gd name="T38" fmla="*/ 56 w 229"/>
                <a:gd name="T39" fmla="*/ 0 h 209"/>
                <a:gd name="T40" fmla="*/ 66 w 229"/>
                <a:gd name="T41" fmla="*/ 14 h 209"/>
                <a:gd name="T42" fmla="*/ 69 w 229"/>
                <a:gd name="T43" fmla="*/ 30 h 209"/>
                <a:gd name="T44" fmla="*/ 82 w 229"/>
                <a:gd name="T45" fmla="*/ 35 h 209"/>
                <a:gd name="T46" fmla="*/ 98 w 229"/>
                <a:gd name="T47" fmla="*/ 38 h 209"/>
                <a:gd name="T48" fmla="*/ 112 w 229"/>
                <a:gd name="T49" fmla="*/ 35 h 209"/>
                <a:gd name="T50" fmla="*/ 122 w 229"/>
                <a:gd name="T51" fmla="*/ 35 h 209"/>
                <a:gd name="T52" fmla="*/ 130 w 229"/>
                <a:gd name="T53" fmla="*/ 35 h 209"/>
                <a:gd name="T54" fmla="*/ 138 w 229"/>
                <a:gd name="T55" fmla="*/ 27 h 209"/>
                <a:gd name="T56" fmla="*/ 154 w 229"/>
                <a:gd name="T57" fmla="*/ 27 h 209"/>
                <a:gd name="T58" fmla="*/ 168 w 229"/>
                <a:gd name="T59" fmla="*/ 22 h 209"/>
                <a:gd name="T60" fmla="*/ 173 w 229"/>
                <a:gd name="T61" fmla="*/ 16 h 209"/>
                <a:gd name="T62" fmla="*/ 181 w 229"/>
                <a:gd name="T63" fmla="*/ 19 h 209"/>
                <a:gd name="T64" fmla="*/ 192 w 229"/>
                <a:gd name="T65" fmla="*/ 16 h 209"/>
                <a:gd name="T66" fmla="*/ 200 w 229"/>
                <a:gd name="T67" fmla="*/ 22 h 209"/>
                <a:gd name="T68" fmla="*/ 202 w 229"/>
                <a:gd name="T69" fmla="*/ 32 h 209"/>
                <a:gd name="T70" fmla="*/ 202 w 229"/>
                <a:gd name="T71" fmla="*/ 46 h 209"/>
                <a:gd name="T72" fmla="*/ 213 w 229"/>
                <a:gd name="T73" fmla="*/ 51 h 209"/>
                <a:gd name="T74" fmla="*/ 213 w 229"/>
                <a:gd name="T75" fmla="*/ 62 h 209"/>
                <a:gd name="T76" fmla="*/ 213 w 229"/>
                <a:gd name="T77" fmla="*/ 75 h 209"/>
                <a:gd name="T78" fmla="*/ 205 w 229"/>
                <a:gd name="T79" fmla="*/ 89 h 209"/>
                <a:gd name="T80" fmla="*/ 202 w 229"/>
                <a:gd name="T81" fmla="*/ 99 h 209"/>
                <a:gd name="T82" fmla="*/ 205 w 229"/>
                <a:gd name="T83" fmla="*/ 107 h 209"/>
                <a:gd name="T84" fmla="*/ 221 w 229"/>
                <a:gd name="T85" fmla="*/ 123 h 209"/>
                <a:gd name="T86" fmla="*/ 224 w 229"/>
                <a:gd name="T87" fmla="*/ 134 h 209"/>
                <a:gd name="T88" fmla="*/ 213 w 229"/>
                <a:gd name="T89" fmla="*/ 134 h 209"/>
                <a:gd name="T90" fmla="*/ 210 w 229"/>
                <a:gd name="T91" fmla="*/ 145 h 209"/>
                <a:gd name="T92" fmla="*/ 210 w 229"/>
                <a:gd name="T93" fmla="*/ 153 h 209"/>
                <a:gd name="T94" fmla="*/ 202 w 229"/>
                <a:gd name="T95" fmla="*/ 150 h 209"/>
                <a:gd name="T96" fmla="*/ 197 w 229"/>
                <a:gd name="T97" fmla="*/ 153 h 209"/>
                <a:gd name="T98" fmla="*/ 192 w 229"/>
                <a:gd name="T99" fmla="*/ 150 h 209"/>
                <a:gd name="T100" fmla="*/ 184 w 229"/>
                <a:gd name="T101" fmla="*/ 150 h 209"/>
                <a:gd name="T102" fmla="*/ 176 w 229"/>
                <a:gd name="T103" fmla="*/ 158 h 209"/>
                <a:gd name="T104" fmla="*/ 181 w 229"/>
                <a:gd name="T105" fmla="*/ 163 h 209"/>
                <a:gd name="T106" fmla="*/ 178 w 229"/>
                <a:gd name="T107" fmla="*/ 174 h 209"/>
                <a:gd name="T108" fmla="*/ 170 w 229"/>
                <a:gd name="T109" fmla="*/ 179 h 209"/>
                <a:gd name="T110" fmla="*/ 157 w 229"/>
                <a:gd name="T111" fmla="*/ 182 h 209"/>
                <a:gd name="T112" fmla="*/ 152 w 229"/>
                <a:gd name="T113" fmla="*/ 190 h 209"/>
                <a:gd name="T114" fmla="*/ 144 w 229"/>
                <a:gd name="T115" fmla="*/ 198 h 209"/>
                <a:gd name="T116" fmla="*/ 136 w 229"/>
                <a:gd name="T117" fmla="*/ 193 h 209"/>
                <a:gd name="T118" fmla="*/ 128 w 229"/>
                <a:gd name="T119" fmla="*/ 203 h 209"/>
                <a:gd name="T120" fmla="*/ 117 w 229"/>
                <a:gd name="T121" fmla="*/ 198 h 209"/>
                <a:gd name="T122" fmla="*/ 101 w 229"/>
                <a:gd name="T123" fmla="*/ 198 h 209"/>
                <a:gd name="T124" fmla="*/ 104 w 229"/>
                <a:gd name="T12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9" h="209" extrusionOk="0">
                  <a:moveTo>
                    <a:pt x="98" y="209"/>
                  </a:moveTo>
                  <a:lnTo>
                    <a:pt x="98" y="206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3" y="203"/>
                  </a:lnTo>
                  <a:lnTo>
                    <a:pt x="93" y="201"/>
                  </a:lnTo>
                  <a:lnTo>
                    <a:pt x="96" y="201"/>
                  </a:lnTo>
                  <a:lnTo>
                    <a:pt x="93" y="198"/>
                  </a:lnTo>
                  <a:lnTo>
                    <a:pt x="96" y="19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3" y="190"/>
                  </a:lnTo>
                  <a:lnTo>
                    <a:pt x="96" y="187"/>
                  </a:lnTo>
                  <a:lnTo>
                    <a:pt x="96" y="185"/>
                  </a:lnTo>
                  <a:lnTo>
                    <a:pt x="96" y="182"/>
                  </a:lnTo>
                  <a:lnTo>
                    <a:pt x="98" y="179"/>
                  </a:lnTo>
                  <a:lnTo>
                    <a:pt x="101" y="179"/>
                  </a:lnTo>
                  <a:lnTo>
                    <a:pt x="101" y="177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6"/>
                  </a:lnTo>
                  <a:lnTo>
                    <a:pt x="104" y="163"/>
                  </a:lnTo>
                  <a:lnTo>
                    <a:pt x="104" y="161"/>
                  </a:lnTo>
                  <a:lnTo>
                    <a:pt x="104" y="161"/>
                  </a:lnTo>
                  <a:lnTo>
                    <a:pt x="104" y="155"/>
                  </a:lnTo>
                  <a:lnTo>
                    <a:pt x="104" y="153"/>
                  </a:lnTo>
                  <a:lnTo>
                    <a:pt x="104" y="150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96" y="145"/>
                  </a:lnTo>
                  <a:lnTo>
                    <a:pt x="93" y="145"/>
                  </a:lnTo>
                  <a:lnTo>
                    <a:pt x="90" y="145"/>
                  </a:lnTo>
                  <a:lnTo>
                    <a:pt x="88" y="145"/>
                  </a:lnTo>
                  <a:lnTo>
                    <a:pt x="88" y="145"/>
                  </a:lnTo>
                  <a:lnTo>
                    <a:pt x="88" y="142"/>
                  </a:lnTo>
                  <a:lnTo>
                    <a:pt x="88" y="139"/>
                  </a:lnTo>
                  <a:lnTo>
                    <a:pt x="90" y="139"/>
                  </a:lnTo>
                  <a:lnTo>
                    <a:pt x="88" y="137"/>
                  </a:lnTo>
                  <a:lnTo>
                    <a:pt x="85" y="137"/>
                  </a:lnTo>
                  <a:lnTo>
                    <a:pt x="85" y="137"/>
                  </a:lnTo>
                  <a:lnTo>
                    <a:pt x="85" y="134"/>
                  </a:lnTo>
                  <a:lnTo>
                    <a:pt x="82" y="131"/>
                  </a:lnTo>
                  <a:lnTo>
                    <a:pt x="80" y="129"/>
                  </a:lnTo>
                  <a:lnTo>
                    <a:pt x="77" y="126"/>
                  </a:lnTo>
                  <a:lnTo>
                    <a:pt x="77" y="123"/>
                  </a:lnTo>
                  <a:lnTo>
                    <a:pt x="74" y="126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69" y="126"/>
                  </a:lnTo>
                  <a:lnTo>
                    <a:pt x="66" y="123"/>
                  </a:lnTo>
                  <a:lnTo>
                    <a:pt x="64" y="123"/>
                  </a:lnTo>
                  <a:lnTo>
                    <a:pt x="64" y="126"/>
                  </a:lnTo>
                  <a:lnTo>
                    <a:pt x="61" y="123"/>
                  </a:lnTo>
                  <a:lnTo>
                    <a:pt x="58" y="123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18"/>
                  </a:lnTo>
                  <a:lnTo>
                    <a:pt x="53" y="118"/>
                  </a:lnTo>
                  <a:lnTo>
                    <a:pt x="50" y="118"/>
                  </a:lnTo>
                  <a:lnTo>
                    <a:pt x="50" y="115"/>
                  </a:lnTo>
                  <a:lnTo>
                    <a:pt x="48" y="113"/>
                  </a:lnTo>
                  <a:lnTo>
                    <a:pt x="48" y="110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2" y="102"/>
                  </a:lnTo>
                  <a:lnTo>
                    <a:pt x="40" y="99"/>
                  </a:lnTo>
                  <a:lnTo>
                    <a:pt x="40" y="97"/>
                  </a:lnTo>
                  <a:lnTo>
                    <a:pt x="37" y="97"/>
                  </a:lnTo>
                  <a:lnTo>
                    <a:pt x="34" y="99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5"/>
                  </a:lnTo>
                  <a:lnTo>
                    <a:pt x="32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6" y="107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1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3" y="107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5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7"/>
                  </a:lnTo>
                  <a:lnTo>
                    <a:pt x="2" y="97"/>
                  </a:lnTo>
                  <a:lnTo>
                    <a:pt x="2" y="94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6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5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8" y="67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0" y="62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4" y="43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2" y="38"/>
                  </a:lnTo>
                  <a:lnTo>
                    <a:pt x="32" y="35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4" y="27"/>
                  </a:lnTo>
                  <a:lnTo>
                    <a:pt x="34" y="24"/>
                  </a:lnTo>
                  <a:lnTo>
                    <a:pt x="32" y="22"/>
                  </a:lnTo>
                  <a:lnTo>
                    <a:pt x="34" y="19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7" y="3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5" y="6"/>
                  </a:lnTo>
                  <a:lnTo>
                    <a:pt x="45" y="3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6" y="0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8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4" y="8"/>
                  </a:lnTo>
                  <a:lnTo>
                    <a:pt x="64" y="11"/>
                  </a:lnTo>
                  <a:lnTo>
                    <a:pt x="66" y="14"/>
                  </a:lnTo>
                  <a:lnTo>
                    <a:pt x="66" y="16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4" y="22"/>
                  </a:lnTo>
                  <a:lnTo>
                    <a:pt x="66" y="24"/>
                  </a:lnTo>
                  <a:lnTo>
                    <a:pt x="66" y="27"/>
                  </a:lnTo>
                  <a:lnTo>
                    <a:pt x="69" y="27"/>
                  </a:lnTo>
                  <a:lnTo>
                    <a:pt x="69" y="30"/>
                  </a:lnTo>
                  <a:lnTo>
                    <a:pt x="72" y="30"/>
                  </a:lnTo>
                  <a:lnTo>
                    <a:pt x="72" y="32"/>
                  </a:lnTo>
                  <a:lnTo>
                    <a:pt x="74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80" y="38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8" y="38"/>
                  </a:lnTo>
                  <a:lnTo>
                    <a:pt x="88" y="35"/>
                  </a:lnTo>
                  <a:lnTo>
                    <a:pt x="90" y="35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8" y="38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6" y="32"/>
                  </a:lnTo>
                  <a:lnTo>
                    <a:pt x="106" y="35"/>
                  </a:lnTo>
                  <a:lnTo>
                    <a:pt x="109" y="35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8"/>
                  </a:lnTo>
                  <a:lnTo>
                    <a:pt x="117" y="38"/>
                  </a:lnTo>
                  <a:lnTo>
                    <a:pt x="120" y="38"/>
                  </a:lnTo>
                  <a:lnTo>
                    <a:pt x="120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5" y="32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8" y="35"/>
                  </a:lnTo>
                  <a:lnTo>
                    <a:pt x="130" y="35"/>
                  </a:lnTo>
                  <a:lnTo>
                    <a:pt x="133" y="35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0"/>
                  </a:lnTo>
                  <a:lnTo>
                    <a:pt x="138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6" y="27"/>
                  </a:lnTo>
                  <a:lnTo>
                    <a:pt x="149" y="27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60" y="24"/>
                  </a:lnTo>
                  <a:lnTo>
                    <a:pt x="160" y="27"/>
                  </a:lnTo>
                  <a:lnTo>
                    <a:pt x="162" y="27"/>
                  </a:lnTo>
                  <a:lnTo>
                    <a:pt x="165" y="24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4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73" y="24"/>
                  </a:lnTo>
                  <a:lnTo>
                    <a:pt x="173" y="22"/>
                  </a:lnTo>
                  <a:lnTo>
                    <a:pt x="173" y="19"/>
                  </a:lnTo>
                  <a:lnTo>
                    <a:pt x="173" y="16"/>
                  </a:lnTo>
                  <a:lnTo>
                    <a:pt x="176" y="16"/>
                  </a:lnTo>
                  <a:lnTo>
                    <a:pt x="176" y="14"/>
                  </a:lnTo>
                  <a:lnTo>
                    <a:pt x="176" y="16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81" y="16"/>
                  </a:lnTo>
                  <a:lnTo>
                    <a:pt x="178" y="16"/>
                  </a:lnTo>
                  <a:lnTo>
                    <a:pt x="181" y="19"/>
                  </a:lnTo>
                  <a:lnTo>
                    <a:pt x="181" y="19"/>
                  </a:lnTo>
                  <a:lnTo>
                    <a:pt x="184" y="19"/>
                  </a:lnTo>
                  <a:lnTo>
                    <a:pt x="186" y="16"/>
                  </a:lnTo>
                  <a:lnTo>
                    <a:pt x="186" y="16"/>
                  </a:lnTo>
                  <a:lnTo>
                    <a:pt x="186" y="14"/>
                  </a:lnTo>
                  <a:lnTo>
                    <a:pt x="189" y="16"/>
                  </a:lnTo>
                  <a:lnTo>
                    <a:pt x="192" y="16"/>
                  </a:lnTo>
                  <a:lnTo>
                    <a:pt x="192" y="16"/>
                  </a:lnTo>
                  <a:lnTo>
                    <a:pt x="192" y="19"/>
                  </a:lnTo>
                  <a:lnTo>
                    <a:pt x="194" y="19"/>
                  </a:lnTo>
                  <a:lnTo>
                    <a:pt x="194" y="16"/>
                  </a:lnTo>
                  <a:lnTo>
                    <a:pt x="197" y="16"/>
                  </a:lnTo>
                  <a:lnTo>
                    <a:pt x="197" y="16"/>
                  </a:lnTo>
                  <a:lnTo>
                    <a:pt x="197" y="19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30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5"/>
                  </a:lnTo>
                  <a:lnTo>
                    <a:pt x="200" y="35"/>
                  </a:lnTo>
                  <a:lnTo>
                    <a:pt x="200" y="35"/>
                  </a:lnTo>
                  <a:lnTo>
                    <a:pt x="200" y="38"/>
                  </a:lnTo>
                  <a:lnTo>
                    <a:pt x="200" y="40"/>
                  </a:lnTo>
                  <a:lnTo>
                    <a:pt x="200" y="43"/>
                  </a:lnTo>
                  <a:lnTo>
                    <a:pt x="202" y="43"/>
                  </a:lnTo>
                  <a:lnTo>
                    <a:pt x="202" y="46"/>
                  </a:lnTo>
                  <a:lnTo>
                    <a:pt x="202" y="46"/>
                  </a:lnTo>
                  <a:lnTo>
                    <a:pt x="202" y="46"/>
                  </a:lnTo>
                  <a:lnTo>
                    <a:pt x="205" y="48"/>
                  </a:lnTo>
                  <a:lnTo>
                    <a:pt x="208" y="48"/>
                  </a:lnTo>
                  <a:lnTo>
                    <a:pt x="210" y="48"/>
                  </a:lnTo>
                  <a:lnTo>
                    <a:pt x="213" y="51"/>
                  </a:lnTo>
                  <a:lnTo>
                    <a:pt x="213" y="51"/>
                  </a:lnTo>
                  <a:lnTo>
                    <a:pt x="213" y="51"/>
                  </a:lnTo>
                  <a:lnTo>
                    <a:pt x="213" y="54"/>
                  </a:lnTo>
                  <a:lnTo>
                    <a:pt x="213" y="56"/>
                  </a:lnTo>
                  <a:lnTo>
                    <a:pt x="213" y="56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3" y="62"/>
                  </a:lnTo>
                  <a:lnTo>
                    <a:pt x="213" y="62"/>
                  </a:lnTo>
                  <a:lnTo>
                    <a:pt x="213" y="65"/>
                  </a:lnTo>
                  <a:lnTo>
                    <a:pt x="213" y="67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3"/>
                  </a:lnTo>
                  <a:lnTo>
                    <a:pt x="213" y="75"/>
                  </a:lnTo>
                  <a:lnTo>
                    <a:pt x="213" y="75"/>
                  </a:lnTo>
                  <a:lnTo>
                    <a:pt x="213" y="78"/>
                  </a:lnTo>
                  <a:lnTo>
                    <a:pt x="213" y="78"/>
                  </a:lnTo>
                  <a:lnTo>
                    <a:pt x="210" y="83"/>
                  </a:lnTo>
                  <a:lnTo>
                    <a:pt x="210" y="83"/>
                  </a:lnTo>
                  <a:lnTo>
                    <a:pt x="210" y="86"/>
                  </a:lnTo>
                  <a:lnTo>
                    <a:pt x="208" y="86"/>
                  </a:lnTo>
                  <a:lnTo>
                    <a:pt x="205" y="89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4"/>
                  </a:lnTo>
                  <a:lnTo>
                    <a:pt x="205" y="94"/>
                  </a:lnTo>
                  <a:lnTo>
                    <a:pt x="202" y="97"/>
                  </a:lnTo>
                  <a:lnTo>
                    <a:pt x="202" y="97"/>
                  </a:lnTo>
                  <a:lnTo>
                    <a:pt x="202" y="99"/>
                  </a:lnTo>
                  <a:lnTo>
                    <a:pt x="200" y="99"/>
                  </a:lnTo>
                  <a:lnTo>
                    <a:pt x="202" y="99"/>
                  </a:lnTo>
                  <a:lnTo>
                    <a:pt x="202" y="99"/>
                  </a:lnTo>
                  <a:lnTo>
                    <a:pt x="202" y="102"/>
                  </a:lnTo>
                  <a:lnTo>
                    <a:pt x="202" y="102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7"/>
                  </a:lnTo>
                  <a:lnTo>
                    <a:pt x="202" y="107"/>
                  </a:lnTo>
                  <a:lnTo>
                    <a:pt x="205" y="107"/>
                  </a:lnTo>
                  <a:lnTo>
                    <a:pt x="205" y="110"/>
                  </a:lnTo>
                  <a:lnTo>
                    <a:pt x="208" y="110"/>
                  </a:lnTo>
                  <a:lnTo>
                    <a:pt x="210" y="113"/>
                  </a:lnTo>
                  <a:lnTo>
                    <a:pt x="213" y="115"/>
                  </a:lnTo>
                  <a:lnTo>
                    <a:pt x="213" y="118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4" y="123"/>
                  </a:lnTo>
                  <a:lnTo>
                    <a:pt x="227" y="123"/>
                  </a:lnTo>
                  <a:lnTo>
                    <a:pt x="229" y="129"/>
                  </a:lnTo>
                  <a:lnTo>
                    <a:pt x="227" y="131"/>
                  </a:lnTo>
                  <a:lnTo>
                    <a:pt x="227" y="131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4" y="131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6" y="131"/>
                  </a:lnTo>
                  <a:lnTo>
                    <a:pt x="216" y="131"/>
                  </a:lnTo>
                  <a:lnTo>
                    <a:pt x="213" y="131"/>
                  </a:lnTo>
                  <a:lnTo>
                    <a:pt x="213" y="134"/>
                  </a:lnTo>
                  <a:lnTo>
                    <a:pt x="213" y="137"/>
                  </a:lnTo>
                  <a:lnTo>
                    <a:pt x="213" y="139"/>
                  </a:lnTo>
                  <a:lnTo>
                    <a:pt x="210" y="139"/>
                  </a:lnTo>
                  <a:lnTo>
                    <a:pt x="210" y="139"/>
                  </a:lnTo>
                  <a:lnTo>
                    <a:pt x="208" y="139"/>
                  </a:lnTo>
                  <a:lnTo>
                    <a:pt x="210" y="142"/>
                  </a:lnTo>
                  <a:lnTo>
                    <a:pt x="210" y="145"/>
                  </a:lnTo>
                  <a:lnTo>
                    <a:pt x="210" y="145"/>
                  </a:lnTo>
                  <a:lnTo>
                    <a:pt x="213" y="145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3" y="153"/>
                  </a:lnTo>
                  <a:lnTo>
                    <a:pt x="210" y="153"/>
                  </a:lnTo>
                  <a:lnTo>
                    <a:pt x="210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5" y="153"/>
                  </a:lnTo>
                  <a:lnTo>
                    <a:pt x="205" y="153"/>
                  </a:lnTo>
                  <a:lnTo>
                    <a:pt x="205" y="150"/>
                  </a:lnTo>
                  <a:lnTo>
                    <a:pt x="205" y="150"/>
                  </a:lnTo>
                  <a:lnTo>
                    <a:pt x="202" y="150"/>
                  </a:lnTo>
                  <a:lnTo>
                    <a:pt x="202" y="150"/>
                  </a:lnTo>
                  <a:lnTo>
                    <a:pt x="202" y="153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3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4" y="153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4" y="150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2" y="150"/>
                  </a:lnTo>
                  <a:lnTo>
                    <a:pt x="192" y="150"/>
                  </a:lnTo>
                  <a:lnTo>
                    <a:pt x="189" y="150"/>
                  </a:lnTo>
                  <a:lnTo>
                    <a:pt x="189" y="150"/>
                  </a:lnTo>
                  <a:lnTo>
                    <a:pt x="189" y="150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4" y="147"/>
                  </a:lnTo>
                  <a:lnTo>
                    <a:pt x="184" y="150"/>
                  </a:lnTo>
                  <a:lnTo>
                    <a:pt x="181" y="150"/>
                  </a:lnTo>
                  <a:lnTo>
                    <a:pt x="178" y="147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3"/>
                  </a:lnTo>
                  <a:lnTo>
                    <a:pt x="178" y="153"/>
                  </a:lnTo>
                  <a:lnTo>
                    <a:pt x="176" y="155"/>
                  </a:lnTo>
                  <a:lnTo>
                    <a:pt x="176" y="158"/>
                  </a:lnTo>
                  <a:lnTo>
                    <a:pt x="178" y="158"/>
                  </a:lnTo>
                  <a:lnTo>
                    <a:pt x="178" y="158"/>
                  </a:lnTo>
                  <a:lnTo>
                    <a:pt x="181" y="158"/>
                  </a:lnTo>
                  <a:lnTo>
                    <a:pt x="181" y="161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3"/>
                  </a:lnTo>
                  <a:lnTo>
                    <a:pt x="181" y="166"/>
                  </a:lnTo>
                  <a:lnTo>
                    <a:pt x="181" y="166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81" y="171"/>
                  </a:lnTo>
                  <a:lnTo>
                    <a:pt x="181" y="171"/>
                  </a:lnTo>
                  <a:lnTo>
                    <a:pt x="181" y="171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6" y="171"/>
                  </a:lnTo>
                  <a:lnTo>
                    <a:pt x="173" y="171"/>
                  </a:lnTo>
                  <a:lnTo>
                    <a:pt x="176" y="174"/>
                  </a:lnTo>
                  <a:lnTo>
                    <a:pt x="173" y="177"/>
                  </a:lnTo>
                  <a:lnTo>
                    <a:pt x="170" y="177"/>
                  </a:lnTo>
                  <a:lnTo>
                    <a:pt x="170" y="177"/>
                  </a:lnTo>
                  <a:lnTo>
                    <a:pt x="170" y="179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5" y="179"/>
                  </a:lnTo>
                  <a:lnTo>
                    <a:pt x="162" y="182"/>
                  </a:lnTo>
                  <a:lnTo>
                    <a:pt x="160" y="179"/>
                  </a:lnTo>
                  <a:lnTo>
                    <a:pt x="157" y="182"/>
                  </a:lnTo>
                  <a:lnTo>
                    <a:pt x="157" y="182"/>
                  </a:lnTo>
                  <a:lnTo>
                    <a:pt x="154" y="182"/>
                  </a:lnTo>
                  <a:lnTo>
                    <a:pt x="154" y="185"/>
                  </a:lnTo>
                  <a:lnTo>
                    <a:pt x="152" y="185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4" y="187"/>
                  </a:lnTo>
                  <a:lnTo>
                    <a:pt x="152" y="190"/>
                  </a:lnTo>
                  <a:lnTo>
                    <a:pt x="152" y="193"/>
                  </a:lnTo>
                  <a:lnTo>
                    <a:pt x="149" y="195"/>
                  </a:lnTo>
                  <a:lnTo>
                    <a:pt x="149" y="195"/>
                  </a:lnTo>
                  <a:lnTo>
                    <a:pt x="146" y="195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1" y="198"/>
                  </a:lnTo>
                  <a:lnTo>
                    <a:pt x="138" y="201"/>
                  </a:lnTo>
                  <a:lnTo>
                    <a:pt x="138" y="198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8" y="198"/>
                  </a:lnTo>
                  <a:lnTo>
                    <a:pt x="138" y="195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33" y="193"/>
                  </a:lnTo>
                  <a:lnTo>
                    <a:pt x="130" y="195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5" y="203"/>
                  </a:lnTo>
                  <a:lnTo>
                    <a:pt x="122" y="203"/>
                  </a:lnTo>
                  <a:lnTo>
                    <a:pt x="122" y="203"/>
                  </a:lnTo>
                  <a:lnTo>
                    <a:pt x="120" y="203"/>
                  </a:lnTo>
                  <a:lnTo>
                    <a:pt x="117" y="201"/>
                  </a:lnTo>
                  <a:lnTo>
                    <a:pt x="120" y="198"/>
                  </a:lnTo>
                  <a:lnTo>
                    <a:pt x="117" y="198"/>
                  </a:lnTo>
                  <a:lnTo>
                    <a:pt x="114" y="198"/>
                  </a:lnTo>
                  <a:lnTo>
                    <a:pt x="112" y="198"/>
                  </a:lnTo>
                  <a:lnTo>
                    <a:pt x="109" y="198"/>
                  </a:lnTo>
                  <a:lnTo>
                    <a:pt x="109" y="198"/>
                  </a:lnTo>
                  <a:lnTo>
                    <a:pt x="106" y="201"/>
                  </a:lnTo>
                  <a:lnTo>
                    <a:pt x="106" y="201"/>
                  </a:lnTo>
                  <a:lnTo>
                    <a:pt x="104" y="201"/>
                  </a:lnTo>
                  <a:lnTo>
                    <a:pt x="101" y="198"/>
                  </a:lnTo>
                  <a:lnTo>
                    <a:pt x="101" y="198"/>
                  </a:lnTo>
                  <a:lnTo>
                    <a:pt x="101" y="201"/>
                  </a:lnTo>
                  <a:lnTo>
                    <a:pt x="101" y="203"/>
                  </a:lnTo>
                  <a:lnTo>
                    <a:pt x="101" y="203"/>
                  </a:lnTo>
                  <a:lnTo>
                    <a:pt x="104" y="206"/>
                  </a:lnTo>
                  <a:lnTo>
                    <a:pt x="104" y="206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1" y="209"/>
                  </a:lnTo>
                  <a:lnTo>
                    <a:pt x="101" y="209"/>
                  </a:lnTo>
                  <a:lnTo>
                    <a:pt x="98" y="209"/>
                  </a:lnTo>
                  <a:lnTo>
                    <a:pt x="98" y="20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5" name="Freeform 8922">
              <a:extLst>
                <a:ext uri="{FF2B5EF4-FFF2-40B4-BE49-F238E27FC236}">
                  <a16:creationId xmlns:a16="http://schemas.microsoft.com/office/drawing/2014/main" id="{4730D789-0731-FD40-B8F6-7C1FBC4DEC50}"/>
                </a:ext>
              </a:extLst>
            </p:cNvPr>
            <p:cNvSpPr/>
            <p:nvPr/>
          </p:nvSpPr>
          <p:spPr bwMode="auto">
            <a:xfrm>
              <a:off x="1107281" y="3925889"/>
              <a:ext cx="373063" cy="322263"/>
            </a:xfrm>
            <a:custGeom>
              <a:avLst/>
              <a:gdLst>
                <a:gd name="T0" fmla="*/ 37 w 235"/>
                <a:gd name="T1" fmla="*/ 30 h 203"/>
                <a:gd name="T2" fmla="*/ 21 w 235"/>
                <a:gd name="T3" fmla="*/ 21 h 203"/>
                <a:gd name="T4" fmla="*/ 18 w 235"/>
                <a:gd name="T5" fmla="*/ 32 h 203"/>
                <a:gd name="T6" fmla="*/ 10 w 235"/>
                <a:gd name="T7" fmla="*/ 43 h 203"/>
                <a:gd name="T8" fmla="*/ 0 w 235"/>
                <a:gd name="T9" fmla="*/ 56 h 203"/>
                <a:gd name="T10" fmla="*/ 10 w 235"/>
                <a:gd name="T11" fmla="*/ 70 h 203"/>
                <a:gd name="T12" fmla="*/ 16 w 235"/>
                <a:gd name="T13" fmla="*/ 78 h 203"/>
                <a:gd name="T14" fmla="*/ 32 w 235"/>
                <a:gd name="T15" fmla="*/ 86 h 203"/>
                <a:gd name="T16" fmla="*/ 37 w 235"/>
                <a:gd name="T17" fmla="*/ 96 h 203"/>
                <a:gd name="T18" fmla="*/ 37 w 235"/>
                <a:gd name="T19" fmla="*/ 110 h 203"/>
                <a:gd name="T20" fmla="*/ 34 w 235"/>
                <a:gd name="T21" fmla="*/ 118 h 203"/>
                <a:gd name="T22" fmla="*/ 40 w 235"/>
                <a:gd name="T23" fmla="*/ 128 h 203"/>
                <a:gd name="T24" fmla="*/ 45 w 235"/>
                <a:gd name="T25" fmla="*/ 134 h 203"/>
                <a:gd name="T26" fmla="*/ 50 w 235"/>
                <a:gd name="T27" fmla="*/ 131 h 203"/>
                <a:gd name="T28" fmla="*/ 61 w 235"/>
                <a:gd name="T29" fmla="*/ 136 h 203"/>
                <a:gd name="T30" fmla="*/ 66 w 235"/>
                <a:gd name="T31" fmla="*/ 134 h 203"/>
                <a:gd name="T32" fmla="*/ 77 w 235"/>
                <a:gd name="T33" fmla="*/ 131 h 203"/>
                <a:gd name="T34" fmla="*/ 82 w 235"/>
                <a:gd name="T35" fmla="*/ 139 h 203"/>
                <a:gd name="T36" fmla="*/ 90 w 235"/>
                <a:gd name="T37" fmla="*/ 147 h 203"/>
                <a:gd name="T38" fmla="*/ 96 w 235"/>
                <a:gd name="T39" fmla="*/ 152 h 203"/>
                <a:gd name="T40" fmla="*/ 98 w 235"/>
                <a:gd name="T41" fmla="*/ 158 h 203"/>
                <a:gd name="T42" fmla="*/ 106 w 235"/>
                <a:gd name="T43" fmla="*/ 158 h 203"/>
                <a:gd name="T44" fmla="*/ 122 w 235"/>
                <a:gd name="T45" fmla="*/ 163 h 203"/>
                <a:gd name="T46" fmla="*/ 130 w 235"/>
                <a:gd name="T47" fmla="*/ 163 h 203"/>
                <a:gd name="T48" fmla="*/ 146 w 235"/>
                <a:gd name="T49" fmla="*/ 163 h 203"/>
                <a:gd name="T50" fmla="*/ 160 w 235"/>
                <a:gd name="T51" fmla="*/ 168 h 203"/>
                <a:gd name="T52" fmla="*/ 168 w 235"/>
                <a:gd name="T53" fmla="*/ 176 h 203"/>
                <a:gd name="T54" fmla="*/ 184 w 235"/>
                <a:gd name="T55" fmla="*/ 182 h 203"/>
                <a:gd name="T56" fmla="*/ 187 w 235"/>
                <a:gd name="T57" fmla="*/ 198 h 203"/>
                <a:gd name="T58" fmla="*/ 197 w 235"/>
                <a:gd name="T59" fmla="*/ 193 h 203"/>
                <a:gd name="T60" fmla="*/ 203 w 235"/>
                <a:gd name="T61" fmla="*/ 182 h 203"/>
                <a:gd name="T62" fmla="*/ 211 w 235"/>
                <a:gd name="T63" fmla="*/ 171 h 203"/>
                <a:gd name="T64" fmla="*/ 227 w 235"/>
                <a:gd name="T65" fmla="*/ 182 h 203"/>
                <a:gd name="T66" fmla="*/ 224 w 235"/>
                <a:gd name="T67" fmla="*/ 174 h 203"/>
                <a:gd name="T68" fmla="*/ 229 w 235"/>
                <a:gd name="T69" fmla="*/ 163 h 203"/>
                <a:gd name="T70" fmla="*/ 229 w 235"/>
                <a:gd name="T71" fmla="*/ 155 h 203"/>
                <a:gd name="T72" fmla="*/ 224 w 235"/>
                <a:gd name="T73" fmla="*/ 152 h 203"/>
                <a:gd name="T74" fmla="*/ 213 w 235"/>
                <a:gd name="T75" fmla="*/ 147 h 203"/>
                <a:gd name="T76" fmla="*/ 205 w 235"/>
                <a:gd name="T77" fmla="*/ 139 h 203"/>
                <a:gd name="T78" fmla="*/ 208 w 235"/>
                <a:gd name="T79" fmla="*/ 131 h 203"/>
                <a:gd name="T80" fmla="*/ 197 w 235"/>
                <a:gd name="T81" fmla="*/ 120 h 203"/>
                <a:gd name="T82" fmla="*/ 184 w 235"/>
                <a:gd name="T83" fmla="*/ 115 h 203"/>
                <a:gd name="T84" fmla="*/ 181 w 235"/>
                <a:gd name="T85" fmla="*/ 102 h 203"/>
                <a:gd name="T86" fmla="*/ 173 w 235"/>
                <a:gd name="T87" fmla="*/ 94 h 203"/>
                <a:gd name="T88" fmla="*/ 171 w 235"/>
                <a:gd name="T89" fmla="*/ 83 h 203"/>
                <a:gd name="T90" fmla="*/ 163 w 235"/>
                <a:gd name="T91" fmla="*/ 67 h 203"/>
                <a:gd name="T92" fmla="*/ 163 w 235"/>
                <a:gd name="T93" fmla="*/ 51 h 203"/>
                <a:gd name="T94" fmla="*/ 149 w 235"/>
                <a:gd name="T95" fmla="*/ 46 h 203"/>
                <a:gd name="T96" fmla="*/ 130 w 235"/>
                <a:gd name="T97" fmla="*/ 38 h 203"/>
                <a:gd name="T98" fmla="*/ 128 w 235"/>
                <a:gd name="T99" fmla="*/ 21 h 203"/>
                <a:gd name="T100" fmla="*/ 125 w 235"/>
                <a:gd name="T101" fmla="*/ 16 h 203"/>
                <a:gd name="T102" fmla="*/ 117 w 235"/>
                <a:gd name="T103" fmla="*/ 16 h 203"/>
                <a:gd name="T104" fmla="*/ 106 w 235"/>
                <a:gd name="T105" fmla="*/ 11 h 203"/>
                <a:gd name="T106" fmla="*/ 98 w 235"/>
                <a:gd name="T107" fmla="*/ 3 h 203"/>
                <a:gd name="T108" fmla="*/ 88 w 235"/>
                <a:gd name="T109" fmla="*/ 8 h 203"/>
                <a:gd name="T110" fmla="*/ 82 w 235"/>
                <a:gd name="T111" fmla="*/ 5 h 203"/>
                <a:gd name="T112" fmla="*/ 72 w 235"/>
                <a:gd name="T113" fmla="*/ 11 h 203"/>
                <a:gd name="T114" fmla="*/ 64 w 235"/>
                <a:gd name="T115" fmla="*/ 8 h 203"/>
                <a:gd name="T116" fmla="*/ 48 w 235"/>
                <a:gd name="T117" fmla="*/ 11 h 203"/>
                <a:gd name="T118" fmla="*/ 50 w 235"/>
                <a:gd name="T119" fmla="*/ 19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5" h="203" extrusionOk="0">
                  <a:moveTo>
                    <a:pt x="42" y="19"/>
                  </a:moveTo>
                  <a:lnTo>
                    <a:pt x="42" y="19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0" y="30"/>
                  </a:lnTo>
                  <a:lnTo>
                    <a:pt x="37" y="30"/>
                  </a:lnTo>
                  <a:lnTo>
                    <a:pt x="37" y="30"/>
                  </a:lnTo>
                  <a:lnTo>
                    <a:pt x="34" y="30"/>
                  </a:lnTo>
                  <a:lnTo>
                    <a:pt x="32" y="27"/>
                  </a:lnTo>
                  <a:lnTo>
                    <a:pt x="29" y="27"/>
                  </a:lnTo>
                  <a:lnTo>
                    <a:pt x="29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4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8" y="21"/>
                  </a:lnTo>
                  <a:lnTo>
                    <a:pt x="18" y="24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5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6" y="43"/>
                  </a:lnTo>
                  <a:lnTo>
                    <a:pt x="13" y="43"/>
                  </a:lnTo>
                  <a:lnTo>
                    <a:pt x="10" y="43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51"/>
                  </a:lnTo>
                  <a:lnTo>
                    <a:pt x="8" y="54"/>
                  </a:lnTo>
                  <a:lnTo>
                    <a:pt x="5" y="54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9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5" y="62"/>
                  </a:lnTo>
                  <a:lnTo>
                    <a:pt x="8" y="62"/>
                  </a:lnTo>
                  <a:lnTo>
                    <a:pt x="8" y="64"/>
                  </a:lnTo>
                  <a:lnTo>
                    <a:pt x="8" y="67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2"/>
                  </a:lnTo>
                  <a:lnTo>
                    <a:pt x="13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8" y="75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80"/>
                  </a:lnTo>
                  <a:lnTo>
                    <a:pt x="21" y="83"/>
                  </a:lnTo>
                  <a:lnTo>
                    <a:pt x="24" y="86"/>
                  </a:lnTo>
                  <a:lnTo>
                    <a:pt x="26" y="83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9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4" y="88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40" y="94"/>
                  </a:lnTo>
                  <a:lnTo>
                    <a:pt x="37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102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4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40" y="112"/>
                  </a:lnTo>
                  <a:lnTo>
                    <a:pt x="40" y="115"/>
                  </a:lnTo>
                  <a:lnTo>
                    <a:pt x="40" y="118"/>
                  </a:lnTo>
                  <a:lnTo>
                    <a:pt x="37" y="118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7" y="120"/>
                  </a:lnTo>
                  <a:lnTo>
                    <a:pt x="37" y="120"/>
                  </a:lnTo>
                  <a:lnTo>
                    <a:pt x="37" y="123"/>
                  </a:lnTo>
                  <a:lnTo>
                    <a:pt x="37" y="123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37" y="128"/>
                  </a:lnTo>
                  <a:lnTo>
                    <a:pt x="40" y="131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5" y="131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0" y="134"/>
                  </a:lnTo>
                  <a:lnTo>
                    <a:pt x="48" y="134"/>
                  </a:lnTo>
                  <a:lnTo>
                    <a:pt x="50" y="131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9"/>
                  </a:lnTo>
                  <a:lnTo>
                    <a:pt x="56" y="136"/>
                  </a:lnTo>
                  <a:lnTo>
                    <a:pt x="56" y="139"/>
                  </a:lnTo>
                  <a:lnTo>
                    <a:pt x="58" y="136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66" y="134"/>
                  </a:lnTo>
                  <a:lnTo>
                    <a:pt x="69" y="131"/>
                  </a:lnTo>
                  <a:lnTo>
                    <a:pt x="72" y="131"/>
                  </a:lnTo>
                  <a:lnTo>
                    <a:pt x="74" y="131"/>
                  </a:lnTo>
                  <a:lnTo>
                    <a:pt x="74" y="128"/>
                  </a:lnTo>
                  <a:lnTo>
                    <a:pt x="74" y="128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7" y="131"/>
                  </a:lnTo>
                  <a:lnTo>
                    <a:pt x="77" y="134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77" y="136"/>
                  </a:lnTo>
                  <a:lnTo>
                    <a:pt x="80" y="136"/>
                  </a:lnTo>
                  <a:lnTo>
                    <a:pt x="80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2" y="139"/>
                  </a:lnTo>
                  <a:lnTo>
                    <a:pt x="85" y="139"/>
                  </a:lnTo>
                  <a:lnTo>
                    <a:pt x="85" y="142"/>
                  </a:lnTo>
                  <a:lnTo>
                    <a:pt x="82" y="144"/>
                  </a:lnTo>
                  <a:lnTo>
                    <a:pt x="85" y="144"/>
                  </a:lnTo>
                  <a:lnTo>
                    <a:pt x="88" y="150"/>
                  </a:lnTo>
                  <a:lnTo>
                    <a:pt x="90" y="147"/>
                  </a:lnTo>
                  <a:lnTo>
                    <a:pt x="90" y="150"/>
                  </a:lnTo>
                  <a:lnTo>
                    <a:pt x="93" y="150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3" y="155"/>
                  </a:lnTo>
                  <a:lnTo>
                    <a:pt x="93" y="152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3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4" y="158"/>
                  </a:lnTo>
                  <a:lnTo>
                    <a:pt x="104" y="158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9" y="158"/>
                  </a:lnTo>
                  <a:lnTo>
                    <a:pt x="109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20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0" y="163"/>
                  </a:lnTo>
                  <a:lnTo>
                    <a:pt x="133" y="163"/>
                  </a:lnTo>
                  <a:lnTo>
                    <a:pt x="138" y="155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60"/>
                  </a:lnTo>
                  <a:lnTo>
                    <a:pt x="144" y="163"/>
                  </a:lnTo>
                  <a:lnTo>
                    <a:pt x="146" y="163"/>
                  </a:lnTo>
                  <a:lnTo>
                    <a:pt x="146" y="163"/>
                  </a:lnTo>
                  <a:lnTo>
                    <a:pt x="146" y="163"/>
                  </a:lnTo>
                  <a:lnTo>
                    <a:pt x="149" y="163"/>
                  </a:lnTo>
                  <a:lnTo>
                    <a:pt x="149" y="163"/>
                  </a:lnTo>
                  <a:lnTo>
                    <a:pt x="152" y="160"/>
                  </a:lnTo>
                  <a:lnTo>
                    <a:pt x="154" y="166"/>
                  </a:lnTo>
                  <a:lnTo>
                    <a:pt x="157" y="166"/>
                  </a:lnTo>
                  <a:lnTo>
                    <a:pt x="157" y="168"/>
                  </a:lnTo>
                  <a:lnTo>
                    <a:pt x="160" y="168"/>
                  </a:lnTo>
                  <a:lnTo>
                    <a:pt x="163" y="168"/>
                  </a:lnTo>
                  <a:lnTo>
                    <a:pt x="160" y="168"/>
                  </a:lnTo>
                  <a:lnTo>
                    <a:pt x="163" y="171"/>
                  </a:lnTo>
                  <a:lnTo>
                    <a:pt x="163" y="174"/>
                  </a:lnTo>
                  <a:lnTo>
                    <a:pt x="165" y="174"/>
                  </a:lnTo>
                  <a:lnTo>
                    <a:pt x="165" y="176"/>
                  </a:lnTo>
                  <a:lnTo>
                    <a:pt x="168" y="176"/>
                  </a:lnTo>
                  <a:lnTo>
                    <a:pt x="168" y="176"/>
                  </a:lnTo>
                  <a:lnTo>
                    <a:pt x="171" y="176"/>
                  </a:lnTo>
                  <a:lnTo>
                    <a:pt x="173" y="176"/>
                  </a:lnTo>
                  <a:lnTo>
                    <a:pt x="173" y="176"/>
                  </a:lnTo>
                  <a:lnTo>
                    <a:pt x="176" y="176"/>
                  </a:lnTo>
                  <a:lnTo>
                    <a:pt x="179" y="179"/>
                  </a:lnTo>
                  <a:lnTo>
                    <a:pt x="181" y="179"/>
                  </a:lnTo>
                  <a:lnTo>
                    <a:pt x="181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90"/>
                  </a:lnTo>
                  <a:lnTo>
                    <a:pt x="187" y="190"/>
                  </a:lnTo>
                  <a:lnTo>
                    <a:pt x="187" y="190"/>
                  </a:lnTo>
                  <a:lnTo>
                    <a:pt x="187" y="195"/>
                  </a:lnTo>
                  <a:lnTo>
                    <a:pt x="189" y="195"/>
                  </a:lnTo>
                  <a:lnTo>
                    <a:pt x="187" y="198"/>
                  </a:lnTo>
                  <a:lnTo>
                    <a:pt x="189" y="203"/>
                  </a:lnTo>
                  <a:lnTo>
                    <a:pt x="195" y="203"/>
                  </a:lnTo>
                  <a:lnTo>
                    <a:pt x="197" y="201"/>
                  </a:lnTo>
                  <a:lnTo>
                    <a:pt x="195" y="198"/>
                  </a:lnTo>
                  <a:lnTo>
                    <a:pt x="195" y="198"/>
                  </a:lnTo>
                  <a:lnTo>
                    <a:pt x="197" y="195"/>
                  </a:lnTo>
                  <a:lnTo>
                    <a:pt x="197" y="195"/>
                  </a:lnTo>
                  <a:lnTo>
                    <a:pt x="197" y="193"/>
                  </a:lnTo>
                  <a:lnTo>
                    <a:pt x="197" y="193"/>
                  </a:lnTo>
                  <a:lnTo>
                    <a:pt x="197" y="193"/>
                  </a:lnTo>
                  <a:lnTo>
                    <a:pt x="200" y="193"/>
                  </a:lnTo>
                  <a:lnTo>
                    <a:pt x="203" y="190"/>
                  </a:lnTo>
                  <a:lnTo>
                    <a:pt x="200" y="187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3" y="182"/>
                  </a:lnTo>
                  <a:lnTo>
                    <a:pt x="203" y="179"/>
                  </a:lnTo>
                  <a:lnTo>
                    <a:pt x="203" y="176"/>
                  </a:lnTo>
                  <a:lnTo>
                    <a:pt x="203" y="174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5" y="168"/>
                  </a:lnTo>
                  <a:lnTo>
                    <a:pt x="208" y="174"/>
                  </a:lnTo>
                  <a:lnTo>
                    <a:pt x="211" y="171"/>
                  </a:lnTo>
                  <a:lnTo>
                    <a:pt x="213" y="174"/>
                  </a:lnTo>
                  <a:lnTo>
                    <a:pt x="216" y="174"/>
                  </a:lnTo>
                  <a:lnTo>
                    <a:pt x="221" y="176"/>
                  </a:lnTo>
                  <a:lnTo>
                    <a:pt x="219" y="179"/>
                  </a:lnTo>
                  <a:lnTo>
                    <a:pt x="219" y="182"/>
                  </a:lnTo>
                  <a:lnTo>
                    <a:pt x="221" y="182"/>
                  </a:lnTo>
                  <a:lnTo>
                    <a:pt x="224" y="182"/>
                  </a:lnTo>
                  <a:lnTo>
                    <a:pt x="227" y="182"/>
                  </a:lnTo>
                  <a:lnTo>
                    <a:pt x="227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7" y="179"/>
                  </a:lnTo>
                  <a:lnTo>
                    <a:pt x="224" y="176"/>
                  </a:lnTo>
                  <a:lnTo>
                    <a:pt x="224" y="176"/>
                  </a:lnTo>
                  <a:lnTo>
                    <a:pt x="221" y="174"/>
                  </a:lnTo>
                  <a:lnTo>
                    <a:pt x="224" y="174"/>
                  </a:lnTo>
                  <a:lnTo>
                    <a:pt x="224" y="171"/>
                  </a:lnTo>
                  <a:lnTo>
                    <a:pt x="227" y="171"/>
                  </a:lnTo>
                  <a:lnTo>
                    <a:pt x="229" y="168"/>
                  </a:lnTo>
                  <a:lnTo>
                    <a:pt x="227" y="166"/>
                  </a:lnTo>
                  <a:lnTo>
                    <a:pt x="227" y="166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2" y="163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5" y="160"/>
                  </a:lnTo>
                  <a:lnTo>
                    <a:pt x="235" y="158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29" y="155"/>
                  </a:lnTo>
                  <a:lnTo>
                    <a:pt x="229" y="155"/>
                  </a:lnTo>
                  <a:lnTo>
                    <a:pt x="227" y="158"/>
                  </a:lnTo>
                  <a:lnTo>
                    <a:pt x="227" y="155"/>
                  </a:lnTo>
                  <a:lnTo>
                    <a:pt x="229" y="155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4" y="150"/>
                  </a:lnTo>
                  <a:lnTo>
                    <a:pt x="224" y="152"/>
                  </a:lnTo>
                  <a:lnTo>
                    <a:pt x="221" y="152"/>
                  </a:lnTo>
                  <a:lnTo>
                    <a:pt x="221" y="152"/>
                  </a:lnTo>
                  <a:lnTo>
                    <a:pt x="221" y="150"/>
                  </a:lnTo>
                  <a:lnTo>
                    <a:pt x="219" y="150"/>
                  </a:lnTo>
                  <a:lnTo>
                    <a:pt x="219" y="147"/>
                  </a:lnTo>
                  <a:lnTo>
                    <a:pt x="216" y="150"/>
                  </a:lnTo>
                  <a:lnTo>
                    <a:pt x="216" y="150"/>
                  </a:lnTo>
                  <a:lnTo>
                    <a:pt x="213" y="147"/>
                  </a:lnTo>
                  <a:lnTo>
                    <a:pt x="213" y="147"/>
                  </a:lnTo>
                  <a:lnTo>
                    <a:pt x="211" y="147"/>
                  </a:lnTo>
                  <a:lnTo>
                    <a:pt x="211" y="144"/>
                  </a:lnTo>
                  <a:lnTo>
                    <a:pt x="208" y="144"/>
                  </a:lnTo>
                  <a:lnTo>
                    <a:pt x="208" y="142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205" y="139"/>
                  </a:lnTo>
                  <a:lnTo>
                    <a:pt x="205" y="139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4"/>
                  </a:lnTo>
                  <a:lnTo>
                    <a:pt x="205" y="134"/>
                  </a:lnTo>
                  <a:lnTo>
                    <a:pt x="205" y="131"/>
                  </a:lnTo>
                  <a:lnTo>
                    <a:pt x="208" y="131"/>
                  </a:lnTo>
                  <a:lnTo>
                    <a:pt x="208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197" y="126"/>
                  </a:lnTo>
                  <a:lnTo>
                    <a:pt x="197" y="126"/>
                  </a:lnTo>
                  <a:lnTo>
                    <a:pt x="197" y="123"/>
                  </a:lnTo>
                  <a:lnTo>
                    <a:pt x="197" y="120"/>
                  </a:lnTo>
                  <a:lnTo>
                    <a:pt x="195" y="120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87" y="123"/>
                  </a:lnTo>
                  <a:lnTo>
                    <a:pt x="184" y="120"/>
                  </a:lnTo>
                  <a:lnTo>
                    <a:pt x="184" y="115"/>
                  </a:lnTo>
                  <a:lnTo>
                    <a:pt x="184" y="115"/>
                  </a:lnTo>
                  <a:lnTo>
                    <a:pt x="184" y="107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81" y="102"/>
                  </a:lnTo>
                  <a:lnTo>
                    <a:pt x="179" y="99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6"/>
                  </a:lnTo>
                  <a:lnTo>
                    <a:pt x="179" y="94"/>
                  </a:lnTo>
                  <a:lnTo>
                    <a:pt x="176" y="94"/>
                  </a:lnTo>
                  <a:lnTo>
                    <a:pt x="176" y="94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4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1" y="83"/>
                  </a:lnTo>
                  <a:lnTo>
                    <a:pt x="171" y="83"/>
                  </a:lnTo>
                  <a:lnTo>
                    <a:pt x="171" y="80"/>
                  </a:lnTo>
                  <a:lnTo>
                    <a:pt x="168" y="78"/>
                  </a:lnTo>
                  <a:lnTo>
                    <a:pt x="165" y="78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2"/>
                  </a:lnTo>
                  <a:lnTo>
                    <a:pt x="163" y="72"/>
                  </a:lnTo>
                  <a:lnTo>
                    <a:pt x="163" y="67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3" y="62"/>
                  </a:lnTo>
                  <a:lnTo>
                    <a:pt x="163" y="59"/>
                  </a:lnTo>
                  <a:lnTo>
                    <a:pt x="163" y="56"/>
                  </a:lnTo>
                  <a:lnTo>
                    <a:pt x="163" y="54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0" y="51"/>
                  </a:lnTo>
                  <a:lnTo>
                    <a:pt x="160" y="48"/>
                  </a:lnTo>
                  <a:lnTo>
                    <a:pt x="157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2" y="46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6" y="43"/>
                  </a:lnTo>
                  <a:lnTo>
                    <a:pt x="138" y="43"/>
                  </a:lnTo>
                  <a:lnTo>
                    <a:pt x="136" y="43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3" y="38"/>
                  </a:lnTo>
                  <a:lnTo>
                    <a:pt x="130" y="38"/>
                  </a:lnTo>
                  <a:lnTo>
                    <a:pt x="128" y="38"/>
                  </a:lnTo>
                  <a:lnTo>
                    <a:pt x="125" y="35"/>
                  </a:lnTo>
                  <a:lnTo>
                    <a:pt x="122" y="35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7"/>
                  </a:lnTo>
                  <a:lnTo>
                    <a:pt x="128" y="24"/>
                  </a:lnTo>
                  <a:lnTo>
                    <a:pt x="128" y="21"/>
                  </a:lnTo>
                  <a:lnTo>
                    <a:pt x="130" y="21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28" y="16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5" y="19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5" y="13"/>
                  </a:lnTo>
                  <a:lnTo>
                    <a:pt x="122" y="13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4" y="13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6" y="11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5"/>
                  </a:lnTo>
                  <a:lnTo>
                    <a:pt x="98" y="5"/>
                  </a:lnTo>
                  <a:lnTo>
                    <a:pt x="101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6" y="0"/>
                  </a:lnTo>
                  <a:lnTo>
                    <a:pt x="96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0" y="5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2" y="11"/>
                  </a:lnTo>
                  <a:lnTo>
                    <a:pt x="82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5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77" y="3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69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4" y="13"/>
                  </a:lnTo>
                  <a:lnTo>
                    <a:pt x="61" y="11"/>
                  </a:lnTo>
                  <a:lnTo>
                    <a:pt x="64" y="8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11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2" y="19"/>
                  </a:lnTo>
                  <a:lnTo>
                    <a:pt x="42" y="1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6" name="Freeform 8923">
              <a:extLst>
                <a:ext uri="{FF2B5EF4-FFF2-40B4-BE49-F238E27FC236}">
                  <a16:creationId xmlns:a16="http://schemas.microsoft.com/office/drawing/2014/main" id="{DACF071C-CEA2-8146-AAD4-98125F56D5CA}"/>
                </a:ext>
              </a:extLst>
            </p:cNvPr>
            <p:cNvSpPr/>
            <p:nvPr/>
          </p:nvSpPr>
          <p:spPr bwMode="auto">
            <a:xfrm>
              <a:off x="3166268" y="2203452"/>
              <a:ext cx="1403350" cy="801688"/>
            </a:xfrm>
            <a:custGeom>
              <a:avLst/>
              <a:gdLst>
                <a:gd name="T0" fmla="*/ 40 w 884"/>
                <a:gd name="T1" fmla="*/ 291 h 505"/>
                <a:gd name="T2" fmla="*/ 97 w 884"/>
                <a:gd name="T3" fmla="*/ 356 h 505"/>
                <a:gd name="T4" fmla="*/ 283 w 884"/>
                <a:gd name="T5" fmla="*/ 350 h 505"/>
                <a:gd name="T6" fmla="*/ 377 w 884"/>
                <a:gd name="T7" fmla="*/ 374 h 505"/>
                <a:gd name="T8" fmla="*/ 743 w 884"/>
                <a:gd name="T9" fmla="*/ 473 h 505"/>
                <a:gd name="T10" fmla="*/ 780 w 884"/>
                <a:gd name="T11" fmla="*/ 462 h 505"/>
                <a:gd name="T12" fmla="*/ 804 w 884"/>
                <a:gd name="T13" fmla="*/ 436 h 505"/>
                <a:gd name="T14" fmla="*/ 834 w 884"/>
                <a:gd name="T15" fmla="*/ 414 h 505"/>
                <a:gd name="T16" fmla="*/ 874 w 884"/>
                <a:gd name="T17" fmla="*/ 417 h 505"/>
                <a:gd name="T18" fmla="*/ 882 w 884"/>
                <a:gd name="T19" fmla="*/ 382 h 505"/>
                <a:gd name="T20" fmla="*/ 855 w 884"/>
                <a:gd name="T21" fmla="*/ 356 h 505"/>
                <a:gd name="T22" fmla="*/ 874 w 884"/>
                <a:gd name="T23" fmla="*/ 326 h 505"/>
                <a:gd name="T24" fmla="*/ 839 w 884"/>
                <a:gd name="T25" fmla="*/ 265 h 505"/>
                <a:gd name="T26" fmla="*/ 783 w 884"/>
                <a:gd name="T27" fmla="*/ 230 h 505"/>
                <a:gd name="T28" fmla="*/ 753 w 884"/>
                <a:gd name="T29" fmla="*/ 214 h 505"/>
                <a:gd name="T30" fmla="*/ 724 w 884"/>
                <a:gd name="T31" fmla="*/ 230 h 505"/>
                <a:gd name="T32" fmla="*/ 724 w 884"/>
                <a:gd name="T33" fmla="*/ 283 h 505"/>
                <a:gd name="T34" fmla="*/ 713 w 884"/>
                <a:gd name="T35" fmla="*/ 313 h 505"/>
                <a:gd name="T36" fmla="*/ 671 w 884"/>
                <a:gd name="T37" fmla="*/ 337 h 505"/>
                <a:gd name="T38" fmla="*/ 641 w 884"/>
                <a:gd name="T39" fmla="*/ 321 h 505"/>
                <a:gd name="T40" fmla="*/ 660 w 884"/>
                <a:gd name="T41" fmla="*/ 286 h 505"/>
                <a:gd name="T42" fmla="*/ 649 w 884"/>
                <a:gd name="T43" fmla="*/ 267 h 505"/>
                <a:gd name="T44" fmla="*/ 623 w 884"/>
                <a:gd name="T45" fmla="*/ 286 h 505"/>
                <a:gd name="T46" fmla="*/ 601 w 884"/>
                <a:gd name="T47" fmla="*/ 275 h 505"/>
                <a:gd name="T48" fmla="*/ 553 w 884"/>
                <a:gd name="T49" fmla="*/ 267 h 505"/>
                <a:gd name="T50" fmla="*/ 534 w 884"/>
                <a:gd name="T51" fmla="*/ 257 h 505"/>
                <a:gd name="T52" fmla="*/ 494 w 884"/>
                <a:gd name="T53" fmla="*/ 257 h 505"/>
                <a:gd name="T54" fmla="*/ 473 w 884"/>
                <a:gd name="T55" fmla="*/ 278 h 505"/>
                <a:gd name="T56" fmla="*/ 452 w 884"/>
                <a:gd name="T57" fmla="*/ 265 h 505"/>
                <a:gd name="T58" fmla="*/ 438 w 884"/>
                <a:gd name="T59" fmla="*/ 262 h 505"/>
                <a:gd name="T60" fmla="*/ 420 w 884"/>
                <a:gd name="T61" fmla="*/ 241 h 505"/>
                <a:gd name="T62" fmla="*/ 438 w 884"/>
                <a:gd name="T63" fmla="*/ 241 h 505"/>
                <a:gd name="T64" fmla="*/ 454 w 884"/>
                <a:gd name="T65" fmla="*/ 217 h 505"/>
                <a:gd name="T66" fmla="*/ 462 w 884"/>
                <a:gd name="T67" fmla="*/ 195 h 505"/>
                <a:gd name="T68" fmla="*/ 497 w 884"/>
                <a:gd name="T69" fmla="*/ 198 h 505"/>
                <a:gd name="T70" fmla="*/ 409 w 884"/>
                <a:gd name="T71" fmla="*/ 193 h 505"/>
                <a:gd name="T72" fmla="*/ 409 w 884"/>
                <a:gd name="T73" fmla="*/ 211 h 505"/>
                <a:gd name="T74" fmla="*/ 396 w 884"/>
                <a:gd name="T75" fmla="*/ 206 h 505"/>
                <a:gd name="T76" fmla="*/ 390 w 884"/>
                <a:gd name="T77" fmla="*/ 195 h 505"/>
                <a:gd name="T78" fmla="*/ 348 w 884"/>
                <a:gd name="T79" fmla="*/ 195 h 505"/>
                <a:gd name="T80" fmla="*/ 283 w 884"/>
                <a:gd name="T81" fmla="*/ 203 h 505"/>
                <a:gd name="T82" fmla="*/ 243 w 884"/>
                <a:gd name="T83" fmla="*/ 198 h 505"/>
                <a:gd name="T84" fmla="*/ 235 w 884"/>
                <a:gd name="T85" fmla="*/ 214 h 505"/>
                <a:gd name="T86" fmla="*/ 238 w 884"/>
                <a:gd name="T87" fmla="*/ 219 h 505"/>
                <a:gd name="T88" fmla="*/ 206 w 884"/>
                <a:gd name="T89" fmla="*/ 203 h 505"/>
                <a:gd name="T90" fmla="*/ 171 w 884"/>
                <a:gd name="T91" fmla="*/ 230 h 505"/>
                <a:gd name="T92" fmla="*/ 142 w 884"/>
                <a:gd name="T93" fmla="*/ 262 h 505"/>
                <a:gd name="T94" fmla="*/ 107 w 884"/>
                <a:gd name="T95" fmla="*/ 243 h 505"/>
                <a:gd name="T96" fmla="*/ 107 w 884"/>
                <a:gd name="T97" fmla="*/ 243 h 505"/>
                <a:gd name="T98" fmla="*/ 91 w 884"/>
                <a:gd name="T99" fmla="*/ 195 h 505"/>
                <a:gd name="T100" fmla="*/ 107 w 884"/>
                <a:gd name="T101" fmla="*/ 144 h 505"/>
                <a:gd name="T102" fmla="*/ 150 w 884"/>
                <a:gd name="T103" fmla="*/ 147 h 505"/>
                <a:gd name="T104" fmla="*/ 174 w 884"/>
                <a:gd name="T105" fmla="*/ 123 h 505"/>
                <a:gd name="T106" fmla="*/ 174 w 884"/>
                <a:gd name="T107" fmla="*/ 86 h 505"/>
                <a:gd name="T108" fmla="*/ 134 w 884"/>
                <a:gd name="T109" fmla="*/ 40 h 505"/>
                <a:gd name="T110" fmla="*/ 102 w 884"/>
                <a:gd name="T111" fmla="*/ 6 h 505"/>
                <a:gd name="T112" fmla="*/ 94 w 884"/>
                <a:gd name="T113" fmla="*/ 80 h 505"/>
                <a:gd name="T114" fmla="*/ 86 w 884"/>
                <a:gd name="T115" fmla="*/ 91 h 505"/>
                <a:gd name="T116" fmla="*/ 78 w 884"/>
                <a:gd name="T117" fmla="*/ 96 h 505"/>
                <a:gd name="T118" fmla="*/ 59 w 884"/>
                <a:gd name="T119" fmla="*/ 118 h 505"/>
                <a:gd name="T120" fmla="*/ 43 w 884"/>
                <a:gd name="T121" fmla="*/ 171 h 505"/>
                <a:gd name="T122" fmla="*/ 24 w 884"/>
                <a:gd name="T123" fmla="*/ 203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84" h="505" extrusionOk="0">
                  <a:moveTo>
                    <a:pt x="0" y="225"/>
                  </a:moveTo>
                  <a:lnTo>
                    <a:pt x="3" y="227"/>
                  </a:lnTo>
                  <a:lnTo>
                    <a:pt x="3" y="230"/>
                  </a:lnTo>
                  <a:lnTo>
                    <a:pt x="6" y="233"/>
                  </a:lnTo>
                  <a:lnTo>
                    <a:pt x="6" y="233"/>
                  </a:lnTo>
                  <a:lnTo>
                    <a:pt x="6" y="235"/>
                  </a:lnTo>
                  <a:lnTo>
                    <a:pt x="6" y="238"/>
                  </a:lnTo>
                  <a:lnTo>
                    <a:pt x="6" y="241"/>
                  </a:lnTo>
                  <a:lnTo>
                    <a:pt x="6" y="243"/>
                  </a:lnTo>
                  <a:lnTo>
                    <a:pt x="6" y="246"/>
                  </a:lnTo>
                  <a:lnTo>
                    <a:pt x="6" y="249"/>
                  </a:lnTo>
                  <a:lnTo>
                    <a:pt x="8" y="249"/>
                  </a:lnTo>
                  <a:lnTo>
                    <a:pt x="11" y="251"/>
                  </a:lnTo>
                  <a:lnTo>
                    <a:pt x="11" y="254"/>
                  </a:lnTo>
                  <a:lnTo>
                    <a:pt x="11" y="257"/>
                  </a:lnTo>
                  <a:lnTo>
                    <a:pt x="11" y="257"/>
                  </a:lnTo>
                  <a:lnTo>
                    <a:pt x="14" y="257"/>
                  </a:lnTo>
                  <a:lnTo>
                    <a:pt x="16" y="259"/>
                  </a:lnTo>
                  <a:lnTo>
                    <a:pt x="16" y="262"/>
                  </a:lnTo>
                  <a:lnTo>
                    <a:pt x="19" y="265"/>
                  </a:lnTo>
                  <a:lnTo>
                    <a:pt x="22" y="267"/>
                  </a:lnTo>
                  <a:lnTo>
                    <a:pt x="22" y="270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30" y="283"/>
                  </a:lnTo>
                  <a:lnTo>
                    <a:pt x="30" y="286"/>
                  </a:lnTo>
                  <a:lnTo>
                    <a:pt x="30" y="286"/>
                  </a:lnTo>
                  <a:lnTo>
                    <a:pt x="32" y="289"/>
                  </a:lnTo>
                  <a:lnTo>
                    <a:pt x="32" y="289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40" y="291"/>
                  </a:lnTo>
                  <a:lnTo>
                    <a:pt x="40" y="291"/>
                  </a:lnTo>
                  <a:lnTo>
                    <a:pt x="40" y="294"/>
                  </a:lnTo>
                  <a:lnTo>
                    <a:pt x="43" y="294"/>
                  </a:lnTo>
                  <a:lnTo>
                    <a:pt x="43" y="297"/>
                  </a:lnTo>
                  <a:lnTo>
                    <a:pt x="46" y="299"/>
                  </a:lnTo>
                  <a:lnTo>
                    <a:pt x="48" y="302"/>
                  </a:lnTo>
                  <a:lnTo>
                    <a:pt x="48" y="305"/>
                  </a:lnTo>
                  <a:lnTo>
                    <a:pt x="54" y="307"/>
                  </a:lnTo>
                  <a:lnTo>
                    <a:pt x="54" y="307"/>
                  </a:lnTo>
                  <a:lnTo>
                    <a:pt x="54" y="310"/>
                  </a:lnTo>
                  <a:lnTo>
                    <a:pt x="56" y="313"/>
                  </a:lnTo>
                  <a:lnTo>
                    <a:pt x="56" y="316"/>
                  </a:lnTo>
                  <a:lnTo>
                    <a:pt x="59" y="321"/>
                  </a:lnTo>
                  <a:lnTo>
                    <a:pt x="62" y="324"/>
                  </a:lnTo>
                  <a:lnTo>
                    <a:pt x="62" y="326"/>
                  </a:lnTo>
                  <a:lnTo>
                    <a:pt x="65" y="329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70" y="340"/>
                  </a:lnTo>
                  <a:lnTo>
                    <a:pt x="70" y="342"/>
                  </a:lnTo>
                  <a:lnTo>
                    <a:pt x="70" y="345"/>
                  </a:lnTo>
                  <a:lnTo>
                    <a:pt x="70" y="345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81" y="350"/>
                  </a:lnTo>
                  <a:lnTo>
                    <a:pt x="83" y="350"/>
                  </a:lnTo>
                  <a:lnTo>
                    <a:pt x="86" y="350"/>
                  </a:lnTo>
                  <a:lnTo>
                    <a:pt x="89" y="353"/>
                  </a:lnTo>
                  <a:lnTo>
                    <a:pt x="89" y="356"/>
                  </a:lnTo>
                  <a:lnTo>
                    <a:pt x="91" y="358"/>
                  </a:lnTo>
                  <a:lnTo>
                    <a:pt x="91" y="358"/>
                  </a:lnTo>
                  <a:lnTo>
                    <a:pt x="91" y="358"/>
                  </a:lnTo>
                  <a:lnTo>
                    <a:pt x="94" y="358"/>
                  </a:lnTo>
                  <a:lnTo>
                    <a:pt x="94" y="358"/>
                  </a:lnTo>
                  <a:lnTo>
                    <a:pt x="97" y="356"/>
                  </a:lnTo>
                  <a:lnTo>
                    <a:pt x="97" y="356"/>
                  </a:lnTo>
                  <a:lnTo>
                    <a:pt x="97" y="350"/>
                  </a:lnTo>
                  <a:lnTo>
                    <a:pt x="97" y="350"/>
                  </a:lnTo>
                  <a:lnTo>
                    <a:pt x="97" y="350"/>
                  </a:lnTo>
                  <a:lnTo>
                    <a:pt x="99" y="348"/>
                  </a:lnTo>
                  <a:lnTo>
                    <a:pt x="102" y="348"/>
                  </a:lnTo>
                  <a:lnTo>
                    <a:pt x="105" y="345"/>
                  </a:lnTo>
                  <a:lnTo>
                    <a:pt x="105" y="345"/>
                  </a:lnTo>
                  <a:lnTo>
                    <a:pt x="107" y="345"/>
                  </a:lnTo>
                  <a:lnTo>
                    <a:pt x="107" y="345"/>
                  </a:lnTo>
                  <a:lnTo>
                    <a:pt x="110" y="345"/>
                  </a:lnTo>
                  <a:lnTo>
                    <a:pt x="110" y="345"/>
                  </a:lnTo>
                  <a:lnTo>
                    <a:pt x="113" y="345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5"/>
                  </a:lnTo>
                  <a:lnTo>
                    <a:pt x="115" y="345"/>
                  </a:lnTo>
                  <a:lnTo>
                    <a:pt x="118" y="345"/>
                  </a:lnTo>
                  <a:lnTo>
                    <a:pt x="118" y="342"/>
                  </a:lnTo>
                  <a:lnTo>
                    <a:pt x="118" y="340"/>
                  </a:lnTo>
                  <a:lnTo>
                    <a:pt x="121" y="340"/>
                  </a:lnTo>
                  <a:lnTo>
                    <a:pt x="121" y="340"/>
                  </a:lnTo>
                  <a:lnTo>
                    <a:pt x="123" y="337"/>
                  </a:lnTo>
                  <a:lnTo>
                    <a:pt x="123" y="340"/>
                  </a:lnTo>
                  <a:lnTo>
                    <a:pt x="126" y="340"/>
                  </a:lnTo>
                  <a:lnTo>
                    <a:pt x="134" y="345"/>
                  </a:lnTo>
                  <a:lnTo>
                    <a:pt x="139" y="348"/>
                  </a:lnTo>
                  <a:lnTo>
                    <a:pt x="145" y="350"/>
                  </a:lnTo>
                  <a:lnTo>
                    <a:pt x="147" y="353"/>
                  </a:lnTo>
                  <a:lnTo>
                    <a:pt x="150" y="356"/>
                  </a:lnTo>
                  <a:lnTo>
                    <a:pt x="150" y="356"/>
                  </a:lnTo>
                  <a:lnTo>
                    <a:pt x="153" y="358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283" y="350"/>
                  </a:lnTo>
                  <a:lnTo>
                    <a:pt x="283" y="350"/>
                  </a:lnTo>
                  <a:lnTo>
                    <a:pt x="283" y="348"/>
                  </a:lnTo>
                  <a:lnTo>
                    <a:pt x="283" y="345"/>
                  </a:lnTo>
                  <a:lnTo>
                    <a:pt x="283" y="342"/>
                  </a:lnTo>
                  <a:lnTo>
                    <a:pt x="286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6" y="337"/>
                  </a:lnTo>
                  <a:lnTo>
                    <a:pt x="289" y="337"/>
                  </a:lnTo>
                  <a:lnTo>
                    <a:pt x="289" y="337"/>
                  </a:lnTo>
                  <a:lnTo>
                    <a:pt x="291" y="334"/>
                  </a:lnTo>
                  <a:lnTo>
                    <a:pt x="291" y="337"/>
                  </a:lnTo>
                  <a:lnTo>
                    <a:pt x="294" y="337"/>
                  </a:lnTo>
                  <a:lnTo>
                    <a:pt x="294" y="340"/>
                  </a:lnTo>
                  <a:lnTo>
                    <a:pt x="294" y="340"/>
                  </a:lnTo>
                  <a:lnTo>
                    <a:pt x="294" y="340"/>
                  </a:lnTo>
                  <a:lnTo>
                    <a:pt x="297" y="340"/>
                  </a:lnTo>
                  <a:lnTo>
                    <a:pt x="297" y="340"/>
                  </a:lnTo>
                  <a:lnTo>
                    <a:pt x="297" y="342"/>
                  </a:lnTo>
                  <a:lnTo>
                    <a:pt x="299" y="342"/>
                  </a:lnTo>
                  <a:lnTo>
                    <a:pt x="299" y="340"/>
                  </a:lnTo>
                  <a:lnTo>
                    <a:pt x="299" y="340"/>
                  </a:lnTo>
                  <a:lnTo>
                    <a:pt x="302" y="340"/>
                  </a:lnTo>
                  <a:lnTo>
                    <a:pt x="302" y="340"/>
                  </a:lnTo>
                  <a:lnTo>
                    <a:pt x="305" y="337"/>
                  </a:lnTo>
                  <a:lnTo>
                    <a:pt x="305" y="337"/>
                  </a:lnTo>
                  <a:lnTo>
                    <a:pt x="308" y="337"/>
                  </a:lnTo>
                  <a:lnTo>
                    <a:pt x="308" y="337"/>
                  </a:lnTo>
                  <a:lnTo>
                    <a:pt x="310" y="337"/>
                  </a:lnTo>
                  <a:lnTo>
                    <a:pt x="310" y="337"/>
                  </a:lnTo>
                  <a:lnTo>
                    <a:pt x="313" y="337"/>
                  </a:lnTo>
                  <a:lnTo>
                    <a:pt x="313" y="337"/>
                  </a:lnTo>
                  <a:lnTo>
                    <a:pt x="318" y="334"/>
                  </a:lnTo>
                  <a:lnTo>
                    <a:pt x="318" y="332"/>
                  </a:lnTo>
                  <a:lnTo>
                    <a:pt x="321" y="334"/>
                  </a:lnTo>
                  <a:lnTo>
                    <a:pt x="377" y="374"/>
                  </a:lnTo>
                  <a:lnTo>
                    <a:pt x="609" y="481"/>
                  </a:lnTo>
                  <a:lnTo>
                    <a:pt x="607" y="484"/>
                  </a:lnTo>
                  <a:lnTo>
                    <a:pt x="615" y="484"/>
                  </a:lnTo>
                  <a:lnTo>
                    <a:pt x="660" y="500"/>
                  </a:lnTo>
                  <a:lnTo>
                    <a:pt x="660" y="503"/>
                  </a:lnTo>
                  <a:lnTo>
                    <a:pt x="663" y="503"/>
                  </a:lnTo>
                  <a:lnTo>
                    <a:pt x="663" y="503"/>
                  </a:lnTo>
                  <a:lnTo>
                    <a:pt x="663" y="505"/>
                  </a:lnTo>
                  <a:lnTo>
                    <a:pt x="665" y="505"/>
                  </a:lnTo>
                  <a:lnTo>
                    <a:pt x="665" y="503"/>
                  </a:lnTo>
                  <a:lnTo>
                    <a:pt x="668" y="503"/>
                  </a:lnTo>
                  <a:lnTo>
                    <a:pt x="671" y="503"/>
                  </a:lnTo>
                  <a:lnTo>
                    <a:pt x="671" y="505"/>
                  </a:lnTo>
                  <a:lnTo>
                    <a:pt x="673" y="505"/>
                  </a:lnTo>
                  <a:lnTo>
                    <a:pt x="676" y="505"/>
                  </a:lnTo>
                  <a:lnTo>
                    <a:pt x="676" y="505"/>
                  </a:lnTo>
                  <a:lnTo>
                    <a:pt x="679" y="500"/>
                  </a:lnTo>
                  <a:lnTo>
                    <a:pt x="679" y="500"/>
                  </a:lnTo>
                  <a:lnTo>
                    <a:pt x="681" y="497"/>
                  </a:lnTo>
                  <a:lnTo>
                    <a:pt x="681" y="497"/>
                  </a:lnTo>
                  <a:lnTo>
                    <a:pt x="687" y="497"/>
                  </a:lnTo>
                  <a:lnTo>
                    <a:pt x="735" y="487"/>
                  </a:lnTo>
                  <a:lnTo>
                    <a:pt x="735" y="487"/>
                  </a:lnTo>
                  <a:lnTo>
                    <a:pt x="737" y="487"/>
                  </a:lnTo>
                  <a:lnTo>
                    <a:pt x="737" y="487"/>
                  </a:lnTo>
                  <a:lnTo>
                    <a:pt x="737" y="484"/>
                  </a:lnTo>
                  <a:lnTo>
                    <a:pt x="740" y="484"/>
                  </a:lnTo>
                  <a:lnTo>
                    <a:pt x="740" y="481"/>
                  </a:lnTo>
                  <a:lnTo>
                    <a:pt x="737" y="479"/>
                  </a:lnTo>
                  <a:lnTo>
                    <a:pt x="740" y="476"/>
                  </a:lnTo>
                  <a:lnTo>
                    <a:pt x="740" y="476"/>
                  </a:lnTo>
                  <a:lnTo>
                    <a:pt x="740" y="473"/>
                  </a:lnTo>
                  <a:lnTo>
                    <a:pt x="740" y="473"/>
                  </a:lnTo>
                  <a:lnTo>
                    <a:pt x="743" y="473"/>
                  </a:lnTo>
                  <a:lnTo>
                    <a:pt x="743" y="473"/>
                  </a:lnTo>
                  <a:lnTo>
                    <a:pt x="743" y="470"/>
                  </a:lnTo>
                  <a:lnTo>
                    <a:pt x="745" y="470"/>
                  </a:lnTo>
                  <a:lnTo>
                    <a:pt x="745" y="468"/>
                  </a:lnTo>
                  <a:lnTo>
                    <a:pt x="745" y="468"/>
                  </a:lnTo>
                  <a:lnTo>
                    <a:pt x="748" y="465"/>
                  </a:lnTo>
                  <a:lnTo>
                    <a:pt x="748" y="465"/>
                  </a:lnTo>
                  <a:lnTo>
                    <a:pt x="751" y="465"/>
                  </a:lnTo>
                  <a:lnTo>
                    <a:pt x="751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6" y="465"/>
                  </a:lnTo>
                  <a:lnTo>
                    <a:pt x="756" y="462"/>
                  </a:lnTo>
                  <a:lnTo>
                    <a:pt x="756" y="460"/>
                  </a:lnTo>
                  <a:lnTo>
                    <a:pt x="759" y="460"/>
                  </a:lnTo>
                  <a:lnTo>
                    <a:pt x="759" y="460"/>
                  </a:lnTo>
                  <a:lnTo>
                    <a:pt x="761" y="460"/>
                  </a:lnTo>
                  <a:lnTo>
                    <a:pt x="761" y="460"/>
                  </a:lnTo>
                  <a:lnTo>
                    <a:pt x="764" y="460"/>
                  </a:lnTo>
                  <a:lnTo>
                    <a:pt x="764" y="460"/>
                  </a:lnTo>
                  <a:lnTo>
                    <a:pt x="764" y="457"/>
                  </a:lnTo>
                  <a:lnTo>
                    <a:pt x="767" y="454"/>
                  </a:lnTo>
                  <a:lnTo>
                    <a:pt x="767" y="454"/>
                  </a:lnTo>
                  <a:lnTo>
                    <a:pt x="769" y="457"/>
                  </a:lnTo>
                  <a:lnTo>
                    <a:pt x="769" y="454"/>
                  </a:lnTo>
                  <a:lnTo>
                    <a:pt x="772" y="454"/>
                  </a:lnTo>
                  <a:lnTo>
                    <a:pt x="772" y="457"/>
                  </a:lnTo>
                  <a:lnTo>
                    <a:pt x="772" y="457"/>
                  </a:lnTo>
                  <a:lnTo>
                    <a:pt x="772" y="460"/>
                  </a:lnTo>
                  <a:lnTo>
                    <a:pt x="775" y="460"/>
                  </a:lnTo>
                  <a:lnTo>
                    <a:pt x="775" y="460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77" y="462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5"/>
                  </a:lnTo>
                  <a:lnTo>
                    <a:pt x="780" y="462"/>
                  </a:lnTo>
                  <a:lnTo>
                    <a:pt x="780" y="462"/>
                  </a:lnTo>
                  <a:lnTo>
                    <a:pt x="780" y="460"/>
                  </a:lnTo>
                  <a:lnTo>
                    <a:pt x="780" y="460"/>
                  </a:lnTo>
                  <a:lnTo>
                    <a:pt x="780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3" y="457"/>
                  </a:lnTo>
                  <a:lnTo>
                    <a:pt x="786" y="457"/>
                  </a:lnTo>
                  <a:lnTo>
                    <a:pt x="786" y="454"/>
                  </a:lnTo>
                  <a:lnTo>
                    <a:pt x="788" y="457"/>
                  </a:lnTo>
                  <a:lnTo>
                    <a:pt x="788" y="457"/>
                  </a:lnTo>
                  <a:lnTo>
                    <a:pt x="791" y="457"/>
                  </a:lnTo>
                  <a:lnTo>
                    <a:pt x="791" y="454"/>
                  </a:lnTo>
                  <a:lnTo>
                    <a:pt x="794" y="452"/>
                  </a:lnTo>
                  <a:lnTo>
                    <a:pt x="796" y="452"/>
                  </a:lnTo>
                  <a:lnTo>
                    <a:pt x="796" y="449"/>
                  </a:lnTo>
                  <a:lnTo>
                    <a:pt x="794" y="449"/>
                  </a:lnTo>
                  <a:lnTo>
                    <a:pt x="796" y="446"/>
                  </a:lnTo>
                  <a:lnTo>
                    <a:pt x="796" y="444"/>
                  </a:lnTo>
                  <a:lnTo>
                    <a:pt x="796" y="444"/>
                  </a:lnTo>
                  <a:lnTo>
                    <a:pt x="796" y="441"/>
                  </a:lnTo>
                  <a:lnTo>
                    <a:pt x="796" y="441"/>
                  </a:lnTo>
                  <a:lnTo>
                    <a:pt x="796" y="436"/>
                  </a:lnTo>
                  <a:lnTo>
                    <a:pt x="796" y="436"/>
                  </a:lnTo>
                  <a:lnTo>
                    <a:pt x="799" y="436"/>
                  </a:lnTo>
                  <a:lnTo>
                    <a:pt x="799" y="436"/>
                  </a:lnTo>
                  <a:lnTo>
                    <a:pt x="799" y="436"/>
                  </a:lnTo>
                  <a:lnTo>
                    <a:pt x="802" y="436"/>
                  </a:lnTo>
                  <a:lnTo>
                    <a:pt x="802" y="436"/>
                  </a:lnTo>
                  <a:lnTo>
                    <a:pt x="802" y="436"/>
                  </a:lnTo>
                  <a:lnTo>
                    <a:pt x="804" y="436"/>
                  </a:lnTo>
                  <a:lnTo>
                    <a:pt x="804" y="436"/>
                  </a:lnTo>
                  <a:lnTo>
                    <a:pt x="807" y="436"/>
                  </a:lnTo>
                  <a:lnTo>
                    <a:pt x="807" y="433"/>
                  </a:lnTo>
                  <a:lnTo>
                    <a:pt x="807" y="433"/>
                  </a:lnTo>
                  <a:lnTo>
                    <a:pt x="807" y="433"/>
                  </a:lnTo>
                  <a:lnTo>
                    <a:pt x="810" y="433"/>
                  </a:lnTo>
                  <a:lnTo>
                    <a:pt x="810" y="433"/>
                  </a:lnTo>
                  <a:lnTo>
                    <a:pt x="812" y="433"/>
                  </a:lnTo>
                  <a:lnTo>
                    <a:pt x="812" y="433"/>
                  </a:lnTo>
                  <a:lnTo>
                    <a:pt x="815" y="433"/>
                  </a:lnTo>
                  <a:lnTo>
                    <a:pt x="818" y="433"/>
                  </a:lnTo>
                  <a:lnTo>
                    <a:pt x="818" y="433"/>
                  </a:lnTo>
                  <a:lnTo>
                    <a:pt x="820" y="433"/>
                  </a:lnTo>
                  <a:lnTo>
                    <a:pt x="820" y="433"/>
                  </a:lnTo>
                  <a:lnTo>
                    <a:pt x="820" y="430"/>
                  </a:lnTo>
                  <a:lnTo>
                    <a:pt x="820" y="430"/>
                  </a:lnTo>
                  <a:lnTo>
                    <a:pt x="820" y="430"/>
                  </a:lnTo>
                  <a:lnTo>
                    <a:pt x="820" y="428"/>
                  </a:lnTo>
                  <a:lnTo>
                    <a:pt x="820" y="428"/>
                  </a:lnTo>
                  <a:lnTo>
                    <a:pt x="823" y="428"/>
                  </a:lnTo>
                  <a:lnTo>
                    <a:pt x="823" y="428"/>
                  </a:lnTo>
                  <a:lnTo>
                    <a:pt x="826" y="428"/>
                  </a:lnTo>
                  <a:lnTo>
                    <a:pt x="828" y="428"/>
                  </a:lnTo>
                  <a:lnTo>
                    <a:pt x="828" y="428"/>
                  </a:lnTo>
                  <a:lnTo>
                    <a:pt x="828" y="428"/>
                  </a:lnTo>
                  <a:lnTo>
                    <a:pt x="831" y="428"/>
                  </a:lnTo>
                  <a:lnTo>
                    <a:pt x="831" y="428"/>
                  </a:lnTo>
                  <a:lnTo>
                    <a:pt x="831" y="425"/>
                  </a:lnTo>
                  <a:lnTo>
                    <a:pt x="831" y="422"/>
                  </a:lnTo>
                  <a:lnTo>
                    <a:pt x="831" y="422"/>
                  </a:lnTo>
                  <a:lnTo>
                    <a:pt x="831" y="420"/>
                  </a:lnTo>
                  <a:lnTo>
                    <a:pt x="831" y="420"/>
                  </a:lnTo>
                  <a:lnTo>
                    <a:pt x="831" y="420"/>
                  </a:lnTo>
                  <a:lnTo>
                    <a:pt x="831" y="417"/>
                  </a:lnTo>
                  <a:lnTo>
                    <a:pt x="834" y="414"/>
                  </a:lnTo>
                  <a:lnTo>
                    <a:pt x="834" y="414"/>
                  </a:lnTo>
                  <a:lnTo>
                    <a:pt x="836" y="412"/>
                  </a:lnTo>
                  <a:lnTo>
                    <a:pt x="836" y="412"/>
                  </a:lnTo>
                  <a:lnTo>
                    <a:pt x="839" y="412"/>
                  </a:lnTo>
                  <a:lnTo>
                    <a:pt x="839" y="412"/>
                  </a:lnTo>
                  <a:lnTo>
                    <a:pt x="842" y="412"/>
                  </a:lnTo>
                  <a:lnTo>
                    <a:pt x="842" y="412"/>
                  </a:lnTo>
                  <a:lnTo>
                    <a:pt x="844" y="412"/>
                  </a:lnTo>
                  <a:lnTo>
                    <a:pt x="844" y="412"/>
                  </a:lnTo>
                  <a:lnTo>
                    <a:pt x="847" y="412"/>
                  </a:lnTo>
                  <a:lnTo>
                    <a:pt x="847" y="414"/>
                  </a:lnTo>
                  <a:lnTo>
                    <a:pt x="850" y="414"/>
                  </a:lnTo>
                  <a:lnTo>
                    <a:pt x="850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2" y="414"/>
                  </a:lnTo>
                  <a:lnTo>
                    <a:pt x="855" y="414"/>
                  </a:lnTo>
                  <a:lnTo>
                    <a:pt x="855" y="414"/>
                  </a:lnTo>
                  <a:lnTo>
                    <a:pt x="858" y="414"/>
                  </a:lnTo>
                  <a:lnTo>
                    <a:pt x="858" y="414"/>
                  </a:lnTo>
                  <a:lnTo>
                    <a:pt x="860" y="417"/>
                  </a:lnTo>
                  <a:lnTo>
                    <a:pt x="860" y="417"/>
                  </a:lnTo>
                  <a:lnTo>
                    <a:pt x="860" y="417"/>
                  </a:lnTo>
                  <a:lnTo>
                    <a:pt x="863" y="420"/>
                  </a:lnTo>
                  <a:lnTo>
                    <a:pt x="863" y="420"/>
                  </a:lnTo>
                  <a:lnTo>
                    <a:pt x="866" y="420"/>
                  </a:lnTo>
                  <a:lnTo>
                    <a:pt x="866" y="417"/>
                  </a:lnTo>
                  <a:lnTo>
                    <a:pt x="866" y="417"/>
                  </a:lnTo>
                  <a:lnTo>
                    <a:pt x="868" y="417"/>
                  </a:lnTo>
                  <a:lnTo>
                    <a:pt x="868" y="417"/>
                  </a:lnTo>
                  <a:lnTo>
                    <a:pt x="871" y="420"/>
                  </a:lnTo>
                  <a:lnTo>
                    <a:pt x="871" y="417"/>
                  </a:lnTo>
                  <a:lnTo>
                    <a:pt x="874" y="417"/>
                  </a:lnTo>
                  <a:lnTo>
                    <a:pt x="874" y="414"/>
                  </a:lnTo>
                  <a:lnTo>
                    <a:pt x="876" y="414"/>
                  </a:lnTo>
                  <a:lnTo>
                    <a:pt x="879" y="412"/>
                  </a:lnTo>
                  <a:lnTo>
                    <a:pt x="879" y="412"/>
                  </a:lnTo>
                  <a:lnTo>
                    <a:pt x="879" y="412"/>
                  </a:lnTo>
                  <a:lnTo>
                    <a:pt x="882" y="409"/>
                  </a:lnTo>
                  <a:lnTo>
                    <a:pt x="882" y="409"/>
                  </a:lnTo>
                  <a:lnTo>
                    <a:pt x="882" y="409"/>
                  </a:lnTo>
                  <a:lnTo>
                    <a:pt x="884" y="406"/>
                  </a:lnTo>
                  <a:lnTo>
                    <a:pt x="884" y="406"/>
                  </a:lnTo>
                  <a:lnTo>
                    <a:pt x="884" y="404"/>
                  </a:lnTo>
                  <a:lnTo>
                    <a:pt x="882" y="404"/>
                  </a:lnTo>
                  <a:lnTo>
                    <a:pt x="882" y="404"/>
                  </a:lnTo>
                  <a:lnTo>
                    <a:pt x="882" y="401"/>
                  </a:lnTo>
                  <a:lnTo>
                    <a:pt x="882" y="401"/>
                  </a:lnTo>
                  <a:lnTo>
                    <a:pt x="879" y="398"/>
                  </a:lnTo>
                  <a:lnTo>
                    <a:pt x="879" y="396"/>
                  </a:lnTo>
                  <a:lnTo>
                    <a:pt x="879" y="396"/>
                  </a:lnTo>
                  <a:lnTo>
                    <a:pt x="879" y="393"/>
                  </a:lnTo>
                  <a:lnTo>
                    <a:pt x="879" y="393"/>
                  </a:lnTo>
                  <a:lnTo>
                    <a:pt x="879" y="390"/>
                  </a:lnTo>
                  <a:lnTo>
                    <a:pt x="879" y="390"/>
                  </a:lnTo>
                  <a:lnTo>
                    <a:pt x="879" y="390"/>
                  </a:lnTo>
                  <a:lnTo>
                    <a:pt x="882" y="390"/>
                  </a:lnTo>
                  <a:lnTo>
                    <a:pt x="882" y="390"/>
                  </a:lnTo>
                  <a:lnTo>
                    <a:pt x="882" y="388"/>
                  </a:lnTo>
                  <a:lnTo>
                    <a:pt x="882" y="388"/>
                  </a:lnTo>
                  <a:lnTo>
                    <a:pt x="882" y="385"/>
                  </a:lnTo>
                  <a:lnTo>
                    <a:pt x="882" y="385"/>
                  </a:lnTo>
                  <a:lnTo>
                    <a:pt x="882" y="385"/>
                  </a:lnTo>
                  <a:lnTo>
                    <a:pt x="879" y="388"/>
                  </a:lnTo>
                  <a:lnTo>
                    <a:pt x="879" y="385"/>
                  </a:lnTo>
                  <a:lnTo>
                    <a:pt x="879" y="385"/>
                  </a:lnTo>
                  <a:lnTo>
                    <a:pt x="879" y="382"/>
                  </a:lnTo>
                  <a:lnTo>
                    <a:pt x="882" y="382"/>
                  </a:lnTo>
                  <a:lnTo>
                    <a:pt x="882" y="380"/>
                  </a:lnTo>
                  <a:lnTo>
                    <a:pt x="879" y="380"/>
                  </a:lnTo>
                  <a:lnTo>
                    <a:pt x="879" y="377"/>
                  </a:lnTo>
                  <a:lnTo>
                    <a:pt x="879" y="377"/>
                  </a:lnTo>
                  <a:lnTo>
                    <a:pt x="879" y="377"/>
                  </a:lnTo>
                  <a:lnTo>
                    <a:pt x="876" y="377"/>
                  </a:lnTo>
                  <a:lnTo>
                    <a:pt x="876" y="374"/>
                  </a:lnTo>
                  <a:lnTo>
                    <a:pt x="876" y="374"/>
                  </a:lnTo>
                  <a:lnTo>
                    <a:pt x="874" y="374"/>
                  </a:lnTo>
                  <a:lnTo>
                    <a:pt x="871" y="374"/>
                  </a:lnTo>
                  <a:lnTo>
                    <a:pt x="871" y="374"/>
                  </a:lnTo>
                  <a:lnTo>
                    <a:pt x="871" y="372"/>
                  </a:lnTo>
                  <a:lnTo>
                    <a:pt x="868" y="372"/>
                  </a:lnTo>
                  <a:lnTo>
                    <a:pt x="868" y="369"/>
                  </a:lnTo>
                  <a:lnTo>
                    <a:pt x="868" y="369"/>
                  </a:lnTo>
                  <a:lnTo>
                    <a:pt x="868" y="366"/>
                  </a:lnTo>
                  <a:lnTo>
                    <a:pt x="866" y="364"/>
                  </a:lnTo>
                  <a:lnTo>
                    <a:pt x="866" y="364"/>
                  </a:lnTo>
                  <a:lnTo>
                    <a:pt x="863" y="364"/>
                  </a:lnTo>
                  <a:lnTo>
                    <a:pt x="863" y="361"/>
                  </a:lnTo>
                  <a:lnTo>
                    <a:pt x="863" y="361"/>
                  </a:lnTo>
                  <a:lnTo>
                    <a:pt x="860" y="361"/>
                  </a:lnTo>
                  <a:lnTo>
                    <a:pt x="860" y="361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60" y="364"/>
                  </a:lnTo>
                  <a:lnTo>
                    <a:pt x="858" y="364"/>
                  </a:lnTo>
                  <a:lnTo>
                    <a:pt x="858" y="364"/>
                  </a:lnTo>
                  <a:lnTo>
                    <a:pt x="855" y="361"/>
                  </a:lnTo>
                  <a:lnTo>
                    <a:pt x="855" y="361"/>
                  </a:lnTo>
                  <a:lnTo>
                    <a:pt x="852" y="361"/>
                  </a:lnTo>
                  <a:lnTo>
                    <a:pt x="855" y="358"/>
                  </a:lnTo>
                  <a:lnTo>
                    <a:pt x="855" y="358"/>
                  </a:lnTo>
                  <a:lnTo>
                    <a:pt x="855" y="356"/>
                  </a:lnTo>
                  <a:lnTo>
                    <a:pt x="855" y="356"/>
                  </a:lnTo>
                  <a:lnTo>
                    <a:pt x="858" y="356"/>
                  </a:lnTo>
                  <a:lnTo>
                    <a:pt x="858" y="353"/>
                  </a:lnTo>
                  <a:lnTo>
                    <a:pt x="858" y="353"/>
                  </a:lnTo>
                  <a:lnTo>
                    <a:pt x="858" y="353"/>
                  </a:lnTo>
                  <a:lnTo>
                    <a:pt x="858" y="350"/>
                  </a:lnTo>
                  <a:lnTo>
                    <a:pt x="858" y="350"/>
                  </a:lnTo>
                  <a:lnTo>
                    <a:pt x="855" y="348"/>
                  </a:lnTo>
                  <a:lnTo>
                    <a:pt x="855" y="348"/>
                  </a:lnTo>
                  <a:lnTo>
                    <a:pt x="858" y="345"/>
                  </a:lnTo>
                  <a:lnTo>
                    <a:pt x="858" y="345"/>
                  </a:lnTo>
                  <a:lnTo>
                    <a:pt x="860" y="345"/>
                  </a:lnTo>
                  <a:lnTo>
                    <a:pt x="860" y="345"/>
                  </a:lnTo>
                  <a:lnTo>
                    <a:pt x="863" y="345"/>
                  </a:lnTo>
                  <a:lnTo>
                    <a:pt x="863" y="342"/>
                  </a:lnTo>
                  <a:lnTo>
                    <a:pt x="863" y="342"/>
                  </a:lnTo>
                  <a:lnTo>
                    <a:pt x="866" y="342"/>
                  </a:lnTo>
                  <a:lnTo>
                    <a:pt x="866" y="340"/>
                  </a:lnTo>
                  <a:lnTo>
                    <a:pt x="868" y="340"/>
                  </a:lnTo>
                  <a:lnTo>
                    <a:pt x="868" y="337"/>
                  </a:lnTo>
                  <a:lnTo>
                    <a:pt x="871" y="337"/>
                  </a:lnTo>
                  <a:lnTo>
                    <a:pt x="871" y="337"/>
                  </a:lnTo>
                  <a:lnTo>
                    <a:pt x="871" y="334"/>
                  </a:lnTo>
                  <a:lnTo>
                    <a:pt x="871" y="334"/>
                  </a:lnTo>
                  <a:lnTo>
                    <a:pt x="871" y="332"/>
                  </a:lnTo>
                  <a:lnTo>
                    <a:pt x="874" y="332"/>
                  </a:lnTo>
                  <a:lnTo>
                    <a:pt x="874" y="332"/>
                  </a:lnTo>
                  <a:lnTo>
                    <a:pt x="874" y="332"/>
                  </a:lnTo>
                  <a:lnTo>
                    <a:pt x="876" y="329"/>
                  </a:lnTo>
                  <a:lnTo>
                    <a:pt x="874" y="329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4" y="326"/>
                  </a:lnTo>
                  <a:lnTo>
                    <a:pt x="876" y="326"/>
                  </a:lnTo>
                  <a:lnTo>
                    <a:pt x="876" y="326"/>
                  </a:lnTo>
                  <a:lnTo>
                    <a:pt x="879" y="326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79" y="324"/>
                  </a:lnTo>
                  <a:lnTo>
                    <a:pt x="882" y="324"/>
                  </a:lnTo>
                  <a:lnTo>
                    <a:pt x="882" y="326"/>
                  </a:lnTo>
                  <a:lnTo>
                    <a:pt x="882" y="326"/>
                  </a:lnTo>
                  <a:lnTo>
                    <a:pt x="882" y="326"/>
                  </a:lnTo>
                  <a:lnTo>
                    <a:pt x="884" y="326"/>
                  </a:lnTo>
                  <a:lnTo>
                    <a:pt x="884" y="326"/>
                  </a:lnTo>
                  <a:lnTo>
                    <a:pt x="884" y="324"/>
                  </a:lnTo>
                  <a:lnTo>
                    <a:pt x="882" y="321"/>
                  </a:lnTo>
                  <a:lnTo>
                    <a:pt x="882" y="318"/>
                  </a:lnTo>
                  <a:lnTo>
                    <a:pt x="882" y="316"/>
                  </a:lnTo>
                  <a:lnTo>
                    <a:pt x="879" y="313"/>
                  </a:lnTo>
                  <a:lnTo>
                    <a:pt x="879" y="310"/>
                  </a:lnTo>
                  <a:lnTo>
                    <a:pt x="876" y="310"/>
                  </a:lnTo>
                  <a:lnTo>
                    <a:pt x="876" y="305"/>
                  </a:lnTo>
                  <a:lnTo>
                    <a:pt x="874" y="302"/>
                  </a:lnTo>
                  <a:lnTo>
                    <a:pt x="874" y="299"/>
                  </a:lnTo>
                  <a:lnTo>
                    <a:pt x="868" y="294"/>
                  </a:lnTo>
                  <a:lnTo>
                    <a:pt x="868" y="291"/>
                  </a:lnTo>
                  <a:lnTo>
                    <a:pt x="866" y="289"/>
                  </a:lnTo>
                  <a:lnTo>
                    <a:pt x="863" y="289"/>
                  </a:lnTo>
                  <a:lnTo>
                    <a:pt x="860" y="286"/>
                  </a:lnTo>
                  <a:lnTo>
                    <a:pt x="858" y="283"/>
                  </a:lnTo>
                  <a:lnTo>
                    <a:pt x="855" y="281"/>
                  </a:lnTo>
                  <a:lnTo>
                    <a:pt x="852" y="278"/>
                  </a:lnTo>
                  <a:lnTo>
                    <a:pt x="850" y="275"/>
                  </a:lnTo>
                  <a:lnTo>
                    <a:pt x="844" y="270"/>
                  </a:lnTo>
                  <a:lnTo>
                    <a:pt x="842" y="267"/>
                  </a:lnTo>
                  <a:lnTo>
                    <a:pt x="839" y="265"/>
                  </a:lnTo>
                  <a:lnTo>
                    <a:pt x="836" y="262"/>
                  </a:lnTo>
                  <a:lnTo>
                    <a:pt x="834" y="259"/>
                  </a:lnTo>
                  <a:lnTo>
                    <a:pt x="831" y="259"/>
                  </a:lnTo>
                  <a:lnTo>
                    <a:pt x="828" y="257"/>
                  </a:lnTo>
                  <a:lnTo>
                    <a:pt x="826" y="254"/>
                  </a:lnTo>
                  <a:lnTo>
                    <a:pt x="823" y="251"/>
                  </a:lnTo>
                  <a:lnTo>
                    <a:pt x="820" y="251"/>
                  </a:lnTo>
                  <a:lnTo>
                    <a:pt x="818" y="249"/>
                  </a:lnTo>
                  <a:lnTo>
                    <a:pt x="815" y="249"/>
                  </a:lnTo>
                  <a:lnTo>
                    <a:pt x="812" y="246"/>
                  </a:lnTo>
                  <a:lnTo>
                    <a:pt x="807" y="243"/>
                  </a:lnTo>
                  <a:lnTo>
                    <a:pt x="804" y="243"/>
                  </a:lnTo>
                  <a:lnTo>
                    <a:pt x="802" y="243"/>
                  </a:lnTo>
                  <a:lnTo>
                    <a:pt x="796" y="238"/>
                  </a:lnTo>
                  <a:lnTo>
                    <a:pt x="794" y="238"/>
                  </a:lnTo>
                  <a:lnTo>
                    <a:pt x="791" y="235"/>
                  </a:lnTo>
                  <a:lnTo>
                    <a:pt x="791" y="235"/>
                  </a:lnTo>
                  <a:lnTo>
                    <a:pt x="788" y="233"/>
                  </a:lnTo>
                  <a:lnTo>
                    <a:pt x="786" y="233"/>
                  </a:lnTo>
                  <a:lnTo>
                    <a:pt x="786" y="233"/>
                  </a:lnTo>
                  <a:lnTo>
                    <a:pt x="786" y="233"/>
                  </a:lnTo>
                  <a:lnTo>
                    <a:pt x="783" y="233"/>
                  </a:lnTo>
                  <a:lnTo>
                    <a:pt x="783" y="233"/>
                  </a:lnTo>
                  <a:lnTo>
                    <a:pt x="780" y="233"/>
                  </a:lnTo>
                  <a:lnTo>
                    <a:pt x="780" y="230"/>
                  </a:lnTo>
                  <a:lnTo>
                    <a:pt x="777" y="230"/>
                  </a:lnTo>
                  <a:lnTo>
                    <a:pt x="777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3" y="230"/>
                  </a:lnTo>
                  <a:lnTo>
                    <a:pt x="780" y="230"/>
                  </a:lnTo>
                  <a:lnTo>
                    <a:pt x="780" y="230"/>
                  </a:lnTo>
                  <a:lnTo>
                    <a:pt x="780" y="227"/>
                  </a:lnTo>
                  <a:lnTo>
                    <a:pt x="777" y="227"/>
                  </a:lnTo>
                  <a:lnTo>
                    <a:pt x="777" y="227"/>
                  </a:lnTo>
                  <a:lnTo>
                    <a:pt x="775" y="227"/>
                  </a:lnTo>
                  <a:lnTo>
                    <a:pt x="775" y="225"/>
                  </a:lnTo>
                  <a:lnTo>
                    <a:pt x="775" y="225"/>
                  </a:lnTo>
                  <a:lnTo>
                    <a:pt x="775" y="222"/>
                  </a:lnTo>
                  <a:lnTo>
                    <a:pt x="772" y="219"/>
                  </a:lnTo>
                  <a:lnTo>
                    <a:pt x="769" y="219"/>
                  </a:lnTo>
                  <a:lnTo>
                    <a:pt x="769" y="219"/>
                  </a:lnTo>
                  <a:lnTo>
                    <a:pt x="769" y="219"/>
                  </a:lnTo>
                  <a:lnTo>
                    <a:pt x="769" y="217"/>
                  </a:lnTo>
                  <a:lnTo>
                    <a:pt x="769" y="217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4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4" y="217"/>
                  </a:lnTo>
                  <a:lnTo>
                    <a:pt x="764" y="217"/>
                  </a:lnTo>
                  <a:lnTo>
                    <a:pt x="761" y="214"/>
                  </a:lnTo>
                  <a:lnTo>
                    <a:pt x="761" y="211"/>
                  </a:lnTo>
                  <a:lnTo>
                    <a:pt x="761" y="211"/>
                  </a:lnTo>
                  <a:lnTo>
                    <a:pt x="759" y="211"/>
                  </a:lnTo>
                  <a:lnTo>
                    <a:pt x="759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6" y="211"/>
                  </a:lnTo>
                  <a:lnTo>
                    <a:pt x="753" y="211"/>
                  </a:lnTo>
                  <a:lnTo>
                    <a:pt x="753" y="211"/>
                  </a:lnTo>
                  <a:lnTo>
                    <a:pt x="753" y="214"/>
                  </a:lnTo>
                  <a:lnTo>
                    <a:pt x="753" y="214"/>
                  </a:lnTo>
                  <a:lnTo>
                    <a:pt x="751" y="214"/>
                  </a:lnTo>
                  <a:lnTo>
                    <a:pt x="751" y="214"/>
                  </a:lnTo>
                  <a:lnTo>
                    <a:pt x="751" y="217"/>
                  </a:lnTo>
                  <a:lnTo>
                    <a:pt x="751" y="219"/>
                  </a:lnTo>
                  <a:lnTo>
                    <a:pt x="751" y="222"/>
                  </a:lnTo>
                  <a:lnTo>
                    <a:pt x="751" y="222"/>
                  </a:lnTo>
                  <a:lnTo>
                    <a:pt x="751" y="222"/>
                  </a:lnTo>
                  <a:lnTo>
                    <a:pt x="748" y="222"/>
                  </a:lnTo>
                  <a:lnTo>
                    <a:pt x="748" y="222"/>
                  </a:lnTo>
                  <a:lnTo>
                    <a:pt x="748" y="222"/>
                  </a:lnTo>
                  <a:lnTo>
                    <a:pt x="745" y="222"/>
                  </a:lnTo>
                  <a:lnTo>
                    <a:pt x="745" y="225"/>
                  </a:lnTo>
                  <a:lnTo>
                    <a:pt x="745" y="225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3" y="227"/>
                  </a:lnTo>
                  <a:lnTo>
                    <a:pt x="743" y="227"/>
                  </a:lnTo>
                  <a:lnTo>
                    <a:pt x="740" y="227"/>
                  </a:lnTo>
                  <a:lnTo>
                    <a:pt x="740" y="225"/>
                  </a:lnTo>
                  <a:lnTo>
                    <a:pt x="737" y="225"/>
                  </a:lnTo>
                  <a:lnTo>
                    <a:pt x="737" y="225"/>
                  </a:lnTo>
                  <a:lnTo>
                    <a:pt x="735" y="225"/>
                  </a:lnTo>
                  <a:lnTo>
                    <a:pt x="735" y="222"/>
                  </a:lnTo>
                  <a:lnTo>
                    <a:pt x="732" y="222"/>
                  </a:lnTo>
                  <a:lnTo>
                    <a:pt x="732" y="222"/>
                  </a:lnTo>
                  <a:lnTo>
                    <a:pt x="729" y="222"/>
                  </a:lnTo>
                  <a:lnTo>
                    <a:pt x="729" y="222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7" y="225"/>
                  </a:lnTo>
                  <a:lnTo>
                    <a:pt x="724" y="227"/>
                  </a:lnTo>
                  <a:lnTo>
                    <a:pt x="724" y="230"/>
                  </a:lnTo>
                  <a:lnTo>
                    <a:pt x="724" y="230"/>
                  </a:lnTo>
                  <a:lnTo>
                    <a:pt x="724" y="230"/>
                  </a:lnTo>
                  <a:lnTo>
                    <a:pt x="724" y="233"/>
                  </a:lnTo>
                  <a:lnTo>
                    <a:pt x="724" y="233"/>
                  </a:lnTo>
                  <a:lnTo>
                    <a:pt x="724" y="233"/>
                  </a:lnTo>
                  <a:lnTo>
                    <a:pt x="724" y="235"/>
                  </a:lnTo>
                  <a:lnTo>
                    <a:pt x="721" y="235"/>
                  </a:lnTo>
                  <a:lnTo>
                    <a:pt x="721" y="235"/>
                  </a:lnTo>
                  <a:lnTo>
                    <a:pt x="721" y="238"/>
                  </a:lnTo>
                  <a:lnTo>
                    <a:pt x="724" y="238"/>
                  </a:lnTo>
                  <a:lnTo>
                    <a:pt x="724" y="238"/>
                  </a:lnTo>
                  <a:lnTo>
                    <a:pt x="724" y="241"/>
                  </a:lnTo>
                  <a:lnTo>
                    <a:pt x="721" y="243"/>
                  </a:lnTo>
                  <a:lnTo>
                    <a:pt x="724" y="243"/>
                  </a:lnTo>
                  <a:lnTo>
                    <a:pt x="724" y="246"/>
                  </a:lnTo>
                  <a:lnTo>
                    <a:pt x="724" y="249"/>
                  </a:lnTo>
                  <a:lnTo>
                    <a:pt x="724" y="249"/>
                  </a:lnTo>
                  <a:lnTo>
                    <a:pt x="724" y="251"/>
                  </a:lnTo>
                  <a:lnTo>
                    <a:pt x="724" y="254"/>
                  </a:lnTo>
                  <a:lnTo>
                    <a:pt x="724" y="257"/>
                  </a:lnTo>
                  <a:lnTo>
                    <a:pt x="727" y="259"/>
                  </a:lnTo>
                  <a:lnTo>
                    <a:pt x="727" y="262"/>
                  </a:lnTo>
                  <a:lnTo>
                    <a:pt x="727" y="262"/>
                  </a:lnTo>
                  <a:lnTo>
                    <a:pt x="727" y="265"/>
                  </a:lnTo>
                  <a:lnTo>
                    <a:pt x="727" y="267"/>
                  </a:lnTo>
                  <a:lnTo>
                    <a:pt x="727" y="270"/>
                  </a:lnTo>
                  <a:lnTo>
                    <a:pt x="727" y="273"/>
                  </a:lnTo>
                  <a:lnTo>
                    <a:pt x="724" y="273"/>
                  </a:lnTo>
                  <a:lnTo>
                    <a:pt x="721" y="275"/>
                  </a:lnTo>
                  <a:lnTo>
                    <a:pt x="721" y="278"/>
                  </a:lnTo>
                  <a:lnTo>
                    <a:pt x="721" y="281"/>
                  </a:lnTo>
                  <a:lnTo>
                    <a:pt x="721" y="283"/>
                  </a:lnTo>
                  <a:lnTo>
                    <a:pt x="724" y="283"/>
                  </a:lnTo>
                  <a:lnTo>
                    <a:pt x="724" y="286"/>
                  </a:lnTo>
                  <a:lnTo>
                    <a:pt x="724" y="283"/>
                  </a:lnTo>
                  <a:lnTo>
                    <a:pt x="724" y="283"/>
                  </a:lnTo>
                  <a:lnTo>
                    <a:pt x="724" y="283"/>
                  </a:lnTo>
                  <a:lnTo>
                    <a:pt x="727" y="281"/>
                  </a:lnTo>
                  <a:lnTo>
                    <a:pt x="727" y="281"/>
                  </a:lnTo>
                  <a:lnTo>
                    <a:pt x="727" y="281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7" y="278"/>
                  </a:lnTo>
                  <a:lnTo>
                    <a:pt x="729" y="278"/>
                  </a:lnTo>
                  <a:lnTo>
                    <a:pt x="729" y="278"/>
                  </a:lnTo>
                  <a:lnTo>
                    <a:pt x="729" y="281"/>
                  </a:lnTo>
                  <a:lnTo>
                    <a:pt x="732" y="281"/>
                  </a:lnTo>
                  <a:lnTo>
                    <a:pt x="732" y="283"/>
                  </a:lnTo>
                  <a:lnTo>
                    <a:pt x="732" y="286"/>
                  </a:lnTo>
                  <a:lnTo>
                    <a:pt x="729" y="289"/>
                  </a:lnTo>
                  <a:lnTo>
                    <a:pt x="729" y="291"/>
                  </a:lnTo>
                  <a:lnTo>
                    <a:pt x="729" y="294"/>
                  </a:lnTo>
                  <a:lnTo>
                    <a:pt x="727" y="299"/>
                  </a:lnTo>
                  <a:lnTo>
                    <a:pt x="727" y="302"/>
                  </a:lnTo>
                  <a:lnTo>
                    <a:pt x="724" y="305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4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21" y="307"/>
                  </a:lnTo>
                  <a:lnTo>
                    <a:pt x="719" y="307"/>
                  </a:lnTo>
                  <a:lnTo>
                    <a:pt x="719" y="307"/>
                  </a:lnTo>
                  <a:lnTo>
                    <a:pt x="716" y="307"/>
                  </a:lnTo>
                  <a:lnTo>
                    <a:pt x="716" y="307"/>
                  </a:lnTo>
                  <a:lnTo>
                    <a:pt x="716" y="310"/>
                  </a:lnTo>
                  <a:lnTo>
                    <a:pt x="716" y="310"/>
                  </a:lnTo>
                  <a:lnTo>
                    <a:pt x="713" y="313"/>
                  </a:lnTo>
                  <a:lnTo>
                    <a:pt x="713" y="313"/>
                  </a:lnTo>
                  <a:lnTo>
                    <a:pt x="713" y="313"/>
                  </a:lnTo>
                  <a:lnTo>
                    <a:pt x="711" y="316"/>
                  </a:lnTo>
                  <a:lnTo>
                    <a:pt x="711" y="316"/>
                  </a:lnTo>
                  <a:lnTo>
                    <a:pt x="708" y="316"/>
                  </a:lnTo>
                  <a:lnTo>
                    <a:pt x="705" y="318"/>
                  </a:lnTo>
                  <a:lnTo>
                    <a:pt x="703" y="321"/>
                  </a:lnTo>
                  <a:lnTo>
                    <a:pt x="700" y="321"/>
                  </a:lnTo>
                  <a:lnTo>
                    <a:pt x="697" y="321"/>
                  </a:lnTo>
                  <a:lnTo>
                    <a:pt x="695" y="321"/>
                  </a:lnTo>
                  <a:lnTo>
                    <a:pt x="689" y="318"/>
                  </a:lnTo>
                  <a:lnTo>
                    <a:pt x="687" y="318"/>
                  </a:lnTo>
                  <a:lnTo>
                    <a:pt x="684" y="318"/>
                  </a:lnTo>
                  <a:lnTo>
                    <a:pt x="684" y="316"/>
                  </a:lnTo>
                  <a:lnTo>
                    <a:pt x="681" y="316"/>
                  </a:lnTo>
                  <a:lnTo>
                    <a:pt x="679" y="313"/>
                  </a:lnTo>
                  <a:lnTo>
                    <a:pt x="679" y="313"/>
                  </a:lnTo>
                  <a:lnTo>
                    <a:pt x="679" y="310"/>
                  </a:lnTo>
                  <a:lnTo>
                    <a:pt x="679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6" y="313"/>
                  </a:lnTo>
                  <a:lnTo>
                    <a:pt x="673" y="313"/>
                  </a:lnTo>
                  <a:lnTo>
                    <a:pt x="673" y="313"/>
                  </a:lnTo>
                  <a:lnTo>
                    <a:pt x="671" y="316"/>
                  </a:lnTo>
                  <a:lnTo>
                    <a:pt x="671" y="318"/>
                  </a:lnTo>
                  <a:lnTo>
                    <a:pt x="668" y="321"/>
                  </a:lnTo>
                  <a:lnTo>
                    <a:pt x="671" y="324"/>
                  </a:lnTo>
                  <a:lnTo>
                    <a:pt x="671" y="326"/>
                  </a:lnTo>
                  <a:lnTo>
                    <a:pt x="671" y="329"/>
                  </a:lnTo>
                  <a:lnTo>
                    <a:pt x="671" y="329"/>
                  </a:lnTo>
                  <a:lnTo>
                    <a:pt x="671" y="332"/>
                  </a:lnTo>
                  <a:lnTo>
                    <a:pt x="671" y="334"/>
                  </a:lnTo>
                  <a:lnTo>
                    <a:pt x="671" y="334"/>
                  </a:lnTo>
                  <a:lnTo>
                    <a:pt x="671" y="337"/>
                  </a:lnTo>
                  <a:lnTo>
                    <a:pt x="671" y="337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8" y="340"/>
                  </a:lnTo>
                  <a:lnTo>
                    <a:pt x="665" y="340"/>
                  </a:lnTo>
                  <a:lnTo>
                    <a:pt x="665" y="342"/>
                  </a:lnTo>
                  <a:lnTo>
                    <a:pt x="663" y="342"/>
                  </a:lnTo>
                  <a:lnTo>
                    <a:pt x="663" y="342"/>
                  </a:lnTo>
                  <a:lnTo>
                    <a:pt x="663" y="345"/>
                  </a:lnTo>
                  <a:lnTo>
                    <a:pt x="663" y="345"/>
                  </a:lnTo>
                  <a:lnTo>
                    <a:pt x="660" y="345"/>
                  </a:lnTo>
                  <a:lnTo>
                    <a:pt x="660" y="345"/>
                  </a:lnTo>
                  <a:lnTo>
                    <a:pt x="657" y="345"/>
                  </a:lnTo>
                  <a:lnTo>
                    <a:pt x="657" y="345"/>
                  </a:lnTo>
                  <a:lnTo>
                    <a:pt x="657" y="345"/>
                  </a:lnTo>
                  <a:lnTo>
                    <a:pt x="655" y="345"/>
                  </a:lnTo>
                  <a:lnTo>
                    <a:pt x="655" y="345"/>
                  </a:lnTo>
                  <a:lnTo>
                    <a:pt x="652" y="345"/>
                  </a:lnTo>
                  <a:lnTo>
                    <a:pt x="652" y="345"/>
                  </a:lnTo>
                  <a:lnTo>
                    <a:pt x="649" y="342"/>
                  </a:lnTo>
                  <a:lnTo>
                    <a:pt x="649" y="342"/>
                  </a:lnTo>
                  <a:lnTo>
                    <a:pt x="647" y="340"/>
                  </a:lnTo>
                  <a:lnTo>
                    <a:pt x="647" y="340"/>
                  </a:lnTo>
                  <a:lnTo>
                    <a:pt x="647" y="337"/>
                  </a:lnTo>
                  <a:lnTo>
                    <a:pt x="644" y="337"/>
                  </a:lnTo>
                  <a:lnTo>
                    <a:pt x="644" y="334"/>
                  </a:lnTo>
                  <a:lnTo>
                    <a:pt x="641" y="334"/>
                  </a:lnTo>
                  <a:lnTo>
                    <a:pt x="641" y="334"/>
                  </a:lnTo>
                  <a:lnTo>
                    <a:pt x="636" y="332"/>
                  </a:lnTo>
                  <a:lnTo>
                    <a:pt x="636" y="329"/>
                  </a:lnTo>
                  <a:lnTo>
                    <a:pt x="636" y="329"/>
                  </a:lnTo>
                  <a:lnTo>
                    <a:pt x="636" y="326"/>
                  </a:lnTo>
                  <a:lnTo>
                    <a:pt x="639" y="324"/>
                  </a:lnTo>
                  <a:lnTo>
                    <a:pt x="641" y="321"/>
                  </a:lnTo>
                  <a:lnTo>
                    <a:pt x="641" y="318"/>
                  </a:lnTo>
                  <a:lnTo>
                    <a:pt x="641" y="318"/>
                  </a:lnTo>
                  <a:lnTo>
                    <a:pt x="641" y="316"/>
                  </a:lnTo>
                  <a:lnTo>
                    <a:pt x="641" y="316"/>
                  </a:lnTo>
                  <a:lnTo>
                    <a:pt x="641" y="313"/>
                  </a:lnTo>
                  <a:lnTo>
                    <a:pt x="641" y="310"/>
                  </a:lnTo>
                  <a:lnTo>
                    <a:pt x="644" y="310"/>
                  </a:lnTo>
                  <a:lnTo>
                    <a:pt x="644" y="307"/>
                  </a:lnTo>
                  <a:lnTo>
                    <a:pt x="644" y="307"/>
                  </a:lnTo>
                  <a:lnTo>
                    <a:pt x="647" y="307"/>
                  </a:lnTo>
                  <a:lnTo>
                    <a:pt x="647" y="307"/>
                  </a:lnTo>
                  <a:lnTo>
                    <a:pt x="649" y="305"/>
                  </a:lnTo>
                  <a:lnTo>
                    <a:pt x="649" y="302"/>
                  </a:lnTo>
                  <a:lnTo>
                    <a:pt x="652" y="302"/>
                  </a:lnTo>
                  <a:lnTo>
                    <a:pt x="652" y="302"/>
                  </a:lnTo>
                  <a:lnTo>
                    <a:pt x="652" y="302"/>
                  </a:lnTo>
                  <a:lnTo>
                    <a:pt x="655" y="305"/>
                  </a:lnTo>
                  <a:lnTo>
                    <a:pt x="655" y="305"/>
                  </a:lnTo>
                  <a:lnTo>
                    <a:pt x="657" y="305"/>
                  </a:lnTo>
                  <a:lnTo>
                    <a:pt x="660" y="307"/>
                  </a:lnTo>
                  <a:lnTo>
                    <a:pt x="660" y="305"/>
                  </a:lnTo>
                  <a:lnTo>
                    <a:pt x="660" y="305"/>
                  </a:lnTo>
                  <a:lnTo>
                    <a:pt x="663" y="302"/>
                  </a:lnTo>
                  <a:lnTo>
                    <a:pt x="663" y="302"/>
                  </a:lnTo>
                  <a:lnTo>
                    <a:pt x="663" y="299"/>
                  </a:lnTo>
                  <a:lnTo>
                    <a:pt x="663" y="299"/>
                  </a:lnTo>
                  <a:lnTo>
                    <a:pt x="660" y="297"/>
                  </a:lnTo>
                  <a:lnTo>
                    <a:pt x="660" y="297"/>
                  </a:lnTo>
                  <a:lnTo>
                    <a:pt x="660" y="297"/>
                  </a:lnTo>
                  <a:lnTo>
                    <a:pt x="660" y="294"/>
                  </a:lnTo>
                  <a:lnTo>
                    <a:pt x="663" y="294"/>
                  </a:lnTo>
                  <a:lnTo>
                    <a:pt x="660" y="291"/>
                  </a:lnTo>
                  <a:lnTo>
                    <a:pt x="660" y="291"/>
                  </a:lnTo>
                  <a:lnTo>
                    <a:pt x="660" y="289"/>
                  </a:lnTo>
                  <a:lnTo>
                    <a:pt x="660" y="286"/>
                  </a:lnTo>
                  <a:lnTo>
                    <a:pt x="657" y="283"/>
                  </a:lnTo>
                  <a:lnTo>
                    <a:pt x="657" y="283"/>
                  </a:lnTo>
                  <a:lnTo>
                    <a:pt x="657" y="281"/>
                  </a:lnTo>
                  <a:lnTo>
                    <a:pt x="657" y="281"/>
                  </a:lnTo>
                  <a:lnTo>
                    <a:pt x="655" y="278"/>
                  </a:lnTo>
                  <a:lnTo>
                    <a:pt x="655" y="278"/>
                  </a:lnTo>
                  <a:lnTo>
                    <a:pt x="652" y="275"/>
                  </a:lnTo>
                  <a:lnTo>
                    <a:pt x="652" y="273"/>
                  </a:lnTo>
                  <a:lnTo>
                    <a:pt x="652" y="273"/>
                  </a:lnTo>
                  <a:lnTo>
                    <a:pt x="655" y="273"/>
                  </a:lnTo>
                  <a:lnTo>
                    <a:pt x="655" y="273"/>
                  </a:lnTo>
                  <a:lnTo>
                    <a:pt x="657" y="273"/>
                  </a:lnTo>
                  <a:lnTo>
                    <a:pt x="657" y="273"/>
                  </a:lnTo>
                  <a:lnTo>
                    <a:pt x="660" y="273"/>
                  </a:lnTo>
                  <a:lnTo>
                    <a:pt x="663" y="275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5" y="278"/>
                  </a:lnTo>
                  <a:lnTo>
                    <a:pt x="665" y="278"/>
                  </a:lnTo>
                  <a:lnTo>
                    <a:pt x="668" y="278"/>
                  </a:lnTo>
                  <a:lnTo>
                    <a:pt x="668" y="278"/>
                  </a:lnTo>
                  <a:lnTo>
                    <a:pt x="668" y="275"/>
                  </a:lnTo>
                  <a:lnTo>
                    <a:pt x="668" y="275"/>
                  </a:lnTo>
                  <a:lnTo>
                    <a:pt x="665" y="275"/>
                  </a:lnTo>
                  <a:lnTo>
                    <a:pt x="665" y="273"/>
                  </a:lnTo>
                  <a:lnTo>
                    <a:pt x="665" y="273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0" y="270"/>
                  </a:lnTo>
                  <a:lnTo>
                    <a:pt x="657" y="270"/>
                  </a:lnTo>
                  <a:lnTo>
                    <a:pt x="657" y="270"/>
                  </a:lnTo>
                  <a:lnTo>
                    <a:pt x="655" y="267"/>
                  </a:lnTo>
                  <a:lnTo>
                    <a:pt x="652" y="267"/>
                  </a:lnTo>
                  <a:lnTo>
                    <a:pt x="652" y="267"/>
                  </a:lnTo>
                  <a:lnTo>
                    <a:pt x="649" y="267"/>
                  </a:lnTo>
                  <a:lnTo>
                    <a:pt x="644" y="267"/>
                  </a:lnTo>
                  <a:lnTo>
                    <a:pt x="641" y="267"/>
                  </a:lnTo>
                  <a:lnTo>
                    <a:pt x="639" y="267"/>
                  </a:lnTo>
                  <a:lnTo>
                    <a:pt x="633" y="267"/>
                  </a:lnTo>
                  <a:lnTo>
                    <a:pt x="631" y="267"/>
                  </a:lnTo>
                  <a:lnTo>
                    <a:pt x="628" y="270"/>
                  </a:lnTo>
                  <a:lnTo>
                    <a:pt x="628" y="270"/>
                  </a:lnTo>
                  <a:lnTo>
                    <a:pt x="625" y="273"/>
                  </a:lnTo>
                  <a:lnTo>
                    <a:pt x="625" y="273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8"/>
                  </a:lnTo>
                  <a:lnTo>
                    <a:pt x="623" y="278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1"/>
                  </a:lnTo>
                  <a:lnTo>
                    <a:pt x="625" y="283"/>
                  </a:lnTo>
                  <a:lnTo>
                    <a:pt x="628" y="283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0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3" y="286"/>
                  </a:lnTo>
                  <a:lnTo>
                    <a:pt x="625" y="286"/>
                  </a:lnTo>
                  <a:lnTo>
                    <a:pt x="625" y="286"/>
                  </a:lnTo>
                  <a:lnTo>
                    <a:pt x="625" y="283"/>
                  </a:lnTo>
                  <a:lnTo>
                    <a:pt x="625" y="283"/>
                  </a:lnTo>
                  <a:lnTo>
                    <a:pt x="623" y="283"/>
                  </a:lnTo>
                  <a:lnTo>
                    <a:pt x="623" y="283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81"/>
                  </a:lnTo>
                  <a:lnTo>
                    <a:pt x="623" y="278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3" y="273"/>
                  </a:lnTo>
                  <a:lnTo>
                    <a:pt x="625" y="270"/>
                  </a:lnTo>
                  <a:lnTo>
                    <a:pt x="625" y="270"/>
                  </a:lnTo>
                  <a:lnTo>
                    <a:pt x="623" y="270"/>
                  </a:lnTo>
                  <a:lnTo>
                    <a:pt x="623" y="267"/>
                  </a:lnTo>
                  <a:lnTo>
                    <a:pt x="620" y="270"/>
                  </a:lnTo>
                  <a:lnTo>
                    <a:pt x="617" y="270"/>
                  </a:lnTo>
                  <a:lnTo>
                    <a:pt x="615" y="270"/>
                  </a:lnTo>
                  <a:lnTo>
                    <a:pt x="612" y="270"/>
                  </a:lnTo>
                  <a:lnTo>
                    <a:pt x="612" y="270"/>
                  </a:lnTo>
                  <a:lnTo>
                    <a:pt x="612" y="273"/>
                  </a:lnTo>
                  <a:lnTo>
                    <a:pt x="612" y="273"/>
                  </a:lnTo>
                  <a:lnTo>
                    <a:pt x="612" y="273"/>
                  </a:lnTo>
                  <a:lnTo>
                    <a:pt x="612" y="275"/>
                  </a:lnTo>
                  <a:lnTo>
                    <a:pt x="612" y="275"/>
                  </a:lnTo>
                  <a:lnTo>
                    <a:pt x="609" y="275"/>
                  </a:lnTo>
                  <a:lnTo>
                    <a:pt x="607" y="275"/>
                  </a:lnTo>
                  <a:lnTo>
                    <a:pt x="604" y="275"/>
                  </a:lnTo>
                  <a:lnTo>
                    <a:pt x="601" y="275"/>
                  </a:lnTo>
                  <a:lnTo>
                    <a:pt x="599" y="275"/>
                  </a:lnTo>
                  <a:lnTo>
                    <a:pt x="599" y="275"/>
                  </a:lnTo>
                  <a:lnTo>
                    <a:pt x="596" y="275"/>
                  </a:lnTo>
                  <a:lnTo>
                    <a:pt x="596" y="275"/>
                  </a:lnTo>
                  <a:lnTo>
                    <a:pt x="593" y="275"/>
                  </a:lnTo>
                  <a:lnTo>
                    <a:pt x="593" y="275"/>
                  </a:lnTo>
                  <a:lnTo>
                    <a:pt x="591" y="278"/>
                  </a:lnTo>
                  <a:lnTo>
                    <a:pt x="591" y="278"/>
                  </a:lnTo>
                  <a:lnTo>
                    <a:pt x="588" y="278"/>
                  </a:lnTo>
                  <a:lnTo>
                    <a:pt x="588" y="281"/>
                  </a:lnTo>
                  <a:lnTo>
                    <a:pt x="585" y="281"/>
                  </a:lnTo>
                  <a:lnTo>
                    <a:pt x="585" y="283"/>
                  </a:lnTo>
                  <a:lnTo>
                    <a:pt x="585" y="283"/>
                  </a:lnTo>
                  <a:lnTo>
                    <a:pt x="583" y="286"/>
                  </a:lnTo>
                  <a:lnTo>
                    <a:pt x="583" y="286"/>
                  </a:lnTo>
                  <a:lnTo>
                    <a:pt x="583" y="286"/>
                  </a:lnTo>
                  <a:lnTo>
                    <a:pt x="580" y="286"/>
                  </a:lnTo>
                  <a:lnTo>
                    <a:pt x="580" y="286"/>
                  </a:lnTo>
                  <a:lnTo>
                    <a:pt x="577" y="286"/>
                  </a:lnTo>
                  <a:lnTo>
                    <a:pt x="575" y="286"/>
                  </a:lnTo>
                  <a:lnTo>
                    <a:pt x="572" y="286"/>
                  </a:lnTo>
                  <a:lnTo>
                    <a:pt x="569" y="286"/>
                  </a:lnTo>
                  <a:lnTo>
                    <a:pt x="569" y="286"/>
                  </a:lnTo>
                  <a:lnTo>
                    <a:pt x="567" y="286"/>
                  </a:lnTo>
                  <a:lnTo>
                    <a:pt x="564" y="283"/>
                  </a:lnTo>
                  <a:lnTo>
                    <a:pt x="564" y="281"/>
                  </a:lnTo>
                  <a:lnTo>
                    <a:pt x="561" y="278"/>
                  </a:lnTo>
                  <a:lnTo>
                    <a:pt x="561" y="278"/>
                  </a:lnTo>
                  <a:lnTo>
                    <a:pt x="561" y="275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0"/>
                  </a:lnTo>
                  <a:lnTo>
                    <a:pt x="556" y="270"/>
                  </a:lnTo>
                  <a:lnTo>
                    <a:pt x="556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3" y="270"/>
                  </a:lnTo>
                  <a:lnTo>
                    <a:pt x="551" y="270"/>
                  </a:lnTo>
                  <a:lnTo>
                    <a:pt x="551" y="273"/>
                  </a:lnTo>
                  <a:lnTo>
                    <a:pt x="551" y="273"/>
                  </a:lnTo>
                  <a:lnTo>
                    <a:pt x="548" y="273"/>
                  </a:lnTo>
                  <a:lnTo>
                    <a:pt x="548" y="273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3" y="270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48" y="267"/>
                  </a:lnTo>
                  <a:lnTo>
                    <a:pt x="545" y="267"/>
                  </a:lnTo>
                  <a:lnTo>
                    <a:pt x="545" y="267"/>
                  </a:lnTo>
                  <a:lnTo>
                    <a:pt x="543" y="267"/>
                  </a:lnTo>
                  <a:lnTo>
                    <a:pt x="543" y="265"/>
                  </a:lnTo>
                  <a:lnTo>
                    <a:pt x="540" y="265"/>
                  </a:lnTo>
                  <a:lnTo>
                    <a:pt x="540" y="262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7" y="257"/>
                  </a:lnTo>
                  <a:lnTo>
                    <a:pt x="534" y="257"/>
                  </a:lnTo>
                  <a:lnTo>
                    <a:pt x="534" y="257"/>
                  </a:lnTo>
                  <a:lnTo>
                    <a:pt x="534" y="254"/>
                  </a:lnTo>
                  <a:lnTo>
                    <a:pt x="532" y="254"/>
                  </a:lnTo>
                  <a:lnTo>
                    <a:pt x="532" y="254"/>
                  </a:lnTo>
                  <a:lnTo>
                    <a:pt x="532" y="254"/>
                  </a:lnTo>
                  <a:lnTo>
                    <a:pt x="529" y="254"/>
                  </a:lnTo>
                  <a:lnTo>
                    <a:pt x="529" y="257"/>
                  </a:lnTo>
                  <a:lnTo>
                    <a:pt x="529" y="257"/>
                  </a:lnTo>
                  <a:lnTo>
                    <a:pt x="526" y="257"/>
                  </a:lnTo>
                  <a:lnTo>
                    <a:pt x="526" y="257"/>
                  </a:lnTo>
                  <a:lnTo>
                    <a:pt x="524" y="257"/>
                  </a:lnTo>
                  <a:lnTo>
                    <a:pt x="524" y="257"/>
                  </a:lnTo>
                  <a:lnTo>
                    <a:pt x="521" y="257"/>
                  </a:lnTo>
                  <a:lnTo>
                    <a:pt x="518" y="257"/>
                  </a:lnTo>
                  <a:lnTo>
                    <a:pt x="516" y="259"/>
                  </a:lnTo>
                  <a:lnTo>
                    <a:pt x="516" y="257"/>
                  </a:lnTo>
                  <a:lnTo>
                    <a:pt x="516" y="257"/>
                  </a:lnTo>
                  <a:lnTo>
                    <a:pt x="513" y="257"/>
                  </a:lnTo>
                  <a:lnTo>
                    <a:pt x="513" y="254"/>
                  </a:lnTo>
                  <a:lnTo>
                    <a:pt x="510" y="254"/>
                  </a:lnTo>
                  <a:lnTo>
                    <a:pt x="510" y="254"/>
                  </a:lnTo>
                  <a:lnTo>
                    <a:pt x="510" y="254"/>
                  </a:lnTo>
                  <a:lnTo>
                    <a:pt x="508" y="254"/>
                  </a:lnTo>
                  <a:lnTo>
                    <a:pt x="505" y="254"/>
                  </a:lnTo>
                  <a:lnTo>
                    <a:pt x="505" y="254"/>
                  </a:lnTo>
                  <a:lnTo>
                    <a:pt x="502" y="254"/>
                  </a:lnTo>
                  <a:lnTo>
                    <a:pt x="500" y="254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500" y="257"/>
                  </a:lnTo>
                  <a:lnTo>
                    <a:pt x="497" y="257"/>
                  </a:lnTo>
                  <a:lnTo>
                    <a:pt x="497" y="257"/>
                  </a:lnTo>
                  <a:lnTo>
                    <a:pt x="497" y="257"/>
                  </a:lnTo>
                  <a:lnTo>
                    <a:pt x="494" y="257"/>
                  </a:lnTo>
                  <a:lnTo>
                    <a:pt x="494" y="257"/>
                  </a:lnTo>
                  <a:lnTo>
                    <a:pt x="494" y="257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92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9" y="259"/>
                  </a:lnTo>
                  <a:lnTo>
                    <a:pt x="486" y="259"/>
                  </a:lnTo>
                  <a:lnTo>
                    <a:pt x="486" y="262"/>
                  </a:lnTo>
                  <a:lnTo>
                    <a:pt x="484" y="262"/>
                  </a:lnTo>
                  <a:lnTo>
                    <a:pt x="481" y="265"/>
                  </a:lnTo>
                  <a:lnTo>
                    <a:pt x="481" y="265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81" y="267"/>
                  </a:lnTo>
                  <a:lnTo>
                    <a:pt x="481" y="270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67"/>
                  </a:lnTo>
                  <a:lnTo>
                    <a:pt x="478" y="270"/>
                  </a:lnTo>
                  <a:lnTo>
                    <a:pt x="478" y="270"/>
                  </a:lnTo>
                  <a:lnTo>
                    <a:pt x="478" y="273"/>
                  </a:lnTo>
                  <a:lnTo>
                    <a:pt x="478" y="273"/>
                  </a:lnTo>
                  <a:lnTo>
                    <a:pt x="478" y="275"/>
                  </a:lnTo>
                  <a:lnTo>
                    <a:pt x="478" y="275"/>
                  </a:lnTo>
                  <a:lnTo>
                    <a:pt x="476" y="275"/>
                  </a:lnTo>
                  <a:lnTo>
                    <a:pt x="476" y="278"/>
                  </a:lnTo>
                  <a:lnTo>
                    <a:pt x="473" y="278"/>
                  </a:lnTo>
                  <a:lnTo>
                    <a:pt x="473" y="278"/>
                  </a:lnTo>
                  <a:lnTo>
                    <a:pt x="473" y="281"/>
                  </a:lnTo>
                  <a:lnTo>
                    <a:pt x="473" y="281"/>
                  </a:lnTo>
                  <a:lnTo>
                    <a:pt x="470" y="283"/>
                  </a:lnTo>
                  <a:lnTo>
                    <a:pt x="470" y="283"/>
                  </a:lnTo>
                  <a:lnTo>
                    <a:pt x="470" y="281"/>
                  </a:lnTo>
                  <a:lnTo>
                    <a:pt x="468" y="281"/>
                  </a:lnTo>
                  <a:lnTo>
                    <a:pt x="468" y="281"/>
                  </a:lnTo>
                  <a:lnTo>
                    <a:pt x="465" y="278"/>
                  </a:lnTo>
                  <a:lnTo>
                    <a:pt x="465" y="278"/>
                  </a:lnTo>
                  <a:lnTo>
                    <a:pt x="465" y="278"/>
                  </a:lnTo>
                  <a:lnTo>
                    <a:pt x="465" y="275"/>
                  </a:lnTo>
                  <a:lnTo>
                    <a:pt x="465" y="275"/>
                  </a:lnTo>
                  <a:lnTo>
                    <a:pt x="462" y="275"/>
                  </a:lnTo>
                  <a:lnTo>
                    <a:pt x="465" y="275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5" y="273"/>
                  </a:lnTo>
                  <a:lnTo>
                    <a:pt x="465" y="270"/>
                  </a:lnTo>
                  <a:lnTo>
                    <a:pt x="465" y="267"/>
                  </a:lnTo>
                  <a:lnTo>
                    <a:pt x="465" y="265"/>
                  </a:lnTo>
                  <a:lnTo>
                    <a:pt x="465" y="265"/>
                  </a:lnTo>
                  <a:lnTo>
                    <a:pt x="465" y="262"/>
                  </a:lnTo>
                  <a:lnTo>
                    <a:pt x="465" y="262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2" y="262"/>
                  </a:lnTo>
                  <a:lnTo>
                    <a:pt x="460" y="265"/>
                  </a:lnTo>
                  <a:lnTo>
                    <a:pt x="460" y="265"/>
                  </a:lnTo>
                  <a:lnTo>
                    <a:pt x="457" y="265"/>
                  </a:lnTo>
                  <a:lnTo>
                    <a:pt x="457" y="265"/>
                  </a:lnTo>
                  <a:lnTo>
                    <a:pt x="457" y="265"/>
                  </a:lnTo>
                  <a:lnTo>
                    <a:pt x="454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52" y="265"/>
                  </a:lnTo>
                  <a:lnTo>
                    <a:pt x="449" y="262"/>
                  </a:lnTo>
                  <a:lnTo>
                    <a:pt x="452" y="262"/>
                  </a:lnTo>
                  <a:lnTo>
                    <a:pt x="452" y="262"/>
                  </a:lnTo>
                  <a:lnTo>
                    <a:pt x="452" y="259"/>
                  </a:lnTo>
                  <a:lnTo>
                    <a:pt x="452" y="259"/>
                  </a:lnTo>
                  <a:lnTo>
                    <a:pt x="452" y="259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4" y="257"/>
                  </a:lnTo>
                  <a:lnTo>
                    <a:pt x="452" y="257"/>
                  </a:lnTo>
                  <a:lnTo>
                    <a:pt x="452" y="257"/>
                  </a:lnTo>
                  <a:lnTo>
                    <a:pt x="452" y="257"/>
                  </a:lnTo>
                  <a:lnTo>
                    <a:pt x="449" y="257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6" y="259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62"/>
                  </a:lnTo>
                  <a:lnTo>
                    <a:pt x="444" y="259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41" y="262"/>
                  </a:lnTo>
                  <a:lnTo>
                    <a:pt x="438" y="262"/>
                  </a:lnTo>
                  <a:lnTo>
                    <a:pt x="438" y="259"/>
                  </a:lnTo>
                  <a:lnTo>
                    <a:pt x="438" y="259"/>
                  </a:lnTo>
                  <a:lnTo>
                    <a:pt x="438" y="259"/>
                  </a:lnTo>
                  <a:lnTo>
                    <a:pt x="436" y="259"/>
                  </a:lnTo>
                  <a:lnTo>
                    <a:pt x="436" y="259"/>
                  </a:lnTo>
                  <a:lnTo>
                    <a:pt x="438" y="259"/>
                  </a:lnTo>
                  <a:lnTo>
                    <a:pt x="438" y="257"/>
                  </a:lnTo>
                  <a:lnTo>
                    <a:pt x="438" y="257"/>
                  </a:lnTo>
                  <a:lnTo>
                    <a:pt x="438" y="257"/>
                  </a:lnTo>
                  <a:lnTo>
                    <a:pt x="436" y="257"/>
                  </a:lnTo>
                  <a:lnTo>
                    <a:pt x="436" y="254"/>
                  </a:lnTo>
                  <a:lnTo>
                    <a:pt x="436" y="254"/>
                  </a:lnTo>
                  <a:lnTo>
                    <a:pt x="433" y="254"/>
                  </a:lnTo>
                  <a:lnTo>
                    <a:pt x="433" y="251"/>
                  </a:lnTo>
                  <a:lnTo>
                    <a:pt x="430" y="251"/>
                  </a:lnTo>
                  <a:lnTo>
                    <a:pt x="430" y="251"/>
                  </a:lnTo>
                  <a:lnTo>
                    <a:pt x="428" y="251"/>
                  </a:lnTo>
                  <a:lnTo>
                    <a:pt x="428" y="249"/>
                  </a:lnTo>
                  <a:lnTo>
                    <a:pt x="428" y="249"/>
                  </a:lnTo>
                  <a:lnTo>
                    <a:pt x="428" y="249"/>
                  </a:lnTo>
                  <a:lnTo>
                    <a:pt x="425" y="249"/>
                  </a:lnTo>
                  <a:lnTo>
                    <a:pt x="425" y="249"/>
                  </a:lnTo>
                  <a:lnTo>
                    <a:pt x="422" y="249"/>
                  </a:lnTo>
                  <a:lnTo>
                    <a:pt x="420" y="249"/>
                  </a:lnTo>
                  <a:lnTo>
                    <a:pt x="420" y="249"/>
                  </a:lnTo>
                  <a:lnTo>
                    <a:pt x="420" y="249"/>
                  </a:lnTo>
                  <a:lnTo>
                    <a:pt x="417" y="246"/>
                  </a:lnTo>
                  <a:lnTo>
                    <a:pt x="417" y="246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7" y="241"/>
                  </a:lnTo>
                  <a:lnTo>
                    <a:pt x="417" y="241"/>
                  </a:lnTo>
                  <a:lnTo>
                    <a:pt x="420" y="241"/>
                  </a:lnTo>
                  <a:lnTo>
                    <a:pt x="420" y="238"/>
                  </a:lnTo>
                  <a:lnTo>
                    <a:pt x="422" y="238"/>
                  </a:lnTo>
                  <a:lnTo>
                    <a:pt x="422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5" y="238"/>
                  </a:lnTo>
                  <a:lnTo>
                    <a:pt x="428" y="238"/>
                  </a:lnTo>
                  <a:lnTo>
                    <a:pt x="428" y="238"/>
                  </a:lnTo>
                  <a:lnTo>
                    <a:pt x="428" y="238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33" y="238"/>
                  </a:lnTo>
                  <a:lnTo>
                    <a:pt x="433" y="241"/>
                  </a:lnTo>
                  <a:lnTo>
                    <a:pt x="433" y="241"/>
                  </a:lnTo>
                  <a:lnTo>
                    <a:pt x="433" y="241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6"/>
                  </a:lnTo>
                  <a:lnTo>
                    <a:pt x="436" y="243"/>
                  </a:lnTo>
                  <a:lnTo>
                    <a:pt x="436" y="243"/>
                  </a:lnTo>
                  <a:lnTo>
                    <a:pt x="436" y="241"/>
                  </a:lnTo>
                  <a:lnTo>
                    <a:pt x="436" y="241"/>
                  </a:lnTo>
                  <a:lnTo>
                    <a:pt x="438" y="241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8"/>
                  </a:lnTo>
                  <a:lnTo>
                    <a:pt x="436" y="235"/>
                  </a:lnTo>
                  <a:lnTo>
                    <a:pt x="436" y="238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41"/>
                  </a:lnTo>
                  <a:lnTo>
                    <a:pt x="438" y="241"/>
                  </a:lnTo>
                  <a:lnTo>
                    <a:pt x="441" y="243"/>
                  </a:lnTo>
                  <a:lnTo>
                    <a:pt x="441" y="246"/>
                  </a:lnTo>
                  <a:lnTo>
                    <a:pt x="441" y="246"/>
                  </a:lnTo>
                  <a:lnTo>
                    <a:pt x="441" y="246"/>
                  </a:lnTo>
                  <a:lnTo>
                    <a:pt x="441" y="243"/>
                  </a:lnTo>
                  <a:lnTo>
                    <a:pt x="444" y="243"/>
                  </a:lnTo>
                  <a:lnTo>
                    <a:pt x="444" y="243"/>
                  </a:lnTo>
                  <a:lnTo>
                    <a:pt x="444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6" y="243"/>
                  </a:lnTo>
                  <a:lnTo>
                    <a:pt x="449" y="243"/>
                  </a:lnTo>
                  <a:lnTo>
                    <a:pt x="449" y="241"/>
                  </a:lnTo>
                  <a:lnTo>
                    <a:pt x="449" y="241"/>
                  </a:lnTo>
                  <a:lnTo>
                    <a:pt x="449" y="238"/>
                  </a:lnTo>
                  <a:lnTo>
                    <a:pt x="452" y="238"/>
                  </a:lnTo>
                  <a:lnTo>
                    <a:pt x="452" y="238"/>
                  </a:lnTo>
                  <a:lnTo>
                    <a:pt x="452" y="238"/>
                  </a:lnTo>
                  <a:lnTo>
                    <a:pt x="452" y="235"/>
                  </a:lnTo>
                  <a:lnTo>
                    <a:pt x="452" y="233"/>
                  </a:lnTo>
                  <a:lnTo>
                    <a:pt x="454" y="233"/>
                  </a:lnTo>
                  <a:lnTo>
                    <a:pt x="454" y="230"/>
                  </a:lnTo>
                  <a:lnTo>
                    <a:pt x="454" y="227"/>
                  </a:lnTo>
                  <a:lnTo>
                    <a:pt x="454" y="227"/>
                  </a:lnTo>
                  <a:lnTo>
                    <a:pt x="452" y="225"/>
                  </a:lnTo>
                  <a:lnTo>
                    <a:pt x="452" y="225"/>
                  </a:lnTo>
                  <a:lnTo>
                    <a:pt x="452" y="222"/>
                  </a:lnTo>
                  <a:lnTo>
                    <a:pt x="452" y="222"/>
                  </a:lnTo>
                  <a:lnTo>
                    <a:pt x="452" y="222"/>
                  </a:lnTo>
                  <a:lnTo>
                    <a:pt x="452" y="219"/>
                  </a:lnTo>
                  <a:lnTo>
                    <a:pt x="452" y="219"/>
                  </a:lnTo>
                  <a:lnTo>
                    <a:pt x="452" y="217"/>
                  </a:lnTo>
                  <a:lnTo>
                    <a:pt x="454" y="217"/>
                  </a:lnTo>
                  <a:lnTo>
                    <a:pt x="454" y="214"/>
                  </a:lnTo>
                  <a:lnTo>
                    <a:pt x="454" y="214"/>
                  </a:lnTo>
                  <a:lnTo>
                    <a:pt x="457" y="214"/>
                  </a:lnTo>
                  <a:lnTo>
                    <a:pt x="460" y="214"/>
                  </a:lnTo>
                  <a:lnTo>
                    <a:pt x="460" y="211"/>
                  </a:lnTo>
                  <a:lnTo>
                    <a:pt x="460" y="211"/>
                  </a:lnTo>
                  <a:lnTo>
                    <a:pt x="460" y="211"/>
                  </a:lnTo>
                  <a:lnTo>
                    <a:pt x="462" y="209"/>
                  </a:lnTo>
                  <a:lnTo>
                    <a:pt x="462" y="206"/>
                  </a:lnTo>
                  <a:lnTo>
                    <a:pt x="465" y="206"/>
                  </a:lnTo>
                  <a:lnTo>
                    <a:pt x="465" y="203"/>
                  </a:lnTo>
                  <a:lnTo>
                    <a:pt x="465" y="203"/>
                  </a:lnTo>
                  <a:lnTo>
                    <a:pt x="468" y="203"/>
                  </a:lnTo>
                  <a:lnTo>
                    <a:pt x="468" y="203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0" y="203"/>
                  </a:lnTo>
                  <a:lnTo>
                    <a:pt x="473" y="203"/>
                  </a:lnTo>
                  <a:lnTo>
                    <a:pt x="473" y="203"/>
                  </a:lnTo>
                  <a:lnTo>
                    <a:pt x="473" y="201"/>
                  </a:lnTo>
                  <a:lnTo>
                    <a:pt x="473" y="201"/>
                  </a:lnTo>
                  <a:lnTo>
                    <a:pt x="470" y="198"/>
                  </a:lnTo>
                  <a:lnTo>
                    <a:pt x="470" y="198"/>
                  </a:lnTo>
                  <a:lnTo>
                    <a:pt x="468" y="198"/>
                  </a:lnTo>
                  <a:lnTo>
                    <a:pt x="468" y="195"/>
                  </a:lnTo>
                  <a:lnTo>
                    <a:pt x="465" y="195"/>
                  </a:lnTo>
                  <a:lnTo>
                    <a:pt x="465" y="195"/>
                  </a:lnTo>
                  <a:lnTo>
                    <a:pt x="462" y="193"/>
                  </a:lnTo>
                  <a:lnTo>
                    <a:pt x="462" y="193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5"/>
                  </a:lnTo>
                  <a:lnTo>
                    <a:pt x="462" y="193"/>
                  </a:lnTo>
                  <a:lnTo>
                    <a:pt x="462" y="193"/>
                  </a:lnTo>
                  <a:lnTo>
                    <a:pt x="460" y="193"/>
                  </a:lnTo>
                  <a:lnTo>
                    <a:pt x="460" y="190"/>
                  </a:lnTo>
                  <a:lnTo>
                    <a:pt x="460" y="190"/>
                  </a:lnTo>
                  <a:lnTo>
                    <a:pt x="462" y="190"/>
                  </a:lnTo>
                  <a:lnTo>
                    <a:pt x="462" y="190"/>
                  </a:lnTo>
                  <a:lnTo>
                    <a:pt x="460" y="187"/>
                  </a:lnTo>
                  <a:lnTo>
                    <a:pt x="462" y="187"/>
                  </a:lnTo>
                  <a:lnTo>
                    <a:pt x="462" y="187"/>
                  </a:lnTo>
                  <a:lnTo>
                    <a:pt x="465" y="187"/>
                  </a:lnTo>
                  <a:lnTo>
                    <a:pt x="465" y="190"/>
                  </a:lnTo>
                  <a:lnTo>
                    <a:pt x="465" y="190"/>
                  </a:lnTo>
                  <a:lnTo>
                    <a:pt x="468" y="190"/>
                  </a:lnTo>
                  <a:lnTo>
                    <a:pt x="468" y="190"/>
                  </a:lnTo>
                  <a:lnTo>
                    <a:pt x="470" y="190"/>
                  </a:lnTo>
                  <a:lnTo>
                    <a:pt x="470" y="190"/>
                  </a:lnTo>
                  <a:lnTo>
                    <a:pt x="470" y="190"/>
                  </a:lnTo>
                  <a:lnTo>
                    <a:pt x="473" y="193"/>
                  </a:lnTo>
                  <a:lnTo>
                    <a:pt x="473" y="193"/>
                  </a:lnTo>
                  <a:lnTo>
                    <a:pt x="476" y="193"/>
                  </a:lnTo>
                  <a:lnTo>
                    <a:pt x="476" y="193"/>
                  </a:lnTo>
                  <a:lnTo>
                    <a:pt x="478" y="193"/>
                  </a:lnTo>
                  <a:lnTo>
                    <a:pt x="478" y="193"/>
                  </a:lnTo>
                  <a:lnTo>
                    <a:pt x="481" y="193"/>
                  </a:lnTo>
                  <a:lnTo>
                    <a:pt x="481" y="195"/>
                  </a:lnTo>
                  <a:lnTo>
                    <a:pt x="484" y="195"/>
                  </a:lnTo>
                  <a:lnTo>
                    <a:pt x="486" y="195"/>
                  </a:lnTo>
                  <a:lnTo>
                    <a:pt x="486" y="195"/>
                  </a:lnTo>
                  <a:lnTo>
                    <a:pt x="489" y="195"/>
                  </a:lnTo>
                  <a:lnTo>
                    <a:pt x="492" y="195"/>
                  </a:lnTo>
                  <a:lnTo>
                    <a:pt x="494" y="195"/>
                  </a:lnTo>
                  <a:lnTo>
                    <a:pt x="494" y="195"/>
                  </a:lnTo>
                  <a:lnTo>
                    <a:pt x="494" y="195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500" y="198"/>
                  </a:lnTo>
                  <a:lnTo>
                    <a:pt x="500" y="195"/>
                  </a:lnTo>
                  <a:lnTo>
                    <a:pt x="497" y="195"/>
                  </a:lnTo>
                  <a:lnTo>
                    <a:pt x="497" y="195"/>
                  </a:lnTo>
                  <a:lnTo>
                    <a:pt x="497" y="195"/>
                  </a:lnTo>
                  <a:lnTo>
                    <a:pt x="494" y="193"/>
                  </a:lnTo>
                  <a:lnTo>
                    <a:pt x="492" y="193"/>
                  </a:lnTo>
                  <a:lnTo>
                    <a:pt x="489" y="193"/>
                  </a:lnTo>
                  <a:lnTo>
                    <a:pt x="489" y="190"/>
                  </a:lnTo>
                  <a:lnTo>
                    <a:pt x="486" y="190"/>
                  </a:lnTo>
                  <a:lnTo>
                    <a:pt x="486" y="190"/>
                  </a:lnTo>
                  <a:lnTo>
                    <a:pt x="484" y="190"/>
                  </a:lnTo>
                  <a:lnTo>
                    <a:pt x="481" y="187"/>
                  </a:lnTo>
                  <a:lnTo>
                    <a:pt x="478" y="187"/>
                  </a:lnTo>
                  <a:lnTo>
                    <a:pt x="476" y="187"/>
                  </a:lnTo>
                  <a:lnTo>
                    <a:pt x="473" y="187"/>
                  </a:lnTo>
                  <a:lnTo>
                    <a:pt x="465" y="185"/>
                  </a:lnTo>
                  <a:lnTo>
                    <a:pt x="462" y="185"/>
                  </a:lnTo>
                  <a:lnTo>
                    <a:pt x="460" y="185"/>
                  </a:lnTo>
                  <a:lnTo>
                    <a:pt x="457" y="185"/>
                  </a:lnTo>
                  <a:lnTo>
                    <a:pt x="452" y="185"/>
                  </a:lnTo>
                  <a:lnTo>
                    <a:pt x="449" y="185"/>
                  </a:lnTo>
                  <a:lnTo>
                    <a:pt x="446" y="187"/>
                  </a:lnTo>
                  <a:lnTo>
                    <a:pt x="441" y="187"/>
                  </a:lnTo>
                  <a:lnTo>
                    <a:pt x="436" y="187"/>
                  </a:lnTo>
                  <a:lnTo>
                    <a:pt x="433" y="187"/>
                  </a:lnTo>
                  <a:lnTo>
                    <a:pt x="430" y="187"/>
                  </a:lnTo>
                  <a:lnTo>
                    <a:pt x="425" y="190"/>
                  </a:lnTo>
                  <a:lnTo>
                    <a:pt x="422" y="190"/>
                  </a:lnTo>
                  <a:lnTo>
                    <a:pt x="417" y="190"/>
                  </a:lnTo>
                  <a:lnTo>
                    <a:pt x="414" y="193"/>
                  </a:lnTo>
                  <a:lnTo>
                    <a:pt x="412" y="193"/>
                  </a:lnTo>
                  <a:lnTo>
                    <a:pt x="409" y="193"/>
                  </a:lnTo>
                  <a:lnTo>
                    <a:pt x="404" y="193"/>
                  </a:lnTo>
                  <a:lnTo>
                    <a:pt x="401" y="193"/>
                  </a:lnTo>
                  <a:lnTo>
                    <a:pt x="401" y="193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5"/>
                  </a:lnTo>
                  <a:lnTo>
                    <a:pt x="401" y="198"/>
                  </a:lnTo>
                  <a:lnTo>
                    <a:pt x="404" y="198"/>
                  </a:lnTo>
                  <a:lnTo>
                    <a:pt x="404" y="198"/>
                  </a:lnTo>
                  <a:lnTo>
                    <a:pt x="404" y="198"/>
                  </a:lnTo>
                  <a:lnTo>
                    <a:pt x="406" y="195"/>
                  </a:lnTo>
                  <a:lnTo>
                    <a:pt x="406" y="195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12" y="195"/>
                  </a:lnTo>
                  <a:lnTo>
                    <a:pt x="412" y="195"/>
                  </a:lnTo>
                  <a:lnTo>
                    <a:pt x="414" y="195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09" y="198"/>
                  </a:lnTo>
                  <a:lnTo>
                    <a:pt x="406" y="198"/>
                  </a:lnTo>
                  <a:lnTo>
                    <a:pt x="406" y="198"/>
                  </a:lnTo>
                  <a:lnTo>
                    <a:pt x="406" y="201"/>
                  </a:lnTo>
                  <a:lnTo>
                    <a:pt x="409" y="201"/>
                  </a:lnTo>
                  <a:lnTo>
                    <a:pt x="409" y="203"/>
                  </a:lnTo>
                  <a:lnTo>
                    <a:pt x="406" y="203"/>
                  </a:lnTo>
                  <a:lnTo>
                    <a:pt x="406" y="206"/>
                  </a:lnTo>
                  <a:lnTo>
                    <a:pt x="409" y="206"/>
                  </a:lnTo>
                  <a:lnTo>
                    <a:pt x="409" y="209"/>
                  </a:lnTo>
                  <a:lnTo>
                    <a:pt x="409" y="211"/>
                  </a:lnTo>
                  <a:lnTo>
                    <a:pt x="409" y="211"/>
                  </a:lnTo>
                  <a:lnTo>
                    <a:pt x="412" y="214"/>
                  </a:lnTo>
                  <a:lnTo>
                    <a:pt x="409" y="214"/>
                  </a:lnTo>
                  <a:lnTo>
                    <a:pt x="409" y="217"/>
                  </a:lnTo>
                  <a:lnTo>
                    <a:pt x="406" y="217"/>
                  </a:lnTo>
                  <a:lnTo>
                    <a:pt x="404" y="217"/>
                  </a:lnTo>
                  <a:lnTo>
                    <a:pt x="404" y="217"/>
                  </a:lnTo>
                  <a:lnTo>
                    <a:pt x="404" y="217"/>
                  </a:lnTo>
                  <a:lnTo>
                    <a:pt x="401" y="217"/>
                  </a:lnTo>
                  <a:lnTo>
                    <a:pt x="401" y="217"/>
                  </a:lnTo>
                  <a:lnTo>
                    <a:pt x="398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3" y="222"/>
                  </a:lnTo>
                  <a:lnTo>
                    <a:pt x="390" y="222"/>
                  </a:lnTo>
                  <a:lnTo>
                    <a:pt x="388" y="222"/>
                  </a:lnTo>
                  <a:lnTo>
                    <a:pt x="388" y="219"/>
                  </a:lnTo>
                  <a:lnTo>
                    <a:pt x="388" y="222"/>
                  </a:lnTo>
                  <a:lnTo>
                    <a:pt x="385" y="222"/>
                  </a:lnTo>
                  <a:lnTo>
                    <a:pt x="385" y="219"/>
                  </a:lnTo>
                  <a:lnTo>
                    <a:pt x="385" y="219"/>
                  </a:lnTo>
                  <a:lnTo>
                    <a:pt x="385" y="217"/>
                  </a:lnTo>
                  <a:lnTo>
                    <a:pt x="385" y="217"/>
                  </a:lnTo>
                  <a:lnTo>
                    <a:pt x="385" y="214"/>
                  </a:lnTo>
                  <a:lnTo>
                    <a:pt x="385" y="211"/>
                  </a:lnTo>
                  <a:lnTo>
                    <a:pt x="385" y="211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90" y="211"/>
                  </a:lnTo>
                  <a:lnTo>
                    <a:pt x="393" y="211"/>
                  </a:lnTo>
                  <a:lnTo>
                    <a:pt x="393" y="209"/>
                  </a:lnTo>
                  <a:lnTo>
                    <a:pt x="393" y="206"/>
                  </a:lnTo>
                  <a:lnTo>
                    <a:pt x="396" y="206"/>
                  </a:lnTo>
                  <a:lnTo>
                    <a:pt x="398" y="206"/>
                  </a:lnTo>
                  <a:lnTo>
                    <a:pt x="396" y="206"/>
                  </a:lnTo>
                  <a:lnTo>
                    <a:pt x="396" y="206"/>
                  </a:lnTo>
                  <a:lnTo>
                    <a:pt x="396" y="203"/>
                  </a:lnTo>
                  <a:lnTo>
                    <a:pt x="393" y="203"/>
                  </a:lnTo>
                  <a:lnTo>
                    <a:pt x="393" y="203"/>
                  </a:lnTo>
                  <a:lnTo>
                    <a:pt x="393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88" y="201"/>
                  </a:lnTo>
                  <a:lnTo>
                    <a:pt x="388" y="201"/>
                  </a:lnTo>
                  <a:lnTo>
                    <a:pt x="388" y="201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88" y="198"/>
                  </a:lnTo>
                  <a:lnTo>
                    <a:pt x="390" y="198"/>
                  </a:lnTo>
                  <a:lnTo>
                    <a:pt x="390" y="198"/>
                  </a:lnTo>
                  <a:lnTo>
                    <a:pt x="393" y="198"/>
                  </a:lnTo>
                  <a:lnTo>
                    <a:pt x="393" y="195"/>
                  </a:lnTo>
                  <a:lnTo>
                    <a:pt x="393" y="195"/>
                  </a:lnTo>
                  <a:lnTo>
                    <a:pt x="393" y="198"/>
                  </a:lnTo>
                  <a:lnTo>
                    <a:pt x="393" y="198"/>
                  </a:lnTo>
                  <a:lnTo>
                    <a:pt x="393" y="198"/>
                  </a:lnTo>
                  <a:lnTo>
                    <a:pt x="396" y="198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8" y="195"/>
                  </a:lnTo>
                  <a:lnTo>
                    <a:pt x="398" y="195"/>
                  </a:lnTo>
                  <a:lnTo>
                    <a:pt x="398" y="195"/>
                  </a:lnTo>
                  <a:lnTo>
                    <a:pt x="396" y="195"/>
                  </a:lnTo>
                  <a:lnTo>
                    <a:pt x="396" y="195"/>
                  </a:lnTo>
                  <a:lnTo>
                    <a:pt x="393" y="195"/>
                  </a:lnTo>
                  <a:lnTo>
                    <a:pt x="390" y="195"/>
                  </a:lnTo>
                  <a:lnTo>
                    <a:pt x="390" y="195"/>
                  </a:lnTo>
                  <a:lnTo>
                    <a:pt x="388" y="195"/>
                  </a:lnTo>
                  <a:lnTo>
                    <a:pt x="385" y="195"/>
                  </a:lnTo>
                  <a:lnTo>
                    <a:pt x="382" y="195"/>
                  </a:lnTo>
                  <a:lnTo>
                    <a:pt x="380" y="195"/>
                  </a:lnTo>
                  <a:lnTo>
                    <a:pt x="377" y="193"/>
                  </a:lnTo>
                  <a:lnTo>
                    <a:pt x="377" y="193"/>
                  </a:lnTo>
                  <a:lnTo>
                    <a:pt x="374" y="193"/>
                  </a:lnTo>
                  <a:lnTo>
                    <a:pt x="372" y="193"/>
                  </a:lnTo>
                  <a:lnTo>
                    <a:pt x="369" y="190"/>
                  </a:lnTo>
                  <a:lnTo>
                    <a:pt x="369" y="193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9" y="195"/>
                  </a:lnTo>
                  <a:lnTo>
                    <a:pt x="369" y="195"/>
                  </a:lnTo>
                  <a:lnTo>
                    <a:pt x="366" y="195"/>
                  </a:lnTo>
                  <a:lnTo>
                    <a:pt x="364" y="195"/>
                  </a:lnTo>
                  <a:lnTo>
                    <a:pt x="364" y="195"/>
                  </a:lnTo>
                  <a:lnTo>
                    <a:pt x="364" y="195"/>
                  </a:lnTo>
                  <a:lnTo>
                    <a:pt x="361" y="193"/>
                  </a:lnTo>
                  <a:lnTo>
                    <a:pt x="361" y="193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61" y="195"/>
                  </a:lnTo>
                  <a:lnTo>
                    <a:pt x="358" y="195"/>
                  </a:lnTo>
                  <a:lnTo>
                    <a:pt x="356" y="195"/>
                  </a:lnTo>
                  <a:lnTo>
                    <a:pt x="353" y="195"/>
                  </a:lnTo>
                  <a:lnTo>
                    <a:pt x="353" y="195"/>
                  </a:lnTo>
                  <a:lnTo>
                    <a:pt x="350" y="195"/>
                  </a:lnTo>
                  <a:lnTo>
                    <a:pt x="350" y="193"/>
                  </a:lnTo>
                  <a:lnTo>
                    <a:pt x="350" y="193"/>
                  </a:lnTo>
                  <a:lnTo>
                    <a:pt x="348" y="195"/>
                  </a:lnTo>
                  <a:lnTo>
                    <a:pt x="348" y="193"/>
                  </a:lnTo>
                  <a:lnTo>
                    <a:pt x="348" y="195"/>
                  </a:lnTo>
                  <a:lnTo>
                    <a:pt x="345" y="195"/>
                  </a:lnTo>
                  <a:lnTo>
                    <a:pt x="345" y="195"/>
                  </a:lnTo>
                  <a:lnTo>
                    <a:pt x="345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7" y="190"/>
                  </a:lnTo>
                  <a:lnTo>
                    <a:pt x="337" y="190"/>
                  </a:lnTo>
                  <a:lnTo>
                    <a:pt x="337" y="187"/>
                  </a:lnTo>
                  <a:lnTo>
                    <a:pt x="337" y="187"/>
                  </a:lnTo>
                  <a:lnTo>
                    <a:pt x="334" y="187"/>
                  </a:lnTo>
                  <a:lnTo>
                    <a:pt x="332" y="190"/>
                  </a:lnTo>
                  <a:lnTo>
                    <a:pt x="329" y="190"/>
                  </a:lnTo>
                  <a:lnTo>
                    <a:pt x="326" y="190"/>
                  </a:lnTo>
                  <a:lnTo>
                    <a:pt x="324" y="193"/>
                  </a:lnTo>
                  <a:lnTo>
                    <a:pt x="321" y="193"/>
                  </a:lnTo>
                  <a:lnTo>
                    <a:pt x="318" y="195"/>
                  </a:lnTo>
                  <a:lnTo>
                    <a:pt x="313" y="195"/>
                  </a:lnTo>
                  <a:lnTo>
                    <a:pt x="308" y="195"/>
                  </a:lnTo>
                  <a:lnTo>
                    <a:pt x="305" y="195"/>
                  </a:lnTo>
                  <a:lnTo>
                    <a:pt x="302" y="195"/>
                  </a:lnTo>
                  <a:lnTo>
                    <a:pt x="299" y="198"/>
                  </a:lnTo>
                  <a:lnTo>
                    <a:pt x="297" y="198"/>
                  </a:lnTo>
                  <a:lnTo>
                    <a:pt x="297" y="201"/>
                  </a:lnTo>
                  <a:lnTo>
                    <a:pt x="294" y="203"/>
                  </a:lnTo>
                  <a:lnTo>
                    <a:pt x="294" y="203"/>
                  </a:lnTo>
                  <a:lnTo>
                    <a:pt x="291" y="203"/>
                  </a:lnTo>
                  <a:lnTo>
                    <a:pt x="291" y="203"/>
                  </a:lnTo>
                  <a:lnTo>
                    <a:pt x="289" y="203"/>
                  </a:lnTo>
                  <a:lnTo>
                    <a:pt x="289" y="203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3" y="203"/>
                  </a:lnTo>
                  <a:lnTo>
                    <a:pt x="286" y="203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9" y="203"/>
                  </a:lnTo>
                  <a:lnTo>
                    <a:pt x="289" y="201"/>
                  </a:lnTo>
                  <a:lnTo>
                    <a:pt x="291" y="203"/>
                  </a:lnTo>
                  <a:lnTo>
                    <a:pt x="291" y="203"/>
                  </a:lnTo>
                  <a:lnTo>
                    <a:pt x="294" y="201"/>
                  </a:lnTo>
                  <a:lnTo>
                    <a:pt x="294" y="201"/>
                  </a:lnTo>
                  <a:lnTo>
                    <a:pt x="294" y="201"/>
                  </a:lnTo>
                  <a:lnTo>
                    <a:pt x="294" y="198"/>
                  </a:lnTo>
                  <a:lnTo>
                    <a:pt x="294" y="198"/>
                  </a:lnTo>
                  <a:lnTo>
                    <a:pt x="291" y="201"/>
                  </a:lnTo>
                  <a:lnTo>
                    <a:pt x="289" y="201"/>
                  </a:lnTo>
                  <a:lnTo>
                    <a:pt x="289" y="201"/>
                  </a:lnTo>
                  <a:lnTo>
                    <a:pt x="286" y="201"/>
                  </a:lnTo>
                  <a:lnTo>
                    <a:pt x="283" y="201"/>
                  </a:lnTo>
                  <a:lnTo>
                    <a:pt x="283" y="201"/>
                  </a:lnTo>
                  <a:lnTo>
                    <a:pt x="281" y="201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3" y="203"/>
                  </a:lnTo>
                  <a:lnTo>
                    <a:pt x="270" y="203"/>
                  </a:lnTo>
                  <a:lnTo>
                    <a:pt x="265" y="203"/>
                  </a:lnTo>
                  <a:lnTo>
                    <a:pt x="262" y="203"/>
                  </a:lnTo>
                  <a:lnTo>
                    <a:pt x="259" y="203"/>
                  </a:lnTo>
                  <a:lnTo>
                    <a:pt x="259" y="203"/>
                  </a:lnTo>
                  <a:lnTo>
                    <a:pt x="257" y="203"/>
                  </a:lnTo>
                  <a:lnTo>
                    <a:pt x="251" y="203"/>
                  </a:lnTo>
                  <a:lnTo>
                    <a:pt x="249" y="203"/>
                  </a:lnTo>
                  <a:lnTo>
                    <a:pt x="246" y="201"/>
                  </a:lnTo>
                  <a:lnTo>
                    <a:pt x="243" y="198"/>
                  </a:lnTo>
                  <a:lnTo>
                    <a:pt x="241" y="195"/>
                  </a:lnTo>
                  <a:lnTo>
                    <a:pt x="241" y="193"/>
                  </a:lnTo>
                  <a:lnTo>
                    <a:pt x="241" y="190"/>
                  </a:lnTo>
                  <a:lnTo>
                    <a:pt x="241" y="190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90"/>
                  </a:lnTo>
                  <a:lnTo>
                    <a:pt x="238" y="190"/>
                  </a:lnTo>
                  <a:lnTo>
                    <a:pt x="238" y="193"/>
                  </a:lnTo>
                  <a:lnTo>
                    <a:pt x="238" y="193"/>
                  </a:lnTo>
                  <a:lnTo>
                    <a:pt x="238" y="195"/>
                  </a:lnTo>
                  <a:lnTo>
                    <a:pt x="238" y="195"/>
                  </a:lnTo>
                  <a:lnTo>
                    <a:pt x="238" y="195"/>
                  </a:lnTo>
                  <a:lnTo>
                    <a:pt x="238" y="198"/>
                  </a:lnTo>
                  <a:lnTo>
                    <a:pt x="238" y="201"/>
                  </a:lnTo>
                  <a:lnTo>
                    <a:pt x="238" y="201"/>
                  </a:lnTo>
                  <a:lnTo>
                    <a:pt x="235" y="203"/>
                  </a:lnTo>
                  <a:lnTo>
                    <a:pt x="235" y="206"/>
                  </a:lnTo>
                  <a:lnTo>
                    <a:pt x="233" y="206"/>
                  </a:lnTo>
                  <a:lnTo>
                    <a:pt x="233" y="209"/>
                  </a:lnTo>
                  <a:lnTo>
                    <a:pt x="230" y="209"/>
                  </a:lnTo>
                  <a:lnTo>
                    <a:pt x="230" y="209"/>
                  </a:lnTo>
                  <a:lnTo>
                    <a:pt x="233" y="209"/>
                  </a:lnTo>
                  <a:lnTo>
                    <a:pt x="233" y="209"/>
                  </a:lnTo>
                  <a:lnTo>
                    <a:pt x="233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4"/>
                  </a:lnTo>
                  <a:lnTo>
                    <a:pt x="235" y="214"/>
                  </a:lnTo>
                  <a:lnTo>
                    <a:pt x="238" y="214"/>
                  </a:lnTo>
                  <a:lnTo>
                    <a:pt x="238" y="217"/>
                  </a:lnTo>
                  <a:lnTo>
                    <a:pt x="238" y="217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25"/>
                  </a:lnTo>
                  <a:lnTo>
                    <a:pt x="238" y="225"/>
                  </a:lnTo>
                  <a:lnTo>
                    <a:pt x="238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5" y="225"/>
                  </a:lnTo>
                  <a:lnTo>
                    <a:pt x="238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22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5" y="219"/>
                  </a:lnTo>
                  <a:lnTo>
                    <a:pt x="238" y="219"/>
                  </a:lnTo>
                  <a:lnTo>
                    <a:pt x="238" y="219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5" y="214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0" y="211"/>
                  </a:lnTo>
                  <a:lnTo>
                    <a:pt x="230" y="211"/>
                  </a:lnTo>
                  <a:lnTo>
                    <a:pt x="230" y="211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30" y="209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27" y="209"/>
                  </a:lnTo>
                  <a:lnTo>
                    <a:pt x="225" y="209"/>
                  </a:lnTo>
                  <a:lnTo>
                    <a:pt x="225" y="209"/>
                  </a:lnTo>
                  <a:lnTo>
                    <a:pt x="222" y="209"/>
                  </a:lnTo>
                  <a:lnTo>
                    <a:pt x="222" y="209"/>
                  </a:lnTo>
                  <a:lnTo>
                    <a:pt x="219" y="209"/>
                  </a:lnTo>
                  <a:lnTo>
                    <a:pt x="219" y="209"/>
                  </a:lnTo>
                  <a:lnTo>
                    <a:pt x="217" y="209"/>
                  </a:lnTo>
                  <a:lnTo>
                    <a:pt x="217" y="206"/>
                  </a:lnTo>
                  <a:lnTo>
                    <a:pt x="217" y="203"/>
                  </a:lnTo>
                  <a:lnTo>
                    <a:pt x="214" y="203"/>
                  </a:lnTo>
                  <a:lnTo>
                    <a:pt x="214" y="203"/>
                  </a:lnTo>
                  <a:lnTo>
                    <a:pt x="211" y="203"/>
                  </a:lnTo>
                  <a:lnTo>
                    <a:pt x="209" y="203"/>
                  </a:lnTo>
                  <a:lnTo>
                    <a:pt x="209" y="203"/>
                  </a:lnTo>
                  <a:lnTo>
                    <a:pt x="206" y="203"/>
                  </a:lnTo>
                  <a:lnTo>
                    <a:pt x="203" y="206"/>
                  </a:lnTo>
                  <a:lnTo>
                    <a:pt x="203" y="206"/>
                  </a:lnTo>
                  <a:lnTo>
                    <a:pt x="201" y="206"/>
                  </a:lnTo>
                  <a:lnTo>
                    <a:pt x="201" y="206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3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201"/>
                  </a:lnTo>
                  <a:lnTo>
                    <a:pt x="203" y="198"/>
                  </a:lnTo>
                  <a:lnTo>
                    <a:pt x="201" y="201"/>
                  </a:lnTo>
                  <a:lnTo>
                    <a:pt x="201" y="201"/>
                  </a:lnTo>
                  <a:lnTo>
                    <a:pt x="198" y="201"/>
                  </a:lnTo>
                  <a:lnTo>
                    <a:pt x="198" y="201"/>
                  </a:lnTo>
                  <a:lnTo>
                    <a:pt x="195" y="201"/>
                  </a:lnTo>
                  <a:lnTo>
                    <a:pt x="193" y="201"/>
                  </a:lnTo>
                  <a:lnTo>
                    <a:pt x="190" y="203"/>
                  </a:lnTo>
                  <a:lnTo>
                    <a:pt x="190" y="203"/>
                  </a:lnTo>
                  <a:lnTo>
                    <a:pt x="190" y="206"/>
                  </a:lnTo>
                  <a:lnTo>
                    <a:pt x="190" y="211"/>
                  </a:lnTo>
                  <a:lnTo>
                    <a:pt x="190" y="214"/>
                  </a:lnTo>
                  <a:lnTo>
                    <a:pt x="187" y="217"/>
                  </a:lnTo>
                  <a:lnTo>
                    <a:pt x="187" y="217"/>
                  </a:lnTo>
                  <a:lnTo>
                    <a:pt x="185" y="219"/>
                  </a:lnTo>
                  <a:lnTo>
                    <a:pt x="182" y="219"/>
                  </a:lnTo>
                  <a:lnTo>
                    <a:pt x="177" y="222"/>
                  </a:lnTo>
                  <a:lnTo>
                    <a:pt x="177" y="222"/>
                  </a:lnTo>
                  <a:lnTo>
                    <a:pt x="174" y="225"/>
                  </a:lnTo>
                  <a:lnTo>
                    <a:pt x="174" y="225"/>
                  </a:lnTo>
                  <a:lnTo>
                    <a:pt x="174" y="227"/>
                  </a:lnTo>
                  <a:lnTo>
                    <a:pt x="174" y="230"/>
                  </a:lnTo>
                  <a:lnTo>
                    <a:pt x="171" y="230"/>
                  </a:lnTo>
                  <a:lnTo>
                    <a:pt x="171" y="233"/>
                  </a:lnTo>
                  <a:lnTo>
                    <a:pt x="169" y="233"/>
                  </a:lnTo>
                  <a:lnTo>
                    <a:pt x="166" y="233"/>
                  </a:lnTo>
                  <a:lnTo>
                    <a:pt x="166" y="233"/>
                  </a:lnTo>
                  <a:lnTo>
                    <a:pt x="166" y="233"/>
                  </a:lnTo>
                  <a:lnTo>
                    <a:pt x="166" y="235"/>
                  </a:lnTo>
                  <a:lnTo>
                    <a:pt x="166" y="235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3" y="243"/>
                  </a:lnTo>
                  <a:lnTo>
                    <a:pt x="163" y="246"/>
                  </a:lnTo>
                  <a:lnTo>
                    <a:pt x="161" y="246"/>
                  </a:lnTo>
                  <a:lnTo>
                    <a:pt x="161" y="249"/>
                  </a:lnTo>
                  <a:lnTo>
                    <a:pt x="158" y="251"/>
                  </a:lnTo>
                  <a:lnTo>
                    <a:pt x="158" y="251"/>
                  </a:lnTo>
                  <a:lnTo>
                    <a:pt x="155" y="251"/>
                  </a:lnTo>
                  <a:lnTo>
                    <a:pt x="153" y="254"/>
                  </a:lnTo>
                  <a:lnTo>
                    <a:pt x="153" y="254"/>
                  </a:lnTo>
                  <a:lnTo>
                    <a:pt x="150" y="254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47" y="257"/>
                  </a:lnTo>
                  <a:lnTo>
                    <a:pt x="145" y="257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7" y="259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45" y="262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2" y="262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5" y="259"/>
                  </a:lnTo>
                  <a:lnTo>
                    <a:pt x="145" y="257"/>
                  </a:lnTo>
                  <a:lnTo>
                    <a:pt x="145" y="257"/>
                  </a:lnTo>
                  <a:lnTo>
                    <a:pt x="145" y="254"/>
                  </a:lnTo>
                  <a:lnTo>
                    <a:pt x="145" y="254"/>
                  </a:lnTo>
                  <a:lnTo>
                    <a:pt x="142" y="254"/>
                  </a:lnTo>
                  <a:lnTo>
                    <a:pt x="142" y="251"/>
                  </a:lnTo>
                  <a:lnTo>
                    <a:pt x="139" y="251"/>
                  </a:lnTo>
                  <a:lnTo>
                    <a:pt x="137" y="251"/>
                  </a:lnTo>
                  <a:lnTo>
                    <a:pt x="134" y="251"/>
                  </a:lnTo>
                  <a:lnTo>
                    <a:pt x="131" y="251"/>
                  </a:lnTo>
                  <a:lnTo>
                    <a:pt x="131" y="251"/>
                  </a:lnTo>
                  <a:lnTo>
                    <a:pt x="129" y="251"/>
                  </a:lnTo>
                  <a:lnTo>
                    <a:pt x="126" y="251"/>
                  </a:lnTo>
                  <a:lnTo>
                    <a:pt x="123" y="251"/>
                  </a:lnTo>
                  <a:lnTo>
                    <a:pt x="123" y="251"/>
                  </a:lnTo>
                  <a:lnTo>
                    <a:pt x="123" y="251"/>
                  </a:lnTo>
                  <a:lnTo>
                    <a:pt x="123" y="249"/>
                  </a:lnTo>
                  <a:lnTo>
                    <a:pt x="121" y="249"/>
                  </a:lnTo>
                  <a:lnTo>
                    <a:pt x="121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18" y="246"/>
                  </a:lnTo>
                  <a:lnTo>
                    <a:pt x="118" y="246"/>
                  </a:lnTo>
                  <a:lnTo>
                    <a:pt x="115" y="246"/>
                  </a:lnTo>
                  <a:lnTo>
                    <a:pt x="115" y="246"/>
                  </a:lnTo>
                  <a:lnTo>
                    <a:pt x="113" y="246"/>
                  </a:lnTo>
                  <a:lnTo>
                    <a:pt x="113" y="246"/>
                  </a:lnTo>
                  <a:lnTo>
                    <a:pt x="113" y="246"/>
                  </a:lnTo>
                  <a:lnTo>
                    <a:pt x="110" y="246"/>
                  </a:lnTo>
                  <a:lnTo>
                    <a:pt x="107" y="246"/>
                  </a:lnTo>
                  <a:lnTo>
                    <a:pt x="107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6"/>
                  </a:lnTo>
                  <a:lnTo>
                    <a:pt x="105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102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7" y="246"/>
                  </a:lnTo>
                  <a:lnTo>
                    <a:pt x="97" y="246"/>
                  </a:lnTo>
                  <a:lnTo>
                    <a:pt x="94" y="246"/>
                  </a:lnTo>
                  <a:lnTo>
                    <a:pt x="94" y="246"/>
                  </a:lnTo>
                  <a:lnTo>
                    <a:pt x="94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6"/>
                  </a:lnTo>
                  <a:lnTo>
                    <a:pt x="99" y="243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1"/>
                  </a:lnTo>
                  <a:lnTo>
                    <a:pt x="107" y="241"/>
                  </a:lnTo>
                  <a:lnTo>
                    <a:pt x="107" y="241"/>
                  </a:lnTo>
                  <a:lnTo>
                    <a:pt x="107" y="243"/>
                  </a:lnTo>
                  <a:lnTo>
                    <a:pt x="107" y="243"/>
                  </a:lnTo>
                  <a:lnTo>
                    <a:pt x="107" y="241"/>
                  </a:lnTo>
                  <a:lnTo>
                    <a:pt x="107" y="241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7" y="238"/>
                  </a:lnTo>
                  <a:lnTo>
                    <a:pt x="105" y="238"/>
                  </a:lnTo>
                  <a:lnTo>
                    <a:pt x="102" y="238"/>
                  </a:lnTo>
                  <a:lnTo>
                    <a:pt x="102" y="235"/>
                  </a:lnTo>
                  <a:lnTo>
                    <a:pt x="99" y="235"/>
                  </a:lnTo>
                  <a:lnTo>
                    <a:pt x="97" y="235"/>
                  </a:lnTo>
                  <a:lnTo>
                    <a:pt x="97" y="235"/>
                  </a:lnTo>
                  <a:lnTo>
                    <a:pt x="94" y="235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86" y="233"/>
                  </a:lnTo>
                  <a:lnTo>
                    <a:pt x="86" y="230"/>
                  </a:lnTo>
                  <a:lnTo>
                    <a:pt x="89" y="230"/>
                  </a:lnTo>
                  <a:lnTo>
                    <a:pt x="89" y="230"/>
                  </a:lnTo>
                  <a:lnTo>
                    <a:pt x="86" y="227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19"/>
                  </a:lnTo>
                  <a:lnTo>
                    <a:pt x="83" y="219"/>
                  </a:lnTo>
                  <a:lnTo>
                    <a:pt x="86" y="217"/>
                  </a:lnTo>
                  <a:lnTo>
                    <a:pt x="86" y="211"/>
                  </a:lnTo>
                  <a:lnTo>
                    <a:pt x="86" y="209"/>
                  </a:lnTo>
                  <a:lnTo>
                    <a:pt x="86" y="206"/>
                  </a:lnTo>
                  <a:lnTo>
                    <a:pt x="86" y="203"/>
                  </a:lnTo>
                  <a:lnTo>
                    <a:pt x="86" y="201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5"/>
                  </a:lnTo>
                  <a:lnTo>
                    <a:pt x="91" y="195"/>
                  </a:lnTo>
                  <a:lnTo>
                    <a:pt x="91" y="193"/>
                  </a:lnTo>
                  <a:lnTo>
                    <a:pt x="91" y="190"/>
                  </a:lnTo>
                  <a:lnTo>
                    <a:pt x="89" y="187"/>
                  </a:lnTo>
                  <a:lnTo>
                    <a:pt x="89" y="187"/>
                  </a:lnTo>
                  <a:lnTo>
                    <a:pt x="89" y="185"/>
                  </a:lnTo>
                  <a:lnTo>
                    <a:pt x="86" y="182"/>
                  </a:lnTo>
                  <a:lnTo>
                    <a:pt x="83" y="182"/>
                  </a:lnTo>
                  <a:lnTo>
                    <a:pt x="83" y="179"/>
                  </a:lnTo>
                  <a:lnTo>
                    <a:pt x="81" y="177"/>
                  </a:lnTo>
                  <a:lnTo>
                    <a:pt x="81" y="174"/>
                  </a:lnTo>
                  <a:lnTo>
                    <a:pt x="81" y="171"/>
                  </a:lnTo>
                  <a:lnTo>
                    <a:pt x="78" y="169"/>
                  </a:lnTo>
                  <a:lnTo>
                    <a:pt x="78" y="169"/>
                  </a:lnTo>
                  <a:lnTo>
                    <a:pt x="78" y="166"/>
                  </a:lnTo>
                  <a:lnTo>
                    <a:pt x="78" y="163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58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3" y="152"/>
                  </a:lnTo>
                  <a:lnTo>
                    <a:pt x="83" y="150"/>
                  </a:lnTo>
                  <a:lnTo>
                    <a:pt x="86" y="150"/>
                  </a:lnTo>
                  <a:lnTo>
                    <a:pt x="89" y="147"/>
                  </a:lnTo>
                  <a:lnTo>
                    <a:pt x="91" y="147"/>
                  </a:lnTo>
                  <a:lnTo>
                    <a:pt x="94" y="147"/>
                  </a:lnTo>
                  <a:lnTo>
                    <a:pt x="97" y="147"/>
                  </a:lnTo>
                  <a:lnTo>
                    <a:pt x="99" y="147"/>
                  </a:lnTo>
                  <a:lnTo>
                    <a:pt x="102" y="147"/>
                  </a:lnTo>
                  <a:lnTo>
                    <a:pt x="102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7" y="144"/>
                  </a:lnTo>
                  <a:lnTo>
                    <a:pt x="107" y="144"/>
                  </a:lnTo>
                  <a:lnTo>
                    <a:pt x="110" y="142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7" y="139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3" y="136"/>
                  </a:lnTo>
                  <a:lnTo>
                    <a:pt x="113" y="136"/>
                  </a:lnTo>
                  <a:lnTo>
                    <a:pt x="115" y="136"/>
                  </a:lnTo>
                  <a:lnTo>
                    <a:pt x="118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3" y="139"/>
                  </a:lnTo>
                  <a:lnTo>
                    <a:pt x="126" y="139"/>
                  </a:lnTo>
                  <a:lnTo>
                    <a:pt x="126" y="139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9" y="142"/>
                  </a:lnTo>
                  <a:lnTo>
                    <a:pt x="129" y="142"/>
                  </a:lnTo>
                  <a:lnTo>
                    <a:pt x="131" y="142"/>
                  </a:lnTo>
                  <a:lnTo>
                    <a:pt x="131" y="142"/>
                  </a:lnTo>
                  <a:lnTo>
                    <a:pt x="134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7"/>
                  </a:lnTo>
                  <a:lnTo>
                    <a:pt x="145" y="147"/>
                  </a:lnTo>
                  <a:lnTo>
                    <a:pt x="147" y="147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3" y="147"/>
                  </a:lnTo>
                  <a:lnTo>
                    <a:pt x="153" y="147"/>
                  </a:lnTo>
                  <a:lnTo>
                    <a:pt x="153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8" y="152"/>
                  </a:lnTo>
                  <a:lnTo>
                    <a:pt x="158" y="152"/>
                  </a:lnTo>
                  <a:lnTo>
                    <a:pt x="161" y="155"/>
                  </a:lnTo>
                  <a:lnTo>
                    <a:pt x="161" y="158"/>
                  </a:lnTo>
                  <a:lnTo>
                    <a:pt x="163" y="158"/>
                  </a:lnTo>
                  <a:lnTo>
                    <a:pt x="163" y="158"/>
                  </a:lnTo>
                  <a:lnTo>
                    <a:pt x="166" y="155"/>
                  </a:lnTo>
                  <a:lnTo>
                    <a:pt x="166" y="152"/>
                  </a:lnTo>
                  <a:lnTo>
                    <a:pt x="169" y="150"/>
                  </a:lnTo>
                  <a:lnTo>
                    <a:pt x="169" y="150"/>
                  </a:lnTo>
                  <a:lnTo>
                    <a:pt x="169" y="150"/>
                  </a:lnTo>
                  <a:lnTo>
                    <a:pt x="169" y="147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71" y="142"/>
                  </a:lnTo>
                  <a:lnTo>
                    <a:pt x="171" y="139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1"/>
                  </a:lnTo>
                  <a:lnTo>
                    <a:pt x="174" y="131"/>
                  </a:lnTo>
                  <a:lnTo>
                    <a:pt x="174" y="128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1" y="126"/>
                  </a:lnTo>
                  <a:lnTo>
                    <a:pt x="171" y="126"/>
                  </a:lnTo>
                  <a:lnTo>
                    <a:pt x="171" y="123"/>
                  </a:lnTo>
                  <a:lnTo>
                    <a:pt x="174" y="123"/>
                  </a:lnTo>
                  <a:lnTo>
                    <a:pt x="174" y="123"/>
                  </a:lnTo>
                  <a:lnTo>
                    <a:pt x="174" y="123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3"/>
                  </a:lnTo>
                  <a:lnTo>
                    <a:pt x="177" y="123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4" y="118"/>
                  </a:lnTo>
                  <a:lnTo>
                    <a:pt x="174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8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4" y="112"/>
                  </a:lnTo>
                  <a:lnTo>
                    <a:pt x="174" y="115"/>
                  </a:lnTo>
                  <a:lnTo>
                    <a:pt x="174" y="112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71" y="110"/>
                  </a:lnTo>
                  <a:lnTo>
                    <a:pt x="171" y="107"/>
                  </a:lnTo>
                  <a:lnTo>
                    <a:pt x="171" y="104"/>
                  </a:lnTo>
                  <a:lnTo>
                    <a:pt x="171" y="102"/>
                  </a:lnTo>
                  <a:lnTo>
                    <a:pt x="171" y="99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6"/>
                  </a:lnTo>
                  <a:lnTo>
                    <a:pt x="171" y="94"/>
                  </a:lnTo>
                  <a:lnTo>
                    <a:pt x="171" y="91"/>
                  </a:lnTo>
                  <a:lnTo>
                    <a:pt x="171" y="88"/>
                  </a:lnTo>
                  <a:lnTo>
                    <a:pt x="171" y="86"/>
                  </a:lnTo>
                  <a:lnTo>
                    <a:pt x="174" y="86"/>
                  </a:lnTo>
                  <a:lnTo>
                    <a:pt x="174" y="86"/>
                  </a:lnTo>
                  <a:lnTo>
                    <a:pt x="174" y="86"/>
                  </a:lnTo>
                  <a:lnTo>
                    <a:pt x="177" y="86"/>
                  </a:lnTo>
                  <a:lnTo>
                    <a:pt x="177" y="86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1" y="75"/>
                  </a:lnTo>
                  <a:lnTo>
                    <a:pt x="171" y="75"/>
                  </a:lnTo>
                  <a:lnTo>
                    <a:pt x="171" y="75"/>
                  </a:lnTo>
                  <a:lnTo>
                    <a:pt x="169" y="72"/>
                  </a:lnTo>
                  <a:lnTo>
                    <a:pt x="169" y="70"/>
                  </a:lnTo>
                  <a:lnTo>
                    <a:pt x="166" y="67"/>
                  </a:lnTo>
                  <a:lnTo>
                    <a:pt x="166" y="64"/>
                  </a:lnTo>
                  <a:lnTo>
                    <a:pt x="163" y="64"/>
                  </a:lnTo>
                  <a:lnTo>
                    <a:pt x="161" y="62"/>
                  </a:lnTo>
                  <a:lnTo>
                    <a:pt x="161" y="59"/>
                  </a:lnTo>
                  <a:lnTo>
                    <a:pt x="158" y="56"/>
                  </a:lnTo>
                  <a:lnTo>
                    <a:pt x="158" y="54"/>
                  </a:lnTo>
                  <a:lnTo>
                    <a:pt x="155" y="54"/>
                  </a:lnTo>
                  <a:lnTo>
                    <a:pt x="155" y="51"/>
                  </a:lnTo>
                  <a:lnTo>
                    <a:pt x="153" y="51"/>
                  </a:lnTo>
                  <a:lnTo>
                    <a:pt x="150" y="48"/>
                  </a:lnTo>
                  <a:lnTo>
                    <a:pt x="150" y="48"/>
                  </a:lnTo>
                  <a:lnTo>
                    <a:pt x="147" y="48"/>
                  </a:lnTo>
                  <a:lnTo>
                    <a:pt x="147" y="46"/>
                  </a:lnTo>
                  <a:lnTo>
                    <a:pt x="145" y="46"/>
                  </a:lnTo>
                  <a:lnTo>
                    <a:pt x="145" y="46"/>
                  </a:lnTo>
                  <a:lnTo>
                    <a:pt x="142" y="43"/>
                  </a:lnTo>
                  <a:lnTo>
                    <a:pt x="139" y="43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4" y="40"/>
                  </a:lnTo>
                  <a:lnTo>
                    <a:pt x="131" y="40"/>
                  </a:lnTo>
                  <a:lnTo>
                    <a:pt x="129" y="38"/>
                  </a:lnTo>
                  <a:lnTo>
                    <a:pt x="129" y="38"/>
                  </a:lnTo>
                  <a:lnTo>
                    <a:pt x="126" y="35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2"/>
                  </a:lnTo>
                  <a:lnTo>
                    <a:pt x="118" y="32"/>
                  </a:lnTo>
                  <a:lnTo>
                    <a:pt x="118" y="30"/>
                  </a:lnTo>
                  <a:lnTo>
                    <a:pt x="118" y="27"/>
                  </a:lnTo>
                  <a:lnTo>
                    <a:pt x="115" y="24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0" y="14"/>
                  </a:lnTo>
                  <a:lnTo>
                    <a:pt x="110" y="11"/>
                  </a:lnTo>
                  <a:lnTo>
                    <a:pt x="110" y="8"/>
                  </a:lnTo>
                  <a:lnTo>
                    <a:pt x="110" y="6"/>
                  </a:lnTo>
                  <a:lnTo>
                    <a:pt x="107" y="6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2" y="0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2" y="11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22"/>
                  </a:lnTo>
                  <a:lnTo>
                    <a:pt x="102" y="24"/>
                  </a:lnTo>
                  <a:lnTo>
                    <a:pt x="105" y="24"/>
                  </a:lnTo>
                  <a:lnTo>
                    <a:pt x="105" y="27"/>
                  </a:lnTo>
                  <a:lnTo>
                    <a:pt x="105" y="32"/>
                  </a:lnTo>
                  <a:lnTo>
                    <a:pt x="107" y="35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43"/>
                  </a:lnTo>
                  <a:lnTo>
                    <a:pt x="110" y="48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07" y="59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2" y="70"/>
                  </a:lnTo>
                  <a:lnTo>
                    <a:pt x="102" y="70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7" y="75"/>
                  </a:lnTo>
                  <a:lnTo>
                    <a:pt x="97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4" y="80"/>
                  </a:lnTo>
                  <a:lnTo>
                    <a:pt x="91" y="80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4" y="83"/>
                  </a:lnTo>
                  <a:lnTo>
                    <a:pt x="97" y="83"/>
                  </a:lnTo>
                  <a:lnTo>
                    <a:pt x="97" y="83"/>
                  </a:lnTo>
                  <a:lnTo>
                    <a:pt x="97" y="83"/>
                  </a:lnTo>
                  <a:lnTo>
                    <a:pt x="99" y="86"/>
                  </a:lnTo>
                  <a:lnTo>
                    <a:pt x="99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99" y="86"/>
                  </a:lnTo>
                  <a:lnTo>
                    <a:pt x="99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6" y="88"/>
                  </a:lnTo>
                  <a:lnTo>
                    <a:pt x="86" y="88"/>
                  </a:lnTo>
                  <a:lnTo>
                    <a:pt x="86" y="91"/>
                  </a:lnTo>
                  <a:lnTo>
                    <a:pt x="83" y="91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4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9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5" y="104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2" y="115"/>
                  </a:lnTo>
                  <a:lnTo>
                    <a:pt x="62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9" y="118"/>
                  </a:lnTo>
                  <a:lnTo>
                    <a:pt x="56" y="118"/>
                  </a:lnTo>
                  <a:lnTo>
                    <a:pt x="56" y="120"/>
                  </a:lnTo>
                  <a:lnTo>
                    <a:pt x="54" y="120"/>
                  </a:lnTo>
                  <a:lnTo>
                    <a:pt x="51" y="123"/>
                  </a:lnTo>
                  <a:lnTo>
                    <a:pt x="51" y="126"/>
                  </a:lnTo>
                  <a:lnTo>
                    <a:pt x="46" y="128"/>
                  </a:lnTo>
                  <a:lnTo>
                    <a:pt x="43" y="131"/>
                  </a:lnTo>
                  <a:lnTo>
                    <a:pt x="40" y="134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5" y="142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0" y="147"/>
                  </a:lnTo>
                  <a:lnTo>
                    <a:pt x="32" y="150"/>
                  </a:lnTo>
                  <a:lnTo>
                    <a:pt x="32" y="152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8" y="155"/>
                  </a:lnTo>
                  <a:lnTo>
                    <a:pt x="38" y="158"/>
                  </a:lnTo>
                  <a:lnTo>
                    <a:pt x="40" y="158"/>
                  </a:lnTo>
                  <a:lnTo>
                    <a:pt x="40" y="161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6" y="171"/>
                  </a:lnTo>
                  <a:lnTo>
                    <a:pt x="46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0" y="171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0" y="182"/>
                  </a:lnTo>
                  <a:lnTo>
                    <a:pt x="40" y="185"/>
                  </a:lnTo>
                  <a:lnTo>
                    <a:pt x="40" y="187"/>
                  </a:lnTo>
                  <a:lnTo>
                    <a:pt x="40" y="187"/>
                  </a:lnTo>
                  <a:lnTo>
                    <a:pt x="38" y="187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5" y="190"/>
                  </a:lnTo>
                  <a:lnTo>
                    <a:pt x="35" y="190"/>
                  </a:lnTo>
                  <a:lnTo>
                    <a:pt x="35" y="193"/>
                  </a:lnTo>
                  <a:lnTo>
                    <a:pt x="35" y="195"/>
                  </a:lnTo>
                  <a:lnTo>
                    <a:pt x="32" y="195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7" y="198"/>
                  </a:lnTo>
                  <a:lnTo>
                    <a:pt x="27" y="198"/>
                  </a:lnTo>
                  <a:lnTo>
                    <a:pt x="24" y="198"/>
                  </a:lnTo>
                  <a:lnTo>
                    <a:pt x="24" y="201"/>
                  </a:lnTo>
                  <a:lnTo>
                    <a:pt x="24" y="203"/>
                  </a:lnTo>
                  <a:lnTo>
                    <a:pt x="24" y="206"/>
                  </a:lnTo>
                  <a:lnTo>
                    <a:pt x="24" y="209"/>
                  </a:lnTo>
                  <a:lnTo>
                    <a:pt x="24" y="211"/>
                  </a:lnTo>
                  <a:lnTo>
                    <a:pt x="27" y="211"/>
                  </a:lnTo>
                  <a:lnTo>
                    <a:pt x="27" y="211"/>
                  </a:lnTo>
                  <a:lnTo>
                    <a:pt x="27" y="211"/>
                  </a:lnTo>
                  <a:lnTo>
                    <a:pt x="27" y="214"/>
                  </a:lnTo>
                  <a:lnTo>
                    <a:pt x="27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2" y="211"/>
                  </a:lnTo>
                  <a:lnTo>
                    <a:pt x="22" y="211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19" y="214"/>
                  </a:lnTo>
                  <a:lnTo>
                    <a:pt x="16" y="217"/>
                  </a:lnTo>
                  <a:lnTo>
                    <a:pt x="14" y="217"/>
                  </a:lnTo>
                  <a:lnTo>
                    <a:pt x="14" y="219"/>
                  </a:lnTo>
                  <a:lnTo>
                    <a:pt x="14" y="222"/>
                  </a:lnTo>
                  <a:lnTo>
                    <a:pt x="11" y="222"/>
                  </a:lnTo>
                  <a:lnTo>
                    <a:pt x="11" y="222"/>
                  </a:lnTo>
                  <a:lnTo>
                    <a:pt x="8" y="222"/>
                  </a:lnTo>
                  <a:lnTo>
                    <a:pt x="8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0" y="22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7" name="Freeform 8924">
              <a:extLst>
                <a:ext uri="{FF2B5EF4-FFF2-40B4-BE49-F238E27FC236}">
                  <a16:creationId xmlns:a16="http://schemas.microsoft.com/office/drawing/2014/main" id="{D39F840A-5236-7440-BA92-AA85E2E0A66C}"/>
                </a:ext>
              </a:extLst>
            </p:cNvPr>
            <p:cNvSpPr/>
            <p:nvPr/>
          </p:nvSpPr>
          <p:spPr bwMode="auto">
            <a:xfrm>
              <a:off x="2861467" y="2730502"/>
              <a:ext cx="1700212" cy="1047750"/>
            </a:xfrm>
            <a:custGeom>
              <a:avLst/>
              <a:gdLst>
                <a:gd name="T0" fmla="*/ 1068 w 1071"/>
                <a:gd name="T1" fmla="*/ 149 h 660"/>
                <a:gd name="T2" fmla="*/ 1066 w 1071"/>
                <a:gd name="T3" fmla="*/ 173 h 660"/>
                <a:gd name="T4" fmla="*/ 1047 w 1071"/>
                <a:gd name="T5" fmla="*/ 181 h 660"/>
                <a:gd name="T6" fmla="*/ 1039 w 1071"/>
                <a:gd name="T7" fmla="*/ 195 h 660"/>
                <a:gd name="T8" fmla="*/ 1020 w 1071"/>
                <a:gd name="T9" fmla="*/ 208 h 660"/>
                <a:gd name="T10" fmla="*/ 999 w 1071"/>
                <a:gd name="T11" fmla="*/ 219 h 660"/>
                <a:gd name="T12" fmla="*/ 975 w 1071"/>
                <a:gd name="T13" fmla="*/ 240 h 660"/>
                <a:gd name="T14" fmla="*/ 935 w 1071"/>
                <a:gd name="T15" fmla="*/ 248 h 660"/>
                <a:gd name="T16" fmla="*/ 908 w 1071"/>
                <a:gd name="T17" fmla="*/ 259 h 660"/>
                <a:gd name="T18" fmla="*/ 884 w 1071"/>
                <a:gd name="T19" fmla="*/ 277 h 660"/>
                <a:gd name="T20" fmla="*/ 865 w 1071"/>
                <a:gd name="T21" fmla="*/ 302 h 660"/>
                <a:gd name="T22" fmla="*/ 823 w 1071"/>
                <a:gd name="T23" fmla="*/ 307 h 660"/>
                <a:gd name="T24" fmla="*/ 793 w 1071"/>
                <a:gd name="T25" fmla="*/ 328 h 660"/>
                <a:gd name="T26" fmla="*/ 777 w 1071"/>
                <a:gd name="T27" fmla="*/ 344 h 660"/>
                <a:gd name="T28" fmla="*/ 751 w 1071"/>
                <a:gd name="T29" fmla="*/ 360 h 660"/>
                <a:gd name="T30" fmla="*/ 740 w 1071"/>
                <a:gd name="T31" fmla="*/ 342 h 660"/>
                <a:gd name="T32" fmla="*/ 713 w 1071"/>
                <a:gd name="T33" fmla="*/ 350 h 660"/>
                <a:gd name="T34" fmla="*/ 697 w 1071"/>
                <a:gd name="T35" fmla="*/ 358 h 660"/>
                <a:gd name="T36" fmla="*/ 681 w 1071"/>
                <a:gd name="T37" fmla="*/ 382 h 660"/>
                <a:gd name="T38" fmla="*/ 676 w 1071"/>
                <a:gd name="T39" fmla="*/ 416 h 660"/>
                <a:gd name="T40" fmla="*/ 654 w 1071"/>
                <a:gd name="T41" fmla="*/ 446 h 660"/>
                <a:gd name="T42" fmla="*/ 628 w 1071"/>
                <a:gd name="T43" fmla="*/ 486 h 660"/>
                <a:gd name="T44" fmla="*/ 614 w 1071"/>
                <a:gd name="T45" fmla="*/ 510 h 660"/>
                <a:gd name="T46" fmla="*/ 609 w 1071"/>
                <a:gd name="T47" fmla="*/ 539 h 660"/>
                <a:gd name="T48" fmla="*/ 609 w 1071"/>
                <a:gd name="T49" fmla="*/ 569 h 660"/>
                <a:gd name="T50" fmla="*/ 593 w 1071"/>
                <a:gd name="T51" fmla="*/ 587 h 660"/>
                <a:gd name="T52" fmla="*/ 577 w 1071"/>
                <a:gd name="T53" fmla="*/ 614 h 660"/>
                <a:gd name="T54" fmla="*/ 561 w 1071"/>
                <a:gd name="T55" fmla="*/ 646 h 660"/>
                <a:gd name="T56" fmla="*/ 532 w 1071"/>
                <a:gd name="T57" fmla="*/ 652 h 660"/>
                <a:gd name="T58" fmla="*/ 291 w 1071"/>
                <a:gd name="T59" fmla="*/ 598 h 660"/>
                <a:gd name="T60" fmla="*/ 195 w 1071"/>
                <a:gd name="T61" fmla="*/ 625 h 660"/>
                <a:gd name="T62" fmla="*/ 163 w 1071"/>
                <a:gd name="T63" fmla="*/ 628 h 660"/>
                <a:gd name="T64" fmla="*/ 131 w 1071"/>
                <a:gd name="T65" fmla="*/ 617 h 660"/>
                <a:gd name="T66" fmla="*/ 102 w 1071"/>
                <a:gd name="T67" fmla="*/ 622 h 660"/>
                <a:gd name="T68" fmla="*/ 64 w 1071"/>
                <a:gd name="T69" fmla="*/ 617 h 660"/>
                <a:gd name="T70" fmla="*/ 30 w 1071"/>
                <a:gd name="T71" fmla="*/ 657 h 660"/>
                <a:gd name="T72" fmla="*/ 16 w 1071"/>
                <a:gd name="T73" fmla="*/ 617 h 660"/>
                <a:gd name="T74" fmla="*/ 43 w 1071"/>
                <a:gd name="T75" fmla="*/ 534 h 660"/>
                <a:gd name="T76" fmla="*/ 54 w 1071"/>
                <a:gd name="T77" fmla="*/ 483 h 660"/>
                <a:gd name="T78" fmla="*/ 142 w 1071"/>
                <a:gd name="T79" fmla="*/ 320 h 660"/>
                <a:gd name="T80" fmla="*/ 83 w 1071"/>
                <a:gd name="T81" fmla="*/ 320 h 660"/>
                <a:gd name="T82" fmla="*/ 102 w 1071"/>
                <a:gd name="T83" fmla="*/ 277 h 660"/>
                <a:gd name="T84" fmla="*/ 136 w 1071"/>
                <a:gd name="T85" fmla="*/ 259 h 660"/>
                <a:gd name="T86" fmla="*/ 123 w 1071"/>
                <a:gd name="T87" fmla="*/ 235 h 660"/>
                <a:gd name="T88" fmla="*/ 139 w 1071"/>
                <a:gd name="T89" fmla="*/ 203 h 660"/>
                <a:gd name="T90" fmla="*/ 118 w 1071"/>
                <a:gd name="T91" fmla="*/ 152 h 660"/>
                <a:gd name="T92" fmla="*/ 219 w 1071"/>
                <a:gd name="T93" fmla="*/ 179 h 660"/>
                <a:gd name="T94" fmla="*/ 475 w 1071"/>
                <a:gd name="T95" fmla="*/ 10 h 660"/>
                <a:gd name="T96" fmla="*/ 491 w 1071"/>
                <a:gd name="T97" fmla="*/ 8 h 660"/>
                <a:gd name="T98" fmla="*/ 799 w 1071"/>
                <a:gd name="T99" fmla="*/ 152 h 660"/>
                <a:gd name="T100" fmla="*/ 873 w 1071"/>
                <a:gd name="T101" fmla="*/ 165 h 660"/>
                <a:gd name="T102" fmla="*/ 935 w 1071"/>
                <a:gd name="T103" fmla="*/ 138 h 660"/>
                <a:gd name="T104" fmla="*/ 953 w 1071"/>
                <a:gd name="T105" fmla="*/ 128 h 660"/>
                <a:gd name="T106" fmla="*/ 972 w 1071"/>
                <a:gd name="T107" fmla="*/ 130 h 660"/>
                <a:gd name="T108" fmla="*/ 983 w 1071"/>
                <a:gd name="T109" fmla="*/ 122 h 660"/>
                <a:gd name="T110" fmla="*/ 994 w 1071"/>
                <a:gd name="T111" fmla="*/ 104 h 660"/>
                <a:gd name="T112" fmla="*/ 1012 w 1071"/>
                <a:gd name="T113" fmla="*/ 98 h 660"/>
                <a:gd name="T114" fmla="*/ 1023 w 1071"/>
                <a:gd name="T115" fmla="*/ 88 h 660"/>
                <a:gd name="T116" fmla="*/ 1044 w 1071"/>
                <a:gd name="T117" fmla="*/ 82 h 660"/>
                <a:gd name="T118" fmla="*/ 1060 w 1071"/>
                <a:gd name="T119" fmla="*/ 85 h 660"/>
                <a:gd name="T120" fmla="*/ 1050 w 1071"/>
                <a:gd name="T121" fmla="*/ 106 h 660"/>
                <a:gd name="T122" fmla="*/ 1042 w 1071"/>
                <a:gd name="T123" fmla="*/ 13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71" h="660" extrusionOk="0">
                  <a:moveTo>
                    <a:pt x="1058" y="141"/>
                  </a:moveTo>
                  <a:lnTo>
                    <a:pt x="1058" y="141"/>
                  </a:lnTo>
                  <a:lnTo>
                    <a:pt x="1060" y="141"/>
                  </a:lnTo>
                  <a:lnTo>
                    <a:pt x="1063" y="138"/>
                  </a:lnTo>
                  <a:lnTo>
                    <a:pt x="1063" y="138"/>
                  </a:lnTo>
                  <a:lnTo>
                    <a:pt x="1066" y="138"/>
                  </a:lnTo>
                  <a:lnTo>
                    <a:pt x="1066" y="141"/>
                  </a:lnTo>
                  <a:lnTo>
                    <a:pt x="1066" y="141"/>
                  </a:lnTo>
                  <a:lnTo>
                    <a:pt x="1068" y="144"/>
                  </a:lnTo>
                  <a:lnTo>
                    <a:pt x="1068" y="144"/>
                  </a:lnTo>
                  <a:lnTo>
                    <a:pt x="1071" y="144"/>
                  </a:lnTo>
                  <a:lnTo>
                    <a:pt x="1071" y="144"/>
                  </a:lnTo>
                  <a:lnTo>
                    <a:pt x="1071" y="147"/>
                  </a:lnTo>
                  <a:lnTo>
                    <a:pt x="1068" y="147"/>
                  </a:lnTo>
                  <a:lnTo>
                    <a:pt x="1071" y="149"/>
                  </a:lnTo>
                  <a:lnTo>
                    <a:pt x="1068" y="149"/>
                  </a:lnTo>
                  <a:lnTo>
                    <a:pt x="1068" y="149"/>
                  </a:lnTo>
                  <a:lnTo>
                    <a:pt x="1068" y="149"/>
                  </a:lnTo>
                  <a:lnTo>
                    <a:pt x="1066" y="152"/>
                  </a:lnTo>
                  <a:lnTo>
                    <a:pt x="1066" y="155"/>
                  </a:lnTo>
                  <a:lnTo>
                    <a:pt x="1066" y="157"/>
                  </a:lnTo>
                  <a:lnTo>
                    <a:pt x="1063" y="155"/>
                  </a:lnTo>
                  <a:lnTo>
                    <a:pt x="1063" y="157"/>
                  </a:lnTo>
                  <a:lnTo>
                    <a:pt x="1066" y="157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6" y="160"/>
                  </a:lnTo>
                  <a:lnTo>
                    <a:pt x="1068" y="163"/>
                  </a:lnTo>
                  <a:lnTo>
                    <a:pt x="1068" y="165"/>
                  </a:lnTo>
                  <a:lnTo>
                    <a:pt x="1068" y="168"/>
                  </a:lnTo>
                  <a:lnTo>
                    <a:pt x="1068" y="171"/>
                  </a:lnTo>
                  <a:lnTo>
                    <a:pt x="1066" y="171"/>
                  </a:lnTo>
                  <a:lnTo>
                    <a:pt x="1066" y="173"/>
                  </a:lnTo>
                  <a:lnTo>
                    <a:pt x="1063" y="173"/>
                  </a:lnTo>
                  <a:lnTo>
                    <a:pt x="1063" y="173"/>
                  </a:lnTo>
                  <a:lnTo>
                    <a:pt x="1060" y="173"/>
                  </a:lnTo>
                  <a:lnTo>
                    <a:pt x="1060" y="171"/>
                  </a:lnTo>
                  <a:lnTo>
                    <a:pt x="1058" y="171"/>
                  </a:lnTo>
                  <a:lnTo>
                    <a:pt x="1055" y="171"/>
                  </a:lnTo>
                  <a:lnTo>
                    <a:pt x="1055" y="171"/>
                  </a:lnTo>
                  <a:lnTo>
                    <a:pt x="1055" y="171"/>
                  </a:lnTo>
                  <a:lnTo>
                    <a:pt x="1052" y="171"/>
                  </a:lnTo>
                  <a:lnTo>
                    <a:pt x="1052" y="171"/>
                  </a:lnTo>
                  <a:lnTo>
                    <a:pt x="1050" y="171"/>
                  </a:lnTo>
                  <a:lnTo>
                    <a:pt x="1052" y="173"/>
                  </a:lnTo>
                  <a:lnTo>
                    <a:pt x="1050" y="176"/>
                  </a:lnTo>
                  <a:lnTo>
                    <a:pt x="1047" y="176"/>
                  </a:lnTo>
                  <a:lnTo>
                    <a:pt x="1047" y="179"/>
                  </a:lnTo>
                  <a:lnTo>
                    <a:pt x="1047" y="179"/>
                  </a:lnTo>
                  <a:lnTo>
                    <a:pt x="1047" y="181"/>
                  </a:lnTo>
                  <a:lnTo>
                    <a:pt x="1058" y="181"/>
                  </a:lnTo>
                  <a:lnTo>
                    <a:pt x="1058" y="181"/>
                  </a:lnTo>
                  <a:lnTo>
                    <a:pt x="1058" y="184"/>
                  </a:lnTo>
                  <a:lnTo>
                    <a:pt x="1055" y="184"/>
                  </a:lnTo>
                  <a:lnTo>
                    <a:pt x="1055" y="187"/>
                  </a:lnTo>
                  <a:lnTo>
                    <a:pt x="1055" y="189"/>
                  </a:lnTo>
                  <a:lnTo>
                    <a:pt x="1055" y="192"/>
                  </a:lnTo>
                  <a:lnTo>
                    <a:pt x="1052" y="192"/>
                  </a:lnTo>
                  <a:lnTo>
                    <a:pt x="1052" y="192"/>
                  </a:lnTo>
                  <a:lnTo>
                    <a:pt x="1052" y="195"/>
                  </a:lnTo>
                  <a:lnTo>
                    <a:pt x="1050" y="195"/>
                  </a:lnTo>
                  <a:lnTo>
                    <a:pt x="1047" y="197"/>
                  </a:lnTo>
                  <a:lnTo>
                    <a:pt x="1047" y="197"/>
                  </a:lnTo>
                  <a:lnTo>
                    <a:pt x="1044" y="197"/>
                  </a:lnTo>
                  <a:lnTo>
                    <a:pt x="1044" y="197"/>
                  </a:lnTo>
                  <a:lnTo>
                    <a:pt x="1042" y="197"/>
                  </a:lnTo>
                  <a:lnTo>
                    <a:pt x="1039" y="195"/>
                  </a:lnTo>
                  <a:lnTo>
                    <a:pt x="1036" y="195"/>
                  </a:lnTo>
                  <a:lnTo>
                    <a:pt x="1036" y="195"/>
                  </a:lnTo>
                  <a:lnTo>
                    <a:pt x="1036" y="197"/>
                  </a:lnTo>
                  <a:lnTo>
                    <a:pt x="1036" y="197"/>
                  </a:lnTo>
                  <a:lnTo>
                    <a:pt x="1036" y="200"/>
                  </a:lnTo>
                  <a:lnTo>
                    <a:pt x="1036" y="200"/>
                  </a:lnTo>
                  <a:lnTo>
                    <a:pt x="1034" y="200"/>
                  </a:lnTo>
                  <a:lnTo>
                    <a:pt x="1031" y="203"/>
                  </a:lnTo>
                  <a:lnTo>
                    <a:pt x="1031" y="203"/>
                  </a:lnTo>
                  <a:lnTo>
                    <a:pt x="1031" y="203"/>
                  </a:lnTo>
                  <a:lnTo>
                    <a:pt x="1028" y="203"/>
                  </a:lnTo>
                  <a:lnTo>
                    <a:pt x="1028" y="203"/>
                  </a:lnTo>
                  <a:lnTo>
                    <a:pt x="1028" y="205"/>
                  </a:lnTo>
                  <a:lnTo>
                    <a:pt x="1026" y="205"/>
                  </a:lnTo>
                  <a:lnTo>
                    <a:pt x="1023" y="205"/>
                  </a:lnTo>
                  <a:lnTo>
                    <a:pt x="1023" y="208"/>
                  </a:lnTo>
                  <a:lnTo>
                    <a:pt x="1020" y="208"/>
                  </a:lnTo>
                  <a:lnTo>
                    <a:pt x="1018" y="208"/>
                  </a:lnTo>
                  <a:lnTo>
                    <a:pt x="1018" y="205"/>
                  </a:lnTo>
                  <a:lnTo>
                    <a:pt x="1015" y="208"/>
                  </a:lnTo>
                  <a:lnTo>
                    <a:pt x="1015" y="208"/>
                  </a:lnTo>
                  <a:lnTo>
                    <a:pt x="1012" y="211"/>
                  </a:lnTo>
                  <a:lnTo>
                    <a:pt x="1010" y="211"/>
                  </a:lnTo>
                  <a:lnTo>
                    <a:pt x="1007" y="211"/>
                  </a:lnTo>
                  <a:lnTo>
                    <a:pt x="1007" y="213"/>
                  </a:lnTo>
                  <a:lnTo>
                    <a:pt x="1007" y="213"/>
                  </a:lnTo>
                  <a:lnTo>
                    <a:pt x="1007" y="216"/>
                  </a:lnTo>
                  <a:lnTo>
                    <a:pt x="1007" y="216"/>
                  </a:lnTo>
                  <a:lnTo>
                    <a:pt x="1007" y="219"/>
                  </a:lnTo>
                  <a:lnTo>
                    <a:pt x="1007" y="219"/>
                  </a:lnTo>
                  <a:lnTo>
                    <a:pt x="1004" y="219"/>
                  </a:lnTo>
                  <a:lnTo>
                    <a:pt x="1004" y="219"/>
                  </a:lnTo>
                  <a:lnTo>
                    <a:pt x="1002" y="219"/>
                  </a:lnTo>
                  <a:lnTo>
                    <a:pt x="999" y="219"/>
                  </a:lnTo>
                  <a:lnTo>
                    <a:pt x="999" y="221"/>
                  </a:lnTo>
                  <a:lnTo>
                    <a:pt x="999" y="221"/>
                  </a:lnTo>
                  <a:lnTo>
                    <a:pt x="999" y="224"/>
                  </a:lnTo>
                  <a:lnTo>
                    <a:pt x="999" y="227"/>
                  </a:lnTo>
                  <a:lnTo>
                    <a:pt x="999" y="229"/>
                  </a:lnTo>
                  <a:lnTo>
                    <a:pt x="999" y="232"/>
                  </a:lnTo>
                  <a:lnTo>
                    <a:pt x="996" y="235"/>
                  </a:lnTo>
                  <a:lnTo>
                    <a:pt x="994" y="237"/>
                  </a:lnTo>
                  <a:lnTo>
                    <a:pt x="991" y="237"/>
                  </a:lnTo>
                  <a:lnTo>
                    <a:pt x="988" y="235"/>
                  </a:lnTo>
                  <a:lnTo>
                    <a:pt x="986" y="237"/>
                  </a:lnTo>
                  <a:lnTo>
                    <a:pt x="983" y="237"/>
                  </a:lnTo>
                  <a:lnTo>
                    <a:pt x="980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40"/>
                  </a:lnTo>
                  <a:lnTo>
                    <a:pt x="975" y="240"/>
                  </a:lnTo>
                  <a:lnTo>
                    <a:pt x="975" y="237"/>
                  </a:lnTo>
                  <a:lnTo>
                    <a:pt x="969" y="237"/>
                  </a:lnTo>
                  <a:lnTo>
                    <a:pt x="969" y="237"/>
                  </a:lnTo>
                  <a:lnTo>
                    <a:pt x="969" y="240"/>
                  </a:lnTo>
                  <a:lnTo>
                    <a:pt x="969" y="240"/>
                  </a:lnTo>
                  <a:lnTo>
                    <a:pt x="967" y="240"/>
                  </a:lnTo>
                  <a:lnTo>
                    <a:pt x="967" y="245"/>
                  </a:lnTo>
                  <a:lnTo>
                    <a:pt x="964" y="245"/>
                  </a:lnTo>
                  <a:lnTo>
                    <a:pt x="964" y="243"/>
                  </a:lnTo>
                  <a:lnTo>
                    <a:pt x="959" y="243"/>
                  </a:lnTo>
                  <a:lnTo>
                    <a:pt x="959" y="245"/>
                  </a:lnTo>
                  <a:lnTo>
                    <a:pt x="956" y="248"/>
                  </a:lnTo>
                  <a:lnTo>
                    <a:pt x="948" y="248"/>
                  </a:lnTo>
                  <a:lnTo>
                    <a:pt x="943" y="243"/>
                  </a:lnTo>
                  <a:lnTo>
                    <a:pt x="940" y="245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48"/>
                  </a:lnTo>
                  <a:lnTo>
                    <a:pt x="935" y="251"/>
                  </a:lnTo>
                  <a:lnTo>
                    <a:pt x="932" y="251"/>
                  </a:lnTo>
                  <a:lnTo>
                    <a:pt x="929" y="253"/>
                  </a:lnTo>
                  <a:lnTo>
                    <a:pt x="927" y="251"/>
                  </a:lnTo>
                  <a:lnTo>
                    <a:pt x="924" y="251"/>
                  </a:lnTo>
                  <a:lnTo>
                    <a:pt x="924" y="253"/>
                  </a:lnTo>
                  <a:lnTo>
                    <a:pt x="921" y="253"/>
                  </a:lnTo>
                  <a:lnTo>
                    <a:pt x="919" y="256"/>
                  </a:lnTo>
                  <a:lnTo>
                    <a:pt x="916" y="253"/>
                  </a:lnTo>
                  <a:lnTo>
                    <a:pt x="916" y="253"/>
                  </a:lnTo>
                  <a:lnTo>
                    <a:pt x="913" y="253"/>
                  </a:lnTo>
                  <a:lnTo>
                    <a:pt x="913" y="253"/>
                  </a:lnTo>
                  <a:lnTo>
                    <a:pt x="913" y="256"/>
                  </a:lnTo>
                  <a:lnTo>
                    <a:pt x="911" y="256"/>
                  </a:lnTo>
                  <a:lnTo>
                    <a:pt x="908" y="259"/>
                  </a:lnTo>
                  <a:lnTo>
                    <a:pt x="908" y="259"/>
                  </a:lnTo>
                  <a:lnTo>
                    <a:pt x="905" y="259"/>
                  </a:lnTo>
                  <a:lnTo>
                    <a:pt x="905" y="261"/>
                  </a:lnTo>
                  <a:lnTo>
                    <a:pt x="905" y="261"/>
                  </a:lnTo>
                  <a:lnTo>
                    <a:pt x="903" y="264"/>
                  </a:lnTo>
                  <a:lnTo>
                    <a:pt x="903" y="264"/>
                  </a:lnTo>
                  <a:lnTo>
                    <a:pt x="900" y="267"/>
                  </a:lnTo>
                  <a:lnTo>
                    <a:pt x="900" y="269"/>
                  </a:lnTo>
                  <a:lnTo>
                    <a:pt x="903" y="272"/>
                  </a:lnTo>
                  <a:lnTo>
                    <a:pt x="900" y="275"/>
                  </a:lnTo>
                  <a:lnTo>
                    <a:pt x="900" y="275"/>
                  </a:lnTo>
                  <a:lnTo>
                    <a:pt x="897" y="275"/>
                  </a:lnTo>
                  <a:lnTo>
                    <a:pt x="895" y="269"/>
                  </a:lnTo>
                  <a:lnTo>
                    <a:pt x="895" y="272"/>
                  </a:lnTo>
                  <a:lnTo>
                    <a:pt x="892" y="272"/>
                  </a:lnTo>
                  <a:lnTo>
                    <a:pt x="889" y="272"/>
                  </a:lnTo>
                  <a:lnTo>
                    <a:pt x="887" y="275"/>
                  </a:lnTo>
                  <a:lnTo>
                    <a:pt x="884" y="277"/>
                  </a:lnTo>
                  <a:lnTo>
                    <a:pt x="884" y="280"/>
                  </a:lnTo>
                  <a:lnTo>
                    <a:pt x="881" y="283"/>
                  </a:lnTo>
                  <a:lnTo>
                    <a:pt x="881" y="283"/>
                  </a:lnTo>
                  <a:lnTo>
                    <a:pt x="879" y="283"/>
                  </a:lnTo>
                  <a:lnTo>
                    <a:pt x="876" y="283"/>
                  </a:lnTo>
                  <a:lnTo>
                    <a:pt x="876" y="285"/>
                  </a:lnTo>
                  <a:lnTo>
                    <a:pt x="876" y="288"/>
                  </a:lnTo>
                  <a:lnTo>
                    <a:pt x="873" y="288"/>
                  </a:lnTo>
                  <a:lnTo>
                    <a:pt x="871" y="288"/>
                  </a:lnTo>
                  <a:lnTo>
                    <a:pt x="871" y="291"/>
                  </a:lnTo>
                  <a:lnTo>
                    <a:pt x="871" y="291"/>
                  </a:lnTo>
                  <a:lnTo>
                    <a:pt x="873" y="293"/>
                  </a:lnTo>
                  <a:lnTo>
                    <a:pt x="873" y="293"/>
                  </a:lnTo>
                  <a:lnTo>
                    <a:pt x="868" y="296"/>
                  </a:lnTo>
                  <a:lnTo>
                    <a:pt x="868" y="302"/>
                  </a:lnTo>
                  <a:lnTo>
                    <a:pt x="865" y="304"/>
                  </a:lnTo>
                  <a:lnTo>
                    <a:pt x="865" y="302"/>
                  </a:lnTo>
                  <a:lnTo>
                    <a:pt x="863" y="302"/>
                  </a:lnTo>
                  <a:lnTo>
                    <a:pt x="860" y="299"/>
                  </a:lnTo>
                  <a:lnTo>
                    <a:pt x="857" y="302"/>
                  </a:lnTo>
                  <a:lnTo>
                    <a:pt x="855" y="302"/>
                  </a:lnTo>
                  <a:lnTo>
                    <a:pt x="852" y="302"/>
                  </a:lnTo>
                  <a:lnTo>
                    <a:pt x="849" y="302"/>
                  </a:lnTo>
                  <a:lnTo>
                    <a:pt x="847" y="302"/>
                  </a:lnTo>
                  <a:lnTo>
                    <a:pt x="841" y="304"/>
                  </a:lnTo>
                  <a:lnTo>
                    <a:pt x="836" y="304"/>
                  </a:lnTo>
                  <a:lnTo>
                    <a:pt x="833" y="304"/>
                  </a:lnTo>
                  <a:lnTo>
                    <a:pt x="833" y="304"/>
                  </a:lnTo>
                  <a:lnTo>
                    <a:pt x="831" y="307"/>
                  </a:lnTo>
                  <a:lnTo>
                    <a:pt x="828" y="307"/>
                  </a:lnTo>
                  <a:lnTo>
                    <a:pt x="825" y="307"/>
                  </a:lnTo>
                  <a:lnTo>
                    <a:pt x="823" y="304"/>
                  </a:lnTo>
                  <a:lnTo>
                    <a:pt x="823" y="307"/>
                  </a:lnTo>
                  <a:lnTo>
                    <a:pt x="823" y="307"/>
                  </a:lnTo>
                  <a:lnTo>
                    <a:pt x="820" y="310"/>
                  </a:lnTo>
                  <a:lnTo>
                    <a:pt x="817" y="310"/>
                  </a:lnTo>
                  <a:lnTo>
                    <a:pt x="817" y="310"/>
                  </a:lnTo>
                  <a:lnTo>
                    <a:pt x="815" y="310"/>
                  </a:lnTo>
                  <a:lnTo>
                    <a:pt x="815" y="312"/>
                  </a:lnTo>
                  <a:lnTo>
                    <a:pt x="815" y="312"/>
                  </a:lnTo>
                  <a:lnTo>
                    <a:pt x="815" y="312"/>
                  </a:lnTo>
                  <a:lnTo>
                    <a:pt x="812" y="315"/>
                  </a:lnTo>
                  <a:lnTo>
                    <a:pt x="809" y="312"/>
                  </a:lnTo>
                  <a:lnTo>
                    <a:pt x="807" y="315"/>
                  </a:lnTo>
                  <a:lnTo>
                    <a:pt x="807" y="315"/>
                  </a:lnTo>
                  <a:lnTo>
                    <a:pt x="804" y="315"/>
                  </a:lnTo>
                  <a:lnTo>
                    <a:pt x="801" y="318"/>
                  </a:lnTo>
                  <a:lnTo>
                    <a:pt x="799" y="320"/>
                  </a:lnTo>
                  <a:lnTo>
                    <a:pt x="796" y="323"/>
                  </a:lnTo>
                  <a:lnTo>
                    <a:pt x="796" y="326"/>
                  </a:lnTo>
                  <a:lnTo>
                    <a:pt x="793" y="328"/>
                  </a:lnTo>
                  <a:lnTo>
                    <a:pt x="791" y="328"/>
                  </a:lnTo>
                  <a:lnTo>
                    <a:pt x="791" y="328"/>
                  </a:lnTo>
                  <a:lnTo>
                    <a:pt x="788" y="331"/>
                  </a:lnTo>
                  <a:lnTo>
                    <a:pt x="785" y="331"/>
                  </a:lnTo>
                  <a:lnTo>
                    <a:pt x="785" y="334"/>
                  </a:lnTo>
                  <a:lnTo>
                    <a:pt x="785" y="336"/>
                  </a:lnTo>
                  <a:lnTo>
                    <a:pt x="788" y="336"/>
                  </a:lnTo>
                  <a:lnTo>
                    <a:pt x="788" y="336"/>
                  </a:lnTo>
                  <a:lnTo>
                    <a:pt x="788" y="336"/>
                  </a:lnTo>
                  <a:lnTo>
                    <a:pt x="788" y="339"/>
                  </a:lnTo>
                  <a:lnTo>
                    <a:pt x="788" y="339"/>
                  </a:lnTo>
                  <a:lnTo>
                    <a:pt x="788" y="342"/>
                  </a:lnTo>
                  <a:lnTo>
                    <a:pt x="785" y="342"/>
                  </a:lnTo>
                  <a:lnTo>
                    <a:pt x="783" y="342"/>
                  </a:lnTo>
                  <a:lnTo>
                    <a:pt x="780" y="342"/>
                  </a:lnTo>
                  <a:lnTo>
                    <a:pt x="780" y="344"/>
                  </a:lnTo>
                  <a:lnTo>
                    <a:pt x="777" y="344"/>
                  </a:lnTo>
                  <a:lnTo>
                    <a:pt x="775" y="344"/>
                  </a:lnTo>
                  <a:lnTo>
                    <a:pt x="772" y="344"/>
                  </a:lnTo>
                  <a:lnTo>
                    <a:pt x="772" y="344"/>
                  </a:lnTo>
                  <a:lnTo>
                    <a:pt x="769" y="347"/>
                  </a:lnTo>
                  <a:lnTo>
                    <a:pt x="769" y="350"/>
                  </a:lnTo>
                  <a:lnTo>
                    <a:pt x="767" y="352"/>
                  </a:lnTo>
                  <a:lnTo>
                    <a:pt x="767" y="352"/>
                  </a:lnTo>
                  <a:lnTo>
                    <a:pt x="764" y="352"/>
                  </a:lnTo>
                  <a:lnTo>
                    <a:pt x="764" y="355"/>
                  </a:lnTo>
                  <a:lnTo>
                    <a:pt x="761" y="355"/>
                  </a:lnTo>
                  <a:lnTo>
                    <a:pt x="759" y="355"/>
                  </a:lnTo>
                  <a:lnTo>
                    <a:pt x="759" y="352"/>
                  </a:lnTo>
                  <a:lnTo>
                    <a:pt x="756" y="352"/>
                  </a:lnTo>
                  <a:lnTo>
                    <a:pt x="753" y="352"/>
                  </a:lnTo>
                  <a:lnTo>
                    <a:pt x="753" y="355"/>
                  </a:lnTo>
                  <a:lnTo>
                    <a:pt x="751" y="358"/>
                  </a:lnTo>
                  <a:lnTo>
                    <a:pt x="751" y="360"/>
                  </a:lnTo>
                  <a:lnTo>
                    <a:pt x="751" y="360"/>
                  </a:lnTo>
                  <a:lnTo>
                    <a:pt x="748" y="363"/>
                  </a:lnTo>
                  <a:lnTo>
                    <a:pt x="748" y="360"/>
                  </a:lnTo>
                  <a:lnTo>
                    <a:pt x="745" y="360"/>
                  </a:lnTo>
                  <a:lnTo>
                    <a:pt x="743" y="360"/>
                  </a:lnTo>
                  <a:lnTo>
                    <a:pt x="743" y="363"/>
                  </a:lnTo>
                  <a:lnTo>
                    <a:pt x="740" y="360"/>
                  </a:lnTo>
                  <a:lnTo>
                    <a:pt x="743" y="358"/>
                  </a:lnTo>
                  <a:lnTo>
                    <a:pt x="743" y="355"/>
                  </a:lnTo>
                  <a:lnTo>
                    <a:pt x="740" y="352"/>
                  </a:lnTo>
                  <a:lnTo>
                    <a:pt x="740" y="350"/>
                  </a:lnTo>
                  <a:lnTo>
                    <a:pt x="740" y="350"/>
                  </a:lnTo>
                  <a:lnTo>
                    <a:pt x="740" y="347"/>
                  </a:lnTo>
                  <a:lnTo>
                    <a:pt x="740" y="347"/>
                  </a:lnTo>
                  <a:lnTo>
                    <a:pt x="740" y="344"/>
                  </a:lnTo>
                  <a:lnTo>
                    <a:pt x="740" y="342"/>
                  </a:lnTo>
                  <a:lnTo>
                    <a:pt x="740" y="342"/>
                  </a:lnTo>
                  <a:lnTo>
                    <a:pt x="737" y="342"/>
                  </a:lnTo>
                  <a:lnTo>
                    <a:pt x="735" y="339"/>
                  </a:lnTo>
                  <a:lnTo>
                    <a:pt x="732" y="336"/>
                  </a:lnTo>
                  <a:lnTo>
                    <a:pt x="729" y="339"/>
                  </a:lnTo>
                  <a:lnTo>
                    <a:pt x="729" y="339"/>
                  </a:lnTo>
                  <a:lnTo>
                    <a:pt x="726" y="339"/>
                  </a:lnTo>
                  <a:lnTo>
                    <a:pt x="724" y="339"/>
                  </a:lnTo>
                  <a:lnTo>
                    <a:pt x="724" y="342"/>
                  </a:lnTo>
                  <a:lnTo>
                    <a:pt x="721" y="342"/>
                  </a:lnTo>
                  <a:lnTo>
                    <a:pt x="721" y="344"/>
                  </a:lnTo>
                  <a:lnTo>
                    <a:pt x="721" y="344"/>
                  </a:lnTo>
                  <a:lnTo>
                    <a:pt x="718" y="347"/>
                  </a:lnTo>
                  <a:lnTo>
                    <a:pt x="718" y="347"/>
                  </a:lnTo>
                  <a:lnTo>
                    <a:pt x="716" y="347"/>
                  </a:lnTo>
                  <a:lnTo>
                    <a:pt x="716" y="347"/>
                  </a:lnTo>
                  <a:lnTo>
                    <a:pt x="713" y="347"/>
                  </a:lnTo>
                  <a:lnTo>
                    <a:pt x="713" y="350"/>
                  </a:lnTo>
                  <a:lnTo>
                    <a:pt x="713" y="350"/>
                  </a:lnTo>
                  <a:lnTo>
                    <a:pt x="710" y="350"/>
                  </a:lnTo>
                  <a:lnTo>
                    <a:pt x="710" y="347"/>
                  </a:lnTo>
                  <a:lnTo>
                    <a:pt x="708" y="347"/>
                  </a:lnTo>
                  <a:lnTo>
                    <a:pt x="708" y="350"/>
                  </a:lnTo>
                  <a:lnTo>
                    <a:pt x="705" y="350"/>
                  </a:lnTo>
                  <a:lnTo>
                    <a:pt x="702" y="352"/>
                  </a:lnTo>
                  <a:lnTo>
                    <a:pt x="702" y="355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700" y="352"/>
                  </a:lnTo>
                  <a:lnTo>
                    <a:pt x="697" y="355"/>
                  </a:lnTo>
                  <a:lnTo>
                    <a:pt x="700" y="355"/>
                  </a:lnTo>
                  <a:lnTo>
                    <a:pt x="700" y="358"/>
                  </a:lnTo>
                  <a:lnTo>
                    <a:pt x="697" y="358"/>
                  </a:lnTo>
                  <a:lnTo>
                    <a:pt x="697" y="358"/>
                  </a:lnTo>
                  <a:lnTo>
                    <a:pt x="697" y="358"/>
                  </a:lnTo>
                  <a:lnTo>
                    <a:pt x="697" y="360"/>
                  </a:lnTo>
                  <a:lnTo>
                    <a:pt x="697" y="363"/>
                  </a:lnTo>
                  <a:lnTo>
                    <a:pt x="697" y="366"/>
                  </a:lnTo>
                  <a:lnTo>
                    <a:pt x="697" y="368"/>
                  </a:lnTo>
                  <a:lnTo>
                    <a:pt x="697" y="371"/>
                  </a:lnTo>
                  <a:lnTo>
                    <a:pt x="697" y="371"/>
                  </a:lnTo>
                  <a:lnTo>
                    <a:pt x="694" y="368"/>
                  </a:lnTo>
                  <a:lnTo>
                    <a:pt x="692" y="368"/>
                  </a:lnTo>
                  <a:lnTo>
                    <a:pt x="692" y="368"/>
                  </a:lnTo>
                  <a:lnTo>
                    <a:pt x="689" y="371"/>
                  </a:lnTo>
                  <a:lnTo>
                    <a:pt x="689" y="374"/>
                  </a:lnTo>
                  <a:lnTo>
                    <a:pt x="686" y="374"/>
                  </a:lnTo>
                  <a:lnTo>
                    <a:pt x="686" y="376"/>
                  </a:lnTo>
                  <a:lnTo>
                    <a:pt x="684" y="379"/>
                  </a:lnTo>
                  <a:lnTo>
                    <a:pt x="681" y="379"/>
                  </a:lnTo>
                  <a:lnTo>
                    <a:pt x="678" y="379"/>
                  </a:lnTo>
                  <a:lnTo>
                    <a:pt x="681" y="382"/>
                  </a:lnTo>
                  <a:lnTo>
                    <a:pt x="681" y="382"/>
                  </a:lnTo>
                  <a:lnTo>
                    <a:pt x="684" y="382"/>
                  </a:lnTo>
                  <a:lnTo>
                    <a:pt x="684" y="382"/>
                  </a:lnTo>
                  <a:lnTo>
                    <a:pt x="684" y="384"/>
                  </a:lnTo>
                  <a:lnTo>
                    <a:pt x="686" y="387"/>
                  </a:lnTo>
                  <a:lnTo>
                    <a:pt x="684" y="390"/>
                  </a:lnTo>
                  <a:lnTo>
                    <a:pt x="684" y="392"/>
                  </a:lnTo>
                  <a:lnTo>
                    <a:pt x="684" y="392"/>
                  </a:lnTo>
                  <a:lnTo>
                    <a:pt x="681" y="395"/>
                  </a:lnTo>
                  <a:lnTo>
                    <a:pt x="678" y="398"/>
                  </a:lnTo>
                  <a:lnTo>
                    <a:pt x="678" y="400"/>
                  </a:lnTo>
                  <a:lnTo>
                    <a:pt x="676" y="406"/>
                  </a:lnTo>
                  <a:lnTo>
                    <a:pt x="673" y="406"/>
                  </a:lnTo>
                  <a:lnTo>
                    <a:pt x="676" y="408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6"/>
                  </a:lnTo>
                  <a:lnTo>
                    <a:pt x="676" y="419"/>
                  </a:lnTo>
                  <a:lnTo>
                    <a:pt x="678" y="419"/>
                  </a:lnTo>
                  <a:lnTo>
                    <a:pt x="681" y="422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3" y="430"/>
                  </a:lnTo>
                  <a:lnTo>
                    <a:pt x="673" y="432"/>
                  </a:lnTo>
                  <a:lnTo>
                    <a:pt x="670" y="435"/>
                  </a:lnTo>
                  <a:lnTo>
                    <a:pt x="668" y="435"/>
                  </a:lnTo>
                  <a:lnTo>
                    <a:pt x="665" y="438"/>
                  </a:lnTo>
                  <a:lnTo>
                    <a:pt x="662" y="438"/>
                  </a:lnTo>
                  <a:lnTo>
                    <a:pt x="660" y="438"/>
                  </a:lnTo>
                  <a:lnTo>
                    <a:pt x="660" y="438"/>
                  </a:lnTo>
                  <a:lnTo>
                    <a:pt x="657" y="440"/>
                  </a:lnTo>
                  <a:lnTo>
                    <a:pt x="657" y="443"/>
                  </a:lnTo>
                  <a:lnTo>
                    <a:pt x="657" y="446"/>
                  </a:lnTo>
                  <a:lnTo>
                    <a:pt x="654" y="446"/>
                  </a:lnTo>
                  <a:lnTo>
                    <a:pt x="654" y="448"/>
                  </a:lnTo>
                  <a:lnTo>
                    <a:pt x="652" y="446"/>
                  </a:lnTo>
                  <a:lnTo>
                    <a:pt x="652" y="448"/>
                  </a:lnTo>
                  <a:lnTo>
                    <a:pt x="652" y="448"/>
                  </a:lnTo>
                  <a:lnTo>
                    <a:pt x="652" y="451"/>
                  </a:lnTo>
                  <a:lnTo>
                    <a:pt x="652" y="454"/>
                  </a:lnTo>
                  <a:lnTo>
                    <a:pt x="649" y="456"/>
                  </a:lnTo>
                  <a:lnTo>
                    <a:pt x="646" y="459"/>
                  </a:lnTo>
                  <a:lnTo>
                    <a:pt x="646" y="462"/>
                  </a:lnTo>
                  <a:lnTo>
                    <a:pt x="644" y="465"/>
                  </a:lnTo>
                  <a:lnTo>
                    <a:pt x="641" y="470"/>
                  </a:lnTo>
                  <a:lnTo>
                    <a:pt x="638" y="473"/>
                  </a:lnTo>
                  <a:lnTo>
                    <a:pt x="636" y="478"/>
                  </a:lnTo>
                  <a:lnTo>
                    <a:pt x="633" y="481"/>
                  </a:lnTo>
                  <a:lnTo>
                    <a:pt x="630" y="481"/>
                  </a:lnTo>
                  <a:lnTo>
                    <a:pt x="628" y="483"/>
                  </a:lnTo>
                  <a:lnTo>
                    <a:pt x="628" y="486"/>
                  </a:lnTo>
                  <a:lnTo>
                    <a:pt x="630" y="486"/>
                  </a:lnTo>
                  <a:lnTo>
                    <a:pt x="628" y="489"/>
                  </a:lnTo>
                  <a:lnTo>
                    <a:pt x="625" y="486"/>
                  </a:lnTo>
                  <a:lnTo>
                    <a:pt x="625" y="489"/>
                  </a:lnTo>
                  <a:lnTo>
                    <a:pt x="625" y="491"/>
                  </a:lnTo>
                  <a:lnTo>
                    <a:pt x="625" y="494"/>
                  </a:lnTo>
                  <a:lnTo>
                    <a:pt x="625" y="497"/>
                  </a:lnTo>
                  <a:lnTo>
                    <a:pt x="622" y="499"/>
                  </a:lnTo>
                  <a:lnTo>
                    <a:pt x="622" y="499"/>
                  </a:lnTo>
                  <a:lnTo>
                    <a:pt x="620" y="499"/>
                  </a:lnTo>
                  <a:lnTo>
                    <a:pt x="617" y="502"/>
                  </a:lnTo>
                  <a:lnTo>
                    <a:pt x="617" y="502"/>
                  </a:lnTo>
                  <a:lnTo>
                    <a:pt x="620" y="502"/>
                  </a:lnTo>
                  <a:lnTo>
                    <a:pt x="620" y="505"/>
                  </a:lnTo>
                  <a:lnTo>
                    <a:pt x="617" y="507"/>
                  </a:lnTo>
                  <a:lnTo>
                    <a:pt x="617" y="510"/>
                  </a:lnTo>
                  <a:lnTo>
                    <a:pt x="614" y="510"/>
                  </a:lnTo>
                  <a:lnTo>
                    <a:pt x="612" y="510"/>
                  </a:lnTo>
                  <a:lnTo>
                    <a:pt x="612" y="510"/>
                  </a:lnTo>
                  <a:lnTo>
                    <a:pt x="612" y="513"/>
                  </a:lnTo>
                  <a:lnTo>
                    <a:pt x="609" y="515"/>
                  </a:lnTo>
                  <a:lnTo>
                    <a:pt x="609" y="515"/>
                  </a:lnTo>
                  <a:lnTo>
                    <a:pt x="609" y="518"/>
                  </a:lnTo>
                  <a:lnTo>
                    <a:pt x="609" y="521"/>
                  </a:lnTo>
                  <a:lnTo>
                    <a:pt x="609" y="523"/>
                  </a:lnTo>
                  <a:lnTo>
                    <a:pt x="612" y="526"/>
                  </a:lnTo>
                  <a:lnTo>
                    <a:pt x="612" y="526"/>
                  </a:lnTo>
                  <a:lnTo>
                    <a:pt x="614" y="529"/>
                  </a:lnTo>
                  <a:lnTo>
                    <a:pt x="614" y="531"/>
                  </a:lnTo>
                  <a:lnTo>
                    <a:pt x="614" y="531"/>
                  </a:lnTo>
                  <a:lnTo>
                    <a:pt x="614" y="534"/>
                  </a:lnTo>
                  <a:lnTo>
                    <a:pt x="612" y="537"/>
                  </a:lnTo>
                  <a:lnTo>
                    <a:pt x="612" y="537"/>
                  </a:lnTo>
                  <a:lnTo>
                    <a:pt x="609" y="539"/>
                  </a:lnTo>
                  <a:lnTo>
                    <a:pt x="609" y="542"/>
                  </a:lnTo>
                  <a:lnTo>
                    <a:pt x="606" y="545"/>
                  </a:lnTo>
                  <a:lnTo>
                    <a:pt x="604" y="545"/>
                  </a:lnTo>
                  <a:lnTo>
                    <a:pt x="604" y="547"/>
                  </a:lnTo>
                  <a:lnTo>
                    <a:pt x="604" y="550"/>
                  </a:lnTo>
                  <a:lnTo>
                    <a:pt x="604" y="550"/>
                  </a:lnTo>
                  <a:lnTo>
                    <a:pt x="604" y="553"/>
                  </a:lnTo>
                  <a:lnTo>
                    <a:pt x="604" y="555"/>
                  </a:lnTo>
                  <a:lnTo>
                    <a:pt x="604" y="558"/>
                  </a:lnTo>
                  <a:lnTo>
                    <a:pt x="601" y="561"/>
                  </a:lnTo>
                  <a:lnTo>
                    <a:pt x="601" y="563"/>
                  </a:lnTo>
                  <a:lnTo>
                    <a:pt x="604" y="566"/>
                  </a:lnTo>
                  <a:lnTo>
                    <a:pt x="604" y="566"/>
                  </a:lnTo>
                  <a:lnTo>
                    <a:pt x="604" y="569"/>
                  </a:lnTo>
                  <a:lnTo>
                    <a:pt x="606" y="569"/>
                  </a:lnTo>
                  <a:lnTo>
                    <a:pt x="609" y="569"/>
                  </a:lnTo>
                  <a:lnTo>
                    <a:pt x="609" y="569"/>
                  </a:lnTo>
                  <a:lnTo>
                    <a:pt x="609" y="569"/>
                  </a:lnTo>
                  <a:lnTo>
                    <a:pt x="606" y="571"/>
                  </a:lnTo>
                  <a:lnTo>
                    <a:pt x="606" y="571"/>
                  </a:lnTo>
                  <a:lnTo>
                    <a:pt x="606" y="571"/>
                  </a:lnTo>
                  <a:lnTo>
                    <a:pt x="606" y="574"/>
                  </a:lnTo>
                  <a:lnTo>
                    <a:pt x="606" y="577"/>
                  </a:lnTo>
                  <a:lnTo>
                    <a:pt x="604" y="577"/>
                  </a:lnTo>
                  <a:lnTo>
                    <a:pt x="604" y="577"/>
                  </a:lnTo>
                  <a:lnTo>
                    <a:pt x="604" y="579"/>
                  </a:lnTo>
                  <a:lnTo>
                    <a:pt x="601" y="579"/>
                  </a:lnTo>
                  <a:lnTo>
                    <a:pt x="601" y="579"/>
                  </a:lnTo>
                  <a:lnTo>
                    <a:pt x="601" y="582"/>
                  </a:lnTo>
                  <a:lnTo>
                    <a:pt x="601" y="582"/>
                  </a:lnTo>
                  <a:lnTo>
                    <a:pt x="601" y="585"/>
                  </a:lnTo>
                  <a:lnTo>
                    <a:pt x="598" y="585"/>
                  </a:lnTo>
                  <a:lnTo>
                    <a:pt x="598" y="587"/>
                  </a:lnTo>
                  <a:lnTo>
                    <a:pt x="593" y="587"/>
                  </a:lnTo>
                  <a:lnTo>
                    <a:pt x="593" y="587"/>
                  </a:lnTo>
                  <a:lnTo>
                    <a:pt x="593" y="590"/>
                  </a:lnTo>
                  <a:lnTo>
                    <a:pt x="593" y="590"/>
                  </a:lnTo>
                  <a:lnTo>
                    <a:pt x="590" y="593"/>
                  </a:lnTo>
                  <a:lnTo>
                    <a:pt x="590" y="595"/>
                  </a:lnTo>
                  <a:lnTo>
                    <a:pt x="588" y="595"/>
                  </a:lnTo>
                  <a:lnTo>
                    <a:pt x="588" y="595"/>
                  </a:lnTo>
                  <a:lnTo>
                    <a:pt x="585" y="598"/>
                  </a:lnTo>
                  <a:lnTo>
                    <a:pt x="585" y="601"/>
                  </a:lnTo>
                  <a:lnTo>
                    <a:pt x="582" y="601"/>
                  </a:lnTo>
                  <a:lnTo>
                    <a:pt x="582" y="603"/>
                  </a:lnTo>
                  <a:lnTo>
                    <a:pt x="580" y="603"/>
                  </a:lnTo>
                  <a:lnTo>
                    <a:pt x="580" y="606"/>
                  </a:lnTo>
                  <a:lnTo>
                    <a:pt x="580" y="609"/>
                  </a:lnTo>
                  <a:lnTo>
                    <a:pt x="580" y="611"/>
                  </a:lnTo>
                  <a:lnTo>
                    <a:pt x="580" y="611"/>
                  </a:lnTo>
                  <a:lnTo>
                    <a:pt x="577" y="614"/>
                  </a:lnTo>
                  <a:lnTo>
                    <a:pt x="577" y="617"/>
                  </a:lnTo>
                  <a:lnTo>
                    <a:pt x="577" y="619"/>
                  </a:lnTo>
                  <a:lnTo>
                    <a:pt x="577" y="622"/>
                  </a:lnTo>
                  <a:lnTo>
                    <a:pt x="577" y="622"/>
                  </a:lnTo>
                  <a:lnTo>
                    <a:pt x="572" y="625"/>
                  </a:lnTo>
                  <a:lnTo>
                    <a:pt x="572" y="628"/>
                  </a:lnTo>
                  <a:lnTo>
                    <a:pt x="566" y="628"/>
                  </a:lnTo>
                  <a:lnTo>
                    <a:pt x="566" y="628"/>
                  </a:lnTo>
                  <a:lnTo>
                    <a:pt x="566" y="630"/>
                  </a:lnTo>
                  <a:lnTo>
                    <a:pt x="564" y="633"/>
                  </a:lnTo>
                  <a:lnTo>
                    <a:pt x="564" y="633"/>
                  </a:lnTo>
                  <a:lnTo>
                    <a:pt x="566" y="636"/>
                  </a:lnTo>
                  <a:lnTo>
                    <a:pt x="566" y="638"/>
                  </a:lnTo>
                  <a:lnTo>
                    <a:pt x="566" y="638"/>
                  </a:lnTo>
                  <a:lnTo>
                    <a:pt x="564" y="641"/>
                  </a:lnTo>
                  <a:lnTo>
                    <a:pt x="564" y="644"/>
                  </a:lnTo>
                  <a:lnTo>
                    <a:pt x="561" y="646"/>
                  </a:lnTo>
                  <a:lnTo>
                    <a:pt x="558" y="646"/>
                  </a:lnTo>
                  <a:lnTo>
                    <a:pt x="558" y="646"/>
                  </a:lnTo>
                  <a:lnTo>
                    <a:pt x="556" y="646"/>
                  </a:lnTo>
                  <a:lnTo>
                    <a:pt x="556" y="649"/>
                  </a:lnTo>
                  <a:lnTo>
                    <a:pt x="556" y="646"/>
                  </a:lnTo>
                  <a:lnTo>
                    <a:pt x="553" y="646"/>
                  </a:lnTo>
                  <a:lnTo>
                    <a:pt x="553" y="646"/>
                  </a:lnTo>
                  <a:lnTo>
                    <a:pt x="550" y="646"/>
                  </a:lnTo>
                  <a:lnTo>
                    <a:pt x="548" y="646"/>
                  </a:lnTo>
                  <a:lnTo>
                    <a:pt x="548" y="649"/>
                  </a:lnTo>
                  <a:lnTo>
                    <a:pt x="548" y="649"/>
                  </a:lnTo>
                  <a:lnTo>
                    <a:pt x="545" y="652"/>
                  </a:lnTo>
                  <a:lnTo>
                    <a:pt x="542" y="652"/>
                  </a:lnTo>
                  <a:lnTo>
                    <a:pt x="540" y="652"/>
                  </a:lnTo>
                  <a:lnTo>
                    <a:pt x="540" y="652"/>
                  </a:lnTo>
                  <a:lnTo>
                    <a:pt x="534" y="649"/>
                  </a:lnTo>
                  <a:lnTo>
                    <a:pt x="532" y="652"/>
                  </a:lnTo>
                  <a:lnTo>
                    <a:pt x="457" y="617"/>
                  </a:lnTo>
                  <a:lnTo>
                    <a:pt x="454" y="619"/>
                  </a:lnTo>
                  <a:lnTo>
                    <a:pt x="438" y="606"/>
                  </a:lnTo>
                  <a:lnTo>
                    <a:pt x="435" y="609"/>
                  </a:lnTo>
                  <a:lnTo>
                    <a:pt x="433" y="609"/>
                  </a:lnTo>
                  <a:lnTo>
                    <a:pt x="427" y="614"/>
                  </a:lnTo>
                  <a:lnTo>
                    <a:pt x="422" y="609"/>
                  </a:lnTo>
                  <a:lnTo>
                    <a:pt x="414" y="619"/>
                  </a:lnTo>
                  <a:lnTo>
                    <a:pt x="414" y="622"/>
                  </a:lnTo>
                  <a:lnTo>
                    <a:pt x="406" y="628"/>
                  </a:lnTo>
                  <a:lnTo>
                    <a:pt x="390" y="614"/>
                  </a:lnTo>
                  <a:lnTo>
                    <a:pt x="379" y="628"/>
                  </a:lnTo>
                  <a:lnTo>
                    <a:pt x="361" y="611"/>
                  </a:lnTo>
                  <a:lnTo>
                    <a:pt x="350" y="625"/>
                  </a:lnTo>
                  <a:lnTo>
                    <a:pt x="345" y="619"/>
                  </a:lnTo>
                  <a:lnTo>
                    <a:pt x="334" y="633"/>
                  </a:lnTo>
                  <a:lnTo>
                    <a:pt x="291" y="598"/>
                  </a:lnTo>
                  <a:lnTo>
                    <a:pt x="283" y="609"/>
                  </a:lnTo>
                  <a:lnTo>
                    <a:pt x="265" y="593"/>
                  </a:lnTo>
                  <a:lnTo>
                    <a:pt x="275" y="582"/>
                  </a:lnTo>
                  <a:lnTo>
                    <a:pt x="254" y="566"/>
                  </a:lnTo>
                  <a:lnTo>
                    <a:pt x="243" y="577"/>
                  </a:lnTo>
                  <a:lnTo>
                    <a:pt x="230" y="563"/>
                  </a:lnTo>
                  <a:lnTo>
                    <a:pt x="219" y="577"/>
                  </a:lnTo>
                  <a:lnTo>
                    <a:pt x="203" y="561"/>
                  </a:lnTo>
                  <a:lnTo>
                    <a:pt x="184" y="585"/>
                  </a:lnTo>
                  <a:lnTo>
                    <a:pt x="198" y="598"/>
                  </a:lnTo>
                  <a:lnTo>
                    <a:pt x="192" y="603"/>
                  </a:lnTo>
                  <a:lnTo>
                    <a:pt x="200" y="611"/>
                  </a:lnTo>
                  <a:lnTo>
                    <a:pt x="198" y="617"/>
                  </a:lnTo>
                  <a:lnTo>
                    <a:pt x="200" y="619"/>
                  </a:lnTo>
                  <a:lnTo>
                    <a:pt x="198" y="619"/>
                  </a:lnTo>
                  <a:lnTo>
                    <a:pt x="198" y="622"/>
                  </a:lnTo>
                  <a:lnTo>
                    <a:pt x="195" y="625"/>
                  </a:lnTo>
                  <a:lnTo>
                    <a:pt x="192" y="628"/>
                  </a:lnTo>
                  <a:lnTo>
                    <a:pt x="190" y="630"/>
                  </a:lnTo>
                  <a:lnTo>
                    <a:pt x="190" y="628"/>
                  </a:lnTo>
                  <a:lnTo>
                    <a:pt x="190" y="628"/>
                  </a:lnTo>
                  <a:lnTo>
                    <a:pt x="187" y="625"/>
                  </a:lnTo>
                  <a:lnTo>
                    <a:pt x="187" y="622"/>
                  </a:lnTo>
                  <a:lnTo>
                    <a:pt x="184" y="619"/>
                  </a:lnTo>
                  <a:lnTo>
                    <a:pt x="184" y="617"/>
                  </a:lnTo>
                  <a:lnTo>
                    <a:pt x="182" y="617"/>
                  </a:lnTo>
                  <a:lnTo>
                    <a:pt x="182" y="617"/>
                  </a:lnTo>
                  <a:lnTo>
                    <a:pt x="179" y="617"/>
                  </a:lnTo>
                  <a:lnTo>
                    <a:pt x="179" y="617"/>
                  </a:lnTo>
                  <a:lnTo>
                    <a:pt x="176" y="617"/>
                  </a:lnTo>
                  <a:lnTo>
                    <a:pt x="174" y="619"/>
                  </a:lnTo>
                  <a:lnTo>
                    <a:pt x="168" y="622"/>
                  </a:lnTo>
                  <a:lnTo>
                    <a:pt x="166" y="625"/>
                  </a:lnTo>
                  <a:lnTo>
                    <a:pt x="163" y="628"/>
                  </a:lnTo>
                  <a:lnTo>
                    <a:pt x="160" y="628"/>
                  </a:lnTo>
                  <a:lnTo>
                    <a:pt x="158" y="630"/>
                  </a:lnTo>
                  <a:lnTo>
                    <a:pt x="155" y="630"/>
                  </a:lnTo>
                  <a:lnTo>
                    <a:pt x="152" y="633"/>
                  </a:lnTo>
                  <a:lnTo>
                    <a:pt x="150" y="633"/>
                  </a:lnTo>
                  <a:lnTo>
                    <a:pt x="147" y="636"/>
                  </a:lnTo>
                  <a:lnTo>
                    <a:pt x="142" y="636"/>
                  </a:lnTo>
                  <a:lnTo>
                    <a:pt x="139" y="638"/>
                  </a:lnTo>
                  <a:lnTo>
                    <a:pt x="136" y="638"/>
                  </a:lnTo>
                  <a:lnTo>
                    <a:pt x="136" y="636"/>
                  </a:lnTo>
                  <a:lnTo>
                    <a:pt x="136" y="633"/>
                  </a:lnTo>
                  <a:lnTo>
                    <a:pt x="139" y="630"/>
                  </a:lnTo>
                  <a:lnTo>
                    <a:pt x="139" y="628"/>
                  </a:lnTo>
                  <a:lnTo>
                    <a:pt x="136" y="625"/>
                  </a:lnTo>
                  <a:lnTo>
                    <a:pt x="134" y="622"/>
                  </a:lnTo>
                  <a:lnTo>
                    <a:pt x="134" y="619"/>
                  </a:lnTo>
                  <a:lnTo>
                    <a:pt x="131" y="617"/>
                  </a:lnTo>
                  <a:lnTo>
                    <a:pt x="128" y="617"/>
                  </a:lnTo>
                  <a:lnTo>
                    <a:pt x="128" y="617"/>
                  </a:lnTo>
                  <a:lnTo>
                    <a:pt x="128" y="617"/>
                  </a:lnTo>
                  <a:lnTo>
                    <a:pt x="126" y="617"/>
                  </a:lnTo>
                  <a:lnTo>
                    <a:pt x="126" y="617"/>
                  </a:lnTo>
                  <a:lnTo>
                    <a:pt x="123" y="619"/>
                  </a:lnTo>
                  <a:lnTo>
                    <a:pt x="123" y="619"/>
                  </a:lnTo>
                  <a:lnTo>
                    <a:pt x="118" y="622"/>
                  </a:lnTo>
                  <a:lnTo>
                    <a:pt x="115" y="622"/>
                  </a:lnTo>
                  <a:lnTo>
                    <a:pt x="115" y="625"/>
                  </a:lnTo>
                  <a:lnTo>
                    <a:pt x="112" y="625"/>
                  </a:lnTo>
                  <a:lnTo>
                    <a:pt x="110" y="625"/>
                  </a:lnTo>
                  <a:lnTo>
                    <a:pt x="110" y="628"/>
                  </a:lnTo>
                  <a:lnTo>
                    <a:pt x="107" y="628"/>
                  </a:lnTo>
                  <a:lnTo>
                    <a:pt x="104" y="628"/>
                  </a:lnTo>
                  <a:lnTo>
                    <a:pt x="104" y="625"/>
                  </a:lnTo>
                  <a:lnTo>
                    <a:pt x="102" y="622"/>
                  </a:lnTo>
                  <a:lnTo>
                    <a:pt x="99" y="622"/>
                  </a:lnTo>
                  <a:lnTo>
                    <a:pt x="96" y="622"/>
                  </a:lnTo>
                  <a:lnTo>
                    <a:pt x="94" y="622"/>
                  </a:lnTo>
                  <a:lnTo>
                    <a:pt x="91" y="622"/>
                  </a:lnTo>
                  <a:lnTo>
                    <a:pt x="88" y="619"/>
                  </a:lnTo>
                  <a:lnTo>
                    <a:pt x="88" y="619"/>
                  </a:lnTo>
                  <a:lnTo>
                    <a:pt x="86" y="617"/>
                  </a:lnTo>
                  <a:lnTo>
                    <a:pt x="83" y="619"/>
                  </a:lnTo>
                  <a:lnTo>
                    <a:pt x="80" y="619"/>
                  </a:lnTo>
                  <a:lnTo>
                    <a:pt x="78" y="622"/>
                  </a:lnTo>
                  <a:lnTo>
                    <a:pt x="75" y="622"/>
                  </a:lnTo>
                  <a:lnTo>
                    <a:pt x="75" y="619"/>
                  </a:lnTo>
                  <a:lnTo>
                    <a:pt x="72" y="617"/>
                  </a:lnTo>
                  <a:lnTo>
                    <a:pt x="70" y="614"/>
                  </a:lnTo>
                  <a:lnTo>
                    <a:pt x="67" y="614"/>
                  </a:lnTo>
                  <a:lnTo>
                    <a:pt x="67" y="614"/>
                  </a:lnTo>
                  <a:lnTo>
                    <a:pt x="64" y="617"/>
                  </a:lnTo>
                  <a:lnTo>
                    <a:pt x="64" y="617"/>
                  </a:lnTo>
                  <a:lnTo>
                    <a:pt x="64" y="617"/>
                  </a:lnTo>
                  <a:lnTo>
                    <a:pt x="64" y="619"/>
                  </a:lnTo>
                  <a:lnTo>
                    <a:pt x="67" y="622"/>
                  </a:lnTo>
                  <a:lnTo>
                    <a:pt x="67" y="625"/>
                  </a:lnTo>
                  <a:lnTo>
                    <a:pt x="64" y="625"/>
                  </a:lnTo>
                  <a:lnTo>
                    <a:pt x="62" y="625"/>
                  </a:lnTo>
                  <a:lnTo>
                    <a:pt x="62" y="625"/>
                  </a:lnTo>
                  <a:lnTo>
                    <a:pt x="59" y="622"/>
                  </a:lnTo>
                  <a:lnTo>
                    <a:pt x="56" y="622"/>
                  </a:lnTo>
                  <a:lnTo>
                    <a:pt x="56" y="622"/>
                  </a:lnTo>
                  <a:lnTo>
                    <a:pt x="46" y="633"/>
                  </a:lnTo>
                  <a:lnTo>
                    <a:pt x="46" y="638"/>
                  </a:lnTo>
                  <a:lnTo>
                    <a:pt x="40" y="646"/>
                  </a:lnTo>
                  <a:lnTo>
                    <a:pt x="40" y="646"/>
                  </a:lnTo>
                  <a:lnTo>
                    <a:pt x="32" y="660"/>
                  </a:lnTo>
                  <a:lnTo>
                    <a:pt x="30" y="657"/>
                  </a:lnTo>
                  <a:lnTo>
                    <a:pt x="30" y="660"/>
                  </a:lnTo>
                  <a:lnTo>
                    <a:pt x="19" y="652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19" y="649"/>
                  </a:lnTo>
                  <a:lnTo>
                    <a:pt x="22" y="649"/>
                  </a:lnTo>
                  <a:lnTo>
                    <a:pt x="22" y="649"/>
                  </a:lnTo>
                  <a:lnTo>
                    <a:pt x="30" y="638"/>
                  </a:lnTo>
                  <a:lnTo>
                    <a:pt x="22" y="630"/>
                  </a:lnTo>
                  <a:lnTo>
                    <a:pt x="24" y="628"/>
                  </a:lnTo>
                  <a:lnTo>
                    <a:pt x="22" y="625"/>
                  </a:lnTo>
                  <a:lnTo>
                    <a:pt x="22" y="622"/>
                  </a:lnTo>
                  <a:lnTo>
                    <a:pt x="19" y="622"/>
                  </a:lnTo>
                  <a:lnTo>
                    <a:pt x="19" y="619"/>
                  </a:lnTo>
                  <a:lnTo>
                    <a:pt x="16" y="617"/>
                  </a:lnTo>
                  <a:lnTo>
                    <a:pt x="16" y="617"/>
                  </a:lnTo>
                  <a:lnTo>
                    <a:pt x="16" y="617"/>
                  </a:lnTo>
                  <a:lnTo>
                    <a:pt x="13" y="617"/>
                  </a:lnTo>
                  <a:lnTo>
                    <a:pt x="13" y="617"/>
                  </a:lnTo>
                  <a:lnTo>
                    <a:pt x="11" y="617"/>
                  </a:lnTo>
                  <a:lnTo>
                    <a:pt x="22" y="603"/>
                  </a:lnTo>
                  <a:lnTo>
                    <a:pt x="0" y="582"/>
                  </a:lnTo>
                  <a:lnTo>
                    <a:pt x="13" y="555"/>
                  </a:lnTo>
                  <a:lnTo>
                    <a:pt x="13" y="555"/>
                  </a:lnTo>
                  <a:lnTo>
                    <a:pt x="24" y="539"/>
                  </a:lnTo>
                  <a:lnTo>
                    <a:pt x="38" y="537"/>
                  </a:lnTo>
                  <a:lnTo>
                    <a:pt x="38" y="537"/>
                  </a:lnTo>
                  <a:lnTo>
                    <a:pt x="40" y="537"/>
                  </a:lnTo>
                  <a:lnTo>
                    <a:pt x="40" y="537"/>
                  </a:lnTo>
                  <a:lnTo>
                    <a:pt x="40" y="534"/>
                  </a:lnTo>
                  <a:lnTo>
                    <a:pt x="43" y="534"/>
                  </a:lnTo>
                  <a:lnTo>
                    <a:pt x="43" y="534"/>
                  </a:lnTo>
                  <a:lnTo>
                    <a:pt x="43" y="534"/>
                  </a:lnTo>
                  <a:lnTo>
                    <a:pt x="43" y="531"/>
                  </a:lnTo>
                  <a:lnTo>
                    <a:pt x="43" y="531"/>
                  </a:lnTo>
                  <a:lnTo>
                    <a:pt x="43" y="529"/>
                  </a:lnTo>
                  <a:lnTo>
                    <a:pt x="40" y="526"/>
                  </a:lnTo>
                  <a:lnTo>
                    <a:pt x="40" y="526"/>
                  </a:lnTo>
                  <a:lnTo>
                    <a:pt x="40" y="526"/>
                  </a:lnTo>
                  <a:lnTo>
                    <a:pt x="38" y="526"/>
                  </a:lnTo>
                  <a:lnTo>
                    <a:pt x="38" y="526"/>
                  </a:lnTo>
                  <a:lnTo>
                    <a:pt x="35" y="523"/>
                  </a:lnTo>
                  <a:lnTo>
                    <a:pt x="35" y="523"/>
                  </a:lnTo>
                  <a:lnTo>
                    <a:pt x="40" y="523"/>
                  </a:lnTo>
                  <a:lnTo>
                    <a:pt x="38" y="515"/>
                  </a:lnTo>
                  <a:lnTo>
                    <a:pt x="40" y="513"/>
                  </a:lnTo>
                  <a:lnTo>
                    <a:pt x="40" y="513"/>
                  </a:lnTo>
                  <a:lnTo>
                    <a:pt x="43" y="510"/>
                  </a:lnTo>
                  <a:lnTo>
                    <a:pt x="54" y="483"/>
                  </a:lnTo>
                  <a:lnTo>
                    <a:pt x="54" y="483"/>
                  </a:lnTo>
                  <a:lnTo>
                    <a:pt x="64" y="467"/>
                  </a:lnTo>
                  <a:lnTo>
                    <a:pt x="88" y="470"/>
                  </a:lnTo>
                  <a:lnTo>
                    <a:pt x="91" y="473"/>
                  </a:lnTo>
                  <a:lnTo>
                    <a:pt x="99" y="470"/>
                  </a:lnTo>
                  <a:lnTo>
                    <a:pt x="107" y="478"/>
                  </a:lnTo>
                  <a:lnTo>
                    <a:pt x="136" y="443"/>
                  </a:lnTo>
                  <a:lnTo>
                    <a:pt x="120" y="427"/>
                  </a:lnTo>
                  <a:lnTo>
                    <a:pt x="150" y="392"/>
                  </a:lnTo>
                  <a:lnTo>
                    <a:pt x="152" y="392"/>
                  </a:lnTo>
                  <a:lnTo>
                    <a:pt x="155" y="390"/>
                  </a:lnTo>
                  <a:lnTo>
                    <a:pt x="158" y="392"/>
                  </a:lnTo>
                  <a:lnTo>
                    <a:pt x="200" y="342"/>
                  </a:lnTo>
                  <a:lnTo>
                    <a:pt x="168" y="315"/>
                  </a:lnTo>
                  <a:lnTo>
                    <a:pt x="158" y="326"/>
                  </a:lnTo>
                  <a:lnTo>
                    <a:pt x="147" y="315"/>
                  </a:lnTo>
                  <a:lnTo>
                    <a:pt x="144" y="318"/>
                  </a:lnTo>
                  <a:lnTo>
                    <a:pt x="142" y="320"/>
                  </a:lnTo>
                  <a:lnTo>
                    <a:pt x="139" y="323"/>
                  </a:lnTo>
                  <a:lnTo>
                    <a:pt x="136" y="326"/>
                  </a:lnTo>
                  <a:lnTo>
                    <a:pt x="134" y="331"/>
                  </a:lnTo>
                  <a:lnTo>
                    <a:pt x="131" y="331"/>
                  </a:lnTo>
                  <a:lnTo>
                    <a:pt x="128" y="336"/>
                  </a:lnTo>
                  <a:lnTo>
                    <a:pt x="128" y="339"/>
                  </a:lnTo>
                  <a:lnTo>
                    <a:pt x="128" y="342"/>
                  </a:lnTo>
                  <a:lnTo>
                    <a:pt x="128" y="342"/>
                  </a:lnTo>
                  <a:lnTo>
                    <a:pt x="123" y="352"/>
                  </a:lnTo>
                  <a:lnTo>
                    <a:pt x="99" y="336"/>
                  </a:lnTo>
                  <a:lnTo>
                    <a:pt x="88" y="347"/>
                  </a:lnTo>
                  <a:lnTo>
                    <a:pt x="80" y="342"/>
                  </a:lnTo>
                  <a:lnTo>
                    <a:pt x="88" y="328"/>
                  </a:lnTo>
                  <a:lnTo>
                    <a:pt x="80" y="323"/>
                  </a:lnTo>
                  <a:lnTo>
                    <a:pt x="83" y="323"/>
                  </a:lnTo>
                  <a:lnTo>
                    <a:pt x="83" y="320"/>
                  </a:lnTo>
                  <a:lnTo>
                    <a:pt x="83" y="320"/>
                  </a:lnTo>
                  <a:lnTo>
                    <a:pt x="86" y="318"/>
                  </a:lnTo>
                  <a:lnTo>
                    <a:pt x="86" y="315"/>
                  </a:lnTo>
                  <a:lnTo>
                    <a:pt x="88" y="315"/>
                  </a:lnTo>
                  <a:lnTo>
                    <a:pt x="88" y="312"/>
                  </a:lnTo>
                  <a:lnTo>
                    <a:pt x="91" y="310"/>
                  </a:lnTo>
                  <a:lnTo>
                    <a:pt x="91" y="307"/>
                  </a:lnTo>
                  <a:lnTo>
                    <a:pt x="94" y="304"/>
                  </a:lnTo>
                  <a:lnTo>
                    <a:pt x="96" y="302"/>
                  </a:lnTo>
                  <a:lnTo>
                    <a:pt x="99" y="299"/>
                  </a:lnTo>
                  <a:lnTo>
                    <a:pt x="99" y="296"/>
                  </a:lnTo>
                  <a:lnTo>
                    <a:pt x="99" y="293"/>
                  </a:lnTo>
                  <a:lnTo>
                    <a:pt x="99" y="291"/>
                  </a:lnTo>
                  <a:lnTo>
                    <a:pt x="99" y="288"/>
                  </a:lnTo>
                  <a:lnTo>
                    <a:pt x="99" y="285"/>
                  </a:lnTo>
                  <a:lnTo>
                    <a:pt x="99" y="283"/>
                  </a:lnTo>
                  <a:lnTo>
                    <a:pt x="102" y="280"/>
                  </a:lnTo>
                  <a:lnTo>
                    <a:pt x="102" y="277"/>
                  </a:lnTo>
                  <a:lnTo>
                    <a:pt x="102" y="275"/>
                  </a:lnTo>
                  <a:lnTo>
                    <a:pt x="104" y="275"/>
                  </a:lnTo>
                  <a:lnTo>
                    <a:pt x="107" y="275"/>
                  </a:lnTo>
                  <a:lnTo>
                    <a:pt x="107" y="275"/>
                  </a:lnTo>
                  <a:lnTo>
                    <a:pt x="112" y="275"/>
                  </a:lnTo>
                  <a:lnTo>
                    <a:pt x="112" y="275"/>
                  </a:lnTo>
                  <a:lnTo>
                    <a:pt x="115" y="275"/>
                  </a:lnTo>
                  <a:lnTo>
                    <a:pt x="118" y="275"/>
                  </a:lnTo>
                  <a:lnTo>
                    <a:pt x="123" y="272"/>
                  </a:lnTo>
                  <a:lnTo>
                    <a:pt x="126" y="272"/>
                  </a:lnTo>
                  <a:lnTo>
                    <a:pt x="128" y="269"/>
                  </a:lnTo>
                  <a:lnTo>
                    <a:pt x="134" y="267"/>
                  </a:lnTo>
                  <a:lnTo>
                    <a:pt x="134" y="267"/>
                  </a:lnTo>
                  <a:lnTo>
                    <a:pt x="136" y="264"/>
                  </a:lnTo>
                  <a:lnTo>
                    <a:pt x="136" y="261"/>
                  </a:lnTo>
                  <a:lnTo>
                    <a:pt x="136" y="261"/>
                  </a:lnTo>
                  <a:lnTo>
                    <a:pt x="136" y="259"/>
                  </a:lnTo>
                  <a:lnTo>
                    <a:pt x="136" y="259"/>
                  </a:lnTo>
                  <a:lnTo>
                    <a:pt x="134" y="259"/>
                  </a:lnTo>
                  <a:lnTo>
                    <a:pt x="131" y="256"/>
                  </a:lnTo>
                  <a:lnTo>
                    <a:pt x="131" y="256"/>
                  </a:lnTo>
                  <a:lnTo>
                    <a:pt x="131" y="253"/>
                  </a:lnTo>
                  <a:lnTo>
                    <a:pt x="128" y="251"/>
                  </a:lnTo>
                  <a:lnTo>
                    <a:pt x="128" y="248"/>
                  </a:lnTo>
                  <a:lnTo>
                    <a:pt x="128" y="248"/>
                  </a:lnTo>
                  <a:lnTo>
                    <a:pt x="126" y="245"/>
                  </a:lnTo>
                  <a:lnTo>
                    <a:pt x="126" y="243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40"/>
                  </a:lnTo>
                  <a:lnTo>
                    <a:pt x="123" y="237"/>
                  </a:lnTo>
                  <a:lnTo>
                    <a:pt x="123" y="237"/>
                  </a:lnTo>
                  <a:lnTo>
                    <a:pt x="123" y="235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29"/>
                  </a:lnTo>
                  <a:lnTo>
                    <a:pt x="126" y="224"/>
                  </a:lnTo>
                  <a:lnTo>
                    <a:pt x="126" y="224"/>
                  </a:lnTo>
                  <a:lnTo>
                    <a:pt x="126" y="221"/>
                  </a:lnTo>
                  <a:lnTo>
                    <a:pt x="128" y="219"/>
                  </a:lnTo>
                  <a:lnTo>
                    <a:pt x="128" y="219"/>
                  </a:lnTo>
                  <a:lnTo>
                    <a:pt x="128" y="216"/>
                  </a:lnTo>
                  <a:lnTo>
                    <a:pt x="134" y="216"/>
                  </a:lnTo>
                  <a:lnTo>
                    <a:pt x="136" y="216"/>
                  </a:lnTo>
                  <a:lnTo>
                    <a:pt x="136" y="216"/>
                  </a:lnTo>
                  <a:lnTo>
                    <a:pt x="139" y="213"/>
                  </a:lnTo>
                  <a:lnTo>
                    <a:pt x="139" y="211"/>
                  </a:lnTo>
                  <a:lnTo>
                    <a:pt x="139" y="208"/>
                  </a:lnTo>
                  <a:lnTo>
                    <a:pt x="139" y="205"/>
                  </a:lnTo>
                  <a:lnTo>
                    <a:pt x="139" y="203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5"/>
                  </a:lnTo>
                  <a:lnTo>
                    <a:pt x="139" y="189"/>
                  </a:lnTo>
                  <a:lnTo>
                    <a:pt x="139" y="184"/>
                  </a:lnTo>
                  <a:lnTo>
                    <a:pt x="136" y="181"/>
                  </a:lnTo>
                  <a:lnTo>
                    <a:pt x="136" y="176"/>
                  </a:lnTo>
                  <a:lnTo>
                    <a:pt x="134" y="173"/>
                  </a:lnTo>
                  <a:lnTo>
                    <a:pt x="131" y="168"/>
                  </a:lnTo>
                  <a:lnTo>
                    <a:pt x="131" y="165"/>
                  </a:lnTo>
                  <a:lnTo>
                    <a:pt x="123" y="160"/>
                  </a:lnTo>
                  <a:lnTo>
                    <a:pt x="126" y="157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0" y="155"/>
                  </a:lnTo>
                  <a:lnTo>
                    <a:pt x="120" y="155"/>
                  </a:lnTo>
                  <a:lnTo>
                    <a:pt x="118" y="152"/>
                  </a:lnTo>
                  <a:lnTo>
                    <a:pt x="115" y="149"/>
                  </a:lnTo>
                  <a:lnTo>
                    <a:pt x="115" y="147"/>
                  </a:lnTo>
                  <a:lnTo>
                    <a:pt x="112" y="147"/>
                  </a:lnTo>
                  <a:lnTo>
                    <a:pt x="112" y="144"/>
                  </a:lnTo>
                  <a:lnTo>
                    <a:pt x="112" y="138"/>
                  </a:lnTo>
                  <a:lnTo>
                    <a:pt x="110" y="136"/>
                  </a:lnTo>
                  <a:lnTo>
                    <a:pt x="110" y="133"/>
                  </a:lnTo>
                  <a:lnTo>
                    <a:pt x="110" y="117"/>
                  </a:lnTo>
                  <a:lnTo>
                    <a:pt x="134" y="120"/>
                  </a:lnTo>
                  <a:lnTo>
                    <a:pt x="147" y="133"/>
                  </a:lnTo>
                  <a:lnTo>
                    <a:pt x="150" y="130"/>
                  </a:lnTo>
                  <a:lnTo>
                    <a:pt x="152" y="133"/>
                  </a:lnTo>
                  <a:lnTo>
                    <a:pt x="160" y="133"/>
                  </a:lnTo>
                  <a:lnTo>
                    <a:pt x="192" y="147"/>
                  </a:lnTo>
                  <a:lnTo>
                    <a:pt x="222" y="168"/>
                  </a:lnTo>
                  <a:lnTo>
                    <a:pt x="219" y="173"/>
                  </a:lnTo>
                  <a:lnTo>
                    <a:pt x="219" y="179"/>
                  </a:lnTo>
                  <a:lnTo>
                    <a:pt x="227" y="187"/>
                  </a:lnTo>
                  <a:lnTo>
                    <a:pt x="238" y="176"/>
                  </a:lnTo>
                  <a:lnTo>
                    <a:pt x="248" y="184"/>
                  </a:lnTo>
                  <a:lnTo>
                    <a:pt x="262" y="173"/>
                  </a:lnTo>
                  <a:lnTo>
                    <a:pt x="278" y="187"/>
                  </a:lnTo>
                  <a:lnTo>
                    <a:pt x="291" y="179"/>
                  </a:lnTo>
                  <a:lnTo>
                    <a:pt x="315" y="203"/>
                  </a:lnTo>
                  <a:lnTo>
                    <a:pt x="337" y="179"/>
                  </a:lnTo>
                  <a:lnTo>
                    <a:pt x="323" y="165"/>
                  </a:lnTo>
                  <a:lnTo>
                    <a:pt x="329" y="114"/>
                  </a:lnTo>
                  <a:lnTo>
                    <a:pt x="302" y="106"/>
                  </a:lnTo>
                  <a:lnTo>
                    <a:pt x="347" y="26"/>
                  </a:lnTo>
                  <a:lnTo>
                    <a:pt x="475" y="18"/>
                  </a:lnTo>
                  <a:lnTo>
                    <a:pt x="475" y="18"/>
                  </a:lnTo>
                  <a:lnTo>
                    <a:pt x="475" y="16"/>
                  </a:lnTo>
                  <a:lnTo>
                    <a:pt x="475" y="13"/>
                  </a:lnTo>
                  <a:lnTo>
                    <a:pt x="475" y="10"/>
                  </a:lnTo>
                  <a:lnTo>
                    <a:pt x="478" y="10"/>
                  </a:lnTo>
                  <a:lnTo>
                    <a:pt x="478" y="10"/>
                  </a:lnTo>
                  <a:lnTo>
                    <a:pt x="478" y="8"/>
                  </a:lnTo>
                  <a:lnTo>
                    <a:pt x="478" y="5"/>
                  </a:lnTo>
                  <a:lnTo>
                    <a:pt x="481" y="5"/>
                  </a:lnTo>
                  <a:lnTo>
                    <a:pt x="481" y="5"/>
                  </a:lnTo>
                  <a:lnTo>
                    <a:pt x="483" y="2"/>
                  </a:lnTo>
                  <a:lnTo>
                    <a:pt x="483" y="5"/>
                  </a:lnTo>
                  <a:lnTo>
                    <a:pt x="486" y="5"/>
                  </a:lnTo>
                  <a:lnTo>
                    <a:pt x="486" y="8"/>
                  </a:lnTo>
                  <a:lnTo>
                    <a:pt x="486" y="8"/>
                  </a:lnTo>
                  <a:lnTo>
                    <a:pt x="486" y="8"/>
                  </a:lnTo>
                  <a:lnTo>
                    <a:pt x="489" y="8"/>
                  </a:lnTo>
                  <a:lnTo>
                    <a:pt x="489" y="8"/>
                  </a:lnTo>
                  <a:lnTo>
                    <a:pt x="489" y="10"/>
                  </a:lnTo>
                  <a:lnTo>
                    <a:pt x="491" y="10"/>
                  </a:lnTo>
                  <a:lnTo>
                    <a:pt x="491" y="8"/>
                  </a:lnTo>
                  <a:lnTo>
                    <a:pt x="491" y="8"/>
                  </a:lnTo>
                  <a:lnTo>
                    <a:pt x="494" y="8"/>
                  </a:lnTo>
                  <a:lnTo>
                    <a:pt x="494" y="8"/>
                  </a:lnTo>
                  <a:lnTo>
                    <a:pt x="497" y="5"/>
                  </a:lnTo>
                  <a:lnTo>
                    <a:pt x="497" y="5"/>
                  </a:lnTo>
                  <a:lnTo>
                    <a:pt x="500" y="5"/>
                  </a:lnTo>
                  <a:lnTo>
                    <a:pt x="500" y="5"/>
                  </a:lnTo>
                  <a:lnTo>
                    <a:pt x="502" y="5"/>
                  </a:lnTo>
                  <a:lnTo>
                    <a:pt x="502" y="5"/>
                  </a:lnTo>
                  <a:lnTo>
                    <a:pt x="505" y="5"/>
                  </a:lnTo>
                  <a:lnTo>
                    <a:pt x="505" y="5"/>
                  </a:lnTo>
                  <a:lnTo>
                    <a:pt x="510" y="2"/>
                  </a:lnTo>
                  <a:lnTo>
                    <a:pt x="510" y="0"/>
                  </a:lnTo>
                  <a:lnTo>
                    <a:pt x="513" y="2"/>
                  </a:lnTo>
                  <a:lnTo>
                    <a:pt x="569" y="42"/>
                  </a:lnTo>
                  <a:lnTo>
                    <a:pt x="801" y="149"/>
                  </a:lnTo>
                  <a:lnTo>
                    <a:pt x="799" y="152"/>
                  </a:lnTo>
                  <a:lnTo>
                    <a:pt x="807" y="152"/>
                  </a:lnTo>
                  <a:lnTo>
                    <a:pt x="852" y="168"/>
                  </a:lnTo>
                  <a:lnTo>
                    <a:pt x="852" y="171"/>
                  </a:lnTo>
                  <a:lnTo>
                    <a:pt x="855" y="171"/>
                  </a:lnTo>
                  <a:lnTo>
                    <a:pt x="855" y="171"/>
                  </a:lnTo>
                  <a:lnTo>
                    <a:pt x="855" y="173"/>
                  </a:lnTo>
                  <a:lnTo>
                    <a:pt x="857" y="173"/>
                  </a:lnTo>
                  <a:lnTo>
                    <a:pt x="857" y="171"/>
                  </a:lnTo>
                  <a:lnTo>
                    <a:pt x="860" y="171"/>
                  </a:lnTo>
                  <a:lnTo>
                    <a:pt x="863" y="171"/>
                  </a:lnTo>
                  <a:lnTo>
                    <a:pt x="863" y="173"/>
                  </a:lnTo>
                  <a:lnTo>
                    <a:pt x="865" y="173"/>
                  </a:lnTo>
                  <a:lnTo>
                    <a:pt x="868" y="173"/>
                  </a:lnTo>
                  <a:lnTo>
                    <a:pt x="868" y="173"/>
                  </a:lnTo>
                  <a:lnTo>
                    <a:pt x="871" y="168"/>
                  </a:lnTo>
                  <a:lnTo>
                    <a:pt x="871" y="168"/>
                  </a:lnTo>
                  <a:lnTo>
                    <a:pt x="873" y="165"/>
                  </a:lnTo>
                  <a:lnTo>
                    <a:pt x="873" y="165"/>
                  </a:lnTo>
                  <a:lnTo>
                    <a:pt x="879" y="165"/>
                  </a:lnTo>
                  <a:lnTo>
                    <a:pt x="927" y="155"/>
                  </a:lnTo>
                  <a:lnTo>
                    <a:pt x="927" y="155"/>
                  </a:lnTo>
                  <a:lnTo>
                    <a:pt x="929" y="155"/>
                  </a:lnTo>
                  <a:lnTo>
                    <a:pt x="929" y="155"/>
                  </a:lnTo>
                  <a:lnTo>
                    <a:pt x="929" y="152"/>
                  </a:lnTo>
                  <a:lnTo>
                    <a:pt x="932" y="152"/>
                  </a:lnTo>
                  <a:lnTo>
                    <a:pt x="932" y="149"/>
                  </a:lnTo>
                  <a:lnTo>
                    <a:pt x="929" y="147"/>
                  </a:lnTo>
                  <a:lnTo>
                    <a:pt x="932" y="144"/>
                  </a:lnTo>
                  <a:lnTo>
                    <a:pt x="932" y="144"/>
                  </a:lnTo>
                  <a:lnTo>
                    <a:pt x="932" y="141"/>
                  </a:lnTo>
                  <a:lnTo>
                    <a:pt x="932" y="141"/>
                  </a:lnTo>
                  <a:lnTo>
                    <a:pt x="935" y="141"/>
                  </a:lnTo>
                  <a:lnTo>
                    <a:pt x="935" y="141"/>
                  </a:lnTo>
                  <a:lnTo>
                    <a:pt x="935" y="138"/>
                  </a:lnTo>
                  <a:lnTo>
                    <a:pt x="937" y="138"/>
                  </a:lnTo>
                  <a:lnTo>
                    <a:pt x="937" y="136"/>
                  </a:lnTo>
                  <a:lnTo>
                    <a:pt x="937" y="136"/>
                  </a:lnTo>
                  <a:lnTo>
                    <a:pt x="940" y="133"/>
                  </a:lnTo>
                  <a:lnTo>
                    <a:pt x="940" y="133"/>
                  </a:lnTo>
                  <a:lnTo>
                    <a:pt x="943" y="133"/>
                  </a:lnTo>
                  <a:lnTo>
                    <a:pt x="943" y="133"/>
                  </a:lnTo>
                  <a:lnTo>
                    <a:pt x="945" y="133"/>
                  </a:lnTo>
                  <a:lnTo>
                    <a:pt x="945" y="133"/>
                  </a:lnTo>
                  <a:lnTo>
                    <a:pt x="945" y="133"/>
                  </a:lnTo>
                  <a:lnTo>
                    <a:pt x="948" y="133"/>
                  </a:lnTo>
                  <a:lnTo>
                    <a:pt x="948" y="130"/>
                  </a:lnTo>
                  <a:lnTo>
                    <a:pt x="948" y="128"/>
                  </a:lnTo>
                  <a:lnTo>
                    <a:pt x="951" y="128"/>
                  </a:lnTo>
                  <a:lnTo>
                    <a:pt x="951" y="128"/>
                  </a:lnTo>
                  <a:lnTo>
                    <a:pt x="953" y="128"/>
                  </a:lnTo>
                  <a:lnTo>
                    <a:pt x="953" y="128"/>
                  </a:lnTo>
                  <a:lnTo>
                    <a:pt x="956" y="128"/>
                  </a:lnTo>
                  <a:lnTo>
                    <a:pt x="956" y="128"/>
                  </a:lnTo>
                  <a:lnTo>
                    <a:pt x="956" y="125"/>
                  </a:lnTo>
                  <a:lnTo>
                    <a:pt x="959" y="122"/>
                  </a:lnTo>
                  <a:lnTo>
                    <a:pt x="959" y="122"/>
                  </a:lnTo>
                  <a:lnTo>
                    <a:pt x="961" y="125"/>
                  </a:lnTo>
                  <a:lnTo>
                    <a:pt x="961" y="122"/>
                  </a:lnTo>
                  <a:lnTo>
                    <a:pt x="964" y="122"/>
                  </a:lnTo>
                  <a:lnTo>
                    <a:pt x="964" y="125"/>
                  </a:lnTo>
                  <a:lnTo>
                    <a:pt x="964" y="125"/>
                  </a:lnTo>
                  <a:lnTo>
                    <a:pt x="964" y="128"/>
                  </a:lnTo>
                  <a:lnTo>
                    <a:pt x="967" y="128"/>
                  </a:lnTo>
                  <a:lnTo>
                    <a:pt x="967" y="128"/>
                  </a:lnTo>
                  <a:lnTo>
                    <a:pt x="969" y="130"/>
                  </a:lnTo>
                  <a:lnTo>
                    <a:pt x="969" y="130"/>
                  </a:lnTo>
                  <a:lnTo>
                    <a:pt x="969" y="130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33"/>
                  </a:lnTo>
                  <a:lnTo>
                    <a:pt x="972" y="130"/>
                  </a:lnTo>
                  <a:lnTo>
                    <a:pt x="972" y="130"/>
                  </a:lnTo>
                  <a:lnTo>
                    <a:pt x="972" y="128"/>
                  </a:lnTo>
                  <a:lnTo>
                    <a:pt x="972" y="128"/>
                  </a:lnTo>
                  <a:lnTo>
                    <a:pt x="972" y="125"/>
                  </a:lnTo>
                  <a:lnTo>
                    <a:pt x="975" y="125"/>
                  </a:lnTo>
                  <a:lnTo>
                    <a:pt x="975" y="125"/>
                  </a:lnTo>
                  <a:lnTo>
                    <a:pt x="975" y="125"/>
                  </a:lnTo>
                  <a:lnTo>
                    <a:pt x="978" y="125"/>
                  </a:lnTo>
                  <a:lnTo>
                    <a:pt x="978" y="122"/>
                  </a:lnTo>
                  <a:lnTo>
                    <a:pt x="980" y="125"/>
                  </a:lnTo>
                  <a:lnTo>
                    <a:pt x="980" y="125"/>
                  </a:lnTo>
                  <a:lnTo>
                    <a:pt x="983" y="125"/>
                  </a:lnTo>
                  <a:lnTo>
                    <a:pt x="983" y="122"/>
                  </a:lnTo>
                  <a:lnTo>
                    <a:pt x="986" y="120"/>
                  </a:lnTo>
                  <a:lnTo>
                    <a:pt x="988" y="120"/>
                  </a:lnTo>
                  <a:lnTo>
                    <a:pt x="988" y="117"/>
                  </a:lnTo>
                  <a:lnTo>
                    <a:pt x="986" y="117"/>
                  </a:lnTo>
                  <a:lnTo>
                    <a:pt x="988" y="114"/>
                  </a:lnTo>
                  <a:lnTo>
                    <a:pt x="988" y="112"/>
                  </a:lnTo>
                  <a:lnTo>
                    <a:pt x="988" y="112"/>
                  </a:lnTo>
                  <a:lnTo>
                    <a:pt x="988" y="109"/>
                  </a:lnTo>
                  <a:lnTo>
                    <a:pt x="988" y="109"/>
                  </a:lnTo>
                  <a:lnTo>
                    <a:pt x="988" y="104"/>
                  </a:lnTo>
                  <a:lnTo>
                    <a:pt x="988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1" y="104"/>
                  </a:lnTo>
                  <a:lnTo>
                    <a:pt x="994" y="104"/>
                  </a:lnTo>
                  <a:lnTo>
                    <a:pt x="994" y="104"/>
                  </a:lnTo>
                  <a:lnTo>
                    <a:pt x="994" y="104"/>
                  </a:lnTo>
                  <a:lnTo>
                    <a:pt x="996" y="104"/>
                  </a:lnTo>
                  <a:lnTo>
                    <a:pt x="996" y="104"/>
                  </a:lnTo>
                  <a:lnTo>
                    <a:pt x="999" y="104"/>
                  </a:lnTo>
                  <a:lnTo>
                    <a:pt x="999" y="101"/>
                  </a:lnTo>
                  <a:lnTo>
                    <a:pt x="999" y="101"/>
                  </a:lnTo>
                  <a:lnTo>
                    <a:pt x="999" y="101"/>
                  </a:lnTo>
                  <a:lnTo>
                    <a:pt x="1002" y="101"/>
                  </a:lnTo>
                  <a:lnTo>
                    <a:pt x="1002" y="101"/>
                  </a:lnTo>
                  <a:lnTo>
                    <a:pt x="1004" y="101"/>
                  </a:lnTo>
                  <a:lnTo>
                    <a:pt x="1004" y="101"/>
                  </a:lnTo>
                  <a:lnTo>
                    <a:pt x="1007" y="101"/>
                  </a:lnTo>
                  <a:lnTo>
                    <a:pt x="1010" y="101"/>
                  </a:lnTo>
                  <a:lnTo>
                    <a:pt x="1010" y="101"/>
                  </a:lnTo>
                  <a:lnTo>
                    <a:pt x="1012" y="101"/>
                  </a:lnTo>
                  <a:lnTo>
                    <a:pt x="1012" y="101"/>
                  </a:lnTo>
                  <a:lnTo>
                    <a:pt x="1012" y="98"/>
                  </a:lnTo>
                  <a:lnTo>
                    <a:pt x="1012" y="98"/>
                  </a:lnTo>
                  <a:lnTo>
                    <a:pt x="1012" y="98"/>
                  </a:lnTo>
                  <a:lnTo>
                    <a:pt x="1012" y="96"/>
                  </a:lnTo>
                  <a:lnTo>
                    <a:pt x="1012" y="96"/>
                  </a:lnTo>
                  <a:lnTo>
                    <a:pt x="1015" y="96"/>
                  </a:lnTo>
                  <a:lnTo>
                    <a:pt x="1015" y="96"/>
                  </a:lnTo>
                  <a:lnTo>
                    <a:pt x="1018" y="96"/>
                  </a:lnTo>
                  <a:lnTo>
                    <a:pt x="1020" y="96"/>
                  </a:lnTo>
                  <a:lnTo>
                    <a:pt x="1020" y="96"/>
                  </a:lnTo>
                  <a:lnTo>
                    <a:pt x="1020" y="96"/>
                  </a:lnTo>
                  <a:lnTo>
                    <a:pt x="1023" y="96"/>
                  </a:lnTo>
                  <a:lnTo>
                    <a:pt x="1023" y="96"/>
                  </a:lnTo>
                  <a:lnTo>
                    <a:pt x="1023" y="93"/>
                  </a:lnTo>
                  <a:lnTo>
                    <a:pt x="1023" y="90"/>
                  </a:lnTo>
                  <a:lnTo>
                    <a:pt x="1023" y="90"/>
                  </a:lnTo>
                  <a:lnTo>
                    <a:pt x="1023" y="88"/>
                  </a:lnTo>
                  <a:lnTo>
                    <a:pt x="1023" y="88"/>
                  </a:lnTo>
                  <a:lnTo>
                    <a:pt x="1023" y="88"/>
                  </a:lnTo>
                  <a:lnTo>
                    <a:pt x="1023" y="85"/>
                  </a:lnTo>
                  <a:lnTo>
                    <a:pt x="1026" y="82"/>
                  </a:lnTo>
                  <a:lnTo>
                    <a:pt x="1026" y="82"/>
                  </a:lnTo>
                  <a:lnTo>
                    <a:pt x="1028" y="80"/>
                  </a:lnTo>
                  <a:lnTo>
                    <a:pt x="1028" y="80"/>
                  </a:lnTo>
                  <a:lnTo>
                    <a:pt x="1031" y="80"/>
                  </a:lnTo>
                  <a:lnTo>
                    <a:pt x="1031" y="80"/>
                  </a:lnTo>
                  <a:lnTo>
                    <a:pt x="1034" y="80"/>
                  </a:lnTo>
                  <a:lnTo>
                    <a:pt x="1034" y="80"/>
                  </a:lnTo>
                  <a:lnTo>
                    <a:pt x="1036" y="80"/>
                  </a:lnTo>
                  <a:lnTo>
                    <a:pt x="1036" y="80"/>
                  </a:lnTo>
                  <a:lnTo>
                    <a:pt x="1039" y="80"/>
                  </a:lnTo>
                  <a:lnTo>
                    <a:pt x="1039" y="82"/>
                  </a:lnTo>
                  <a:lnTo>
                    <a:pt x="1042" y="82"/>
                  </a:lnTo>
                  <a:lnTo>
                    <a:pt x="1042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4" y="82"/>
                  </a:lnTo>
                  <a:lnTo>
                    <a:pt x="1047" y="82"/>
                  </a:lnTo>
                  <a:lnTo>
                    <a:pt x="1047" y="82"/>
                  </a:lnTo>
                  <a:lnTo>
                    <a:pt x="1050" y="82"/>
                  </a:lnTo>
                  <a:lnTo>
                    <a:pt x="1050" y="82"/>
                  </a:lnTo>
                  <a:lnTo>
                    <a:pt x="1052" y="85"/>
                  </a:lnTo>
                  <a:lnTo>
                    <a:pt x="1052" y="85"/>
                  </a:lnTo>
                  <a:lnTo>
                    <a:pt x="1052" y="85"/>
                  </a:lnTo>
                  <a:lnTo>
                    <a:pt x="1055" y="88"/>
                  </a:lnTo>
                  <a:lnTo>
                    <a:pt x="1055" y="88"/>
                  </a:lnTo>
                  <a:lnTo>
                    <a:pt x="1058" y="88"/>
                  </a:lnTo>
                  <a:lnTo>
                    <a:pt x="1058" y="85"/>
                  </a:lnTo>
                  <a:lnTo>
                    <a:pt x="1058" y="85"/>
                  </a:lnTo>
                  <a:lnTo>
                    <a:pt x="1060" y="85"/>
                  </a:lnTo>
                  <a:lnTo>
                    <a:pt x="1060" y="85"/>
                  </a:lnTo>
                  <a:lnTo>
                    <a:pt x="1063" y="88"/>
                  </a:lnTo>
                  <a:lnTo>
                    <a:pt x="1063" y="88"/>
                  </a:lnTo>
                  <a:lnTo>
                    <a:pt x="1060" y="88"/>
                  </a:lnTo>
                  <a:lnTo>
                    <a:pt x="1060" y="90"/>
                  </a:lnTo>
                  <a:lnTo>
                    <a:pt x="1058" y="93"/>
                  </a:lnTo>
                  <a:lnTo>
                    <a:pt x="1058" y="93"/>
                  </a:lnTo>
                  <a:lnTo>
                    <a:pt x="1058" y="96"/>
                  </a:lnTo>
                  <a:lnTo>
                    <a:pt x="1055" y="96"/>
                  </a:lnTo>
                  <a:lnTo>
                    <a:pt x="1055" y="98"/>
                  </a:lnTo>
                  <a:lnTo>
                    <a:pt x="1052" y="101"/>
                  </a:lnTo>
                  <a:lnTo>
                    <a:pt x="1052" y="98"/>
                  </a:lnTo>
                  <a:lnTo>
                    <a:pt x="1052" y="98"/>
                  </a:lnTo>
                  <a:lnTo>
                    <a:pt x="1052" y="101"/>
                  </a:lnTo>
                  <a:lnTo>
                    <a:pt x="1050" y="104"/>
                  </a:lnTo>
                  <a:lnTo>
                    <a:pt x="1050" y="104"/>
                  </a:lnTo>
                  <a:lnTo>
                    <a:pt x="1050" y="106"/>
                  </a:lnTo>
                  <a:lnTo>
                    <a:pt x="1050" y="106"/>
                  </a:lnTo>
                  <a:lnTo>
                    <a:pt x="1047" y="109"/>
                  </a:lnTo>
                  <a:lnTo>
                    <a:pt x="1047" y="112"/>
                  </a:lnTo>
                  <a:lnTo>
                    <a:pt x="1047" y="114"/>
                  </a:lnTo>
                  <a:lnTo>
                    <a:pt x="1047" y="114"/>
                  </a:lnTo>
                  <a:lnTo>
                    <a:pt x="1047" y="117"/>
                  </a:lnTo>
                  <a:lnTo>
                    <a:pt x="1047" y="117"/>
                  </a:lnTo>
                  <a:lnTo>
                    <a:pt x="1047" y="120"/>
                  </a:lnTo>
                  <a:lnTo>
                    <a:pt x="1044" y="120"/>
                  </a:lnTo>
                  <a:lnTo>
                    <a:pt x="1044" y="122"/>
                  </a:lnTo>
                  <a:lnTo>
                    <a:pt x="1044" y="125"/>
                  </a:lnTo>
                  <a:lnTo>
                    <a:pt x="1042" y="125"/>
                  </a:lnTo>
                  <a:lnTo>
                    <a:pt x="1042" y="128"/>
                  </a:lnTo>
                  <a:lnTo>
                    <a:pt x="1042" y="130"/>
                  </a:lnTo>
                  <a:lnTo>
                    <a:pt x="1042" y="130"/>
                  </a:lnTo>
                  <a:lnTo>
                    <a:pt x="1042" y="133"/>
                  </a:lnTo>
                  <a:lnTo>
                    <a:pt x="1044" y="136"/>
                  </a:lnTo>
                  <a:lnTo>
                    <a:pt x="1042" y="136"/>
                  </a:lnTo>
                  <a:lnTo>
                    <a:pt x="1044" y="136"/>
                  </a:lnTo>
                  <a:lnTo>
                    <a:pt x="1044" y="138"/>
                  </a:lnTo>
                  <a:lnTo>
                    <a:pt x="1047" y="136"/>
                  </a:lnTo>
                  <a:lnTo>
                    <a:pt x="1050" y="138"/>
                  </a:lnTo>
                  <a:lnTo>
                    <a:pt x="1052" y="138"/>
                  </a:lnTo>
                  <a:lnTo>
                    <a:pt x="1055" y="141"/>
                  </a:lnTo>
                  <a:lnTo>
                    <a:pt x="1058" y="14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8" name="Freeform 8925">
              <a:extLst>
                <a:ext uri="{FF2B5EF4-FFF2-40B4-BE49-F238E27FC236}">
                  <a16:creationId xmlns:a16="http://schemas.microsoft.com/office/drawing/2014/main" id="{C607FB7F-7014-FF47-8514-710881116224}"/>
                </a:ext>
              </a:extLst>
            </p:cNvPr>
            <p:cNvSpPr/>
            <p:nvPr/>
          </p:nvSpPr>
          <p:spPr bwMode="auto">
            <a:xfrm>
              <a:off x="2297905" y="4425950"/>
              <a:ext cx="461963" cy="395288"/>
            </a:xfrm>
            <a:custGeom>
              <a:avLst/>
              <a:gdLst>
                <a:gd name="T0" fmla="*/ 77 w 291"/>
                <a:gd name="T1" fmla="*/ 225 h 249"/>
                <a:gd name="T2" fmla="*/ 67 w 291"/>
                <a:gd name="T3" fmla="*/ 214 h 249"/>
                <a:gd name="T4" fmla="*/ 67 w 291"/>
                <a:gd name="T5" fmla="*/ 201 h 249"/>
                <a:gd name="T6" fmla="*/ 45 w 291"/>
                <a:gd name="T7" fmla="*/ 177 h 249"/>
                <a:gd name="T8" fmla="*/ 40 w 291"/>
                <a:gd name="T9" fmla="*/ 166 h 249"/>
                <a:gd name="T10" fmla="*/ 37 w 291"/>
                <a:gd name="T11" fmla="*/ 147 h 249"/>
                <a:gd name="T12" fmla="*/ 21 w 291"/>
                <a:gd name="T13" fmla="*/ 137 h 249"/>
                <a:gd name="T14" fmla="*/ 11 w 291"/>
                <a:gd name="T15" fmla="*/ 115 h 249"/>
                <a:gd name="T16" fmla="*/ 11 w 291"/>
                <a:gd name="T17" fmla="*/ 97 h 249"/>
                <a:gd name="T18" fmla="*/ 19 w 291"/>
                <a:gd name="T19" fmla="*/ 83 h 249"/>
                <a:gd name="T20" fmla="*/ 19 w 291"/>
                <a:gd name="T21" fmla="*/ 73 h 249"/>
                <a:gd name="T22" fmla="*/ 19 w 291"/>
                <a:gd name="T23" fmla="*/ 54 h 249"/>
                <a:gd name="T24" fmla="*/ 16 w 291"/>
                <a:gd name="T25" fmla="*/ 41 h 249"/>
                <a:gd name="T26" fmla="*/ 21 w 291"/>
                <a:gd name="T27" fmla="*/ 32 h 249"/>
                <a:gd name="T28" fmla="*/ 27 w 291"/>
                <a:gd name="T29" fmla="*/ 30 h 249"/>
                <a:gd name="T30" fmla="*/ 40 w 291"/>
                <a:gd name="T31" fmla="*/ 38 h 249"/>
                <a:gd name="T32" fmla="*/ 48 w 291"/>
                <a:gd name="T33" fmla="*/ 32 h 249"/>
                <a:gd name="T34" fmla="*/ 51 w 291"/>
                <a:gd name="T35" fmla="*/ 27 h 249"/>
                <a:gd name="T36" fmla="*/ 56 w 291"/>
                <a:gd name="T37" fmla="*/ 30 h 249"/>
                <a:gd name="T38" fmla="*/ 59 w 291"/>
                <a:gd name="T39" fmla="*/ 24 h 249"/>
                <a:gd name="T40" fmla="*/ 69 w 291"/>
                <a:gd name="T41" fmla="*/ 27 h 249"/>
                <a:gd name="T42" fmla="*/ 104 w 291"/>
                <a:gd name="T43" fmla="*/ 35 h 249"/>
                <a:gd name="T44" fmla="*/ 128 w 291"/>
                <a:gd name="T45" fmla="*/ 46 h 249"/>
                <a:gd name="T46" fmla="*/ 142 w 291"/>
                <a:gd name="T47" fmla="*/ 54 h 249"/>
                <a:gd name="T48" fmla="*/ 150 w 291"/>
                <a:gd name="T49" fmla="*/ 46 h 249"/>
                <a:gd name="T50" fmla="*/ 163 w 291"/>
                <a:gd name="T51" fmla="*/ 38 h 249"/>
                <a:gd name="T52" fmla="*/ 174 w 291"/>
                <a:gd name="T53" fmla="*/ 22 h 249"/>
                <a:gd name="T54" fmla="*/ 176 w 291"/>
                <a:gd name="T55" fmla="*/ 3 h 249"/>
                <a:gd name="T56" fmla="*/ 182 w 291"/>
                <a:gd name="T57" fmla="*/ 14 h 249"/>
                <a:gd name="T58" fmla="*/ 187 w 291"/>
                <a:gd name="T59" fmla="*/ 22 h 249"/>
                <a:gd name="T60" fmla="*/ 195 w 291"/>
                <a:gd name="T61" fmla="*/ 27 h 249"/>
                <a:gd name="T62" fmla="*/ 206 w 291"/>
                <a:gd name="T63" fmla="*/ 32 h 249"/>
                <a:gd name="T64" fmla="*/ 216 w 291"/>
                <a:gd name="T65" fmla="*/ 30 h 249"/>
                <a:gd name="T66" fmla="*/ 232 w 291"/>
                <a:gd name="T67" fmla="*/ 22 h 249"/>
                <a:gd name="T68" fmla="*/ 248 w 291"/>
                <a:gd name="T69" fmla="*/ 32 h 249"/>
                <a:gd name="T70" fmla="*/ 264 w 291"/>
                <a:gd name="T71" fmla="*/ 51 h 249"/>
                <a:gd name="T72" fmla="*/ 267 w 291"/>
                <a:gd name="T73" fmla="*/ 62 h 249"/>
                <a:gd name="T74" fmla="*/ 272 w 291"/>
                <a:gd name="T75" fmla="*/ 67 h 249"/>
                <a:gd name="T76" fmla="*/ 280 w 291"/>
                <a:gd name="T77" fmla="*/ 65 h 249"/>
                <a:gd name="T78" fmla="*/ 286 w 291"/>
                <a:gd name="T79" fmla="*/ 67 h 249"/>
                <a:gd name="T80" fmla="*/ 288 w 291"/>
                <a:gd name="T81" fmla="*/ 78 h 249"/>
                <a:gd name="T82" fmla="*/ 275 w 291"/>
                <a:gd name="T83" fmla="*/ 81 h 249"/>
                <a:gd name="T84" fmla="*/ 267 w 291"/>
                <a:gd name="T85" fmla="*/ 89 h 249"/>
                <a:gd name="T86" fmla="*/ 270 w 291"/>
                <a:gd name="T87" fmla="*/ 99 h 249"/>
                <a:gd name="T88" fmla="*/ 262 w 291"/>
                <a:gd name="T89" fmla="*/ 110 h 249"/>
                <a:gd name="T90" fmla="*/ 230 w 291"/>
                <a:gd name="T91" fmla="*/ 137 h 249"/>
                <a:gd name="T92" fmla="*/ 224 w 291"/>
                <a:gd name="T93" fmla="*/ 145 h 249"/>
                <a:gd name="T94" fmla="*/ 216 w 291"/>
                <a:gd name="T95" fmla="*/ 163 h 249"/>
                <a:gd name="T96" fmla="*/ 203 w 291"/>
                <a:gd name="T97" fmla="*/ 179 h 249"/>
                <a:gd name="T98" fmla="*/ 179 w 291"/>
                <a:gd name="T99" fmla="*/ 190 h 249"/>
                <a:gd name="T100" fmla="*/ 158 w 291"/>
                <a:gd name="T101" fmla="*/ 196 h 249"/>
                <a:gd name="T102" fmla="*/ 152 w 291"/>
                <a:gd name="T103" fmla="*/ 209 h 249"/>
                <a:gd name="T104" fmla="*/ 139 w 291"/>
                <a:gd name="T105" fmla="*/ 217 h 249"/>
                <a:gd name="T106" fmla="*/ 123 w 291"/>
                <a:gd name="T107" fmla="*/ 241 h 249"/>
                <a:gd name="T108" fmla="*/ 99 w 291"/>
                <a:gd name="T109" fmla="*/ 246 h 249"/>
                <a:gd name="T110" fmla="*/ 83 w 291"/>
                <a:gd name="T111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1" h="249" extrusionOk="0">
                  <a:moveTo>
                    <a:pt x="83" y="249"/>
                  </a:moveTo>
                  <a:lnTo>
                    <a:pt x="80" y="246"/>
                  </a:lnTo>
                  <a:lnTo>
                    <a:pt x="83" y="244"/>
                  </a:lnTo>
                  <a:lnTo>
                    <a:pt x="80" y="241"/>
                  </a:lnTo>
                  <a:lnTo>
                    <a:pt x="85" y="233"/>
                  </a:lnTo>
                  <a:lnTo>
                    <a:pt x="83" y="233"/>
                  </a:lnTo>
                  <a:lnTo>
                    <a:pt x="83" y="230"/>
                  </a:lnTo>
                  <a:lnTo>
                    <a:pt x="77" y="225"/>
                  </a:lnTo>
                  <a:lnTo>
                    <a:pt x="77" y="222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69" y="220"/>
                  </a:lnTo>
                  <a:lnTo>
                    <a:pt x="72" y="214"/>
                  </a:lnTo>
                  <a:lnTo>
                    <a:pt x="69" y="212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4" y="209"/>
                  </a:lnTo>
                  <a:lnTo>
                    <a:pt x="61" y="212"/>
                  </a:lnTo>
                  <a:lnTo>
                    <a:pt x="61" y="212"/>
                  </a:lnTo>
                  <a:lnTo>
                    <a:pt x="64" y="204"/>
                  </a:lnTo>
                  <a:lnTo>
                    <a:pt x="67" y="206"/>
                  </a:lnTo>
                  <a:lnTo>
                    <a:pt x="69" y="204"/>
                  </a:lnTo>
                  <a:lnTo>
                    <a:pt x="67" y="201"/>
                  </a:lnTo>
                  <a:lnTo>
                    <a:pt x="67" y="201"/>
                  </a:lnTo>
                  <a:lnTo>
                    <a:pt x="61" y="198"/>
                  </a:lnTo>
                  <a:lnTo>
                    <a:pt x="61" y="193"/>
                  </a:lnTo>
                  <a:lnTo>
                    <a:pt x="61" y="190"/>
                  </a:lnTo>
                  <a:lnTo>
                    <a:pt x="59" y="193"/>
                  </a:lnTo>
                  <a:lnTo>
                    <a:pt x="51" y="187"/>
                  </a:lnTo>
                  <a:lnTo>
                    <a:pt x="51" y="177"/>
                  </a:lnTo>
                  <a:lnTo>
                    <a:pt x="48" y="177"/>
                  </a:lnTo>
                  <a:lnTo>
                    <a:pt x="45" y="177"/>
                  </a:lnTo>
                  <a:lnTo>
                    <a:pt x="45" y="174"/>
                  </a:lnTo>
                  <a:lnTo>
                    <a:pt x="48" y="171"/>
                  </a:lnTo>
                  <a:lnTo>
                    <a:pt x="48" y="169"/>
                  </a:lnTo>
                  <a:lnTo>
                    <a:pt x="51" y="169"/>
                  </a:lnTo>
                  <a:lnTo>
                    <a:pt x="51" y="161"/>
                  </a:lnTo>
                  <a:lnTo>
                    <a:pt x="45" y="161"/>
                  </a:lnTo>
                  <a:lnTo>
                    <a:pt x="43" y="166"/>
                  </a:lnTo>
                  <a:lnTo>
                    <a:pt x="40" y="166"/>
                  </a:lnTo>
                  <a:lnTo>
                    <a:pt x="43" y="158"/>
                  </a:lnTo>
                  <a:lnTo>
                    <a:pt x="40" y="158"/>
                  </a:lnTo>
                  <a:lnTo>
                    <a:pt x="37" y="155"/>
                  </a:lnTo>
                  <a:lnTo>
                    <a:pt x="37" y="158"/>
                  </a:lnTo>
                  <a:lnTo>
                    <a:pt x="35" y="155"/>
                  </a:lnTo>
                  <a:lnTo>
                    <a:pt x="40" y="153"/>
                  </a:lnTo>
                  <a:lnTo>
                    <a:pt x="43" y="150"/>
                  </a:lnTo>
                  <a:lnTo>
                    <a:pt x="37" y="147"/>
                  </a:lnTo>
                  <a:lnTo>
                    <a:pt x="37" y="145"/>
                  </a:lnTo>
                  <a:lnTo>
                    <a:pt x="32" y="142"/>
                  </a:lnTo>
                  <a:lnTo>
                    <a:pt x="32" y="145"/>
                  </a:lnTo>
                  <a:lnTo>
                    <a:pt x="29" y="145"/>
                  </a:lnTo>
                  <a:lnTo>
                    <a:pt x="29" y="142"/>
                  </a:lnTo>
                  <a:lnTo>
                    <a:pt x="27" y="139"/>
                  </a:lnTo>
                  <a:lnTo>
                    <a:pt x="24" y="137"/>
                  </a:lnTo>
                  <a:lnTo>
                    <a:pt x="21" y="137"/>
                  </a:lnTo>
                  <a:lnTo>
                    <a:pt x="21" y="139"/>
                  </a:lnTo>
                  <a:lnTo>
                    <a:pt x="19" y="139"/>
                  </a:lnTo>
                  <a:lnTo>
                    <a:pt x="19" y="142"/>
                  </a:lnTo>
                  <a:lnTo>
                    <a:pt x="16" y="142"/>
                  </a:lnTo>
                  <a:lnTo>
                    <a:pt x="19" y="129"/>
                  </a:lnTo>
                  <a:lnTo>
                    <a:pt x="13" y="126"/>
                  </a:lnTo>
                  <a:lnTo>
                    <a:pt x="16" y="118"/>
                  </a:lnTo>
                  <a:lnTo>
                    <a:pt x="11" y="115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07"/>
                  </a:lnTo>
                  <a:lnTo>
                    <a:pt x="3" y="107"/>
                  </a:lnTo>
                  <a:lnTo>
                    <a:pt x="0" y="105"/>
                  </a:lnTo>
                  <a:lnTo>
                    <a:pt x="3" y="102"/>
                  </a:lnTo>
                  <a:lnTo>
                    <a:pt x="5" y="99"/>
                  </a:lnTo>
                  <a:lnTo>
                    <a:pt x="11" y="97"/>
                  </a:lnTo>
                  <a:lnTo>
                    <a:pt x="11" y="94"/>
                  </a:lnTo>
                  <a:lnTo>
                    <a:pt x="16" y="94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5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6" y="70"/>
                  </a:lnTo>
                  <a:lnTo>
                    <a:pt x="13" y="73"/>
                  </a:lnTo>
                  <a:lnTo>
                    <a:pt x="11" y="70"/>
                  </a:lnTo>
                  <a:lnTo>
                    <a:pt x="13" y="65"/>
                  </a:lnTo>
                  <a:lnTo>
                    <a:pt x="13" y="62"/>
                  </a:lnTo>
                  <a:lnTo>
                    <a:pt x="16" y="59"/>
                  </a:lnTo>
                  <a:lnTo>
                    <a:pt x="13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1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9" y="35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7" y="32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9" y="32"/>
                  </a:lnTo>
                  <a:lnTo>
                    <a:pt x="29" y="35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7" y="35"/>
                  </a:lnTo>
                  <a:lnTo>
                    <a:pt x="37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8" y="32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27"/>
                  </a:lnTo>
                  <a:lnTo>
                    <a:pt x="48" y="22"/>
                  </a:lnTo>
                  <a:lnTo>
                    <a:pt x="48" y="24"/>
                  </a:lnTo>
                  <a:lnTo>
                    <a:pt x="51" y="24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1" y="32"/>
                  </a:lnTo>
                  <a:lnTo>
                    <a:pt x="64" y="30"/>
                  </a:lnTo>
                  <a:lnTo>
                    <a:pt x="61" y="30"/>
                  </a:lnTo>
                  <a:lnTo>
                    <a:pt x="59" y="27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4" y="22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72" y="30"/>
                  </a:lnTo>
                  <a:lnTo>
                    <a:pt x="75" y="32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9" y="30"/>
                  </a:lnTo>
                  <a:lnTo>
                    <a:pt x="101" y="35"/>
                  </a:lnTo>
                  <a:lnTo>
                    <a:pt x="104" y="35"/>
                  </a:lnTo>
                  <a:lnTo>
                    <a:pt x="107" y="32"/>
                  </a:lnTo>
                  <a:lnTo>
                    <a:pt x="109" y="35"/>
                  </a:lnTo>
                  <a:lnTo>
                    <a:pt x="112" y="38"/>
                  </a:lnTo>
                  <a:lnTo>
                    <a:pt x="120" y="43"/>
                  </a:lnTo>
                  <a:lnTo>
                    <a:pt x="117" y="46"/>
                  </a:lnTo>
                  <a:lnTo>
                    <a:pt x="120" y="46"/>
                  </a:lnTo>
                  <a:lnTo>
                    <a:pt x="123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34" y="46"/>
                  </a:lnTo>
                  <a:lnTo>
                    <a:pt x="134" y="49"/>
                  </a:lnTo>
                  <a:lnTo>
                    <a:pt x="131" y="49"/>
                  </a:lnTo>
                  <a:lnTo>
                    <a:pt x="131" y="51"/>
                  </a:lnTo>
                  <a:lnTo>
                    <a:pt x="139" y="57"/>
                  </a:lnTo>
                  <a:lnTo>
                    <a:pt x="142" y="57"/>
                  </a:lnTo>
                  <a:lnTo>
                    <a:pt x="142" y="54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7" y="46"/>
                  </a:lnTo>
                  <a:lnTo>
                    <a:pt x="150" y="46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8" y="43"/>
                  </a:lnTo>
                  <a:lnTo>
                    <a:pt x="158" y="41"/>
                  </a:lnTo>
                  <a:lnTo>
                    <a:pt x="163" y="38"/>
                  </a:lnTo>
                  <a:lnTo>
                    <a:pt x="163" y="35"/>
                  </a:lnTo>
                  <a:lnTo>
                    <a:pt x="166" y="32"/>
                  </a:lnTo>
                  <a:lnTo>
                    <a:pt x="168" y="30"/>
                  </a:lnTo>
                  <a:lnTo>
                    <a:pt x="168" y="30"/>
                  </a:lnTo>
                  <a:lnTo>
                    <a:pt x="168" y="27"/>
                  </a:lnTo>
                  <a:lnTo>
                    <a:pt x="171" y="24"/>
                  </a:lnTo>
                  <a:lnTo>
                    <a:pt x="174" y="24"/>
                  </a:lnTo>
                  <a:lnTo>
                    <a:pt x="174" y="22"/>
                  </a:lnTo>
                  <a:lnTo>
                    <a:pt x="174" y="16"/>
                  </a:lnTo>
                  <a:lnTo>
                    <a:pt x="171" y="14"/>
                  </a:lnTo>
                  <a:lnTo>
                    <a:pt x="174" y="11"/>
                  </a:lnTo>
                  <a:lnTo>
                    <a:pt x="171" y="8"/>
                  </a:lnTo>
                  <a:lnTo>
                    <a:pt x="174" y="3"/>
                  </a:lnTo>
                  <a:lnTo>
                    <a:pt x="174" y="3"/>
                  </a:lnTo>
                  <a:lnTo>
                    <a:pt x="174" y="0"/>
                  </a:lnTo>
                  <a:lnTo>
                    <a:pt x="176" y="3"/>
                  </a:lnTo>
                  <a:lnTo>
                    <a:pt x="179" y="3"/>
                  </a:lnTo>
                  <a:lnTo>
                    <a:pt x="179" y="6"/>
                  </a:lnTo>
                  <a:lnTo>
                    <a:pt x="179" y="6"/>
                  </a:lnTo>
                  <a:lnTo>
                    <a:pt x="179" y="8"/>
                  </a:lnTo>
                  <a:lnTo>
                    <a:pt x="179" y="11"/>
                  </a:lnTo>
                  <a:lnTo>
                    <a:pt x="179" y="11"/>
                  </a:lnTo>
                  <a:lnTo>
                    <a:pt x="182" y="11"/>
                  </a:lnTo>
                  <a:lnTo>
                    <a:pt x="182" y="14"/>
                  </a:lnTo>
                  <a:lnTo>
                    <a:pt x="182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90" y="11"/>
                  </a:lnTo>
                  <a:lnTo>
                    <a:pt x="187" y="16"/>
                  </a:lnTo>
                  <a:lnTo>
                    <a:pt x="187" y="19"/>
                  </a:lnTo>
                  <a:lnTo>
                    <a:pt x="190" y="19"/>
                  </a:lnTo>
                  <a:lnTo>
                    <a:pt x="187" y="22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90" y="27"/>
                  </a:lnTo>
                  <a:lnTo>
                    <a:pt x="192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8" y="27"/>
                  </a:lnTo>
                  <a:lnTo>
                    <a:pt x="200" y="27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3" y="30"/>
                  </a:lnTo>
                  <a:lnTo>
                    <a:pt x="203" y="32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8" y="35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11" y="32"/>
                  </a:lnTo>
                  <a:lnTo>
                    <a:pt x="214" y="32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9" y="27"/>
                  </a:lnTo>
                  <a:lnTo>
                    <a:pt x="219" y="27"/>
                  </a:lnTo>
                  <a:lnTo>
                    <a:pt x="219" y="24"/>
                  </a:lnTo>
                  <a:lnTo>
                    <a:pt x="222" y="22"/>
                  </a:lnTo>
                  <a:lnTo>
                    <a:pt x="224" y="24"/>
                  </a:lnTo>
                  <a:lnTo>
                    <a:pt x="227" y="24"/>
                  </a:lnTo>
                  <a:lnTo>
                    <a:pt x="227" y="22"/>
                  </a:lnTo>
                  <a:lnTo>
                    <a:pt x="232" y="22"/>
                  </a:lnTo>
                  <a:lnTo>
                    <a:pt x="232" y="19"/>
                  </a:lnTo>
                  <a:lnTo>
                    <a:pt x="235" y="16"/>
                  </a:lnTo>
                  <a:lnTo>
                    <a:pt x="238" y="19"/>
                  </a:lnTo>
                  <a:lnTo>
                    <a:pt x="238" y="22"/>
                  </a:lnTo>
                  <a:lnTo>
                    <a:pt x="238" y="22"/>
                  </a:lnTo>
                  <a:lnTo>
                    <a:pt x="246" y="22"/>
                  </a:lnTo>
                  <a:lnTo>
                    <a:pt x="240" y="30"/>
                  </a:lnTo>
                  <a:lnTo>
                    <a:pt x="248" y="32"/>
                  </a:lnTo>
                  <a:lnTo>
                    <a:pt x="251" y="27"/>
                  </a:lnTo>
                  <a:lnTo>
                    <a:pt x="254" y="38"/>
                  </a:lnTo>
                  <a:lnTo>
                    <a:pt x="259" y="41"/>
                  </a:lnTo>
                  <a:lnTo>
                    <a:pt x="259" y="46"/>
                  </a:lnTo>
                  <a:lnTo>
                    <a:pt x="262" y="49"/>
                  </a:lnTo>
                  <a:lnTo>
                    <a:pt x="264" y="49"/>
                  </a:lnTo>
                  <a:lnTo>
                    <a:pt x="264" y="49"/>
                  </a:lnTo>
                  <a:lnTo>
                    <a:pt x="264" y="51"/>
                  </a:lnTo>
                  <a:lnTo>
                    <a:pt x="264" y="54"/>
                  </a:lnTo>
                  <a:lnTo>
                    <a:pt x="262" y="54"/>
                  </a:lnTo>
                  <a:lnTo>
                    <a:pt x="259" y="57"/>
                  </a:lnTo>
                  <a:lnTo>
                    <a:pt x="259" y="57"/>
                  </a:lnTo>
                  <a:lnTo>
                    <a:pt x="262" y="57"/>
                  </a:lnTo>
                  <a:lnTo>
                    <a:pt x="262" y="59"/>
                  </a:lnTo>
                  <a:lnTo>
                    <a:pt x="264" y="59"/>
                  </a:lnTo>
                  <a:lnTo>
                    <a:pt x="267" y="62"/>
                  </a:lnTo>
                  <a:lnTo>
                    <a:pt x="264" y="65"/>
                  </a:lnTo>
                  <a:lnTo>
                    <a:pt x="262" y="65"/>
                  </a:lnTo>
                  <a:lnTo>
                    <a:pt x="264" y="70"/>
                  </a:lnTo>
                  <a:lnTo>
                    <a:pt x="267" y="67"/>
                  </a:lnTo>
                  <a:lnTo>
                    <a:pt x="267" y="65"/>
                  </a:lnTo>
                  <a:lnTo>
                    <a:pt x="267" y="65"/>
                  </a:lnTo>
                  <a:lnTo>
                    <a:pt x="270" y="67"/>
                  </a:lnTo>
                  <a:lnTo>
                    <a:pt x="272" y="67"/>
                  </a:lnTo>
                  <a:lnTo>
                    <a:pt x="272" y="65"/>
                  </a:lnTo>
                  <a:lnTo>
                    <a:pt x="275" y="65"/>
                  </a:lnTo>
                  <a:lnTo>
                    <a:pt x="275" y="62"/>
                  </a:lnTo>
                  <a:lnTo>
                    <a:pt x="275" y="65"/>
                  </a:lnTo>
                  <a:lnTo>
                    <a:pt x="278" y="65"/>
                  </a:lnTo>
                  <a:lnTo>
                    <a:pt x="278" y="65"/>
                  </a:lnTo>
                  <a:lnTo>
                    <a:pt x="280" y="65"/>
                  </a:lnTo>
                  <a:lnTo>
                    <a:pt x="280" y="65"/>
                  </a:lnTo>
                  <a:lnTo>
                    <a:pt x="283" y="65"/>
                  </a:lnTo>
                  <a:lnTo>
                    <a:pt x="283" y="67"/>
                  </a:lnTo>
                  <a:lnTo>
                    <a:pt x="280" y="67"/>
                  </a:lnTo>
                  <a:lnTo>
                    <a:pt x="280" y="70"/>
                  </a:lnTo>
                  <a:lnTo>
                    <a:pt x="283" y="70"/>
                  </a:lnTo>
                  <a:lnTo>
                    <a:pt x="283" y="70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6" y="67"/>
                  </a:lnTo>
                  <a:lnTo>
                    <a:pt x="288" y="67"/>
                  </a:lnTo>
                  <a:lnTo>
                    <a:pt x="288" y="67"/>
                  </a:lnTo>
                  <a:lnTo>
                    <a:pt x="291" y="70"/>
                  </a:lnTo>
                  <a:lnTo>
                    <a:pt x="288" y="70"/>
                  </a:lnTo>
                  <a:lnTo>
                    <a:pt x="288" y="73"/>
                  </a:lnTo>
                  <a:lnTo>
                    <a:pt x="288" y="73"/>
                  </a:lnTo>
                  <a:lnTo>
                    <a:pt x="288" y="78"/>
                  </a:lnTo>
                  <a:lnTo>
                    <a:pt x="286" y="81"/>
                  </a:lnTo>
                  <a:lnTo>
                    <a:pt x="283" y="81"/>
                  </a:lnTo>
                  <a:lnTo>
                    <a:pt x="283" y="81"/>
                  </a:lnTo>
                  <a:lnTo>
                    <a:pt x="280" y="81"/>
                  </a:lnTo>
                  <a:lnTo>
                    <a:pt x="280" y="78"/>
                  </a:lnTo>
                  <a:lnTo>
                    <a:pt x="278" y="78"/>
                  </a:lnTo>
                  <a:lnTo>
                    <a:pt x="275" y="78"/>
                  </a:lnTo>
                  <a:lnTo>
                    <a:pt x="275" y="81"/>
                  </a:lnTo>
                  <a:lnTo>
                    <a:pt x="275" y="81"/>
                  </a:lnTo>
                  <a:lnTo>
                    <a:pt x="275" y="83"/>
                  </a:lnTo>
                  <a:lnTo>
                    <a:pt x="272" y="86"/>
                  </a:lnTo>
                  <a:lnTo>
                    <a:pt x="272" y="86"/>
                  </a:lnTo>
                  <a:lnTo>
                    <a:pt x="270" y="89"/>
                  </a:lnTo>
                  <a:lnTo>
                    <a:pt x="270" y="89"/>
                  </a:lnTo>
                  <a:lnTo>
                    <a:pt x="267" y="86"/>
                  </a:lnTo>
                  <a:lnTo>
                    <a:pt x="267" y="89"/>
                  </a:lnTo>
                  <a:lnTo>
                    <a:pt x="267" y="89"/>
                  </a:lnTo>
                  <a:lnTo>
                    <a:pt x="264" y="91"/>
                  </a:lnTo>
                  <a:lnTo>
                    <a:pt x="264" y="91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70" y="91"/>
                  </a:lnTo>
                  <a:lnTo>
                    <a:pt x="267" y="99"/>
                  </a:lnTo>
                  <a:lnTo>
                    <a:pt x="270" y="99"/>
                  </a:lnTo>
                  <a:lnTo>
                    <a:pt x="270" y="99"/>
                  </a:lnTo>
                  <a:lnTo>
                    <a:pt x="272" y="99"/>
                  </a:lnTo>
                  <a:lnTo>
                    <a:pt x="272" y="102"/>
                  </a:lnTo>
                  <a:lnTo>
                    <a:pt x="267" y="105"/>
                  </a:lnTo>
                  <a:lnTo>
                    <a:pt x="264" y="105"/>
                  </a:lnTo>
                  <a:lnTo>
                    <a:pt x="262" y="107"/>
                  </a:lnTo>
                  <a:lnTo>
                    <a:pt x="259" y="110"/>
                  </a:lnTo>
                  <a:lnTo>
                    <a:pt x="262" y="110"/>
                  </a:lnTo>
                  <a:lnTo>
                    <a:pt x="262" y="113"/>
                  </a:lnTo>
                  <a:lnTo>
                    <a:pt x="243" y="129"/>
                  </a:lnTo>
                  <a:lnTo>
                    <a:pt x="243" y="129"/>
                  </a:lnTo>
                  <a:lnTo>
                    <a:pt x="235" y="137"/>
                  </a:lnTo>
                  <a:lnTo>
                    <a:pt x="232" y="137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27" y="137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7" y="139"/>
                  </a:lnTo>
                  <a:lnTo>
                    <a:pt x="227" y="142"/>
                  </a:lnTo>
                  <a:lnTo>
                    <a:pt x="224" y="142"/>
                  </a:lnTo>
                  <a:lnTo>
                    <a:pt x="224" y="145"/>
                  </a:lnTo>
                  <a:lnTo>
                    <a:pt x="224" y="145"/>
                  </a:lnTo>
                  <a:lnTo>
                    <a:pt x="224" y="147"/>
                  </a:lnTo>
                  <a:lnTo>
                    <a:pt x="224" y="150"/>
                  </a:lnTo>
                  <a:lnTo>
                    <a:pt x="227" y="153"/>
                  </a:lnTo>
                  <a:lnTo>
                    <a:pt x="224" y="155"/>
                  </a:lnTo>
                  <a:lnTo>
                    <a:pt x="222" y="158"/>
                  </a:lnTo>
                  <a:lnTo>
                    <a:pt x="219" y="158"/>
                  </a:lnTo>
                  <a:lnTo>
                    <a:pt x="219" y="163"/>
                  </a:lnTo>
                  <a:lnTo>
                    <a:pt x="216" y="163"/>
                  </a:lnTo>
                  <a:lnTo>
                    <a:pt x="214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11" y="174"/>
                  </a:lnTo>
                  <a:lnTo>
                    <a:pt x="211" y="177"/>
                  </a:lnTo>
                  <a:lnTo>
                    <a:pt x="206" y="174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3" y="182"/>
                  </a:lnTo>
                  <a:lnTo>
                    <a:pt x="195" y="179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84" y="187"/>
                  </a:lnTo>
                  <a:lnTo>
                    <a:pt x="182" y="182"/>
                  </a:lnTo>
                  <a:lnTo>
                    <a:pt x="179" y="187"/>
                  </a:lnTo>
                  <a:lnTo>
                    <a:pt x="179" y="190"/>
                  </a:lnTo>
                  <a:lnTo>
                    <a:pt x="171" y="201"/>
                  </a:lnTo>
                  <a:lnTo>
                    <a:pt x="166" y="201"/>
                  </a:lnTo>
                  <a:lnTo>
                    <a:pt x="163" y="198"/>
                  </a:lnTo>
                  <a:lnTo>
                    <a:pt x="166" y="196"/>
                  </a:lnTo>
                  <a:lnTo>
                    <a:pt x="163" y="193"/>
                  </a:lnTo>
                  <a:lnTo>
                    <a:pt x="160" y="193"/>
                  </a:lnTo>
                  <a:lnTo>
                    <a:pt x="160" y="198"/>
                  </a:lnTo>
                  <a:lnTo>
                    <a:pt x="158" y="196"/>
                  </a:lnTo>
                  <a:lnTo>
                    <a:pt x="155" y="198"/>
                  </a:lnTo>
                  <a:lnTo>
                    <a:pt x="158" y="201"/>
                  </a:lnTo>
                  <a:lnTo>
                    <a:pt x="158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1"/>
                  </a:lnTo>
                  <a:lnTo>
                    <a:pt x="150" y="206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2" y="212"/>
                  </a:lnTo>
                  <a:lnTo>
                    <a:pt x="152" y="212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47" y="214"/>
                  </a:lnTo>
                  <a:lnTo>
                    <a:pt x="144" y="220"/>
                  </a:lnTo>
                  <a:lnTo>
                    <a:pt x="139" y="217"/>
                  </a:lnTo>
                  <a:lnTo>
                    <a:pt x="139" y="222"/>
                  </a:lnTo>
                  <a:lnTo>
                    <a:pt x="136" y="228"/>
                  </a:lnTo>
                  <a:lnTo>
                    <a:pt x="139" y="230"/>
                  </a:lnTo>
                  <a:lnTo>
                    <a:pt x="136" y="233"/>
                  </a:lnTo>
                  <a:lnTo>
                    <a:pt x="134" y="236"/>
                  </a:lnTo>
                  <a:lnTo>
                    <a:pt x="131" y="238"/>
                  </a:lnTo>
                  <a:lnTo>
                    <a:pt x="125" y="241"/>
                  </a:lnTo>
                  <a:lnTo>
                    <a:pt x="123" y="241"/>
                  </a:lnTo>
                  <a:lnTo>
                    <a:pt x="120" y="241"/>
                  </a:lnTo>
                  <a:lnTo>
                    <a:pt x="117" y="241"/>
                  </a:lnTo>
                  <a:lnTo>
                    <a:pt x="115" y="244"/>
                  </a:lnTo>
                  <a:lnTo>
                    <a:pt x="112" y="244"/>
                  </a:lnTo>
                  <a:lnTo>
                    <a:pt x="112" y="244"/>
                  </a:lnTo>
                  <a:lnTo>
                    <a:pt x="107" y="246"/>
                  </a:lnTo>
                  <a:lnTo>
                    <a:pt x="101" y="244"/>
                  </a:lnTo>
                  <a:lnTo>
                    <a:pt x="99" y="246"/>
                  </a:lnTo>
                  <a:lnTo>
                    <a:pt x="99" y="246"/>
                  </a:lnTo>
                  <a:lnTo>
                    <a:pt x="96" y="246"/>
                  </a:lnTo>
                  <a:lnTo>
                    <a:pt x="93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8" y="249"/>
                  </a:lnTo>
                  <a:lnTo>
                    <a:pt x="85" y="249"/>
                  </a:lnTo>
                  <a:lnTo>
                    <a:pt x="83" y="249"/>
                  </a:lnTo>
                  <a:lnTo>
                    <a:pt x="83" y="24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09" name="Freeform 8926">
              <a:extLst>
                <a:ext uri="{FF2B5EF4-FFF2-40B4-BE49-F238E27FC236}">
                  <a16:creationId xmlns:a16="http://schemas.microsoft.com/office/drawing/2014/main" id="{D95E1084-31A3-BF47-B57E-A2939A82089F}"/>
                </a:ext>
              </a:extLst>
            </p:cNvPr>
            <p:cNvSpPr/>
            <p:nvPr/>
          </p:nvSpPr>
          <p:spPr bwMode="auto">
            <a:xfrm>
              <a:off x="2310606" y="4049714"/>
              <a:ext cx="233363" cy="241300"/>
            </a:xfrm>
            <a:custGeom>
              <a:avLst/>
              <a:gdLst>
                <a:gd name="T0" fmla="*/ 69 w 147"/>
                <a:gd name="T1" fmla="*/ 0 h 152"/>
                <a:gd name="T2" fmla="*/ 80 w 147"/>
                <a:gd name="T3" fmla="*/ 5 h 152"/>
                <a:gd name="T4" fmla="*/ 88 w 147"/>
                <a:gd name="T5" fmla="*/ 8 h 152"/>
                <a:gd name="T6" fmla="*/ 107 w 147"/>
                <a:gd name="T7" fmla="*/ 8 h 152"/>
                <a:gd name="T8" fmla="*/ 123 w 147"/>
                <a:gd name="T9" fmla="*/ 16 h 152"/>
                <a:gd name="T10" fmla="*/ 126 w 147"/>
                <a:gd name="T11" fmla="*/ 26 h 152"/>
                <a:gd name="T12" fmla="*/ 142 w 147"/>
                <a:gd name="T13" fmla="*/ 45 h 152"/>
                <a:gd name="T14" fmla="*/ 136 w 147"/>
                <a:gd name="T15" fmla="*/ 58 h 152"/>
                <a:gd name="T16" fmla="*/ 142 w 147"/>
                <a:gd name="T17" fmla="*/ 69 h 152"/>
                <a:gd name="T18" fmla="*/ 147 w 147"/>
                <a:gd name="T19" fmla="*/ 85 h 152"/>
                <a:gd name="T20" fmla="*/ 128 w 147"/>
                <a:gd name="T21" fmla="*/ 88 h 152"/>
                <a:gd name="T22" fmla="*/ 120 w 147"/>
                <a:gd name="T23" fmla="*/ 90 h 152"/>
                <a:gd name="T24" fmla="*/ 123 w 147"/>
                <a:gd name="T25" fmla="*/ 96 h 152"/>
                <a:gd name="T26" fmla="*/ 115 w 147"/>
                <a:gd name="T27" fmla="*/ 96 h 152"/>
                <a:gd name="T28" fmla="*/ 107 w 147"/>
                <a:gd name="T29" fmla="*/ 98 h 152"/>
                <a:gd name="T30" fmla="*/ 104 w 147"/>
                <a:gd name="T31" fmla="*/ 104 h 152"/>
                <a:gd name="T32" fmla="*/ 91 w 147"/>
                <a:gd name="T33" fmla="*/ 101 h 152"/>
                <a:gd name="T34" fmla="*/ 85 w 147"/>
                <a:gd name="T35" fmla="*/ 112 h 152"/>
                <a:gd name="T36" fmla="*/ 96 w 147"/>
                <a:gd name="T37" fmla="*/ 109 h 152"/>
                <a:gd name="T38" fmla="*/ 99 w 147"/>
                <a:gd name="T39" fmla="*/ 112 h 152"/>
                <a:gd name="T40" fmla="*/ 104 w 147"/>
                <a:gd name="T41" fmla="*/ 115 h 152"/>
                <a:gd name="T42" fmla="*/ 99 w 147"/>
                <a:gd name="T43" fmla="*/ 131 h 152"/>
                <a:gd name="T44" fmla="*/ 88 w 147"/>
                <a:gd name="T45" fmla="*/ 131 h 152"/>
                <a:gd name="T46" fmla="*/ 91 w 147"/>
                <a:gd name="T47" fmla="*/ 136 h 152"/>
                <a:gd name="T48" fmla="*/ 83 w 147"/>
                <a:gd name="T49" fmla="*/ 141 h 152"/>
                <a:gd name="T50" fmla="*/ 75 w 147"/>
                <a:gd name="T51" fmla="*/ 141 h 152"/>
                <a:gd name="T52" fmla="*/ 69 w 147"/>
                <a:gd name="T53" fmla="*/ 149 h 152"/>
                <a:gd name="T54" fmla="*/ 69 w 147"/>
                <a:gd name="T55" fmla="*/ 141 h 152"/>
                <a:gd name="T56" fmla="*/ 67 w 147"/>
                <a:gd name="T57" fmla="*/ 141 h 152"/>
                <a:gd name="T58" fmla="*/ 56 w 147"/>
                <a:gd name="T59" fmla="*/ 136 h 152"/>
                <a:gd name="T60" fmla="*/ 53 w 147"/>
                <a:gd name="T61" fmla="*/ 136 h 152"/>
                <a:gd name="T62" fmla="*/ 51 w 147"/>
                <a:gd name="T63" fmla="*/ 141 h 152"/>
                <a:gd name="T64" fmla="*/ 40 w 147"/>
                <a:gd name="T65" fmla="*/ 144 h 152"/>
                <a:gd name="T66" fmla="*/ 32 w 147"/>
                <a:gd name="T67" fmla="*/ 147 h 152"/>
                <a:gd name="T68" fmla="*/ 29 w 147"/>
                <a:gd name="T69" fmla="*/ 139 h 152"/>
                <a:gd name="T70" fmla="*/ 19 w 147"/>
                <a:gd name="T71" fmla="*/ 136 h 152"/>
                <a:gd name="T72" fmla="*/ 11 w 147"/>
                <a:gd name="T73" fmla="*/ 128 h 152"/>
                <a:gd name="T74" fmla="*/ 5 w 147"/>
                <a:gd name="T75" fmla="*/ 109 h 152"/>
                <a:gd name="T76" fmla="*/ 5 w 147"/>
                <a:gd name="T77" fmla="*/ 90 h 152"/>
                <a:gd name="T78" fmla="*/ 5 w 147"/>
                <a:gd name="T79" fmla="*/ 85 h 152"/>
                <a:gd name="T80" fmla="*/ 3 w 147"/>
                <a:gd name="T81" fmla="*/ 82 h 152"/>
                <a:gd name="T82" fmla="*/ 5 w 147"/>
                <a:gd name="T83" fmla="*/ 72 h 152"/>
                <a:gd name="T84" fmla="*/ 11 w 147"/>
                <a:gd name="T85" fmla="*/ 66 h 152"/>
                <a:gd name="T86" fmla="*/ 19 w 147"/>
                <a:gd name="T87" fmla="*/ 66 h 152"/>
                <a:gd name="T88" fmla="*/ 24 w 147"/>
                <a:gd name="T89" fmla="*/ 61 h 152"/>
                <a:gd name="T90" fmla="*/ 29 w 147"/>
                <a:gd name="T91" fmla="*/ 56 h 152"/>
                <a:gd name="T92" fmla="*/ 37 w 147"/>
                <a:gd name="T93" fmla="*/ 56 h 152"/>
                <a:gd name="T94" fmla="*/ 35 w 147"/>
                <a:gd name="T95" fmla="*/ 50 h 152"/>
                <a:gd name="T96" fmla="*/ 32 w 147"/>
                <a:gd name="T97" fmla="*/ 45 h 152"/>
                <a:gd name="T98" fmla="*/ 29 w 147"/>
                <a:gd name="T99" fmla="*/ 42 h 152"/>
                <a:gd name="T100" fmla="*/ 29 w 147"/>
                <a:gd name="T101" fmla="*/ 37 h 152"/>
                <a:gd name="T102" fmla="*/ 27 w 147"/>
                <a:gd name="T103" fmla="*/ 29 h 152"/>
                <a:gd name="T104" fmla="*/ 27 w 147"/>
                <a:gd name="T105" fmla="*/ 21 h 152"/>
                <a:gd name="T106" fmla="*/ 35 w 147"/>
                <a:gd name="T107" fmla="*/ 18 h 152"/>
                <a:gd name="T108" fmla="*/ 43 w 147"/>
                <a:gd name="T109" fmla="*/ 16 h 152"/>
                <a:gd name="T110" fmla="*/ 48 w 147"/>
                <a:gd name="T111" fmla="*/ 10 h 152"/>
                <a:gd name="T112" fmla="*/ 51 w 147"/>
                <a:gd name="T113" fmla="*/ 5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7" h="152" extrusionOk="0">
                  <a:moveTo>
                    <a:pt x="59" y="0"/>
                  </a:moveTo>
                  <a:lnTo>
                    <a:pt x="61" y="0"/>
                  </a:lnTo>
                  <a:lnTo>
                    <a:pt x="61" y="0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2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77" y="2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8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3" y="5"/>
                  </a:lnTo>
                  <a:lnTo>
                    <a:pt x="96" y="5"/>
                  </a:lnTo>
                  <a:lnTo>
                    <a:pt x="99" y="8"/>
                  </a:lnTo>
                  <a:lnTo>
                    <a:pt x="104" y="8"/>
                  </a:lnTo>
                  <a:lnTo>
                    <a:pt x="107" y="8"/>
                  </a:lnTo>
                  <a:lnTo>
                    <a:pt x="112" y="8"/>
                  </a:lnTo>
                  <a:lnTo>
                    <a:pt x="115" y="8"/>
                  </a:lnTo>
                  <a:lnTo>
                    <a:pt x="117" y="5"/>
                  </a:lnTo>
                  <a:lnTo>
                    <a:pt x="120" y="8"/>
                  </a:lnTo>
                  <a:lnTo>
                    <a:pt x="123" y="8"/>
                  </a:lnTo>
                  <a:lnTo>
                    <a:pt x="128" y="10"/>
                  </a:lnTo>
                  <a:lnTo>
                    <a:pt x="123" y="16"/>
                  </a:lnTo>
                  <a:lnTo>
                    <a:pt x="123" y="18"/>
                  </a:lnTo>
                  <a:lnTo>
                    <a:pt x="126" y="21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9"/>
                  </a:lnTo>
                  <a:lnTo>
                    <a:pt x="126" y="32"/>
                  </a:lnTo>
                  <a:lnTo>
                    <a:pt x="131" y="32"/>
                  </a:lnTo>
                  <a:lnTo>
                    <a:pt x="139" y="40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5"/>
                  </a:lnTo>
                  <a:lnTo>
                    <a:pt x="139" y="48"/>
                  </a:lnTo>
                  <a:lnTo>
                    <a:pt x="136" y="50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6" y="58"/>
                  </a:lnTo>
                  <a:lnTo>
                    <a:pt x="136" y="61"/>
                  </a:lnTo>
                  <a:lnTo>
                    <a:pt x="139" y="61"/>
                  </a:lnTo>
                  <a:lnTo>
                    <a:pt x="139" y="64"/>
                  </a:lnTo>
                  <a:lnTo>
                    <a:pt x="139" y="66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2" y="69"/>
                  </a:lnTo>
                  <a:lnTo>
                    <a:pt x="142" y="72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7"/>
                  </a:lnTo>
                  <a:lnTo>
                    <a:pt x="147" y="77"/>
                  </a:lnTo>
                  <a:lnTo>
                    <a:pt x="147" y="82"/>
                  </a:lnTo>
                  <a:lnTo>
                    <a:pt x="147" y="85"/>
                  </a:lnTo>
                  <a:lnTo>
                    <a:pt x="144" y="85"/>
                  </a:lnTo>
                  <a:lnTo>
                    <a:pt x="139" y="82"/>
                  </a:lnTo>
                  <a:lnTo>
                    <a:pt x="136" y="85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1" y="85"/>
                  </a:lnTo>
                  <a:lnTo>
                    <a:pt x="128" y="88"/>
                  </a:lnTo>
                  <a:lnTo>
                    <a:pt x="126" y="88"/>
                  </a:lnTo>
                  <a:lnTo>
                    <a:pt x="128" y="82"/>
                  </a:lnTo>
                  <a:lnTo>
                    <a:pt x="126" y="82"/>
                  </a:lnTo>
                  <a:lnTo>
                    <a:pt x="123" y="85"/>
                  </a:lnTo>
                  <a:lnTo>
                    <a:pt x="123" y="88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93"/>
                  </a:lnTo>
                  <a:lnTo>
                    <a:pt x="126" y="93"/>
                  </a:lnTo>
                  <a:lnTo>
                    <a:pt x="126" y="96"/>
                  </a:lnTo>
                  <a:lnTo>
                    <a:pt x="123" y="96"/>
                  </a:lnTo>
                  <a:lnTo>
                    <a:pt x="123" y="98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17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09" y="96"/>
                  </a:lnTo>
                  <a:lnTo>
                    <a:pt x="109" y="98"/>
                  </a:lnTo>
                  <a:lnTo>
                    <a:pt x="109" y="98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99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3" y="104"/>
                  </a:lnTo>
                  <a:lnTo>
                    <a:pt x="93" y="101"/>
                  </a:lnTo>
                  <a:lnTo>
                    <a:pt x="91" y="101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88" y="109"/>
                  </a:lnTo>
                  <a:lnTo>
                    <a:pt x="85" y="109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91" y="112"/>
                  </a:lnTo>
                  <a:lnTo>
                    <a:pt x="93" y="112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6" y="109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99" y="115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1" y="109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5"/>
                  </a:lnTo>
                  <a:lnTo>
                    <a:pt x="104" y="115"/>
                  </a:lnTo>
                  <a:lnTo>
                    <a:pt x="104" y="117"/>
                  </a:lnTo>
                  <a:lnTo>
                    <a:pt x="101" y="117"/>
                  </a:lnTo>
                  <a:lnTo>
                    <a:pt x="101" y="120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1" y="128"/>
                  </a:lnTo>
                  <a:lnTo>
                    <a:pt x="99" y="131"/>
                  </a:lnTo>
                  <a:lnTo>
                    <a:pt x="99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3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88" y="131"/>
                  </a:lnTo>
                  <a:lnTo>
                    <a:pt x="88" y="133"/>
                  </a:lnTo>
                  <a:lnTo>
                    <a:pt x="88" y="136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1" y="136"/>
                  </a:lnTo>
                  <a:lnTo>
                    <a:pt x="91" y="136"/>
                  </a:lnTo>
                  <a:lnTo>
                    <a:pt x="91" y="136"/>
                  </a:lnTo>
                  <a:lnTo>
                    <a:pt x="91" y="139"/>
                  </a:lnTo>
                  <a:lnTo>
                    <a:pt x="91" y="139"/>
                  </a:lnTo>
                  <a:lnTo>
                    <a:pt x="88" y="141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7" y="136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5" y="141"/>
                  </a:lnTo>
                  <a:lnTo>
                    <a:pt x="72" y="144"/>
                  </a:lnTo>
                  <a:lnTo>
                    <a:pt x="72" y="147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2" y="152"/>
                  </a:lnTo>
                  <a:lnTo>
                    <a:pt x="69" y="149"/>
                  </a:lnTo>
                  <a:lnTo>
                    <a:pt x="69" y="149"/>
                  </a:lnTo>
                  <a:lnTo>
                    <a:pt x="69" y="147"/>
                  </a:lnTo>
                  <a:lnTo>
                    <a:pt x="69" y="147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2" y="139"/>
                  </a:lnTo>
                  <a:lnTo>
                    <a:pt x="72" y="141"/>
                  </a:lnTo>
                  <a:lnTo>
                    <a:pt x="69" y="141"/>
                  </a:lnTo>
                  <a:lnTo>
                    <a:pt x="69" y="144"/>
                  </a:lnTo>
                  <a:lnTo>
                    <a:pt x="69" y="147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44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1" y="141"/>
                  </a:lnTo>
                  <a:lnTo>
                    <a:pt x="61" y="141"/>
                  </a:lnTo>
                  <a:lnTo>
                    <a:pt x="61" y="139"/>
                  </a:lnTo>
                  <a:lnTo>
                    <a:pt x="59" y="136"/>
                  </a:lnTo>
                  <a:lnTo>
                    <a:pt x="56" y="136"/>
                  </a:lnTo>
                  <a:lnTo>
                    <a:pt x="56" y="133"/>
                  </a:lnTo>
                  <a:lnTo>
                    <a:pt x="56" y="131"/>
                  </a:lnTo>
                  <a:lnTo>
                    <a:pt x="56" y="131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51" y="136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51" y="141"/>
                  </a:lnTo>
                  <a:lnTo>
                    <a:pt x="51" y="144"/>
                  </a:lnTo>
                  <a:lnTo>
                    <a:pt x="48" y="144"/>
                  </a:lnTo>
                  <a:lnTo>
                    <a:pt x="48" y="144"/>
                  </a:lnTo>
                  <a:lnTo>
                    <a:pt x="45" y="141"/>
                  </a:lnTo>
                  <a:lnTo>
                    <a:pt x="43" y="141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5" y="144"/>
                  </a:lnTo>
                  <a:lnTo>
                    <a:pt x="35" y="144"/>
                  </a:lnTo>
                  <a:lnTo>
                    <a:pt x="32" y="147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1"/>
                  </a:lnTo>
                  <a:lnTo>
                    <a:pt x="32" y="141"/>
                  </a:lnTo>
                  <a:lnTo>
                    <a:pt x="29" y="141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7" y="136"/>
                  </a:lnTo>
                  <a:lnTo>
                    <a:pt x="27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1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3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3" y="128"/>
                  </a:lnTo>
                  <a:lnTo>
                    <a:pt x="11" y="128"/>
                  </a:lnTo>
                  <a:lnTo>
                    <a:pt x="8" y="128"/>
                  </a:lnTo>
                  <a:lnTo>
                    <a:pt x="5" y="115"/>
                  </a:lnTo>
                  <a:lnTo>
                    <a:pt x="3" y="115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5" y="109"/>
                  </a:lnTo>
                  <a:lnTo>
                    <a:pt x="5" y="109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98"/>
                  </a:lnTo>
                  <a:lnTo>
                    <a:pt x="5" y="90"/>
                  </a:lnTo>
                  <a:lnTo>
                    <a:pt x="8" y="90"/>
                  </a:lnTo>
                  <a:lnTo>
                    <a:pt x="11" y="88"/>
                  </a:lnTo>
                  <a:lnTo>
                    <a:pt x="11" y="82"/>
                  </a:lnTo>
                  <a:lnTo>
                    <a:pt x="8" y="82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4"/>
                  </a:lnTo>
                  <a:lnTo>
                    <a:pt x="5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5" y="69"/>
                  </a:lnTo>
                  <a:lnTo>
                    <a:pt x="5" y="72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3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19" y="66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58"/>
                  </a:lnTo>
                  <a:lnTo>
                    <a:pt x="24" y="61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5" y="58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7" y="53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5" y="21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3" y="18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51" y="5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0" name="Freeform 8928">
              <a:extLst>
                <a:ext uri="{FF2B5EF4-FFF2-40B4-BE49-F238E27FC236}">
                  <a16:creationId xmlns:a16="http://schemas.microsoft.com/office/drawing/2014/main" id="{C2991709-7BDD-5E47-A513-CE5C8D28BCAE}"/>
                </a:ext>
              </a:extLst>
            </p:cNvPr>
            <p:cNvSpPr/>
            <p:nvPr/>
          </p:nvSpPr>
          <p:spPr bwMode="auto">
            <a:xfrm>
              <a:off x="2394742" y="3930651"/>
              <a:ext cx="357188" cy="249237"/>
            </a:xfrm>
            <a:custGeom>
              <a:avLst/>
              <a:gdLst>
                <a:gd name="T0" fmla="*/ 110 w 225"/>
                <a:gd name="T1" fmla="*/ 149 h 157"/>
                <a:gd name="T2" fmla="*/ 123 w 225"/>
                <a:gd name="T3" fmla="*/ 144 h 157"/>
                <a:gd name="T4" fmla="*/ 137 w 225"/>
                <a:gd name="T5" fmla="*/ 144 h 157"/>
                <a:gd name="T6" fmla="*/ 145 w 225"/>
                <a:gd name="T7" fmla="*/ 139 h 157"/>
                <a:gd name="T8" fmla="*/ 155 w 225"/>
                <a:gd name="T9" fmla="*/ 128 h 157"/>
                <a:gd name="T10" fmla="*/ 161 w 225"/>
                <a:gd name="T11" fmla="*/ 131 h 157"/>
                <a:gd name="T12" fmla="*/ 166 w 225"/>
                <a:gd name="T13" fmla="*/ 136 h 157"/>
                <a:gd name="T14" fmla="*/ 174 w 225"/>
                <a:gd name="T15" fmla="*/ 131 h 157"/>
                <a:gd name="T16" fmla="*/ 182 w 225"/>
                <a:gd name="T17" fmla="*/ 133 h 157"/>
                <a:gd name="T18" fmla="*/ 193 w 225"/>
                <a:gd name="T19" fmla="*/ 131 h 157"/>
                <a:gd name="T20" fmla="*/ 195 w 225"/>
                <a:gd name="T21" fmla="*/ 144 h 157"/>
                <a:gd name="T22" fmla="*/ 198 w 225"/>
                <a:gd name="T23" fmla="*/ 144 h 157"/>
                <a:gd name="T24" fmla="*/ 209 w 225"/>
                <a:gd name="T25" fmla="*/ 141 h 157"/>
                <a:gd name="T26" fmla="*/ 214 w 225"/>
                <a:gd name="T27" fmla="*/ 133 h 157"/>
                <a:gd name="T28" fmla="*/ 222 w 225"/>
                <a:gd name="T29" fmla="*/ 117 h 157"/>
                <a:gd name="T30" fmla="*/ 217 w 225"/>
                <a:gd name="T31" fmla="*/ 104 h 157"/>
                <a:gd name="T32" fmla="*/ 214 w 225"/>
                <a:gd name="T33" fmla="*/ 96 h 157"/>
                <a:gd name="T34" fmla="*/ 214 w 225"/>
                <a:gd name="T35" fmla="*/ 83 h 157"/>
                <a:gd name="T36" fmla="*/ 203 w 225"/>
                <a:gd name="T37" fmla="*/ 80 h 157"/>
                <a:gd name="T38" fmla="*/ 198 w 225"/>
                <a:gd name="T39" fmla="*/ 67 h 157"/>
                <a:gd name="T40" fmla="*/ 206 w 225"/>
                <a:gd name="T41" fmla="*/ 53 h 157"/>
                <a:gd name="T42" fmla="*/ 198 w 225"/>
                <a:gd name="T43" fmla="*/ 48 h 157"/>
                <a:gd name="T44" fmla="*/ 185 w 225"/>
                <a:gd name="T45" fmla="*/ 64 h 157"/>
                <a:gd name="T46" fmla="*/ 182 w 225"/>
                <a:gd name="T47" fmla="*/ 53 h 157"/>
                <a:gd name="T48" fmla="*/ 161 w 225"/>
                <a:gd name="T49" fmla="*/ 45 h 157"/>
                <a:gd name="T50" fmla="*/ 158 w 225"/>
                <a:gd name="T51" fmla="*/ 40 h 157"/>
                <a:gd name="T52" fmla="*/ 150 w 225"/>
                <a:gd name="T53" fmla="*/ 40 h 157"/>
                <a:gd name="T54" fmla="*/ 147 w 225"/>
                <a:gd name="T55" fmla="*/ 48 h 157"/>
                <a:gd name="T56" fmla="*/ 137 w 225"/>
                <a:gd name="T57" fmla="*/ 45 h 157"/>
                <a:gd name="T58" fmla="*/ 131 w 225"/>
                <a:gd name="T59" fmla="*/ 43 h 157"/>
                <a:gd name="T60" fmla="*/ 121 w 225"/>
                <a:gd name="T61" fmla="*/ 37 h 157"/>
                <a:gd name="T62" fmla="*/ 107 w 225"/>
                <a:gd name="T63" fmla="*/ 45 h 157"/>
                <a:gd name="T64" fmla="*/ 91 w 225"/>
                <a:gd name="T65" fmla="*/ 40 h 157"/>
                <a:gd name="T66" fmla="*/ 91 w 225"/>
                <a:gd name="T67" fmla="*/ 35 h 157"/>
                <a:gd name="T68" fmla="*/ 83 w 225"/>
                <a:gd name="T69" fmla="*/ 21 h 157"/>
                <a:gd name="T70" fmla="*/ 75 w 225"/>
                <a:gd name="T71" fmla="*/ 13 h 157"/>
                <a:gd name="T72" fmla="*/ 67 w 225"/>
                <a:gd name="T73" fmla="*/ 10 h 157"/>
                <a:gd name="T74" fmla="*/ 54 w 225"/>
                <a:gd name="T75" fmla="*/ 8 h 157"/>
                <a:gd name="T76" fmla="*/ 43 w 225"/>
                <a:gd name="T77" fmla="*/ 2 h 157"/>
                <a:gd name="T78" fmla="*/ 30 w 225"/>
                <a:gd name="T79" fmla="*/ 10 h 157"/>
                <a:gd name="T80" fmla="*/ 24 w 225"/>
                <a:gd name="T81" fmla="*/ 18 h 157"/>
                <a:gd name="T82" fmla="*/ 14 w 225"/>
                <a:gd name="T83" fmla="*/ 13 h 157"/>
                <a:gd name="T84" fmla="*/ 3 w 225"/>
                <a:gd name="T85" fmla="*/ 21 h 157"/>
                <a:gd name="T86" fmla="*/ 8 w 225"/>
                <a:gd name="T87" fmla="*/ 29 h 157"/>
                <a:gd name="T88" fmla="*/ 14 w 225"/>
                <a:gd name="T89" fmla="*/ 35 h 157"/>
                <a:gd name="T90" fmla="*/ 8 w 225"/>
                <a:gd name="T91" fmla="*/ 43 h 157"/>
                <a:gd name="T92" fmla="*/ 0 w 225"/>
                <a:gd name="T93" fmla="*/ 53 h 157"/>
                <a:gd name="T94" fmla="*/ 6 w 225"/>
                <a:gd name="T95" fmla="*/ 64 h 157"/>
                <a:gd name="T96" fmla="*/ 0 w 225"/>
                <a:gd name="T97" fmla="*/ 72 h 157"/>
                <a:gd name="T98" fmla="*/ 8 w 225"/>
                <a:gd name="T99" fmla="*/ 75 h 157"/>
                <a:gd name="T100" fmla="*/ 22 w 225"/>
                <a:gd name="T101" fmla="*/ 77 h 157"/>
                <a:gd name="T102" fmla="*/ 30 w 225"/>
                <a:gd name="T103" fmla="*/ 83 h 157"/>
                <a:gd name="T104" fmla="*/ 46 w 225"/>
                <a:gd name="T105" fmla="*/ 83 h 157"/>
                <a:gd name="T106" fmla="*/ 75 w 225"/>
                <a:gd name="T107" fmla="*/ 85 h 157"/>
                <a:gd name="T108" fmla="*/ 73 w 225"/>
                <a:gd name="T109" fmla="*/ 101 h 157"/>
                <a:gd name="T110" fmla="*/ 86 w 225"/>
                <a:gd name="T111" fmla="*/ 123 h 157"/>
                <a:gd name="T112" fmla="*/ 86 w 225"/>
                <a:gd name="T113" fmla="*/ 136 h 157"/>
                <a:gd name="T114" fmla="*/ 91 w 225"/>
                <a:gd name="T115" fmla="*/ 14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5" h="157" extrusionOk="0">
                  <a:moveTo>
                    <a:pt x="94" y="157"/>
                  </a:moveTo>
                  <a:lnTo>
                    <a:pt x="97" y="157"/>
                  </a:lnTo>
                  <a:lnTo>
                    <a:pt x="97" y="152"/>
                  </a:lnTo>
                  <a:lnTo>
                    <a:pt x="99" y="149"/>
                  </a:lnTo>
                  <a:lnTo>
                    <a:pt x="102" y="149"/>
                  </a:lnTo>
                  <a:lnTo>
                    <a:pt x="105" y="149"/>
                  </a:lnTo>
                  <a:lnTo>
                    <a:pt x="107" y="149"/>
                  </a:lnTo>
                  <a:lnTo>
                    <a:pt x="110" y="149"/>
                  </a:lnTo>
                  <a:lnTo>
                    <a:pt x="110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21" y="144"/>
                  </a:lnTo>
                  <a:lnTo>
                    <a:pt x="123" y="141"/>
                  </a:lnTo>
                  <a:lnTo>
                    <a:pt x="123" y="144"/>
                  </a:lnTo>
                  <a:lnTo>
                    <a:pt x="123" y="144"/>
                  </a:lnTo>
                  <a:lnTo>
                    <a:pt x="123" y="147"/>
                  </a:lnTo>
                  <a:lnTo>
                    <a:pt x="126" y="147"/>
                  </a:lnTo>
                  <a:lnTo>
                    <a:pt x="126" y="147"/>
                  </a:lnTo>
                  <a:lnTo>
                    <a:pt x="129" y="147"/>
                  </a:lnTo>
                  <a:lnTo>
                    <a:pt x="131" y="144"/>
                  </a:lnTo>
                  <a:lnTo>
                    <a:pt x="131" y="144"/>
                  </a:lnTo>
                  <a:lnTo>
                    <a:pt x="137" y="141"/>
                  </a:lnTo>
                  <a:lnTo>
                    <a:pt x="137" y="144"/>
                  </a:lnTo>
                  <a:lnTo>
                    <a:pt x="139" y="144"/>
                  </a:lnTo>
                  <a:lnTo>
                    <a:pt x="139" y="141"/>
                  </a:lnTo>
                  <a:lnTo>
                    <a:pt x="142" y="141"/>
                  </a:lnTo>
                  <a:lnTo>
                    <a:pt x="142" y="139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41"/>
                  </a:lnTo>
                  <a:lnTo>
                    <a:pt x="145" y="139"/>
                  </a:lnTo>
                  <a:lnTo>
                    <a:pt x="145" y="139"/>
                  </a:lnTo>
                  <a:lnTo>
                    <a:pt x="142" y="139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42" y="133"/>
                  </a:lnTo>
                  <a:lnTo>
                    <a:pt x="150" y="133"/>
                  </a:lnTo>
                  <a:lnTo>
                    <a:pt x="150" y="131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8" y="125"/>
                  </a:lnTo>
                  <a:lnTo>
                    <a:pt x="158" y="128"/>
                  </a:lnTo>
                  <a:lnTo>
                    <a:pt x="155" y="131"/>
                  </a:lnTo>
                  <a:lnTo>
                    <a:pt x="155" y="131"/>
                  </a:lnTo>
                  <a:lnTo>
                    <a:pt x="158" y="131"/>
                  </a:lnTo>
                  <a:lnTo>
                    <a:pt x="158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3" y="131"/>
                  </a:lnTo>
                  <a:lnTo>
                    <a:pt x="161" y="133"/>
                  </a:lnTo>
                  <a:lnTo>
                    <a:pt x="163" y="136"/>
                  </a:lnTo>
                  <a:lnTo>
                    <a:pt x="163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69" y="136"/>
                  </a:lnTo>
                  <a:lnTo>
                    <a:pt x="171" y="136"/>
                  </a:lnTo>
                  <a:lnTo>
                    <a:pt x="171" y="133"/>
                  </a:lnTo>
                  <a:lnTo>
                    <a:pt x="174" y="131"/>
                  </a:lnTo>
                  <a:lnTo>
                    <a:pt x="174" y="131"/>
                  </a:lnTo>
                  <a:lnTo>
                    <a:pt x="177" y="131"/>
                  </a:lnTo>
                  <a:lnTo>
                    <a:pt x="177" y="131"/>
                  </a:lnTo>
                  <a:lnTo>
                    <a:pt x="174" y="131"/>
                  </a:lnTo>
                  <a:lnTo>
                    <a:pt x="177" y="133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6"/>
                  </a:lnTo>
                  <a:lnTo>
                    <a:pt x="182" y="133"/>
                  </a:lnTo>
                  <a:lnTo>
                    <a:pt x="182" y="133"/>
                  </a:lnTo>
                  <a:lnTo>
                    <a:pt x="182" y="131"/>
                  </a:lnTo>
                  <a:lnTo>
                    <a:pt x="185" y="131"/>
                  </a:lnTo>
                  <a:lnTo>
                    <a:pt x="187" y="131"/>
                  </a:lnTo>
                  <a:lnTo>
                    <a:pt x="187" y="131"/>
                  </a:lnTo>
                  <a:lnTo>
                    <a:pt x="190" y="131"/>
                  </a:lnTo>
                  <a:lnTo>
                    <a:pt x="193" y="131"/>
                  </a:lnTo>
                  <a:lnTo>
                    <a:pt x="193" y="131"/>
                  </a:lnTo>
                  <a:lnTo>
                    <a:pt x="195" y="133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0" y="136"/>
                  </a:lnTo>
                  <a:lnTo>
                    <a:pt x="190" y="139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8" y="141"/>
                  </a:lnTo>
                  <a:lnTo>
                    <a:pt x="198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7"/>
                  </a:lnTo>
                  <a:lnTo>
                    <a:pt x="201" y="147"/>
                  </a:lnTo>
                  <a:lnTo>
                    <a:pt x="203" y="147"/>
                  </a:lnTo>
                  <a:lnTo>
                    <a:pt x="203" y="144"/>
                  </a:lnTo>
                  <a:lnTo>
                    <a:pt x="203" y="144"/>
                  </a:lnTo>
                  <a:lnTo>
                    <a:pt x="206" y="144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11" y="141"/>
                  </a:lnTo>
                  <a:lnTo>
                    <a:pt x="214" y="141"/>
                  </a:lnTo>
                  <a:lnTo>
                    <a:pt x="219" y="139"/>
                  </a:lnTo>
                  <a:lnTo>
                    <a:pt x="211" y="133"/>
                  </a:lnTo>
                  <a:lnTo>
                    <a:pt x="214" y="133"/>
                  </a:lnTo>
                  <a:lnTo>
                    <a:pt x="214" y="133"/>
                  </a:lnTo>
                  <a:lnTo>
                    <a:pt x="214" y="131"/>
                  </a:lnTo>
                  <a:lnTo>
                    <a:pt x="214" y="128"/>
                  </a:lnTo>
                  <a:lnTo>
                    <a:pt x="214" y="131"/>
                  </a:lnTo>
                  <a:lnTo>
                    <a:pt x="219" y="123"/>
                  </a:lnTo>
                  <a:lnTo>
                    <a:pt x="222" y="123"/>
                  </a:lnTo>
                  <a:lnTo>
                    <a:pt x="225" y="120"/>
                  </a:lnTo>
                  <a:lnTo>
                    <a:pt x="222" y="117"/>
                  </a:lnTo>
                  <a:lnTo>
                    <a:pt x="222" y="117"/>
                  </a:lnTo>
                  <a:lnTo>
                    <a:pt x="222" y="117"/>
                  </a:lnTo>
                  <a:lnTo>
                    <a:pt x="222" y="115"/>
                  </a:lnTo>
                  <a:lnTo>
                    <a:pt x="222" y="112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22" y="109"/>
                  </a:lnTo>
                  <a:lnTo>
                    <a:pt x="219" y="109"/>
                  </a:lnTo>
                  <a:lnTo>
                    <a:pt x="217" y="104"/>
                  </a:lnTo>
                  <a:lnTo>
                    <a:pt x="214" y="104"/>
                  </a:lnTo>
                  <a:lnTo>
                    <a:pt x="211" y="104"/>
                  </a:lnTo>
                  <a:lnTo>
                    <a:pt x="211" y="101"/>
                  </a:lnTo>
                  <a:lnTo>
                    <a:pt x="214" y="99"/>
                  </a:lnTo>
                  <a:lnTo>
                    <a:pt x="211" y="99"/>
                  </a:lnTo>
                  <a:lnTo>
                    <a:pt x="211" y="96"/>
                  </a:lnTo>
                  <a:lnTo>
                    <a:pt x="214" y="96"/>
                  </a:lnTo>
                  <a:lnTo>
                    <a:pt x="214" y="96"/>
                  </a:lnTo>
                  <a:lnTo>
                    <a:pt x="217" y="93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7" y="88"/>
                  </a:lnTo>
                  <a:lnTo>
                    <a:pt x="217" y="88"/>
                  </a:lnTo>
                  <a:lnTo>
                    <a:pt x="217" y="85"/>
                  </a:lnTo>
                  <a:lnTo>
                    <a:pt x="214" y="85"/>
                  </a:lnTo>
                  <a:lnTo>
                    <a:pt x="214" y="83"/>
                  </a:lnTo>
                  <a:lnTo>
                    <a:pt x="211" y="83"/>
                  </a:lnTo>
                  <a:lnTo>
                    <a:pt x="211" y="80"/>
                  </a:lnTo>
                  <a:lnTo>
                    <a:pt x="209" y="80"/>
                  </a:lnTo>
                  <a:lnTo>
                    <a:pt x="206" y="80"/>
                  </a:lnTo>
                  <a:lnTo>
                    <a:pt x="206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1" y="80"/>
                  </a:lnTo>
                  <a:lnTo>
                    <a:pt x="201" y="80"/>
                  </a:lnTo>
                  <a:lnTo>
                    <a:pt x="198" y="77"/>
                  </a:lnTo>
                  <a:lnTo>
                    <a:pt x="195" y="77"/>
                  </a:lnTo>
                  <a:lnTo>
                    <a:pt x="195" y="69"/>
                  </a:lnTo>
                  <a:lnTo>
                    <a:pt x="198" y="67"/>
                  </a:lnTo>
                  <a:lnTo>
                    <a:pt x="198" y="67"/>
                  </a:lnTo>
                  <a:lnTo>
                    <a:pt x="198" y="64"/>
                  </a:lnTo>
                  <a:lnTo>
                    <a:pt x="198" y="64"/>
                  </a:lnTo>
                  <a:lnTo>
                    <a:pt x="198" y="61"/>
                  </a:lnTo>
                  <a:lnTo>
                    <a:pt x="201" y="59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6" y="53"/>
                  </a:lnTo>
                  <a:lnTo>
                    <a:pt x="206" y="53"/>
                  </a:lnTo>
                  <a:lnTo>
                    <a:pt x="206" y="53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48"/>
                  </a:lnTo>
                  <a:lnTo>
                    <a:pt x="203" y="48"/>
                  </a:lnTo>
                  <a:lnTo>
                    <a:pt x="201" y="48"/>
                  </a:lnTo>
                  <a:lnTo>
                    <a:pt x="198" y="48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5" y="53"/>
                  </a:lnTo>
                  <a:lnTo>
                    <a:pt x="195" y="56"/>
                  </a:lnTo>
                  <a:lnTo>
                    <a:pt x="193" y="56"/>
                  </a:lnTo>
                  <a:lnTo>
                    <a:pt x="190" y="56"/>
                  </a:lnTo>
                  <a:lnTo>
                    <a:pt x="190" y="61"/>
                  </a:lnTo>
                  <a:lnTo>
                    <a:pt x="185" y="64"/>
                  </a:lnTo>
                  <a:lnTo>
                    <a:pt x="185" y="64"/>
                  </a:lnTo>
                  <a:lnTo>
                    <a:pt x="182" y="64"/>
                  </a:lnTo>
                  <a:lnTo>
                    <a:pt x="182" y="61"/>
                  </a:lnTo>
                  <a:lnTo>
                    <a:pt x="179" y="59"/>
                  </a:lnTo>
                  <a:lnTo>
                    <a:pt x="179" y="59"/>
                  </a:lnTo>
                  <a:lnTo>
                    <a:pt x="182" y="59"/>
                  </a:lnTo>
                  <a:lnTo>
                    <a:pt x="182" y="53"/>
                  </a:lnTo>
                  <a:lnTo>
                    <a:pt x="182" y="53"/>
                  </a:lnTo>
                  <a:lnTo>
                    <a:pt x="177" y="48"/>
                  </a:lnTo>
                  <a:lnTo>
                    <a:pt x="174" y="51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69" y="45"/>
                  </a:lnTo>
                  <a:lnTo>
                    <a:pt x="169" y="48"/>
                  </a:lnTo>
                  <a:lnTo>
                    <a:pt x="161" y="48"/>
                  </a:lnTo>
                  <a:lnTo>
                    <a:pt x="161" y="45"/>
                  </a:lnTo>
                  <a:lnTo>
                    <a:pt x="161" y="45"/>
                  </a:lnTo>
                  <a:lnTo>
                    <a:pt x="158" y="45"/>
                  </a:lnTo>
                  <a:lnTo>
                    <a:pt x="161" y="43"/>
                  </a:lnTo>
                  <a:lnTo>
                    <a:pt x="161" y="43"/>
                  </a:lnTo>
                  <a:lnTo>
                    <a:pt x="161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0" y="40"/>
                  </a:lnTo>
                  <a:lnTo>
                    <a:pt x="150" y="40"/>
                  </a:lnTo>
                  <a:lnTo>
                    <a:pt x="153" y="43"/>
                  </a:lnTo>
                  <a:lnTo>
                    <a:pt x="150" y="45"/>
                  </a:lnTo>
                  <a:lnTo>
                    <a:pt x="147" y="43"/>
                  </a:lnTo>
                  <a:lnTo>
                    <a:pt x="145" y="43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5" y="51"/>
                  </a:lnTo>
                  <a:lnTo>
                    <a:pt x="145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9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4" y="45"/>
                  </a:lnTo>
                  <a:lnTo>
                    <a:pt x="134" y="48"/>
                  </a:lnTo>
                  <a:lnTo>
                    <a:pt x="134" y="45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1" y="43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9" y="37"/>
                  </a:lnTo>
                  <a:lnTo>
                    <a:pt x="129" y="35"/>
                  </a:lnTo>
                  <a:lnTo>
                    <a:pt x="126" y="35"/>
                  </a:lnTo>
                  <a:lnTo>
                    <a:pt x="126" y="40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18" y="37"/>
                  </a:lnTo>
                  <a:lnTo>
                    <a:pt x="118" y="37"/>
                  </a:lnTo>
                  <a:lnTo>
                    <a:pt x="115" y="37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7" y="45"/>
                  </a:lnTo>
                  <a:lnTo>
                    <a:pt x="105" y="45"/>
                  </a:lnTo>
                  <a:lnTo>
                    <a:pt x="105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9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1" y="37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9" y="35"/>
                  </a:lnTo>
                  <a:lnTo>
                    <a:pt x="89" y="37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4" y="32"/>
                  </a:lnTo>
                  <a:lnTo>
                    <a:pt x="91" y="27"/>
                  </a:lnTo>
                  <a:lnTo>
                    <a:pt x="89" y="27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18"/>
                  </a:lnTo>
                  <a:lnTo>
                    <a:pt x="78" y="18"/>
                  </a:lnTo>
                  <a:lnTo>
                    <a:pt x="75" y="16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8" y="13"/>
                  </a:lnTo>
                  <a:lnTo>
                    <a:pt x="75" y="13"/>
                  </a:lnTo>
                  <a:lnTo>
                    <a:pt x="75" y="10"/>
                  </a:lnTo>
                  <a:lnTo>
                    <a:pt x="75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0"/>
                  </a:lnTo>
                  <a:lnTo>
                    <a:pt x="67" y="13"/>
                  </a:lnTo>
                  <a:lnTo>
                    <a:pt x="64" y="13"/>
                  </a:lnTo>
                  <a:lnTo>
                    <a:pt x="67" y="10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56" y="2"/>
                  </a:lnTo>
                  <a:lnTo>
                    <a:pt x="56" y="5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5" y="2"/>
                  </a:lnTo>
                  <a:lnTo>
                    <a:pt x="35" y="5"/>
                  </a:lnTo>
                  <a:lnTo>
                    <a:pt x="32" y="8"/>
                  </a:lnTo>
                  <a:lnTo>
                    <a:pt x="30" y="10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4" y="10"/>
                  </a:lnTo>
                  <a:lnTo>
                    <a:pt x="24" y="13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7"/>
                  </a:lnTo>
                  <a:lnTo>
                    <a:pt x="3" y="29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8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4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0" y="69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11" y="75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9" y="77"/>
                  </a:lnTo>
                  <a:lnTo>
                    <a:pt x="22" y="77"/>
                  </a:lnTo>
                  <a:lnTo>
                    <a:pt x="24" y="77"/>
                  </a:lnTo>
                  <a:lnTo>
                    <a:pt x="27" y="77"/>
                  </a:lnTo>
                  <a:lnTo>
                    <a:pt x="24" y="77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5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40" y="80"/>
                  </a:lnTo>
                  <a:lnTo>
                    <a:pt x="43" y="80"/>
                  </a:lnTo>
                  <a:lnTo>
                    <a:pt x="46" y="83"/>
                  </a:lnTo>
                  <a:lnTo>
                    <a:pt x="51" y="83"/>
                  </a:lnTo>
                  <a:lnTo>
                    <a:pt x="54" y="83"/>
                  </a:lnTo>
                  <a:lnTo>
                    <a:pt x="59" y="83"/>
                  </a:lnTo>
                  <a:lnTo>
                    <a:pt x="62" y="83"/>
                  </a:lnTo>
                  <a:lnTo>
                    <a:pt x="64" y="80"/>
                  </a:lnTo>
                  <a:lnTo>
                    <a:pt x="67" y="83"/>
                  </a:lnTo>
                  <a:lnTo>
                    <a:pt x="70" y="83"/>
                  </a:lnTo>
                  <a:lnTo>
                    <a:pt x="75" y="85"/>
                  </a:lnTo>
                  <a:lnTo>
                    <a:pt x="70" y="91"/>
                  </a:lnTo>
                  <a:lnTo>
                    <a:pt x="70" y="93"/>
                  </a:lnTo>
                  <a:lnTo>
                    <a:pt x="73" y="96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0" y="101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4"/>
                  </a:lnTo>
                  <a:lnTo>
                    <a:pt x="73" y="107"/>
                  </a:lnTo>
                  <a:lnTo>
                    <a:pt x="78" y="107"/>
                  </a:lnTo>
                  <a:lnTo>
                    <a:pt x="86" y="115"/>
                  </a:lnTo>
                  <a:lnTo>
                    <a:pt x="89" y="117"/>
                  </a:lnTo>
                  <a:lnTo>
                    <a:pt x="89" y="117"/>
                  </a:lnTo>
                  <a:lnTo>
                    <a:pt x="89" y="120"/>
                  </a:lnTo>
                  <a:lnTo>
                    <a:pt x="86" y="123"/>
                  </a:lnTo>
                  <a:lnTo>
                    <a:pt x="83" y="125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31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6"/>
                  </a:lnTo>
                  <a:lnTo>
                    <a:pt x="86" y="136"/>
                  </a:lnTo>
                  <a:lnTo>
                    <a:pt x="86" y="139"/>
                  </a:lnTo>
                  <a:lnTo>
                    <a:pt x="86" y="141"/>
                  </a:lnTo>
                  <a:lnTo>
                    <a:pt x="89" y="141"/>
                  </a:lnTo>
                  <a:lnTo>
                    <a:pt x="89" y="141"/>
                  </a:lnTo>
                  <a:lnTo>
                    <a:pt x="89" y="144"/>
                  </a:lnTo>
                  <a:lnTo>
                    <a:pt x="89" y="147"/>
                  </a:lnTo>
                  <a:lnTo>
                    <a:pt x="89" y="149"/>
                  </a:lnTo>
                  <a:lnTo>
                    <a:pt x="91" y="149"/>
                  </a:lnTo>
                  <a:lnTo>
                    <a:pt x="91" y="152"/>
                  </a:lnTo>
                  <a:lnTo>
                    <a:pt x="94" y="152"/>
                  </a:lnTo>
                  <a:lnTo>
                    <a:pt x="94" y="1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1" name="Freeform 8929">
              <a:extLst>
                <a:ext uri="{FF2B5EF4-FFF2-40B4-BE49-F238E27FC236}">
                  <a16:creationId xmlns:a16="http://schemas.microsoft.com/office/drawing/2014/main" id="{8476F318-1549-DA43-B98B-5989F5980063}"/>
                </a:ext>
              </a:extLst>
            </p:cNvPr>
            <p:cNvSpPr/>
            <p:nvPr/>
          </p:nvSpPr>
          <p:spPr bwMode="auto">
            <a:xfrm>
              <a:off x="2366167" y="4129089"/>
              <a:ext cx="619124" cy="504825"/>
            </a:xfrm>
            <a:custGeom>
              <a:avLst/>
              <a:gdLst>
                <a:gd name="T0" fmla="*/ 216 w 390"/>
                <a:gd name="T1" fmla="*/ 19 h 318"/>
                <a:gd name="T2" fmla="*/ 211 w 390"/>
                <a:gd name="T3" fmla="*/ 6 h 318"/>
                <a:gd name="T4" fmla="*/ 189 w 390"/>
                <a:gd name="T5" fmla="*/ 8 h 318"/>
                <a:gd name="T6" fmla="*/ 173 w 390"/>
                <a:gd name="T7" fmla="*/ 6 h 318"/>
                <a:gd name="T8" fmla="*/ 160 w 390"/>
                <a:gd name="T9" fmla="*/ 14 h 318"/>
                <a:gd name="T10" fmla="*/ 131 w 390"/>
                <a:gd name="T11" fmla="*/ 27 h 318"/>
                <a:gd name="T12" fmla="*/ 96 w 390"/>
                <a:gd name="T13" fmla="*/ 35 h 318"/>
                <a:gd name="T14" fmla="*/ 85 w 390"/>
                <a:gd name="T15" fmla="*/ 48 h 318"/>
                <a:gd name="T16" fmla="*/ 69 w 390"/>
                <a:gd name="T17" fmla="*/ 51 h 318"/>
                <a:gd name="T18" fmla="*/ 53 w 390"/>
                <a:gd name="T19" fmla="*/ 62 h 318"/>
                <a:gd name="T20" fmla="*/ 66 w 390"/>
                <a:gd name="T21" fmla="*/ 62 h 318"/>
                <a:gd name="T22" fmla="*/ 53 w 390"/>
                <a:gd name="T23" fmla="*/ 81 h 318"/>
                <a:gd name="T24" fmla="*/ 45 w 390"/>
                <a:gd name="T25" fmla="*/ 89 h 318"/>
                <a:gd name="T26" fmla="*/ 37 w 390"/>
                <a:gd name="T27" fmla="*/ 91 h 318"/>
                <a:gd name="T28" fmla="*/ 21 w 390"/>
                <a:gd name="T29" fmla="*/ 81 h 318"/>
                <a:gd name="T30" fmla="*/ 8 w 390"/>
                <a:gd name="T31" fmla="*/ 91 h 318"/>
                <a:gd name="T32" fmla="*/ 16 w 390"/>
                <a:gd name="T33" fmla="*/ 115 h 318"/>
                <a:gd name="T34" fmla="*/ 32 w 390"/>
                <a:gd name="T35" fmla="*/ 115 h 318"/>
                <a:gd name="T36" fmla="*/ 53 w 390"/>
                <a:gd name="T37" fmla="*/ 118 h 318"/>
                <a:gd name="T38" fmla="*/ 96 w 390"/>
                <a:gd name="T39" fmla="*/ 134 h 318"/>
                <a:gd name="T40" fmla="*/ 112 w 390"/>
                <a:gd name="T41" fmla="*/ 155 h 318"/>
                <a:gd name="T42" fmla="*/ 125 w 390"/>
                <a:gd name="T43" fmla="*/ 185 h 318"/>
                <a:gd name="T44" fmla="*/ 141 w 390"/>
                <a:gd name="T45" fmla="*/ 198 h 318"/>
                <a:gd name="T46" fmla="*/ 157 w 390"/>
                <a:gd name="T47" fmla="*/ 217 h 318"/>
                <a:gd name="T48" fmla="*/ 181 w 390"/>
                <a:gd name="T49" fmla="*/ 211 h 318"/>
                <a:gd name="T50" fmla="*/ 221 w 390"/>
                <a:gd name="T51" fmla="*/ 236 h 318"/>
                <a:gd name="T52" fmla="*/ 227 w 390"/>
                <a:gd name="T53" fmla="*/ 254 h 318"/>
                <a:gd name="T54" fmla="*/ 243 w 390"/>
                <a:gd name="T55" fmla="*/ 254 h 318"/>
                <a:gd name="T56" fmla="*/ 259 w 390"/>
                <a:gd name="T57" fmla="*/ 278 h 318"/>
                <a:gd name="T58" fmla="*/ 264 w 390"/>
                <a:gd name="T59" fmla="*/ 289 h 318"/>
                <a:gd name="T60" fmla="*/ 256 w 390"/>
                <a:gd name="T61" fmla="*/ 302 h 318"/>
                <a:gd name="T62" fmla="*/ 272 w 390"/>
                <a:gd name="T63" fmla="*/ 316 h 318"/>
                <a:gd name="T64" fmla="*/ 285 w 390"/>
                <a:gd name="T65" fmla="*/ 286 h 318"/>
                <a:gd name="T66" fmla="*/ 307 w 390"/>
                <a:gd name="T67" fmla="*/ 268 h 318"/>
                <a:gd name="T68" fmla="*/ 323 w 390"/>
                <a:gd name="T69" fmla="*/ 246 h 318"/>
                <a:gd name="T70" fmla="*/ 312 w 390"/>
                <a:gd name="T71" fmla="*/ 228 h 318"/>
                <a:gd name="T72" fmla="*/ 328 w 390"/>
                <a:gd name="T73" fmla="*/ 217 h 318"/>
                <a:gd name="T74" fmla="*/ 360 w 390"/>
                <a:gd name="T75" fmla="*/ 206 h 318"/>
                <a:gd name="T76" fmla="*/ 382 w 390"/>
                <a:gd name="T77" fmla="*/ 198 h 318"/>
                <a:gd name="T78" fmla="*/ 384 w 390"/>
                <a:gd name="T79" fmla="*/ 185 h 318"/>
                <a:gd name="T80" fmla="*/ 382 w 390"/>
                <a:gd name="T81" fmla="*/ 174 h 318"/>
                <a:gd name="T82" fmla="*/ 371 w 390"/>
                <a:gd name="T83" fmla="*/ 161 h 318"/>
                <a:gd name="T84" fmla="*/ 350 w 390"/>
                <a:gd name="T85" fmla="*/ 145 h 318"/>
                <a:gd name="T86" fmla="*/ 374 w 390"/>
                <a:gd name="T87" fmla="*/ 137 h 318"/>
                <a:gd name="T88" fmla="*/ 366 w 390"/>
                <a:gd name="T89" fmla="*/ 118 h 318"/>
                <a:gd name="T90" fmla="*/ 352 w 390"/>
                <a:gd name="T91" fmla="*/ 123 h 318"/>
                <a:gd name="T92" fmla="*/ 352 w 390"/>
                <a:gd name="T93" fmla="*/ 110 h 318"/>
                <a:gd name="T94" fmla="*/ 368 w 390"/>
                <a:gd name="T95" fmla="*/ 91 h 318"/>
                <a:gd name="T96" fmla="*/ 360 w 390"/>
                <a:gd name="T97" fmla="*/ 94 h 318"/>
                <a:gd name="T98" fmla="*/ 336 w 390"/>
                <a:gd name="T99" fmla="*/ 99 h 318"/>
                <a:gd name="T100" fmla="*/ 342 w 390"/>
                <a:gd name="T101" fmla="*/ 113 h 318"/>
                <a:gd name="T102" fmla="*/ 331 w 390"/>
                <a:gd name="T103" fmla="*/ 118 h 318"/>
                <a:gd name="T104" fmla="*/ 320 w 390"/>
                <a:gd name="T105" fmla="*/ 115 h 318"/>
                <a:gd name="T106" fmla="*/ 307 w 390"/>
                <a:gd name="T107" fmla="*/ 113 h 318"/>
                <a:gd name="T108" fmla="*/ 291 w 390"/>
                <a:gd name="T109" fmla="*/ 113 h 318"/>
                <a:gd name="T110" fmla="*/ 275 w 390"/>
                <a:gd name="T111" fmla="*/ 105 h 318"/>
                <a:gd name="T112" fmla="*/ 277 w 390"/>
                <a:gd name="T113" fmla="*/ 94 h 318"/>
                <a:gd name="T114" fmla="*/ 253 w 390"/>
                <a:gd name="T115" fmla="*/ 75 h 318"/>
                <a:gd name="T116" fmla="*/ 251 w 390"/>
                <a:gd name="T117" fmla="*/ 51 h 318"/>
                <a:gd name="T118" fmla="*/ 245 w 390"/>
                <a:gd name="T119" fmla="*/ 24 h 318"/>
                <a:gd name="T120" fmla="*/ 243 w 390"/>
                <a:gd name="T121" fmla="*/ 1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0" h="318" extrusionOk="0">
                  <a:moveTo>
                    <a:pt x="232" y="8"/>
                  </a:moveTo>
                  <a:lnTo>
                    <a:pt x="232" y="8"/>
                  </a:lnTo>
                  <a:lnTo>
                    <a:pt x="229" y="8"/>
                  </a:lnTo>
                  <a:lnTo>
                    <a:pt x="237" y="14"/>
                  </a:lnTo>
                  <a:lnTo>
                    <a:pt x="232" y="16"/>
                  </a:lnTo>
                  <a:lnTo>
                    <a:pt x="229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4" y="19"/>
                  </a:lnTo>
                  <a:lnTo>
                    <a:pt x="221" y="19"/>
                  </a:lnTo>
                  <a:lnTo>
                    <a:pt x="221" y="19"/>
                  </a:lnTo>
                  <a:lnTo>
                    <a:pt x="221" y="22"/>
                  </a:lnTo>
                  <a:lnTo>
                    <a:pt x="219" y="22"/>
                  </a:lnTo>
                  <a:lnTo>
                    <a:pt x="216" y="22"/>
                  </a:lnTo>
                  <a:lnTo>
                    <a:pt x="216" y="19"/>
                  </a:lnTo>
                  <a:lnTo>
                    <a:pt x="216" y="19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3" y="19"/>
                  </a:lnTo>
                  <a:lnTo>
                    <a:pt x="213" y="19"/>
                  </a:lnTo>
                  <a:lnTo>
                    <a:pt x="211" y="16"/>
                  </a:lnTo>
                  <a:lnTo>
                    <a:pt x="211" y="16"/>
                  </a:lnTo>
                  <a:lnTo>
                    <a:pt x="208" y="14"/>
                  </a:lnTo>
                  <a:lnTo>
                    <a:pt x="208" y="11"/>
                  </a:lnTo>
                  <a:lnTo>
                    <a:pt x="213" y="11"/>
                  </a:lnTo>
                  <a:lnTo>
                    <a:pt x="213" y="11"/>
                  </a:lnTo>
                  <a:lnTo>
                    <a:pt x="213" y="8"/>
                  </a:lnTo>
                  <a:lnTo>
                    <a:pt x="211" y="6"/>
                  </a:lnTo>
                  <a:lnTo>
                    <a:pt x="211" y="6"/>
                  </a:lnTo>
                  <a:lnTo>
                    <a:pt x="208" y="6"/>
                  </a:lnTo>
                  <a:lnTo>
                    <a:pt x="205" y="6"/>
                  </a:lnTo>
                  <a:lnTo>
                    <a:pt x="205" y="6"/>
                  </a:lnTo>
                  <a:lnTo>
                    <a:pt x="203" y="6"/>
                  </a:lnTo>
                  <a:lnTo>
                    <a:pt x="200" y="6"/>
                  </a:lnTo>
                  <a:lnTo>
                    <a:pt x="200" y="8"/>
                  </a:lnTo>
                  <a:lnTo>
                    <a:pt x="200" y="8"/>
                  </a:lnTo>
                  <a:lnTo>
                    <a:pt x="197" y="11"/>
                  </a:lnTo>
                  <a:lnTo>
                    <a:pt x="197" y="8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2" y="6"/>
                  </a:lnTo>
                  <a:lnTo>
                    <a:pt x="195" y="6"/>
                  </a:lnTo>
                  <a:lnTo>
                    <a:pt x="195" y="6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89" y="8"/>
                  </a:lnTo>
                  <a:lnTo>
                    <a:pt x="189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4" y="11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79" y="8"/>
                  </a:lnTo>
                  <a:lnTo>
                    <a:pt x="181" y="6"/>
                  </a:lnTo>
                  <a:lnTo>
                    <a:pt x="179" y="6"/>
                  </a:lnTo>
                  <a:lnTo>
                    <a:pt x="179" y="6"/>
                  </a:lnTo>
                  <a:lnTo>
                    <a:pt x="176" y="6"/>
                  </a:lnTo>
                  <a:lnTo>
                    <a:pt x="176" y="6"/>
                  </a:lnTo>
                  <a:lnTo>
                    <a:pt x="173" y="6"/>
                  </a:lnTo>
                  <a:lnTo>
                    <a:pt x="173" y="6"/>
                  </a:lnTo>
                  <a:lnTo>
                    <a:pt x="176" y="3"/>
                  </a:lnTo>
                  <a:lnTo>
                    <a:pt x="176" y="0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68" y="6"/>
                  </a:lnTo>
                  <a:lnTo>
                    <a:pt x="168" y="8"/>
                  </a:lnTo>
                  <a:lnTo>
                    <a:pt x="160" y="8"/>
                  </a:lnTo>
                  <a:lnTo>
                    <a:pt x="160" y="11"/>
                  </a:lnTo>
                  <a:lnTo>
                    <a:pt x="160" y="11"/>
                  </a:lnTo>
                  <a:lnTo>
                    <a:pt x="160" y="14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47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1" y="22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6"/>
                  </a:lnTo>
                  <a:lnTo>
                    <a:pt x="139" y="19"/>
                  </a:lnTo>
                  <a:lnTo>
                    <a:pt x="133" y="27"/>
                  </a:lnTo>
                  <a:lnTo>
                    <a:pt x="131" y="27"/>
                  </a:lnTo>
                  <a:lnTo>
                    <a:pt x="131" y="27"/>
                  </a:lnTo>
                  <a:lnTo>
                    <a:pt x="128" y="27"/>
                  </a:lnTo>
                  <a:lnTo>
                    <a:pt x="128" y="24"/>
                  </a:lnTo>
                  <a:lnTo>
                    <a:pt x="125" y="24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17" y="24"/>
                  </a:lnTo>
                  <a:lnTo>
                    <a:pt x="115" y="27"/>
                  </a:lnTo>
                  <a:lnTo>
                    <a:pt x="115" y="32"/>
                  </a:lnTo>
                  <a:lnTo>
                    <a:pt x="112" y="32"/>
                  </a:lnTo>
                  <a:lnTo>
                    <a:pt x="112" y="35"/>
                  </a:lnTo>
                  <a:lnTo>
                    <a:pt x="109" y="35"/>
                  </a:lnTo>
                  <a:lnTo>
                    <a:pt x="104" y="32"/>
                  </a:lnTo>
                  <a:lnTo>
                    <a:pt x="101" y="35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6" y="35"/>
                  </a:lnTo>
                  <a:lnTo>
                    <a:pt x="93" y="38"/>
                  </a:lnTo>
                  <a:lnTo>
                    <a:pt x="91" y="38"/>
                  </a:lnTo>
                  <a:lnTo>
                    <a:pt x="93" y="32"/>
                  </a:lnTo>
                  <a:lnTo>
                    <a:pt x="91" y="32"/>
                  </a:lnTo>
                  <a:lnTo>
                    <a:pt x="88" y="35"/>
                  </a:lnTo>
                  <a:lnTo>
                    <a:pt x="88" y="38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3"/>
                  </a:lnTo>
                  <a:lnTo>
                    <a:pt x="91" y="43"/>
                  </a:lnTo>
                  <a:lnTo>
                    <a:pt x="91" y="46"/>
                  </a:lnTo>
                  <a:lnTo>
                    <a:pt x="88" y="46"/>
                  </a:lnTo>
                  <a:lnTo>
                    <a:pt x="88" y="48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4" y="46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9" y="51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4" y="54"/>
                  </a:lnTo>
                  <a:lnTo>
                    <a:pt x="61" y="54"/>
                  </a:lnTo>
                  <a:lnTo>
                    <a:pt x="61" y="56"/>
                  </a:lnTo>
                  <a:lnTo>
                    <a:pt x="61" y="54"/>
                  </a:lnTo>
                  <a:lnTo>
                    <a:pt x="58" y="54"/>
                  </a:lnTo>
                  <a:lnTo>
                    <a:pt x="58" y="51"/>
                  </a:lnTo>
                  <a:lnTo>
                    <a:pt x="56" y="51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3" y="59"/>
                  </a:lnTo>
                  <a:lnTo>
                    <a:pt x="50" y="59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6" y="62"/>
                  </a:lnTo>
                  <a:lnTo>
                    <a:pt x="58" y="62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61" y="59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4" y="65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6" y="59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5"/>
                  </a:lnTo>
                  <a:lnTo>
                    <a:pt x="69" y="65"/>
                  </a:lnTo>
                  <a:lnTo>
                    <a:pt x="69" y="67"/>
                  </a:lnTo>
                  <a:lnTo>
                    <a:pt x="66" y="67"/>
                  </a:lnTo>
                  <a:lnTo>
                    <a:pt x="66" y="70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6" y="78"/>
                  </a:lnTo>
                  <a:lnTo>
                    <a:pt x="64" y="81"/>
                  </a:lnTo>
                  <a:lnTo>
                    <a:pt x="64" y="83"/>
                  </a:lnTo>
                  <a:lnTo>
                    <a:pt x="61" y="83"/>
                  </a:lnTo>
                  <a:lnTo>
                    <a:pt x="61" y="81"/>
                  </a:lnTo>
                  <a:lnTo>
                    <a:pt x="58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3" y="86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3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2" y="86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91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7" y="102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7" y="94"/>
                  </a:lnTo>
                  <a:lnTo>
                    <a:pt x="37" y="91"/>
                  </a:lnTo>
                  <a:lnTo>
                    <a:pt x="37" y="89"/>
                  </a:lnTo>
                  <a:lnTo>
                    <a:pt x="37" y="91"/>
                  </a:lnTo>
                  <a:lnTo>
                    <a:pt x="34" y="91"/>
                  </a:lnTo>
                  <a:lnTo>
                    <a:pt x="34" y="94"/>
                  </a:lnTo>
                  <a:lnTo>
                    <a:pt x="34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4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4" y="86"/>
                  </a:lnTo>
                  <a:lnTo>
                    <a:pt x="21" y="86"/>
                  </a:lnTo>
                  <a:lnTo>
                    <a:pt x="21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3" y="89"/>
                  </a:lnTo>
                  <a:lnTo>
                    <a:pt x="13" y="91"/>
                  </a:lnTo>
                  <a:lnTo>
                    <a:pt x="16" y="91"/>
                  </a:lnTo>
                  <a:lnTo>
                    <a:pt x="16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1"/>
                  </a:lnTo>
                  <a:lnTo>
                    <a:pt x="8" y="91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8" y="97"/>
                  </a:lnTo>
                  <a:lnTo>
                    <a:pt x="5" y="97"/>
                  </a:lnTo>
                  <a:lnTo>
                    <a:pt x="5" y="99"/>
                  </a:lnTo>
                  <a:lnTo>
                    <a:pt x="5" y="102"/>
                  </a:lnTo>
                  <a:lnTo>
                    <a:pt x="5" y="105"/>
                  </a:lnTo>
                  <a:lnTo>
                    <a:pt x="5" y="107"/>
                  </a:lnTo>
                  <a:lnTo>
                    <a:pt x="2" y="110"/>
                  </a:lnTo>
                  <a:lnTo>
                    <a:pt x="0" y="115"/>
                  </a:lnTo>
                  <a:lnTo>
                    <a:pt x="2" y="115"/>
                  </a:lnTo>
                  <a:lnTo>
                    <a:pt x="5" y="110"/>
                  </a:lnTo>
                  <a:lnTo>
                    <a:pt x="8" y="110"/>
                  </a:lnTo>
                  <a:lnTo>
                    <a:pt x="10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6" y="115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21" y="110"/>
                  </a:lnTo>
                  <a:lnTo>
                    <a:pt x="24" y="110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5"/>
                  </a:lnTo>
                  <a:lnTo>
                    <a:pt x="29" y="105"/>
                  </a:lnTo>
                  <a:lnTo>
                    <a:pt x="34" y="107"/>
                  </a:lnTo>
                  <a:lnTo>
                    <a:pt x="32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29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8"/>
                  </a:lnTo>
                  <a:lnTo>
                    <a:pt x="34" y="118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3"/>
                  </a:lnTo>
                  <a:lnTo>
                    <a:pt x="37" y="113"/>
                  </a:lnTo>
                  <a:lnTo>
                    <a:pt x="37" y="110"/>
                  </a:lnTo>
                  <a:lnTo>
                    <a:pt x="42" y="110"/>
                  </a:lnTo>
                  <a:lnTo>
                    <a:pt x="42" y="115"/>
                  </a:lnTo>
                  <a:lnTo>
                    <a:pt x="45" y="115"/>
                  </a:lnTo>
                  <a:lnTo>
                    <a:pt x="45" y="110"/>
                  </a:lnTo>
                  <a:lnTo>
                    <a:pt x="48" y="110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0" y="115"/>
                  </a:lnTo>
                  <a:lnTo>
                    <a:pt x="53" y="118"/>
                  </a:lnTo>
                  <a:lnTo>
                    <a:pt x="53" y="118"/>
                  </a:lnTo>
                  <a:lnTo>
                    <a:pt x="53" y="121"/>
                  </a:lnTo>
                  <a:lnTo>
                    <a:pt x="50" y="121"/>
                  </a:lnTo>
                  <a:lnTo>
                    <a:pt x="53" y="126"/>
                  </a:lnTo>
                  <a:lnTo>
                    <a:pt x="56" y="123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39"/>
                  </a:lnTo>
                  <a:lnTo>
                    <a:pt x="69" y="147"/>
                  </a:lnTo>
                  <a:lnTo>
                    <a:pt x="77" y="142"/>
                  </a:lnTo>
                  <a:lnTo>
                    <a:pt x="82" y="137"/>
                  </a:lnTo>
                  <a:lnTo>
                    <a:pt x="88" y="134"/>
                  </a:lnTo>
                  <a:lnTo>
                    <a:pt x="96" y="134"/>
                  </a:lnTo>
                  <a:lnTo>
                    <a:pt x="99" y="137"/>
                  </a:lnTo>
                  <a:lnTo>
                    <a:pt x="101" y="134"/>
                  </a:lnTo>
                  <a:lnTo>
                    <a:pt x="104" y="134"/>
                  </a:lnTo>
                  <a:lnTo>
                    <a:pt x="107" y="137"/>
                  </a:lnTo>
                  <a:lnTo>
                    <a:pt x="107" y="137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2" y="139"/>
                  </a:lnTo>
                  <a:lnTo>
                    <a:pt x="115" y="142"/>
                  </a:lnTo>
                  <a:lnTo>
                    <a:pt x="112" y="142"/>
                  </a:lnTo>
                  <a:lnTo>
                    <a:pt x="115" y="145"/>
                  </a:lnTo>
                  <a:lnTo>
                    <a:pt x="115" y="147"/>
                  </a:lnTo>
                  <a:lnTo>
                    <a:pt x="115" y="150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2" y="155"/>
                  </a:lnTo>
                  <a:lnTo>
                    <a:pt x="112" y="155"/>
                  </a:lnTo>
                  <a:lnTo>
                    <a:pt x="115" y="158"/>
                  </a:lnTo>
                  <a:lnTo>
                    <a:pt x="112" y="161"/>
                  </a:lnTo>
                  <a:lnTo>
                    <a:pt x="112" y="161"/>
                  </a:lnTo>
                  <a:lnTo>
                    <a:pt x="109" y="163"/>
                  </a:lnTo>
                  <a:lnTo>
                    <a:pt x="112" y="166"/>
                  </a:lnTo>
                  <a:lnTo>
                    <a:pt x="109" y="169"/>
                  </a:lnTo>
                  <a:lnTo>
                    <a:pt x="109" y="169"/>
                  </a:lnTo>
                  <a:lnTo>
                    <a:pt x="109" y="171"/>
                  </a:lnTo>
                  <a:lnTo>
                    <a:pt x="112" y="171"/>
                  </a:lnTo>
                  <a:lnTo>
                    <a:pt x="117" y="171"/>
                  </a:lnTo>
                  <a:lnTo>
                    <a:pt x="117" y="174"/>
                  </a:lnTo>
                  <a:lnTo>
                    <a:pt x="120" y="174"/>
                  </a:lnTo>
                  <a:lnTo>
                    <a:pt x="123" y="177"/>
                  </a:lnTo>
                  <a:lnTo>
                    <a:pt x="123" y="179"/>
                  </a:lnTo>
                  <a:lnTo>
                    <a:pt x="125" y="182"/>
                  </a:lnTo>
                  <a:lnTo>
                    <a:pt x="125" y="182"/>
                  </a:lnTo>
                  <a:lnTo>
                    <a:pt x="125" y="185"/>
                  </a:lnTo>
                  <a:lnTo>
                    <a:pt x="128" y="185"/>
                  </a:lnTo>
                  <a:lnTo>
                    <a:pt x="128" y="185"/>
                  </a:lnTo>
                  <a:lnTo>
                    <a:pt x="128" y="185"/>
                  </a:lnTo>
                  <a:lnTo>
                    <a:pt x="131" y="187"/>
                  </a:lnTo>
                  <a:lnTo>
                    <a:pt x="131" y="187"/>
                  </a:lnTo>
                  <a:lnTo>
                    <a:pt x="133" y="190"/>
                  </a:lnTo>
                  <a:lnTo>
                    <a:pt x="136" y="190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36" y="195"/>
                  </a:lnTo>
                  <a:lnTo>
                    <a:pt x="136" y="198"/>
                  </a:lnTo>
                  <a:lnTo>
                    <a:pt x="136" y="198"/>
                  </a:lnTo>
                  <a:lnTo>
                    <a:pt x="139" y="198"/>
                  </a:lnTo>
                  <a:lnTo>
                    <a:pt x="139" y="201"/>
                  </a:lnTo>
                  <a:lnTo>
                    <a:pt x="139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7" y="198"/>
                  </a:lnTo>
                  <a:lnTo>
                    <a:pt x="144" y="203"/>
                  </a:lnTo>
                  <a:lnTo>
                    <a:pt x="144" y="206"/>
                  </a:lnTo>
                  <a:lnTo>
                    <a:pt x="147" y="206"/>
                  </a:lnTo>
                  <a:lnTo>
                    <a:pt x="144" y="209"/>
                  </a:lnTo>
                  <a:lnTo>
                    <a:pt x="144" y="211"/>
                  </a:lnTo>
                  <a:lnTo>
                    <a:pt x="144" y="211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7" y="214"/>
                  </a:lnTo>
                  <a:lnTo>
                    <a:pt x="149" y="214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55" y="214"/>
                  </a:lnTo>
                  <a:lnTo>
                    <a:pt x="157" y="214"/>
                  </a:lnTo>
                  <a:lnTo>
                    <a:pt x="157" y="217"/>
                  </a:lnTo>
                  <a:lnTo>
                    <a:pt x="157" y="217"/>
                  </a:lnTo>
                  <a:lnTo>
                    <a:pt x="160" y="217"/>
                  </a:lnTo>
                  <a:lnTo>
                    <a:pt x="160" y="219"/>
                  </a:lnTo>
                  <a:lnTo>
                    <a:pt x="163" y="219"/>
                  </a:lnTo>
                  <a:lnTo>
                    <a:pt x="163" y="219"/>
                  </a:lnTo>
                  <a:lnTo>
                    <a:pt x="165" y="222"/>
                  </a:lnTo>
                  <a:lnTo>
                    <a:pt x="165" y="225"/>
                  </a:lnTo>
                  <a:lnTo>
                    <a:pt x="165" y="225"/>
                  </a:lnTo>
                  <a:lnTo>
                    <a:pt x="168" y="219"/>
                  </a:lnTo>
                  <a:lnTo>
                    <a:pt x="171" y="219"/>
                  </a:lnTo>
                  <a:lnTo>
                    <a:pt x="173" y="217"/>
                  </a:lnTo>
                  <a:lnTo>
                    <a:pt x="173" y="217"/>
                  </a:lnTo>
                  <a:lnTo>
                    <a:pt x="173" y="217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1"/>
                  </a:lnTo>
                  <a:lnTo>
                    <a:pt x="179" y="209"/>
                  </a:lnTo>
                  <a:lnTo>
                    <a:pt x="181" y="211"/>
                  </a:lnTo>
                  <a:lnTo>
                    <a:pt x="184" y="211"/>
                  </a:lnTo>
                  <a:lnTo>
                    <a:pt x="184" y="209"/>
                  </a:lnTo>
                  <a:lnTo>
                    <a:pt x="189" y="209"/>
                  </a:lnTo>
                  <a:lnTo>
                    <a:pt x="189" y="206"/>
                  </a:lnTo>
                  <a:lnTo>
                    <a:pt x="192" y="203"/>
                  </a:lnTo>
                  <a:lnTo>
                    <a:pt x="195" y="206"/>
                  </a:lnTo>
                  <a:lnTo>
                    <a:pt x="195" y="209"/>
                  </a:lnTo>
                  <a:lnTo>
                    <a:pt x="195" y="209"/>
                  </a:lnTo>
                  <a:lnTo>
                    <a:pt x="203" y="209"/>
                  </a:lnTo>
                  <a:lnTo>
                    <a:pt x="197" y="217"/>
                  </a:lnTo>
                  <a:lnTo>
                    <a:pt x="205" y="219"/>
                  </a:lnTo>
                  <a:lnTo>
                    <a:pt x="208" y="214"/>
                  </a:lnTo>
                  <a:lnTo>
                    <a:pt x="211" y="225"/>
                  </a:lnTo>
                  <a:lnTo>
                    <a:pt x="216" y="228"/>
                  </a:lnTo>
                  <a:lnTo>
                    <a:pt x="216" y="233"/>
                  </a:lnTo>
                  <a:lnTo>
                    <a:pt x="219" y="236"/>
                  </a:lnTo>
                  <a:lnTo>
                    <a:pt x="221" y="236"/>
                  </a:lnTo>
                  <a:lnTo>
                    <a:pt x="221" y="236"/>
                  </a:lnTo>
                  <a:lnTo>
                    <a:pt x="221" y="238"/>
                  </a:lnTo>
                  <a:lnTo>
                    <a:pt x="221" y="241"/>
                  </a:lnTo>
                  <a:lnTo>
                    <a:pt x="219" y="241"/>
                  </a:lnTo>
                  <a:lnTo>
                    <a:pt x="216" y="244"/>
                  </a:lnTo>
                  <a:lnTo>
                    <a:pt x="216" y="244"/>
                  </a:lnTo>
                  <a:lnTo>
                    <a:pt x="219" y="244"/>
                  </a:lnTo>
                  <a:lnTo>
                    <a:pt x="219" y="246"/>
                  </a:lnTo>
                  <a:lnTo>
                    <a:pt x="221" y="246"/>
                  </a:lnTo>
                  <a:lnTo>
                    <a:pt x="224" y="249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21" y="257"/>
                  </a:lnTo>
                  <a:lnTo>
                    <a:pt x="224" y="254"/>
                  </a:lnTo>
                  <a:lnTo>
                    <a:pt x="224" y="252"/>
                  </a:lnTo>
                  <a:lnTo>
                    <a:pt x="224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29" y="252"/>
                  </a:lnTo>
                  <a:lnTo>
                    <a:pt x="232" y="252"/>
                  </a:lnTo>
                  <a:lnTo>
                    <a:pt x="232" y="249"/>
                  </a:lnTo>
                  <a:lnTo>
                    <a:pt x="232" y="252"/>
                  </a:lnTo>
                  <a:lnTo>
                    <a:pt x="235" y="252"/>
                  </a:lnTo>
                  <a:lnTo>
                    <a:pt x="235" y="252"/>
                  </a:lnTo>
                  <a:lnTo>
                    <a:pt x="237" y="252"/>
                  </a:lnTo>
                  <a:lnTo>
                    <a:pt x="237" y="252"/>
                  </a:lnTo>
                  <a:lnTo>
                    <a:pt x="240" y="252"/>
                  </a:lnTo>
                  <a:lnTo>
                    <a:pt x="240" y="254"/>
                  </a:lnTo>
                  <a:lnTo>
                    <a:pt x="237" y="254"/>
                  </a:lnTo>
                  <a:lnTo>
                    <a:pt x="237" y="257"/>
                  </a:lnTo>
                  <a:lnTo>
                    <a:pt x="240" y="257"/>
                  </a:lnTo>
                  <a:lnTo>
                    <a:pt x="240" y="257"/>
                  </a:lnTo>
                  <a:lnTo>
                    <a:pt x="243" y="254"/>
                  </a:lnTo>
                  <a:lnTo>
                    <a:pt x="243" y="254"/>
                  </a:lnTo>
                  <a:lnTo>
                    <a:pt x="243" y="254"/>
                  </a:lnTo>
                  <a:lnTo>
                    <a:pt x="245" y="254"/>
                  </a:lnTo>
                  <a:lnTo>
                    <a:pt x="245" y="254"/>
                  </a:lnTo>
                  <a:lnTo>
                    <a:pt x="248" y="257"/>
                  </a:lnTo>
                  <a:lnTo>
                    <a:pt x="245" y="257"/>
                  </a:lnTo>
                  <a:lnTo>
                    <a:pt x="245" y="260"/>
                  </a:lnTo>
                  <a:lnTo>
                    <a:pt x="245" y="260"/>
                  </a:lnTo>
                  <a:lnTo>
                    <a:pt x="245" y="265"/>
                  </a:lnTo>
                  <a:lnTo>
                    <a:pt x="248" y="268"/>
                  </a:lnTo>
                  <a:lnTo>
                    <a:pt x="248" y="270"/>
                  </a:lnTo>
                  <a:lnTo>
                    <a:pt x="251" y="270"/>
                  </a:lnTo>
                  <a:lnTo>
                    <a:pt x="253" y="270"/>
                  </a:lnTo>
                  <a:lnTo>
                    <a:pt x="253" y="273"/>
                  </a:lnTo>
                  <a:lnTo>
                    <a:pt x="256" y="276"/>
                  </a:lnTo>
                  <a:lnTo>
                    <a:pt x="256" y="276"/>
                  </a:lnTo>
                  <a:lnTo>
                    <a:pt x="259" y="276"/>
                  </a:lnTo>
                  <a:lnTo>
                    <a:pt x="259" y="278"/>
                  </a:lnTo>
                  <a:lnTo>
                    <a:pt x="259" y="278"/>
                  </a:lnTo>
                  <a:lnTo>
                    <a:pt x="261" y="281"/>
                  </a:lnTo>
                  <a:lnTo>
                    <a:pt x="259" y="281"/>
                  </a:lnTo>
                  <a:lnTo>
                    <a:pt x="259" y="281"/>
                  </a:lnTo>
                  <a:lnTo>
                    <a:pt x="259" y="284"/>
                  </a:lnTo>
                  <a:lnTo>
                    <a:pt x="259" y="284"/>
                  </a:lnTo>
                  <a:lnTo>
                    <a:pt x="261" y="284"/>
                  </a:lnTo>
                  <a:lnTo>
                    <a:pt x="261" y="284"/>
                  </a:lnTo>
                  <a:lnTo>
                    <a:pt x="264" y="284"/>
                  </a:lnTo>
                  <a:lnTo>
                    <a:pt x="264" y="284"/>
                  </a:lnTo>
                  <a:lnTo>
                    <a:pt x="267" y="281"/>
                  </a:lnTo>
                  <a:lnTo>
                    <a:pt x="269" y="281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69" y="292"/>
                  </a:lnTo>
                  <a:lnTo>
                    <a:pt x="267" y="292"/>
                  </a:lnTo>
                  <a:lnTo>
                    <a:pt x="264" y="289"/>
                  </a:lnTo>
                  <a:lnTo>
                    <a:pt x="264" y="289"/>
                  </a:lnTo>
                  <a:lnTo>
                    <a:pt x="264" y="289"/>
                  </a:lnTo>
                  <a:lnTo>
                    <a:pt x="261" y="289"/>
                  </a:lnTo>
                  <a:lnTo>
                    <a:pt x="261" y="286"/>
                  </a:lnTo>
                  <a:lnTo>
                    <a:pt x="259" y="286"/>
                  </a:lnTo>
                  <a:lnTo>
                    <a:pt x="256" y="286"/>
                  </a:lnTo>
                  <a:lnTo>
                    <a:pt x="259" y="289"/>
                  </a:lnTo>
                  <a:lnTo>
                    <a:pt x="256" y="292"/>
                  </a:lnTo>
                  <a:lnTo>
                    <a:pt x="259" y="292"/>
                  </a:lnTo>
                  <a:lnTo>
                    <a:pt x="259" y="294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61" y="300"/>
                  </a:lnTo>
                  <a:lnTo>
                    <a:pt x="261" y="300"/>
                  </a:lnTo>
                  <a:lnTo>
                    <a:pt x="259" y="300"/>
                  </a:lnTo>
                  <a:lnTo>
                    <a:pt x="259" y="302"/>
                  </a:lnTo>
                  <a:lnTo>
                    <a:pt x="256" y="302"/>
                  </a:lnTo>
                  <a:lnTo>
                    <a:pt x="256" y="305"/>
                  </a:lnTo>
                  <a:lnTo>
                    <a:pt x="259" y="302"/>
                  </a:lnTo>
                  <a:lnTo>
                    <a:pt x="261" y="305"/>
                  </a:lnTo>
                  <a:lnTo>
                    <a:pt x="264" y="305"/>
                  </a:lnTo>
                  <a:lnTo>
                    <a:pt x="264" y="305"/>
                  </a:lnTo>
                  <a:lnTo>
                    <a:pt x="267" y="305"/>
                  </a:lnTo>
                  <a:lnTo>
                    <a:pt x="267" y="305"/>
                  </a:lnTo>
                  <a:lnTo>
                    <a:pt x="267" y="305"/>
                  </a:lnTo>
                  <a:lnTo>
                    <a:pt x="269" y="308"/>
                  </a:lnTo>
                  <a:lnTo>
                    <a:pt x="267" y="313"/>
                  </a:lnTo>
                  <a:lnTo>
                    <a:pt x="269" y="313"/>
                  </a:lnTo>
                  <a:lnTo>
                    <a:pt x="267" y="316"/>
                  </a:lnTo>
                  <a:lnTo>
                    <a:pt x="267" y="318"/>
                  </a:lnTo>
                  <a:lnTo>
                    <a:pt x="269" y="318"/>
                  </a:lnTo>
                  <a:lnTo>
                    <a:pt x="269" y="318"/>
                  </a:lnTo>
                  <a:lnTo>
                    <a:pt x="272" y="318"/>
                  </a:lnTo>
                  <a:lnTo>
                    <a:pt x="272" y="316"/>
                  </a:lnTo>
                  <a:lnTo>
                    <a:pt x="275" y="316"/>
                  </a:lnTo>
                  <a:lnTo>
                    <a:pt x="275" y="316"/>
                  </a:lnTo>
                  <a:lnTo>
                    <a:pt x="277" y="316"/>
                  </a:lnTo>
                  <a:lnTo>
                    <a:pt x="277" y="313"/>
                  </a:lnTo>
                  <a:lnTo>
                    <a:pt x="277" y="310"/>
                  </a:lnTo>
                  <a:lnTo>
                    <a:pt x="280" y="308"/>
                  </a:lnTo>
                  <a:lnTo>
                    <a:pt x="280" y="308"/>
                  </a:lnTo>
                  <a:lnTo>
                    <a:pt x="280" y="305"/>
                  </a:lnTo>
                  <a:lnTo>
                    <a:pt x="280" y="302"/>
                  </a:lnTo>
                  <a:lnTo>
                    <a:pt x="280" y="302"/>
                  </a:lnTo>
                  <a:lnTo>
                    <a:pt x="283" y="300"/>
                  </a:lnTo>
                  <a:lnTo>
                    <a:pt x="283" y="297"/>
                  </a:lnTo>
                  <a:lnTo>
                    <a:pt x="285" y="297"/>
                  </a:lnTo>
                  <a:lnTo>
                    <a:pt x="285" y="292"/>
                  </a:lnTo>
                  <a:lnTo>
                    <a:pt x="285" y="289"/>
                  </a:lnTo>
                  <a:lnTo>
                    <a:pt x="285" y="286"/>
                  </a:lnTo>
                  <a:lnTo>
                    <a:pt x="285" y="286"/>
                  </a:lnTo>
                  <a:lnTo>
                    <a:pt x="288" y="284"/>
                  </a:lnTo>
                  <a:lnTo>
                    <a:pt x="291" y="281"/>
                  </a:lnTo>
                  <a:lnTo>
                    <a:pt x="291" y="281"/>
                  </a:lnTo>
                  <a:lnTo>
                    <a:pt x="291" y="278"/>
                  </a:lnTo>
                  <a:lnTo>
                    <a:pt x="293" y="278"/>
                  </a:lnTo>
                  <a:lnTo>
                    <a:pt x="293" y="276"/>
                  </a:lnTo>
                  <a:lnTo>
                    <a:pt x="293" y="276"/>
                  </a:lnTo>
                  <a:lnTo>
                    <a:pt x="296" y="270"/>
                  </a:lnTo>
                  <a:lnTo>
                    <a:pt x="299" y="270"/>
                  </a:lnTo>
                  <a:lnTo>
                    <a:pt x="299" y="270"/>
                  </a:lnTo>
                  <a:lnTo>
                    <a:pt x="299" y="270"/>
                  </a:lnTo>
                  <a:lnTo>
                    <a:pt x="301" y="270"/>
                  </a:lnTo>
                  <a:lnTo>
                    <a:pt x="301" y="270"/>
                  </a:lnTo>
                  <a:lnTo>
                    <a:pt x="304" y="270"/>
                  </a:lnTo>
                  <a:lnTo>
                    <a:pt x="304" y="268"/>
                  </a:lnTo>
                  <a:lnTo>
                    <a:pt x="307" y="268"/>
                  </a:lnTo>
                  <a:lnTo>
                    <a:pt x="307" y="268"/>
                  </a:lnTo>
                  <a:lnTo>
                    <a:pt x="309" y="265"/>
                  </a:lnTo>
                  <a:lnTo>
                    <a:pt x="309" y="265"/>
                  </a:lnTo>
                  <a:lnTo>
                    <a:pt x="312" y="265"/>
                  </a:lnTo>
                  <a:lnTo>
                    <a:pt x="315" y="262"/>
                  </a:lnTo>
                  <a:lnTo>
                    <a:pt x="315" y="262"/>
                  </a:lnTo>
                  <a:lnTo>
                    <a:pt x="315" y="260"/>
                  </a:lnTo>
                  <a:lnTo>
                    <a:pt x="315" y="257"/>
                  </a:lnTo>
                  <a:lnTo>
                    <a:pt x="315" y="257"/>
                  </a:lnTo>
                  <a:lnTo>
                    <a:pt x="315" y="254"/>
                  </a:lnTo>
                  <a:lnTo>
                    <a:pt x="317" y="254"/>
                  </a:lnTo>
                  <a:lnTo>
                    <a:pt x="317" y="254"/>
                  </a:lnTo>
                  <a:lnTo>
                    <a:pt x="317" y="252"/>
                  </a:lnTo>
                  <a:lnTo>
                    <a:pt x="317" y="252"/>
                  </a:lnTo>
                  <a:lnTo>
                    <a:pt x="320" y="249"/>
                  </a:lnTo>
                  <a:lnTo>
                    <a:pt x="323" y="249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20" y="246"/>
                  </a:lnTo>
                  <a:lnTo>
                    <a:pt x="317" y="246"/>
                  </a:lnTo>
                  <a:lnTo>
                    <a:pt x="317" y="244"/>
                  </a:lnTo>
                  <a:lnTo>
                    <a:pt x="317" y="244"/>
                  </a:lnTo>
                  <a:lnTo>
                    <a:pt x="315" y="241"/>
                  </a:lnTo>
                  <a:lnTo>
                    <a:pt x="317" y="241"/>
                  </a:lnTo>
                  <a:lnTo>
                    <a:pt x="317" y="238"/>
                  </a:lnTo>
                  <a:lnTo>
                    <a:pt x="317" y="238"/>
                  </a:lnTo>
                  <a:lnTo>
                    <a:pt x="317" y="236"/>
                  </a:lnTo>
                  <a:lnTo>
                    <a:pt x="317" y="233"/>
                  </a:lnTo>
                  <a:lnTo>
                    <a:pt x="315" y="233"/>
                  </a:lnTo>
                  <a:lnTo>
                    <a:pt x="315" y="230"/>
                  </a:lnTo>
                  <a:lnTo>
                    <a:pt x="315" y="230"/>
                  </a:lnTo>
                  <a:lnTo>
                    <a:pt x="312" y="228"/>
                  </a:lnTo>
                  <a:lnTo>
                    <a:pt x="312" y="228"/>
                  </a:lnTo>
                  <a:lnTo>
                    <a:pt x="312" y="228"/>
                  </a:lnTo>
                  <a:lnTo>
                    <a:pt x="312" y="225"/>
                  </a:lnTo>
                  <a:lnTo>
                    <a:pt x="312" y="222"/>
                  </a:lnTo>
                  <a:lnTo>
                    <a:pt x="312" y="219"/>
                  </a:lnTo>
                  <a:lnTo>
                    <a:pt x="307" y="217"/>
                  </a:lnTo>
                  <a:lnTo>
                    <a:pt x="309" y="214"/>
                  </a:lnTo>
                  <a:lnTo>
                    <a:pt x="312" y="214"/>
                  </a:lnTo>
                  <a:lnTo>
                    <a:pt x="315" y="214"/>
                  </a:lnTo>
                  <a:lnTo>
                    <a:pt x="317" y="214"/>
                  </a:lnTo>
                  <a:lnTo>
                    <a:pt x="317" y="217"/>
                  </a:lnTo>
                  <a:lnTo>
                    <a:pt x="320" y="217"/>
                  </a:lnTo>
                  <a:lnTo>
                    <a:pt x="323" y="217"/>
                  </a:lnTo>
                  <a:lnTo>
                    <a:pt x="323" y="217"/>
                  </a:lnTo>
                  <a:lnTo>
                    <a:pt x="323" y="214"/>
                  </a:lnTo>
                  <a:lnTo>
                    <a:pt x="325" y="214"/>
                  </a:lnTo>
                  <a:lnTo>
                    <a:pt x="328" y="214"/>
                  </a:lnTo>
                  <a:lnTo>
                    <a:pt x="328" y="217"/>
                  </a:lnTo>
                  <a:lnTo>
                    <a:pt x="336" y="219"/>
                  </a:lnTo>
                  <a:lnTo>
                    <a:pt x="336" y="214"/>
                  </a:lnTo>
                  <a:lnTo>
                    <a:pt x="342" y="214"/>
                  </a:lnTo>
                  <a:lnTo>
                    <a:pt x="342" y="217"/>
                  </a:lnTo>
                  <a:lnTo>
                    <a:pt x="344" y="214"/>
                  </a:lnTo>
                  <a:lnTo>
                    <a:pt x="344" y="211"/>
                  </a:lnTo>
                  <a:lnTo>
                    <a:pt x="347" y="211"/>
                  </a:lnTo>
                  <a:lnTo>
                    <a:pt x="350" y="209"/>
                  </a:lnTo>
                  <a:lnTo>
                    <a:pt x="350" y="209"/>
                  </a:lnTo>
                  <a:lnTo>
                    <a:pt x="352" y="211"/>
                  </a:lnTo>
                  <a:lnTo>
                    <a:pt x="355" y="211"/>
                  </a:lnTo>
                  <a:lnTo>
                    <a:pt x="355" y="211"/>
                  </a:lnTo>
                  <a:lnTo>
                    <a:pt x="358" y="211"/>
                  </a:lnTo>
                  <a:lnTo>
                    <a:pt x="358" y="209"/>
                  </a:lnTo>
                  <a:lnTo>
                    <a:pt x="360" y="209"/>
                  </a:lnTo>
                  <a:lnTo>
                    <a:pt x="360" y="209"/>
                  </a:lnTo>
                  <a:lnTo>
                    <a:pt x="360" y="206"/>
                  </a:lnTo>
                  <a:lnTo>
                    <a:pt x="363" y="206"/>
                  </a:lnTo>
                  <a:lnTo>
                    <a:pt x="366" y="203"/>
                  </a:lnTo>
                  <a:lnTo>
                    <a:pt x="366" y="203"/>
                  </a:lnTo>
                  <a:lnTo>
                    <a:pt x="366" y="203"/>
                  </a:lnTo>
                  <a:lnTo>
                    <a:pt x="368" y="201"/>
                  </a:lnTo>
                  <a:lnTo>
                    <a:pt x="368" y="201"/>
                  </a:lnTo>
                  <a:lnTo>
                    <a:pt x="371" y="201"/>
                  </a:lnTo>
                  <a:lnTo>
                    <a:pt x="371" y="201"/>
                  </a:lnTo>
                  <a:lnTo>
                    <a:pt x="374" y="201"/>
                  </a:lnTo>
                  <a:lnTo>
                    <a:pt x="374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9" y="198"/>
                  </a:lnTo>
                  <a:lnTo>
                    <a:pt x="379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5"/>
                  </a:lnTo>
                  <a:lnTo>
                    <a:pt x="382" y="195"/>
                  </a:lnTo>
                  <a:lnTo>
                    <a:pt x="384" y="195"/>
                  </a:lnTo>
                  <a:lnTo>
                    <a:pt x="384" y="195"/>
                  </a:lnTo>
                  <a:lnTo>
                    <a:pt x="387" y="195"/>
                  </a:lnTo>
                  <a:lnTo>
                    <a:pt x="387" y="193"/>
                  </a:lnTo>
                  <a:lnTo>
                    <a:pt x="390" y="193"/>
                  </a:lnTo>
                  <a:lnTo>
                    <a:pt x="390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4" y="185"/>
                  </a:lnTo>
                  <a:lnTo>
                    <a:pt x="384" y="185"/>
                  </a:lnTo>
                  <a:lnTo>
                    <a:pt x="384" y="182"/>
                  </a:lnTo>
                  <a:lnTo>
                    <a:pt x="384" y="182"/>
                  </a:lnTo>
                  <a:lnTo>
                    <a:pt x="382" y="182"/>
                  </a:lnTo>
                  <a:lnTo>
                    <a:pt x="382" y="182"/>
                  </a:lnTo>
                  <a:lnTo>
                    <a:pt x="382" y="179"/>
                  </a:lnTo>
                  <a:lnTo>
                    <a:pt x="382" y="179"/>
                  </a:lnTo>
                  <a:lnTo>
                    <a:pt x="382" y="179"/>
                  </a:lnTo>
                  <a:lnTo>
                    <a:pt x="382" y="177"/>
                  </a:lnTo>
                  <a:lnTo>
                    <a:pt x="382" y="177"/>
                  </a:lnTo>
                  <a:lnTo>
                    <a:pt x="382" y="177"/>
                  </a:lnTo>
                  <a:lnTo>
                    <a:pt x="379" y="177"/>
                  </a:lnTo>
                  <a:lnTo>
                    <a:pt x="379" y="177"/>
                  </a:lnTo>
                  <a:lnTo>
                    <a:pt x="379" y="177"/>
                  </a:lnTo>
                  <a:lnTo>
                    <a:pt x="379" y="174"/>
                  </a:lnTo>
                  <a:lnTo>
                    <a:pt x="379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79" y="171"/>
                  </a:lnTo>
                  <a:lnTo>
                    <a:pt x="379" y="169"/>
                  </a:lnTo>
                  <a:lnTo>
                    <a:pt x="382" y="169"/>
                  </a:lnTo>
                  <a:lnTo>
                    <a:pt x="382" y="166"/>
                  </a:lnTo>
                  <a:lnTo>
                    <a:pt x="379" y="166"/>
                  </a:lnTo>
                  <a:lnTo>
                    <a:pt x="379" y="163"/>
                  </a:lnTo>
                  <a:lnTo>
                    <a:pt x="376" y="163"/>
                  </a:lnTo>
                  <a:lnTo>
                    <a:pt x="376" y="163"/>
                  </a:lnTo>
                  <a:lnTo>
                    <a:pt x="374" y="161"/>
                  </a:lnTo>
                  <a:lnTo>
                    <a:pt x="374" y="158"/>
                  </a:lnTo>
                  <a:lnTo>
                    <a:pt x="374" y="158"/>
                  </a:lnTo>
                  <a:lnTo>
                    <a:pt x="371" y="161"/>
                  </a:lnTo>
                  <a:lnTo>
                    <a:pt x="371" y="161"/>
                  </a:lnTo>
                  <a:lnTo>
                    <a:pt x="368" y="161"/>
                  </a:lnTo>
                  <a:lnTo>
                    <a:pt x="368" y="161"/>
                  </a:lnTo>
                  <a:lnTo>
                    <a:pt x="368" y="158"/>
                  </a:lnTo>
                  <a:lnTo>
                    <a:pt x="363" y="155"/>
                  </a:lnTo>
                  <a:lnTo>
                    <a:pt x="363" y="158"/>
                  </a:lnTo>
                  <a:lnTo>
                    <a:pt x="360" y="158"/>
                  </a:lnTo>
                  <a:lnTo>
                    <a:pt x="360" y="158"/>
                  </a:lnTo>
                  <a:lnTo>
                    <a:pt x="358" y="158"/>
                  </a:lnTo>
                  <a:lnTo>
                    <a:pt x="355" y="155"/>
                  </a:lnTo>
                  <a:lnTo>
                    <a:pt x="350" y="155"/>
                  </a:lnTo>
                  <a:lnTo>
                    <a:pt x="350" y="153"/>
                  </a:lnTo>
                  <a:lnTo>
                    <a:pt x="350" y="153"/>
                  </a:lnTo>
                  <a:lnTo>
                    <a:pt x="347" y="153"/>
                  </a:lnTo>
                  <a:lnTo>
                    <a:pt x="347" y="150"/>
                  </a:lnTo>
                  <a:lnTo>
                    <a:pt x="347" y="147"/>
                  </a:lnTo>
                  <a:lnTo>
                    <a:pt x="347" y="147"/>
                  </a:lnTo>
                  <a:lnTo>
                    <a:pt x="350" y="145"/>
                  </a:lnTo>
                  <a:lnTo>
                    <a:pt x="350" y="147"/>
                  </a:lnTo>
                  <a:lnTo>
                    <a:pt x="352" y="147"/>
                  </a:lnTo>
                  <a:lnTo>
                    <a:pt x="352" y="147"/>
                  </a:lnTo>
                  <a:lnTo>
                    <a:pt x="355" y="147"/>
                  </a:lnTo>
                  <a:lnTo>
                    <a:pt x="355" y="145"/>
                  </a:lnTo>
                  <a:lnTo>
                    <a:pt x="358" y="147"/>
                  </a:lnTo>
                  <a:lnTo>
                    <a:pt x="358" y="145"/>
                  </a:lnTo>
                  <a:lnTo>
                    <a:pt x="360" y="145"/>
                  </a:lnTo>
                  <a:lnTo>
                    <a:pt x="360" y="145"/>
                  </a:lnTo>
                  <a:lnTo>
                    <a:pt x="363" y="142"/>
                  </a:lnTo>
                  <a:lnTo>
                    <a:pt x="366" y="142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8" y="137"/>
                  </a:lnTo>
                  <a:lnTo>
                    <a:pt x="368" y="137"/>
                  </a:lnTo>
                  <a:lnTo>
                    <a:pt x="371" y="137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6" y="134"/>
                  </a:lnTo>
                  <a:lnTo>
                    <a:pt x="376" y="131"/>
                  </a:lnTo>
                  <a:lnTo>
                    <a:pt x="376" y="131"/>
                  </a:lnTo>
                  <a:lnTo>
                    <a:pt x="379" y="129"/>
                  </a:lnTo>
                  <a:lnTo>
                    <a:pt x="379" y="129"/>
                  </a:lnTo>
                  <a:lnTo>
                    <a:pt x="379" y="126"/>
                  </a:lnTo>
                  <a:lnTo>
                    <a:pt x="379" y="126"/>
                  </a:lnTo>
                  <a:lnTo>
                    <a:pt x="379" y="123"/>
                  </a:lnTo>
                  <a:lnTo>
                    <a:pt x="376" y="123"/>
                  </a:lnTo>
                  <a:lnTo>
                    <a:pt x="376" y="121"/>
                  </a:lnTo>
                  <a:lnTo>
                    <a:pt x="374" y="121"/>
                  </a:lnTo>
                  <a:lnTo>
                    <a:pt x="371" y="121"/>
                  </a:lnTo>
                  <a:lnTo>
                    <a:pt x="371" y="118"/>
                  </a:lnTo>
                  <a:lnTo>
                    <a:pt x="368" y="118"/>
                  </a:lnTo>
                  <a:lnTo>
                    <a:pt x="366" y="118"/>
                  </a:lnTo>
                  <a:lnTo>
                    <a:pt x="366" y="118"/>
                  </a:lnTo>
                  <a:lnTo>
                    <a:pt x="366" y="121"/>
                  </a:lnTo>
                  <a:lnTo>
                    <a:pt x="366" y="123"/>
                  </a:lnTo>
                  <a:lnTo>
                    <a:pt x="366" y="126"/>
                  </a:lnTo>
                  <a:lnTo>
                    <a:pt x="366" y="129"/>
                  </a:lnTo>
                  <a:lnTo>
                    <a:pt x="363" y="131"/>
                  </a:lnTo>
                  <a:lnTo>
                    <a:pt x="360" y="134"/>
                  </a:lnTo>
                  <a:lnTo>
                    <a:pt x="360" y="131"/>
                  </a:lnTo>
                  <a:lnTo>
                    <a:pt x="358" y="131"/>
                  </a:lnTo>
                  <a:lnTo>
                    <a:pt x="358" y="129"/>
                  </a:lnTo>
                  <a:lnTo>
                    <a:pt x="358" y="129"/>
                  </a:lnTo>
                  <a:lnTo>
                    <a:pt x="358" y="126"/>
                  </a:lnTo>
                  <a:lnTo>
                    <a:pt x="358" y="126"/>
                  </a:lnTo>
                  <a:lnTo>
                    <a:pt x="358" y="123"/>
                  </a:lnTo>
                  <a:lnTo>
                    <a:pt x="355" y="123"/>
                  </a:lnTo>
                  <a:lnTo>
                    <a:pt x="355" y="123"/>
                  </a:lnTo>
                  <a:lnTo>
                    <a:pt x="352" y="126"/>
                  </a:lnTo>
                  <a:lnTo>
                    <a:pt x="352" y="123"/>
                  </a:lnTo>
                  <a:lnTo>
                    <a:pt x="355" y="123"/>
                  </a:lnTo>
                  <a:lnTo>
                    <a:pt x="355" y="123"/>
                  </a:lnTo>
                  <a:lnTo>
                    <a:pt x="355" y="121"/>
                  </a:lnTo>
                  <a:lnTo>
                    <a:pt x="352" y="121"/>
                  </a:lnTo>
                  <a:lnTo>
                    <a:pt x="352" y="121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0" y="118"/>
                  </a:lnTo>
                  <a:lnTo>
                    <a:pt x="352" y="115"/>
                  </a:lnTo>
                  <a:lnTo>
                    <a:pt x="350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0"/>
                  </a:lnTo>
                  <a:lnTo>
                    <a:pt x="352" y="110"/>
                  </a:lnTo>
                  <a:lnTo>
                    <a:pt x="352" y="110"/>
                  </a:lnTo>
                  <a:lnTo>
                    <a:pt x="352" y="107"/>
                  </a:lnTo>
                  <a:lnTo>
                    <a:pt x="355" y="107"/>
                  </a:lnTo>
                  <a:lnTo>
                    <a:pt x="355" y="105"/>
                  </a:lnTo>
                  <a:lnTo>
                    <a:pt x="355" y="105"/>
                  </a:lnTo>
                  <a:lnTo>
                    <a:pt x="355" y="102"/>
                  </a:lnTo>
                  <a:lnTo>
                    <a:pt x="358" y="102"/>
                  </a:lnTo>
                  <a:lnTo>
                    <a:pt x="358" y="99"/>
                  </a:lnTo>
                  <a:lnTo>
                    <a:pt x="360" y="99"/>
                  </a:lnTo>
                  <a:lnTo>
                    <a:pt x="360" y="99"/>
                  </a:lnTo>
                  <a:lnTo>
                    <a:pt x="363" y="97"/>
                  </a:lnTo>
                  <a:lnTo>
                    <a:pt x="363" y="97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68" y="94"/>
                  </a:lnTo>
                  <a:lnTo>
                    <a:pt x="368" y="94"/>
                  </a:lnTo>
                  <a:lnTo>
                    <a:pt x="368" y="91"/>
                  </a:lnTo>
                  <a:lnTo>
                    <a:pt x="371" y="91"/>
                  </a:lnTo>
                  <a:lnTo>
                    <a:pt x="368" y="89"/>
                  </a:lnTo>
                  <a:lnTo>
                    <a:pt x="368" y="89"/>
                  </a:lnTo>
                  <a:lnTo>
                    <a:pt x="366" y="89"/>
                  </a:lnTo>
                  <a:lnTo>
                    <a:pt x="366" y="86"/>
                  </a:lnTo>
                  <a:lnTo>
                    <a:pt x="363" y="86"/>
                  </a:lnTo>
                  <a:lnTo>
                    <a:pt x="363" y="86"/>
                  </a:lnTo>
                  <a:lnTo>
                    <a:pt x="363" y="89"/>
                  </a:lnTo>
                  <a:lnTo>
                    <a:pt x="363" y="89"/>
                  </a:lnTo>
                  <a:lnTo>
                    <a:pt x="360" y="89"/>
                  </a:lnTo>
                  <a:lnTo>
                    <a:pt x="360" y="89"/>
                  </a:lnTo>
                  <a:lnTo>
                    <a:pt x="358" y="86"/>
                  </a:lnTo>
                  <a:lnTo>
                    <a:pt x="358" y="86"/>
                  </a:lnTo>
                  <a:lnTo>
                    <a:pt x="358" y="89"/>
                  </a:lnTo>
                  <a:lnTo>
                    <a:pt x="358" y="89"/>
                  </a:lnTo>
                  <a:lnTo>
                    <a:pt x="360" y="91"/>
                  </a:lnTo>
                  <a:lnTo>
                    <a:pt x="360" y="94"/>
                  </a:lnTo>
                  <a:lnTo>
                    <a:pt x="360" y="94"/>
                  </a:lnTo>
                  <a:lnTo>
                    <a:pt x="360" y="97"/>
                  </a:lnTo>
                  <a:lnTo>
                    <a:pt x="358" y="94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2" y="97"/>
                  </a:lnTo>
                  <a:lnTo>
                    <a:pt x="350" y="97"/>
                  </a:lnTo>
                  <a:lnTo>
                    <a:pt x="350" y="94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47" y="97"/>
                  </a:lnTo>
                  <a:lnTo>
                    <a:pt x="347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39" y="99"/>
                  </a:lnTo>
                  <a:lnTo>
                    <a:pt x="336" y="99"/>
                  </a:lnTo>
                  <a:lnTo>
                    <a:pt x="336" y="102"/>
                  </a:lnTo>
                  <a:lnTo>
                    <a:pt x="336" y="102"/>
                  </a:lnTo>
                  <a:lnTo>
                    <a:pt x="336" y="99"/>
                  </a:lnTo>
                  <a:lnTo>
                    <a:pt x="336" y="99"/>
                  </a:lnTo>
                  <a:lnTo>
                    <a:pt x="334" y="99"/>
                  </a:lnTo>
                  <a:lnTo>
                    <a:pt x="334" y="102"/>
                  </a:lnTo>
                  <a:lnTo>
                    <a:pt x="331" y="102"/>
                  </a:lnTo>
                  <a:lnTo>
                    <a:pt x="331" y="102"/>
                  </a:lnTo>
                  <a:lnTo>
                    <a:pt x="331" y="105"/>
                  </a:lnTo>
                  <a:lnTo>
                    <a:pt x="334" y="105"/>
                  </a:lnTo>
                  <a:lnTo>
                    <a:pt x="334" y="105"/>
                  </a:lnTo>
                  <a:lnTo>
                    <a:pt x="336" y="107"/>
                  </a:lnTo>
                  <a:lnTo>
                    <a:pt x="336" y="107"/>
                  </a:lnTo>
                  <a:lnTo>
                    <a:pt x="339" y="107"/>
                  </a:lnTo>
                  <a:lnTo>
                    <a:pt x="339" y="110"/>
                  </a:lnTo>
                  <a:lnTo>
                    <a:pt x="342" y="110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5"/>
                  </a:lnTo>
                  <a:lnTo>
                    <a:pt x="342" y="115"/>
                  </a:lnTo>
                  <a:lnTo>
                    <a:pt x="342" y="118"/>
                  </a:lnTo>
                  <a:lnTo>
                    <a:pt x="339" y="118"/>
                  </a:lnTo>
                  <a:lnTo>
                    <a:pt x="342" y="121"/>
                  </a:lnTo>
                  <a:lnTo>
                    <a:pt x="339" y="121"/>
                  </a:lnTo>
                  <a:lnTo>
                    <a:pt x="339" y="123"/>
                  </a:lnTo>
                  <a:lnTo>
                    <a:pt x="336" y="121"/>
                  </a:lnTo>
                  <a:lnTo>
                    <a:pt x="336" y="121"/>
                  </a:lnTo>
                  <a:lnTo>
                    <a:pt x="336" y="118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4" y="113"/>
                  </a:lnTo>
                  <a:lnTo>
                    <a:pt x="331" y="115"/>
                  </a:lnTo>
                  <a:lnTo>
                    <a:pt x="331" y="115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21"/>
                  </a:lnTo>
                  <a:lnTo>
                    <a:pt x="331" y="123"/>
                  </a:lnTo>
                  <a:lnTo>
                    <a:pt x="328" y="123"/>
                  </a:lnTo>
                  <a:lnTo>
                    <a:pt x="328" y="126"/>
                  </a:lnTo>
                  <a:lnTo>
                    <a:pt x="328" y="131"/>
                  </a:lnTo>
                  <a:lnTo>
                    <a:pt x="325" y="131"/>
                  </a:lnTo>
                  <a:lnTo>
                    <a:pt x="325" y="131"/>
                  </a:lnTo>
                  <a:lnTo>
                    <a:pt x="323" y="129"/>
                  </a:lnTo>
                  <a:lnTo>
                    <a:pt x="325" y="129"/>
                  </a:lnTo>
                  <a:lnTo>
                    <a:pt x="325" y="126"/>
                  </a:lnTo>
                  <a:lnTo>
                    <a:pt x="323" y="123"/>
                  </a:lnTo>
                  <a:lnTo>
                    <a:pt x="323" y="123"/>
                  </a:lnTo>
                  <a:lnTo>
                    <a:pt x="320" y="121"/>
                  </a:lnTo>
                  <a:lnTo>
                    <a:pt x="320" y="118"/>
                  </a:lnTo>
                  <a:lnTo>
                    <a:pt x="320" y="118"/>
                  </a:lnTo>
                  <a:lnTo>
                    <a:pt x="320" y="115"/>
                  </a:lnTo>
                  <a:lnTo>
                    <a:pt x="317" y="115"/>
                  </a:lnTo>
                  <a:lnTo>
                    <a:pt x="317" y="118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18"/>
                  </a:lnTo>
                  <a:lnTo>
                    <a:pt x="312" y="118"/>
                  </a:lnTo>
                  <a:lnTo>
                    <a:pt x="312" y="113"/>
                  </a:lnTo>
                  <a:lnTo>
                    <a:pt x="312" y="113"/>
                  </a:lnTo>
                  <a:lnTo>
                    <a:pt x="309" y="113"/>
                  </a:lnTo>
                  <a:lnTo>
                    <a:pt x="309" y="110"/>
                  </a:lnTo>
                  <a:lnTo>
                    <a:pt x="307" y="110"/>
                  </a:lnTo>
                  <a:lnTo>
                    <a:pt x="304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7" y="113"/>
                  </a:lnTo>
                  <a:lnTo>
                    <a:pt x="304" y="115"/>
                  </a:lnTo>
                  <a:lnTo>
                    <a:pt x="301" y="118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1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6" y="123"/>
                  </a:lnTo>
                  <a:lnTo>
                    <a:pt x="291" y="121"/>
                  </a:lnTo>
                  <a:lnTo>
                    <a:pt x="293" y="121"/>
                  </a:lnTo>
                  <a:lnTo>
                    <a:pt x="293" y="121"/>
                  </a:lnTo>
                  <a:lnTo>
                    <a:pt x="293" y="118"/>
                  </a:lnTo>
                  <a:lnTo>
                    <a:pt x="293" y="115"/>
                  </a:lnTo>
                  <a:lnTo>
                    <a:pt x="291" y="113"/>
                  </a:lnTo>
                  <a:lnTo>
                    <a:pt x="291" y="110"/>
                  </a:lnTo>
                  <a:lnTo>
                    <a:pt x="288" y="113"/>
                  </a:lnTo>
                  <a:lnTo>
                    <a:pt x="288" y="113"/>
                  </a:lnTo>
                  <a:lnTo>
                    <a:pt x="285" y="113"/>
                  </a:lnTo>
                  <a:lnTo>
                    <a:pt x="283" y="113"/>
                  </a:lnTo>
                  <a:lnTo>
                    <a:pt x="283" y="113"/>
                  </a:lnTo>
                  <a:lnTo>
                    <a:pt x="280" y="113"/>
                  </a:lnTo>
                  <a:lnTo>
                    <a:pt x="277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3"/>
                  </a:lnTo>
                  <a:lnTo>
                    <a:pt x="277" y="110"/>
                  </a:lnTo>
                  <a:lnTo>
                    <a:pt x="280" y="107"/>
                  </a:lnTo>
                  <a:lnTo>
                    <a:pt x="277" y="107"/>
                  </a:lnTo>
                  <a:lnTo>
                    <a:pt x="275" y="107"/>
                  </a:lnTo>
                  <a:lnTo>
                    <a:pt x="275" y="107"/>
                  </a:lnTo>
                  <a:lnTo>
                    <a:pt x="275" y="105"/>
                  </a:lnTo>
                  <a:lnTo>
                    <a:pt x="272" y="105"/>
                  </a:lnTo>
                  <a:lnTo>
                    <a:pt x="272" y="102"/>
                  </a:lnTo>
                  <a:lnTo>
                    <a:pt x="272" y="102"/>
                  </a:lnTo>
                  <a:lnTo>
                    <a:pt x="269" y="102"/>
                  </a:lnTo>
                  <a:lnTo>
                    <a:pt x="269" y="105"/>
                  </a:lnTo>
                  <a:lnTo>
                    <a:pt x="267" y="105"/>
                  </a:lnTo>
                  <a:lnTo>
                    <a:pt x="264" y="102"/>
                  </a:lnTo>
                  <a:lnTo>
                    <a:pt x="264" y="102"/>
                  </a:lnTo>
                  <a:lnTo>
                    <a:pt x="264" y="99"/>
                  </a:lnTo>
                  <a:lnTo>
                    <a:pt x="264" y="99"/>
                  </a:lnTo>
                  <a:lnTo>
                    <a:pt x="267" y="97"/>
                  </a:lnTo>
                  <a:lnTo>
                    <a:pt x="267" y="94"/>
                  </a:lnTo>
                  <a:lnTo>
                    <a:pt x="269" y="94"/>
                  </a:lnTo>
                  <a:lnTo>
                    <a:pt x="272" y="94"/>
                  </a:lnTo>
                  <a:lnTo>
                    <a:pt x="275" y="91"/>
                  </a:lnTo>
                  <a:lnTo>
                    <a:pt x="275" y="91"/>
                  </a:lnTo>
                  <a:lnTo>
                    <a:pt x="277" y="94"/>
                  </a:lnTo>
                  <a:lnTo>
                    <a:pt x="280" y="94"/>
                  </a:lnTo>
                  <a:lnTo>
                    <a:pt x="283" y="91"/>
                  </a:lnTo>
                  <a:lnTo>
                    <a:pt x="283" y="89"/>
                  </a:lnTo>
                  <a:lnTo>
                    <a:pt x="280" y="89"/>
                  </a:lnTo>
                  <a:lnTo>
                    <a:pt x="277" y="86"/>
                  </a:lnTo>
                  <a:lnTo>
                    <a:pt x="275" y="89"/>
                  </a:lnTo>
                  <a:lnTo>
                    <a:pt x="272" y="83"/>
                  </a:lnTo>
                  <a:lnTo>
                    <a:pt x="269" y="86"/>
                  </a:lnTo>
                  <a:lnTo>
                    <a:pt x="267" y="89"/>
                  </a:lnTo>
                  <a:lnTo>
                    <a:pt x="264" y="89"/>
                  </a:lnTo>
                  <a:lnTo>
                    <a:pt x="264" y="86"/>
                  </a:lnTo>
                  <a:lnTo>
                    <a:pt x="264" y="86"/>
                  </a:lnTo>
                  <a:lnTo>
                    <a:pt x="261" y="83"/>
                  </a:lnTo>
                  <a:lnTo>
                    <a:pt x="261" y="81"/>
                  </a:lnTo>
                  <a:lnTo>
                    <a:pt x="261" y="81"/>
                  </a:lnTo>
                  <a:lnTo>
                    <a:pt x="256" y="75"/>
                  </a:lnTo>
                  <a:lnTo>
                    <a:pt x="253" y="75"/>
                  </a:lnTo>
                  <a:lnTo>
                    <a:pt x="253" y="75"/>
                  </a:lnTo>
                  <a:lnTo>
                    <a:pt x="253" y="73"/>
                  </a:lnTo>
                  <a:lnTo>
                    <a:pt x="253" y="67"/>
                  </a:lnTo>
                  <a:lnTo>
                    <a:pt x="251" y="65"/>
                  </a:lnTo>
                  <a:lnTo>
                    <a:pt x="248" y="62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1" y="59"/>
                  </a:lnTo>
                  <a:lnTo>
                    <a:pt x="253" y="59"/>
                  </a:lnTo>
                  <a:lnTo>
                    <a:pt x="253" y="59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6" y="54"/>
                  </a:lnTo>
                  <a:lnTo>
                    <a:pt x="259" y="51"/>
                  </a:lnTo>
                  <a:lnTo>
                    <a:pt x="253" y="43"/>
                  </a:lnTo>
                  <a:lnTo>
                    <a:pt x="253" y="51"/>
                  </a:lnTo>
                  <a:lnTo>
                    <a:pt x="251" y="51"/>
                  </a:lnTo>
                  <a:lnTo>
                    <a:pt x="248" y="51"/>
                  </a:lnTo>
                  <a:lnTo>
                    <a:pt x="245" y="48"/>
                  </a:lnTo>
                  <a:lnTo>
                    <a:pt x="243" y="46"/>
                  </a:lnTo>
                  <a:lnTo>
                    <a:pt x="243" y="46"/>
                  </a:lnTo>
                  <a:lnTo>
                    <a:pt x="243" y="43"/>
                  </a:lnTo>
                  <a:lnTo>
                    <a:pt x="243" y="43"/>
                  </a:lnTo>
                  <a:lnTo>
                    <a:pt x="245" y="43"/>
                  </a:lnTo>
                  <a:lnTo>
                    <a:pt x="248" y="40"/>
                  </a:lnTo>
                  <a:lnTo>
                    <a:pt x="245" y="40"/>
                  </a:lnTo>
                  <a:lnTo>
                    <a:pt x="243" y="40"/>
                  </a:lnTo>
                  <a:lnTo>
                    <a:pt x="243" y="38"/>
                  </a:lnTo>
                  <a:lnTo>
                    <a:pt x="243" y="35"/>
                  </a:lnTo>
                  <a:lnTo>
                    <a:pt x="245" y="32"/>
                  </a:lnTo>
                  <a:lnTo>
                    <a:pt x="245" y="32"/>
                  </a:lnTo>
                  <a:lnTo>
                    <a:pt x="245" y="30"/>
                  </a:lnTo>
                  <a:lnTo>
                    <a:pt x="248" y="30"/>
                  </a:lnTo>
                  <a:lnTo>
                    <a:pt x="245" y="24"/>
                  </a:lnTo>
                  <a:lnTo>
                    <a:pt x="245" y="24"/>
                  </a:lnTo>
                  <a:lnTo>
                    <a:pt x="248" y="22"/>
                  </a:lnTo>
                  <a:lnTo>
                    <a:pt x="248" y="22"/>
                  </a:lnTo>
                  <a:lnTo>
                    <a:pt x="251" y="19"/>
                  </a:lnTo>
                  <a:lnTo>
                    <a:pt x="251" y="19"/>
                  </a:lnTo>
                  <a:lnTo>
                    <a:pt x="248" y="19"/>
                  </a:lnTo>
                  <a:lnTo>
                    <a:pt x="248" y="19"/>
                  </a:lnTo>
                  <a:lnTo>
                    <a:pt x="245" y="22"/>
                  </a:lnTo>
                  <a:lnTo>
                    <a:pt x="245" y="22"/>
                  </a:lnTo>
                  <a:lnTo>
                    <a:pt x="245" y="19"/>
                  </a:lnTo>
                  <a:lnTo>
                    <a:pt x="245" y="19"/>
                  </a:lnTo>
                  <a:lnTo>
                    <a:pt x="248" y="16"/>
                  </a:lnTo>
                  <a:lnTo>
                    <a:pt x="248" y="14"/>
                  </a:lnTo>
                  <a:lnTo>
                    <a:pt x="245" y="14"/>
                  </a:lnTo>
                  <a:lnTo>
                    <a:pt x="248" y="11"/>
                  </a:lnTo>
                  <a:lnTo>
                    <a:pt x="245" y="8"/>
                  </a:lnTo>
                  <a:lnTo>
                    <a:pt x="243" y="11"/>
                  </a:lnTo>
                  <a:lnTo>
                    <a:pt x="245" y="11"/>
                  </a:lnTo>
                  <a:lnTo>
                    <a:pt x="243" y="11"/>
                  </a:lnTo>
                  <a:lnTo>
                    <a:pt x="243" y="11"/>
                  </a:lnTo>
                  <a:lnTo>
                    <a:pt x="240" y="11"/>
                  </a:lnTo>
                  <a:lnTo>
                    <a:pt x="240" y="11"/>
                  </a:lnTo>
                  <a:lnTo>
                    <a:pt x="240" y="8"/>
                  </a:lnTo>
                  <a:lnTo>
                    <a:pt x="237" y="8"/>
                  </a:lnTo>
                  <a:lnTo>
                    <a:pt x="237" y="8"/>
                  </a:lnTo>
                  <a:lnTo>
                    <a:pt x="235" y="11"/>
                  </a:lnTo>
                  <a:lnTo>
                    <a:pt x="232" y="11"/>
                  </a:lnTo>
                  <a:lnTo>
                    <a:pt x="232" y="8"/>
                  </a:lnTo>
                  <a:lnTo>
                    <a:pt x="232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2" name="Freeform 8930">
              <a:extLst>
                <a:ext uri="{FF2B5EF4-FFF2-40B4-BE49-F238E27FC236}">
                  <a16:creationId xmlns:a16="http://schemas.microsoft.com/office/drawing/2014/main" id="{D4F9FB15-2C07-3A47-BE3F-62D18F646885}"/>
                </a:ext>
              </a:extLst>
            </p:cNvPr>
            <p:cNvSpPr/>
            <p:nvPr/>
          </p:nvSpPr>
          <p:spPr bwMode="auto">
            <a:xfrm>
              <a:off x="2785268" y="3963989"/>
              <a:ext cx="355600" cy="420688"/>
            </a:xfrm>
            <a:custGeom>
              <a:avLst/>
              <a:gdLst>
                <a:gd name="T0" fmla="*/ 8 w 224"/>
                <a:gd name="T1" fmla="*/ 198 h 265"/>
                <a:gd name="T2" fmla="*/ 8 w 224"/>
                <a:gd name="T3" fmla="*/ 206 h 265"/>
                <a:gd name="T4" fmla="*/ 13 w 224"/>
                <a:gd name="T5" fmla="*/ 219 h 265"/>
                <a:gd name="T6" fmla="*/ 29 w 224"/>
                <a:gd name="T7" fmla="*/ 222 h 265"/>
                <a:gd name="T8" fmla="*/ 40 w 224"/>
                <a:gd name="T9" fmla="*/ 225 h 265"/>
                <a:gd name="T10" fmla="*/ 45 w 224"/>
                <a:gd name="T11" fmla="*/ 214 h 265"/>
                <a:gd name="T12" fmla="*/ 56 w 224"/>
                <a:gd name="T13" fmla="*/ 222 h 265"/>
                <a:gd name="T14" fmla="*/ 64 w 224"/>
                <a:gd name="T15" fmla="*/ 230 h 265"/>
                <a:gd name="T16" fmla="*/ 72 w 224"/>
                <a:gd name="T17" fmla="*/ 222 h 265"/>
                <a:gd name="T18" fmla="*/ 78 w 224"/>
                <a:gd name="T19" fmla="*/ 217 h 265"/>
                <a:gd name="T20" fmla="*/ 70 w 224"/>
                <a:gd name="T21" fmla="*/ 206 h 265"/>
                <a:gd name="T22" fmla="*/ 83 w 224"/>
                <a:gd name="T23" fmla="*/ 201 h 265"/>
                <a:gd name="T24" fmla="*/ 96 w 224"/>
                <a:gd name="T25" fmla="*/ 198 h 265"/>
                <a:gd name="T26" fmla="*/ 99 w 224"/>
                <a:gd name="T27" fmla="*/ 190 h 265"/>
                <a:gd name="T28" fmla="*/ 102 w 224"/>
                <a:gd name="T29" fmla="*/ 198 h 265"/>
                <a:gd name="T30" fmla="*/ 88 w 224"/>
                <a:gd name="T31" fmla="*/ 211 h 265"/>
                <a:gd name="T32" fmla="*/ 88 w 224"/>
                <a:gd name="T33" fmla="*/ 222 h 265"/>
                <a:gd name="T34" fmla="*/ 91 w 224"/>
                <a:gd name="T35" fmla="*/ 227 h 265"/>
                <a:gd name="T36" fmla="*/ 102 w 224"/>
                <a:gd name="T37" fmla="*/ 230 h 265"/>
                <a:gd name="T38" fmla="*/ 115 w 224"/>
                <a:gd name="T39" fmla="*/ 227 h 265"/>
                <a:gd name="T40" fmla="*/ 104 w 224"/>
                <a:gd name="T41" fmla="*/ 241 h 265"/>
                <a:gd name="T42" fmla="*/ 91 w 224"/>
                <a:gd name="T43" fmla="*/ 251 h 265"/>
                <a:gd name="T44" fmla="*/ 86 w 224"/>
                <a:gd name="T45" fmla="*/ 259 h 265"/>
                <a:gd name="T46" fmla="*/ 107 w 224"/>
                <a:gd name="T47" fmla="*/ 265 h 265"/>
                <a:gd name="T48" fmla="*/ 128 w 224"/>
                <a:gd name="T49" fmla="*/ 262 h 265"/>
                <a:gd name="T50" fmla="*/ 155 w 224"/>
                <a:gd name="T51" fmla="*/ 251 h 265"/>
                <a:gd name="T52" fmla="*/ 160 w 224"/>
                <a:gd name="T53" fmla="*/ 238 h 265"/>
                <a:gd name="T54" fmla="*/ 158 w 224"/>
                <a:gd name="T55" fmla="*/ 225 h 265"/>
                <a:gd name="T56" fmla="*/ 152 w 224"/>
                <a:gd name="T57" fmla="*/ 214 h 265"/>
                <a:gd name="T58" fmla="*/ 158 w 224"/>
                <a:gd name="T59" fmla="*/ 206 h 265"/>
                <a:gd name="T60" fmla="*/ 144 w 224"/>
                <a:gd name="T61" fmla="*/ 206 h 265"/>
                <a:gd name="T62" fmla="*/ 150 w 224"/>
                <a:gd name="T63" fmla="*/ 195 h 265"/>
                <a:gd name="T64" fmla="*/ 155 w 224"/>
                <a:gd name="T65" fmla="*/ 190 h 265"/>
                <a:gd name="T66" fmla="*/ 166 w 224"/>
                <a:gd name="T67" fmla="*/ 195 h 265"/>
                <a:gd name="T68" fmla="*/ 190 w 224"/>
                <a:gd name="T69" fmla="*/ 179 h 265"/>
                <a:gd name="T70" fmla="*/ 192 w 224"/>
                <a:gd name="T71" fmla="*/ 169 h 265"/>
                <a:gd name="T72" fmla="*/ 190 w 224"/>
                <a:gd name="T73" fmla="*/ 150 h 265"/>
                <a:gd name="T74" fmla="*/ 198 w 224"/>
                <a:gd name="T75" fmla="*/ 131 h 265"/>
                <a:gd name="T76" fmla="*/ 203 w 224"/>
                <a:gd name="T77" fmla="*/ 126 h 265"/>
                <a:gd name="T78" fmla="*/ 211 w 224"/>
                <a:gd name="T79" fmla="*/ 110 h 265"/>
                <a:gd name="T80" fmla="*/ 216 w 224"/>
                <a:gd name="T81" fmla="*/ 86 h 265"/>
                <a:gd name="T82" fmla="*/ 219 w 224"/>
                <a:gd name="T83" fmla="*/ 62 h 265"/>
                <a:gd name="T84" fmla="*/ 216 w 224"/>
                <a:gd name="T85" fmla="*/ 38 h 265"/>
                <a:gd name="T86" fmla="*/ 195 w 224"/>
                <a:gd name="T87" fmla="*/ 30 h 265"/>
                <a:gd name="T88" fmla="*/ 166 w 224"/>
                <a:gd name="T89" fmla="*/ 19 h 265"/>
                <a:gd name="T90" fmla="*/ 144 w 224"/>
                <a:gd name="T91" fmla="*/ 0 h 265"/>
                <a:gd name="T92" fmla="*/ 128 w 224"/>
                <a:gd name="T93" fmla="*/ 6 h 265"/>
                <a:gd name="T94" fmla="*/ 118 w 224"/>
                <a:gd name="T95" fmla="*/ 22 h 265"/>
                <a:gd name="T96" fmla="*/ 118 w 224"/>
                <a:gd name="T97" fmla="*/ 38 h 265"/>
                <a:gd name="T98" fmla="*/ 110 w 224"/>
                <a:gd name="T99" fmla="*/ 54 h 265"/>
                <a:gd name="T100" fmla="*/ 99 w 224"/>
                <a:gd name="T101" fmla="*/ 67 h 265"/>
                <a:gd name="T102" fmla="*/ 86 w 224"/>
                <a:gd name="T103" fmla="*/ 72 h 265"/>
                <a:gd name="T104" fmla="*/ 72 w 224"/>
                <a:gd name="T105" fmla="*/ 72 h 265"/>
                <a:gd name="T106" fmla="*/ 45 w 224"/>
                <a:gd name="T107" fmla="*/ 83 h 265"/>
                <a:gd name="T108" fmla="*/ 45 w 224"/>
                <a:gd name="T109" fmla="*/ 110 h 265"/>
                <a:gd name="T110" fmla="*/ 43 w 224"/>
                <a:gd name="T111" fmla="*/ 120 h 265"/>
                <a:gd name="T112" fmla="*/ 40 w 224"/>
                <a:gd name="T113" fmla="*/ 134 h 265"/>
                <a:gd name="T114" fmla="*/ 13 w 224"/>
                <a:gd name="T115" fmla="*/ 147 h 265"/>
                <a:gd name="T116" fmla="*/ 13 w 224"/>
                <a:gd name="T117" fmla="*/ 163 h 265"/>
                <a:gd name="T118" fmla="*/ 16 w 224"/>
                <a:gd name="T119" fmla="*/ 177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265" extrusionOk="0">
                  <a:moveTo>
                    <a:pt x="8" y="187"/>
                  </a:moveTo>
                  <a:lnTo>
                    <a:pt x="11" y="193"/>
                  </a:lnTo>
                  <a:lnTo>
                    <a:pt x="13" y="190"/>
                  </a:lnTo>
                  <a:lnTo>
                    <a:pt x="16" y="193"/>
                  </a:lnTo>
                  <a:lnTo>
                    <a:pt x="19" y="193"/>
                  </a:lnTo>
                  <a:lnTo>
                    <a:pt x="19" y="195"/>
                  </a:lnTo>
                  <a:lnTo>
                    <a:pt x="16" y="198"/>
                  </a:lnTo>
                  <a:lnTo>
                    <a:pt x="13" y="198"/>
                  </a:lnTo>
                  <a:lnTo>
                    <a:pt x="11" y="195"/>
                  </a:lnTo>
                  <a:lnTo>
                    <a:pt x="11" y="195"/>
                  </a:lnTo>
                  <a:lnTo>
                    <a:pt x="8" y="198"/>
                  </a:lnTo>
                  <a:lnTo>
                    <a:pt x="5" y="198"/>
                  </a:lnTo>
                  <a:lnTo>
                    <a:pt x="3" y="198"/>
                  </a:lnTo>
                  <a:lnTo>
                    <a:pt x="3" y="201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6"/>
                  </a:lnTo>
                  <a:lnTo>
                    <a:pt x="0" y="206"/>
                  </a:lnTo>
                  <a:lnTo>
                    <a:pt x="3" y="209"/>
                  </a:lnTo>
                  <a:lnTo>
                    <a:pt x="5" y="209"/>
                  </a:lnTo>
                  <a:lnTo>
                    <a:pt x="5" y="206"/>
                  </a:lnTo>
                  <a:lnTo>
                    <a:pt x="8" y="206"/>
                  </a:lnTo>
                  <a:lnTo>
                    <a:pt x="8" y="206"/>
                  </a:lnTo>
                  <a:lnTo>
                    <a:pt x="8" y="209"/>
                  </a:lnTo>
                  <a:lnTo>
                    <a:pt x="11" y="209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3" y="211"/>
                  </a:lnTo>
                  <a:lnTo>
                    <a:pt x="16" y="211"/>
                  </a:lnTo>
                  <a:lnTo>
                    <a:pt x="13" y="214"/>
                  </a:lnTo>
                  <a:lnTo>
                    <a:pt x="13" y="217"/>
                  </a:lnTo>
                  <a:lnTo>
                    <a:pt x="13" y="217"/>
                  </a:lnTo>
                  <a:lnTo>
                    <a:pt x="13" y="219"/>
                  </a:lnTo>
                  <a:lnTo>
                    <a:pt x="13" y="219"/>
                  </a:lnTo>
                  <a:lnTo>
                    <a:pt x="16" y="217"/>
                  </a:lnTo>
                  <a:lnTo>
                    <a:pt x="19" y="217"/>
                  </a:lnTo>
                  <a:lnTo>
                    <a:pt x="19" y="217"/>
                  </a:lnTo>
                  <a:lnTo>
                    <a:pt x="21" y="217"/>
                  </a:lnTo>
                  <a:lnTo>
                    <a:pt x="24" y="217"/>
                  </a:lnTo>
                  <a:lnTo>
                    <a:pt x="24" y="217"/>
                  </a:lnTo>
                  <a:lnTo>
                    <a:pt x="27" y="214"/>
                  </a:lnTo>
                  <a:lnTo>
                    <a:pt x="27" y="217"/>
                  </a:lnTo>
                  <a:lnTo>
                    <a:pt x="29" y="219"/>
                  </a:lnTo>
                  <a:lnTo>
                    <a:pt x="29" y="222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7" y="225"/>
                  </a:lnTo>
                  <a:lnTo>
                    <a:pt x="32" y="227"/>
                  </a:lnTo>
                  <a:lnTo>
                    <a:pt x="35" y="227"/>
                  </a:lnTo>
                  <a:lnTo>
                    <a:pt x="35" y="227"/>
                  </a:lnTo>
                  <a:lnTo>
                    <a:pt x="37" y="225"/>
                  </a:lnTo>
                  <a:lnTo>
                    <a:pt x="37" y="225"/>
                  </a:lnTo>
                  <a:lnTo>
                    <a:pt x="37" y="227"/>
                  </a:lnTo>
                  <a:lnTo>
                    <a:pt x="40" y="225"/>
                  </a:lnTo>
                  <a:lnTo>
                    <a:pt x="40" y="225"/>
                  </a:lnTo>
                  <a:lnTo>
                    <a:pt x="37" y="222"/>
                  </a:lnTo>
                  <a:lnTo>
                    <a:pt x="40" y="219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3" y="217"/>
                  </a:lnTo>
                  <a:lnTo>
                    <a:pt x="40" y="217"/>
                  </a:lnTo>
                  <a:lnTo>
                    <a:pt x="43" y="214"/>
                  </a:lnTo>
                  <a:lnTo>
                    <a:pt x="45" y="214"/>
                  </a:lnTo>
                  <a:lnTo>
                    <a:pt x="45" y="217"/>
                  </a:lnTo>
                  <a:lnTo>
                    <a:pt x="48" y="217"/>
                  </a:lnTo>
                  <a:lnTo>
                    <a:pt x="48" y="217"/>
                  </a:lnTo>
                  <a:lnTo>
                    <a:pt x="48" y="222"/>
                  </a:lnTo>
                  <a:lnTo>
                    <a:pt x="51" y="222"/>
                  </a:lnTo>
                  <a:lnTo>
                    <a:pt x="51" y="225"/>
                  </a:lnTo>
                  <a:lnTo>
                    <a:pt x="53" y="225"/>
                  </a:lnTo>
                  <a:lnTo>
                    <a:pt x="53" y="222"/>
                  </a:lnTo>
                  <a:lnTo>
                    <a:pt x="53" y="219"/>
                  </a:lnTo>
                  <a:lnTo>
                    <a:pt x="56" y="219"/>
                  </a:lnTo>
                  <a:lnTo>
                    <a:pt x="56" y="222"/>
                  </a:lnTo>
                  <a:lnTo>
                    <a:pt x="56" y="222"/>
                  </a:lnTo>
                  <a:lnTo>
                    <a:pt x="56" y="225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1" y="230"/>
                  </a:lnTo>
                  <a:lnTo>
                    <a:pt x="61" y="233"/>
                  </a:lnTo>
                  <a:lnTo>
                    <a:pt x="59" y="233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4" y="235"/>
                  </a:lnTo>
                  <a:lnTo>
                    <a:pt x="64" y="230"/>
                  </a:lnTo>
                  <a:lnTo>
                    <a:pt x="64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70" y="217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72" y="222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5" y="227"/>
                  </a:lnTo>
                  <a:lnTo>
                    <a:pt x="75" y="225"/>
                  </a:lnTo>
                  <a:lnTo>
                    <a:pt x="78" y="225"/>
                  </a:lnTo>
                  <a:lnTo>
                    <a:pt x="75" y="222"/>
                  </a:lnTo>
                  <a:lnTo>
                    <a:pt x="78" y="222"/>
                  </a:lnTo>
                  <a:lnTo>
                    <a:pt x="78" y="219"/>
                  </a:lnTo>
                  <a:lnTo>
                    <a:pt x="78" y="219"/>
                  </a:lnTo>
                  <a:lnTo>
                    <a:pt x="78" y="217"/>
                  </a:lnTo>
                  <a:lnTo>
                    <a:pt x="78" y="217"/>
                  </a:lnTo>
                  <a:lnTo>
                    <a:pt x="78" y="214"/>
                  </a:lnTo>
                  <a:lnTo>
                    <a:pt x="75" y="214"/>
                  </a:lnTo>
                  <a:lnTo>
                    <a:pt x="75" y="211"/>
                  </a:lnTo>
                  <a:lnTo>
                    <a:pt x="72" y="211"/>
                  </a:lnTo>
                  <a:lnTo>
                    <a:pt x="72" y="211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7" y="209"/>
                  </a:lnTo>
                  <a:lnTo>
                    <a:pt x="67" y="206"/>
                  </a:lnTo>
                  <a:lnTo>
                    <a:pt x="67" y="206"/>
                  </a:lnTo>
                  <a:lnTo>
                    <a:pt x="70" y="206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6"/>
                  </a:lnTo>
                  <a:lnTo>
                    <a:pt x="72" y="206"/>
                  </a:lnTo>
                  <a:lnTo>
                    <a:pt x="72" y="203"/>
                  </a:lnTo>
                  <a:lnTo>
                    <a:pt x="75" y="203"/>
                  </a:lnTo>
                  <a:lnTo>
                    <a:pt x="80" y="201"/>
                  </a:lnTo>
                  <a:lnTo>
                    <a:pt x="80" y="201"/>
                  </a:lnTo>
                  <a:lnTo>
                    <a:pt x="83" y="201"/>
                  </a:lnTo>
                  <a:lnTo>
                    <a:pt x="83" y="201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6" y="198"/>
                  </a:lnTo>
                  <a:lnTo>
                    <a:pt x="86" y="201"/>
                  </a:lnTo>
                  <a:lnTo>
                    <a:pt x="88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4" y="198"/>
                  </a:lnTo>
                  <a:lnTo>
                    <a:pt x="96" y="201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5"/>
                  </a:lnTo>
                  <a:lnTo>
                    <a:pt x="94" y="193"/>
                  </a:lnTo>
                  <a:lnTo>
                    <a:pt x="94" y="193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0"/>
                  </a:lnTo>
                  <a:lnTo>
                    <a:pt x="99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4" y="193"/>
                  </a:lnTo>
                  <a:lnTo>
                    <a:pt x="104" y="193"/>
                  </a:lnTo>
                  <a:lnTo>
                    <a:pt x="107" y="195"/>
                  </a:lnTo>
                  <a:lnTo>
                    <a:pt x="104" y="195"/>
                  </a:lnTo>
                  <a:lnTo>
                    <a:pt x="104" y="198"/>
                  </a:lnTo>
                  <a:lnTo>
                    <a:pt x="104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99" y="201"/>
                  </a:lnTo>
                  <a:lnTo>
                    <a:pt x="99" y="201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6"/>
                  </a:lnTo>
                  <a:lnTo>
                    <a:pt x="91" y="206"/>
                  </a:lnTo>
                  <a:lnTo>
                    <a:pt x="91" y="209"/>
                  </a:lnTo>
                  <a:lnTo>
                    <a:pt x="91" y="209"/>
                  </a:lnTo>
                  <a:lnTo>
                    <a:pt x="91" y="211"/>
                  </a:lnTo>
                  <a:lnTo>
                    <a:pt x="88" y="211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7"/>
                  </a:lnTo>
                  <a:lnTo>
                    <a:pt x="88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8" y="219"/>
                  </a:lnTo>
                  <a:lnTo>
                    <a:pt x="86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91" y="225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88" y="227"/>
                  </a:lnTo>
                  <a:lnTo>
                    <a:pt x="88" y="230"/>
                  </a:lnTo>
                  <a:lnTo>
                    <a:pt x="91" y="227"/>
                  </a:lnTo>
                  <a:lnTo>
                    <a:pt x="91" y="227"/>
                  </a:lnTo>
                  <a:lnTo>
                    <a:pt x="94" y="227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3"/>
                  </a:lnTo>
                  <a:lnTo>
                    <a:pt x="94" y="233"/>
                  </a:lnTo>
                  <a:lnTo>
                    <a:pt x="94" y="235"/>
                  </a:lnTo>
                  <a:lnTo>
                    <a:pt x="96" y="235"/>
                  </a:lnTo>
                  <a:lnTo>
                    <a:pt x="96" y="238"/>
                  </a:lnTo>
                  <a:lnTo>
                    <a:pt x="99" y="235"/>
                  </a:lnTo>
                  <a:lnTo>
                    <a:pt x="102" y="233"/>
                  </a:lnTo>
                  <a:lnTo>
                    <a:pt x="102" y="230"/>
                  </a:lnTo>
                  <a:lnTo>
                    <a:pt x="102" y="227"/>
                  </a:lnTo>
                  <a:lnTo>
                    <a:pt x="102" y="225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4" y="222"/>
                  </a:lnTo>
                  <a:lnTo>
                    <a:pt x="107" y="222"/>
                  </a:lnTo>
                  <a:lnTo>
                    <a:pt x="107" y="225"/>
                  </a:lnTo>
                  <a:lnTo>
                    <a:pt x="110" y="225"/>
                  </a:lnTo>
                  <a:lnTo>
                    <a:pt x="112" y="225"/>
                  </a:lnTo>
                  <a:lnTo>
                    <a:pt x="112" y="227"/>
                  </a:lnTo>
                  <a:lnTo>
                    <a:pt x="115" y="227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5" y="233"/>
                  </a:lnTo>
                  <a:lnTo>
                    <a:pt x="115" y="233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8"/>
                  </a:lnTo>
                  <a:lnTo>
                    <a:pt x="110" y="241"/>
                  </a:lnTo>
                  <a:lnTo>
                    <a:pt x="110" y="241"/>
                  </a:lnTo>
                  <a:lnTo>
                    <a:pt x="107" y="241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2" y="243"/>
                  </a:lnTo>
                  <a:lnTo>
                    <a:pt x="102" y="243"/>
                  </a:lnTo>
                  <a:lnTo>
                    <a:pt x="102" y="246"/>
                  </a:lnTo>
                  <a:lnTo>
                    <a:pt x="99" y="246"/>
                  </a:lnTo>
                  <a:lnTo>
                    <a:pt x="96" y="249"/>
                  </a:lnTo>
                  <a:lnTo>
                    <a:pt x="96" y="249"/>
                  </a:lnTo>
                  <a:lnTo>
                    <a:pt x="94" y="249"/>
                  </a:lnTo>
                  <a:lnTo>
                    <a:pt x="94" y="251"/>
                  </a:lnTo>
                  <a:lnTo>
                    <a:pt x="91" y="249"/>
                  </a:lnTo>
                  <a:lnTo>
                    <a:pt x="91" y="251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6" y="251"/>
                  </a:lnTo>
                  <a:lnTo>
                    <a:pt x="86" y="249"/>
                  </a:lnTo>
                  <a:lnTo>
                    <a:pt x="83" y="251"/>
                  </a:lnTo>
                  <a:lnTo>
                    <a:pt x="83" y="251"/>
                  </a:lnTo>
                  <a:lnTo>
                    <a:pt x="83" y="254"/>
                  </a:lnTo>
                  <a:lnTo>
                    <a:pt x="83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9"/>
                  </a:lnTo>
                  <a:lnTo>
                    <a:pt x="91" y="259"/>
                  </a:lnTo>
                  <a:lnTo>
                    <a:pt x="94" y="262"/>
                  </a:lnTo>
                  <a:lnTo>
                    <a:pt x="96" y="262"/>
                  </a:lnTo>
                  <a:lnTo>
                    <a:pt x="96" y="262"/>
                  </a:lnTo>
                  <a:lnTo>
                    <a:pt x="99" y="262"/>
                  </a:lnTo>
                  <a:lnTo>
                    <a:pt x="99" y="259"/>
                  </a:lnTo>
                  <a:lnTo>
                    <a:pt x="104" y="262"/>
                  </a:lnTo>
                  <a:lnTo>
                    <a:pt x="104" y="265"/>
                  </a:lnTo>
                  <a:lnTo>
                    <a:pt x="104" y="265"/>
                  </a:lnTo>
                  <a:lnTo>
                    <a:pt x="107" y="265"/>
                  </a:lnTo>
                  <a:lnTo>
                    <a:pt x="107" y="265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0" y="262"/>
                  </a:lnTo>
                  <a:lnTo>
                    <a:pt x="115" y="262"/>
                  </a:lnTo>
                  <a:lnTo>
                    <a:pt x="115" y="259"/>
                  </a:lnTo>
                  <a:lnTo>
                    <a:pt x="120" y="257"/>
                  </a:lnTo>
                  <a:lnTo>
                    <a:pt x="120" y="257"/>
                  </a:lnTo>
                  <a:lnTo>
                    <a:pt x="120" y="254"/>
                  </a:lnTo>
                  <a:lnTo>
                    <a:pt x="123" y="259"/>
                  </a:lnTo>
                  <a:lnTo>
                    <a:pt x="128" y="262"/>
                  </a:lnTo>
                  <a:lnTo>
                    <a:pt x="128" y="262"/>
                  </a:lnTo>
                  <a:lnTo>
                    <a:pt x="131" y="259"/>
                  </a:lnTo>
                  <a:lnTo>
                    <a:pt x="134" y="257"/>
                  </a:lnTo>
                  <a:lnTo>
                    <a:pt x="136" y="254"/>
                  </a:lnTo>
                  <a:lnTo>
                    <a:pt x="139" y="254"/>
                  </a:lnTo>
                  <a:lnTo>
                    <a:pt x="142" y="254"/>
                  </a:lnTo>
                  <a:lnTo>
                    <a:pt x="144" y="251"/>
                  </a:lnTo>
                  <a:lnTo>
                    <a:pt x="152" y="249"/>
                  </a:lnTo>
                  <a:lnTo>
                    <a:pt x="152" y="249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8" y="249"/>
                  </a:lnTo>
                  <a:lnTo>
                    <a:pt x="158" y="249"/>
                  </a:lnTo>
                  <a:lnTo>
                    <a:pt x="158" y="246"/>
                  </a:lnTo>
                  <a:lnTo>
                    <a:pt x="160" y="246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41"/>
                  </a:lnTo>
                  <a:lnTo>
                    <a:pt x="158" y="241"/>
                  </a:lnTo>
                  <a:lnTo>
                    <a:pt x="160" y="241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0" y="235"/>
                  </a:lnTo>
                  <a:lnTo>
                    <a:pt x="163" y="233"/>
                  </a:lnTo>
                  <a:lnTo>
                    <a:pt x="163" y="230"/>
                  </a:lnTo>
                  <a:lnTo>
                    <a:pt x="163" y="230"/>
                  </a:lnTo>
                  <a:lnTo>
                    <a:pt x="163" y="227"/>
                  </a:lnTo>
                  <a:lnTo>
                    <a:pt x="160" y="227"/>
                  </a:lnTo>
                  <a:lnTo>
                    <a:pt x="160" y="227"/>
                  </a:lnTo>
                  <a:lnTo>
                    <a:pt x="158" y="230"/>
                  </a:lnTo>
                  <a:lnTo>
                    <a:pt x="158" y="227"/>
                  </a:lnTo>
                  <a:lnTo>
                    <a:pt x="158" y="225"/>
                  </a:lnTo>
                  <a:lnTo>
                    <a:pt x="158" y="225"/>
                  </a:lnTo>
                  <a:lnTo>
                    <a:pt x="158" y="222"/>
                  </a:lnTo>
                  <a:lnTo>
                    <a:pt x="158" y="222"/>
                  </a:lnTo>
                  <a:lnTo>
                    <a:pt x="158" y="222"/>
                  </a:lnTo>
                  <a:lnTo>
                    <a:pt x="158" y="219"/>
                  </a:lnTo>
                  <a:lnTo>
                    <a:pt x="155" y="219"/>
                  </a:lnTo>
                  <a:lnTo>
                    <a:pt x="155" y="217"/>
                  </a:lnTo>
                  <a:lnTo>
                    <a:pt x="155" y="217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5" y="214"/>
                  </a:lnTo>
                  <a:lnTo>
                    <a:pt x="152" y="214"/>
                  </a:lnTo>
                  <a:lnTo>
                    <a:pt x="152" y="214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8" y="209"/>
                  </a:lnTo>
                  <a:lnTo>
                    <a:pt x="160" y="209"/>
                  </a:lnTo>
                  <a:lnTo>
                    <a:pt x="160" y="206"/>
                  </a:lnTo>
                  <a:lnTo>
                    <a:pt x="160" y="206"/>
                  </a:lnTo>
                  <a:lnTo>
                    <a:pt x="158" y="206"/>
                  </a:lnTo>
                  <a:lnTo>
                    <a:pt x="158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0" y="206"/>
                  </a:lnTo>
                  <a:lnTo>
                    <a:pt x="150" y="206"/>
                  </a:lnTo>
                  <a:lnTo>
                    <a:pt x="147" y="206"/>
                  </a:lnTo>
                  <a:lnTo>
                    <a:pt x="147" y="206"/>
                  </a:lnTo>
                  <a:lnTo>
                    <a:pt x="144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7" y="203"/>
                  </a:lnTo>
                  <a:lnTo>
                    <a:pt x="147" y="203"/>
                  </a:lnTo>
                  <a:lnTo>
                    <a:pt x="147" y="203"/>
                  </a:lnTo>
                  <a:lnTo>
                    <a:pt x="150" y="203"/>
                  </a:lnTo>
                  <a:lnTo>
                    <a:pt x="150" y="203"/>
                  </a:lnTo>
                  <a:lnTo>
                    <a:pt x="150" y="201"/>
                  </a:lnTo>
                  <a:lnTo>
                    <a:pt x="150" y="201"/>
                  </a:lnTo>
                  <a:lnTo>
                    <a:pt x="150" y="201"/>
                  </a:lnTo>
                  <a:lnTo>
                    <a:pt x="152" y="198"/>
                  </a:lnTo>
                  <a:lnTo>
                    <a:pt x="150" y="198"/>
                  </a:lnTo>
                  <a:lnTo>
                    <a:pt x="150" y="195"/>
                  </a:lnTo>
                  <a:lnTo>
                    <a:pt x="152" y="195"/>
                  </a:lnTo>
                  <a:lnTo>
                    <a:pt x="150" y="195"/>
                  </a:lnTo>
                  <a:lnTo>
                    <a:pt x="150" y="193"/>
                  </a:lnTo>
                  <a:lnTo>
                    <a:pt x="150" y="193"/>
                  </a:lnTo>
                  <a:lnTo>
                    <a:pt x="152" y="193"/>
                  </a:lnTo>
                  <a:lnTo>
                    <a:pt x="152" y="190"/>
                  </a:lnTo>
                  <a:lnTo>
                    <a:pt x="152" y="190"/>
                  </a:lnTo>
                  <a:lnTo>
                    <a:pt x="152" y="190"/>
                  </a:lnTo>
                  <a:lnTo>
                    <a:pt x="152" y="187"/>
                  </a:lnTo>
                  <a:lnTo>
                    <a:pt x="152" y="187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5" y="193"/>
                  </a:lnTo>
                  <a:lnTo>
                    <a:pt x="155" y="193"/>
                  </a:lnTo>
                  <a:lnTo>
                    <a:pt x="158" y="195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60" y="198"/>
                  </a:lnTo>
                  <a:lnTo>
                    <a:pt x="160" y="198"/>
                  </a:lnTo>
                  <a:lnTo>
                    <a:pt x="163" y="198"/>
                  </a:lnTo>
                  <a:lnTo>
                    <a:pt x="166" y="19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9" y="185"/>
                  </a:lnTo>
                  <a:lnTo>
                    <a:pt x="184" y="185"/>
                  </a:lnTo>
                  <a:lnTo>
                    <a:pt x="184" y="185"/>
                  </a:lnTo>
                  <a:lnTo>
                    <a:pt x="187" y="185"/>
                  </a:lnTo>
                  <a:lnTo>
                    <a:pt x="190" y="185"/>
                  </a:lnTo>
                  <a:lnTo>
                    <a:pt x="192" y="182"/>
                  </a:lnTo>
                  <a:lnTo>
                    <a:pt x="192" y="179"/>
                  </a:lnTo>
                  <a:lnTo>
                    <a:pt x="190" y="179"/>
                  </a:lnTo>
                  <a:lnTo>
                    <a:pt x="190" y="179"/>
                  </a:lnTo>
                  <a:lnTo>
                    <a:pt x="190" y="179"/>
                  </a:lnTo>
                  <a:lnTo>
                    <a:pt x="190" y="177"/>
                  </a:lnTo>
                  <a:lnTo>
                    <a:pt x="187" y="177"/>
                  </a:lnTo>
                  <a:lnTo>
                    <a:pt x="187" y="174"/>
                  </a:lnTo>
                  <a:lnTo>
                    <a:pt x="187" y="174"/>
                  </a:lnTo>
                  <a:lnTo>
                    <a:pt x="187" y="174"/>
                  </a:lnTo>
                  <a:lnTo>
                    <a:pt x="190" y="174"/>
                  </a:lnTo>
                  <a:lnTo>
                    <a:pt x="190" y="171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5" y="166"/>
                  </a:lnTo>
                  <a:lnTo>
                    <a:pt x="195" y="163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2" y="155"/>
                  </a:lnTo>
                  <a:lnTo>
                    <a:pt x="192" y="152"/>
                  </a:lnTo>
                  <a:lnTo>
                    <a:pt x="190" y="150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8" y="144"/>
                  </a:lnTo>
                  <a:lnTo>
                    <a:pt x="200" y="144"/>
                  </a:lnTo>
                  <a:lnTo>
                    <a:pt x="203" y="142"/>
                  </a:lnTo>
                  <a:lnTo>
                    <a:pt x="198" y="139"/>
                  </a:lnTo>
                  <a:lnTo>
                    <a:pt x="200" y="134"/>
                  </a:lnTo>
                  <a:lnTo>
                    <a:pt x="198" y="131"/>
                  </a:lnTo>
                  <a:lnTo>
                    <a:pt x="195" y="131"/>
                  </a:lnTo>
                  <a:lnTo>
                    <a:pt x="195" y="131"/>
                  </a:lnTo>
                  <a:lnTo>
                    <a:pt x="195" y="128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198" y="126"/>
                  </a:lnTo>
                  <a:lnTo>
                    <a:pt x="200" y="126"/>
                  </a:lnTo>
                  <a:lnTo>
                    <a:pt x="203" y="126"/>
                  </a:lnTo>
                  <a:lnTo>
                    <a:pt x="203" y="123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203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06" y="115"/>
                  </a:lnTo>
                  <a:lnTo>
                    <a:pt x="208" y="115"/>
                  </a:lnTo>
                  <a:lnTo>
                    <a:pt x="208" y="112"/>
                  </a:lnTo>
                  <a:lnTo>
                    <a:pt x="208" y="112"/>
                  </a:lnTo>
                  <a:lnTo>
                    <a:pt x="211" y="110"/>
                  </a:lnTo>
                  <a:lnTo>
                    <a:pt x="211" y="107"/>
                  </a:lnTo>
                  <a:lnTo>
                    <a:pt x="214" y="104"/>
                  </a:lnTo>
                  <a:lnTo>
                    <a:pt x="214" y="102"/>
                  </a:lnTo>
                  <a:lnTo>
                    <a:pt x="214" y="99"/>
                  </a:lnTo>
                  <a:lnTo>
                    <a:pt x="214" y="96"/>
                  </a:lnTo>
                  <a:lnTo>
                    <a:pt x="216" y="96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1"/>
                  </a:lnTo>
                  <a:lnTo>
                    <a:pt x="216" y="88"/>
                  </a:lnTo>
                  <a:lnTo>
                    <a:pt x="216" y="86"/>
                  </a:lnTo>
                  <a:lnTo>
                    <a:pt x="216" y="83"/>
                  </a:lnTo>
                  <a:lnTo>
                    <a:pt x="216" y="80"/>
                  </a:lnTo>
                  <a:lnTo>
                    <a:pt x="216" y="78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2"/>
                  </a:lnTo>
                  <a:lnTo>
                    <a:pt x="216" y="70"/>
                  </a:lnTo>
                  <a:lnTo>
                    <a:pt x="216" y="67"/>
                  </a:lnTo>
                  <a:lnTo>
                    <a:pt x="214" y="64"/>
                  </a:lnTo>
                  <a:lnTo>
                    <a:pt x="216" y="64"/>
                  </a:lnTo>
                  <a:lnTo>
                    <a:pt x="219" y="62"/>
                  </a:lnTo>
                  <a:lnTo>
                    <a:pt x="222" y="59"/>
                  </a:lnTo>
                  <a:lnTo>
                    <a:pt x="222" y="59"/>
                  </a:lnTo>
                  <a:lnTo>
                    <a:pt x="222" y="56"/>
                  </a:lnTo>
                  <a:lnTo>
                    <a:pt x="222" y="54"/>
                  </a:lnTo>
                  <a:lnTo>
                    <a:pt x="222" y="51"/>
                  </a:lnTo>
                  <a:lnTo>
                    <a:pt x="222" y="48"/>
                  </a:lnTo>
                  <a:lnTo>
                    <a:pt x="222" y="46"/>
                  </a:lnTo>
                  <a:lnTo>
                    <a:pt x="224" y="43"/>
                  </a:lnTo>
                  <a:lnTo>
                    <a:pt x="219" y="40"/>
                  </a:lnTo>
                  <a:lnTo>
                    <a:pt x="219" y="40"/>
                  </a:lnTo>
                  <a:lnTo>
                    <a:pt x="216" y="38"/>
                  </a:lnTo>
                  <a:lnTo>
                    <a:pt x="216" y="40"/>
                  </a:lnTo>
                  <a:lnTo>
                    <a:pt x="214" y="40"/>
                  </a:lnTo>
                  <a:lnTo>
                    <a:pt x="214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08" y="35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195" y="35"/>
                  </a:lnTo>
                  <a:lnTo>
                    <a:pt x="198" y="32"/>
                  </a:lnTo>
                  <a:lnTo>
                    <a:pt x="195" y="30"/>
                  </a:lnTo>
                  <a:lnTo>
                    <a:pt x="198" y="24"/>
                  </a:lnTo>
                  <a:lnTo>
                    <a:pt x="195" y="24"/>
                  </a:lnTo>
                  <a:lnTo>
                    <a:pt x="198" y="22"/>
                  </a:lnTo>
                  <a:lnTo>
                    <a:pt x="195" y="19"/>
                  </a:lnTo>
                  <a:lnTo>
                    <a:pt x="192" y="22"/>
                  </a:lnTo>
                  <a:lnTo>
                    <a:pt x="187" y="16"/>
                  </a:lnTo>
                  <a:lnTo>
                    <a:pt x="179" y="27"/>
                  </a:lnTo>
                  <a:lnTo>
                    <a:pt x="174" y="24"/>
                  </a:lnTo>
                  <a:lnTo>
                    <a:pt x="171" y="22"/>
                  </a:lnTo>
                  <a:lnTo>
                    <a:pt x="168" y="19"/>
                  </a:lnTo>
                  <a:lnTo>
                    <a:pt x="166" y="19"/>
                  </a:lnTo>
                  <a:lnTo>
                    <a:pt x="163" y="16"/>
                  </a:lnTo>
                  <a:lnTo>
                    <a:pt x="160" y="14"/>
                  </a:lnTo>
                  <a:lnTo>
                    <a:pt x="160" y="14"/>
                  </a:lnTo>
                  <a:lnTo>
                    <a:pt x="155" y="11"/>
                  </a:lnTo>
                  <a:lnTo>
                    <a:pt x="155" y="6"/>
                  </a:lnTo>
                  <a:lnTo>
                    <a:pt x="152" y="6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47" y="3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39" y="0"/>
                  </a:lnTo>
                  <a:lnTo>
                    <a:pt x="136" y="0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1" y="3"/>
                  </a:lnTo>
                  <a:lnTo>
                    <a:pt x="131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8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5" y="19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7"/>
                  </a:lnTo>
                  <a:lnTo>
                    <a:pt x="118" y="30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8" y="35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5" y="40"/>
                  </a:lnTo>
                  <a:lnTo>
                    <a:pt x="115" y="43"/>
                  </a:lnTo>
                  <a:lnTo>
                    <a:pt x="112" y="43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7" y="48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9"/>
                  </a:lnTo>
                  <a:lnTo>
                    <a:pt x="107" y="62"/>
                  </a:lnTo>
                  <a:lnTo>
                    <a:pt x="104" y="62"/>
                  </a:lnTo>
                  <a:lnTo>
                    <a:pt x="102" y="62"/>
                  </a:lnTo>
                  <a:lnTo>
                    <a:pt x="102" y="62"/>
                  </a:lnTo>
                  <a:lnTo>
                    <a:pt x="99" y="64"/>
                  </a:lnTo>
                  <a:lnTo>
                    <a:pt x="99" y="67"/>
                  </a:lnTo>
                  <a:lnTo>
                    <a:pt x="99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1" y="70"/>
                  </a:lnTo>
                  <a:lnTo>
                    <a:pt x="91" y="72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0" y="72"/>
                  </a:lnTo>
                  <a:lnTo>
                    <a:pt x="78" y="75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5" y="78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5" y="72"/>
                  </a:lnTo>
                  <a:lnTo>
                    <a:pt x="72" y="72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67" y="72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1" y="70"/>
                  </a:lnTo>
                  <a:lnTo>
                    <a:pt x="61" y="67"/>
                  </a:lnTo>
                  <a:lnTo>
                    <a:pt x="59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45" y="83"/>
                  </a:lnTo>
                  <a:lnTo>
                    <a:pt x="48" y="86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5" y="94"/>
                  </a:lnTo>
                  <a:lnTo>
                    <a:pt x="45" y="96"/>
                  </a:lnTo>
                  <a:lnTo>
                    <a:pt x="43" y="102"/>
                  </a:lnTo>
                  <a:lnTo>
                    <a:pt x="43" y="104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5" y="118"/>
                  </a:lnTo>
                  <a:lnTo>
                    <a:pt x="45" y="118"/>
                  </a:lnTo>
                  <a:lnTo>
                    <a:pt x="43" y="118"/>
                  </a:lnTo>
                  <a:lnTo>
                    <a:pt x="43" y="120"/>
                  </a:lnTo>
                  <a:lnTo>
                    <a:pt x="45" y="120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6"/>
                  </a:lnTo>
                  <a:lnTo>
                    <a:pt x="51" y="128"/>
                  </a:lnTo>
                  <a:lnTo>
                    <a:pt x="45" y="126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0" y="134"/>
                  </a:lnTo>
                  <a:lnTo>
                    <a:pt x="40" y="134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5" y="134"/>
                  </a:lnTo>
                  <a:lnTo>
                    <a:pt x="35" y="136"/>
                  </a:lnTo>
                  <a:lnTo>
                    <a:pt x="35" y="136"/>
                  </a:lnTo>
                  <a:lnTo>
                    <a:pt x="32" y="142"/>
                  </a:lnTo>
                  <a:lnTo>
                    <a:pt x="21" y="136"/>
                  </a:lnTo>
                  <a:lnTo>
                    <a:pt x="19" y="139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50"/>
                  </a:lnTo>
                  <a:lnTo>
                    <a:pt x="11" y="152"/>
                  </a:lnTo>
                  <a:lnTo>
                    <a:pt x="11" y="152"/>
                  </a:lnTo>
                  <a:lnTo>
                    <a:pt x="11" y="155"/>
                  </a:lnTo>
                  <a:lnTo>
                    <a:pt x="11" y="155"/>
                  </a:lnTo>
                  <a:lnTo>
                    <a:pt x="11" y="158"/>
                  </a:lnTo>
                  <a:lnTo>
                    <a:pt x="13" y="158"/>
                  </a:lnTo>
                  <a:lnTo>
                    <a:pt x="16" y="160"/>
                  </a:lnTo>
                  <a:lnTo>
                    <a:pt x="13" y="163"/>
                  </a:lnTo>
                  <a:lnTo>
                    <a:pt x="13" y="166"/>
                  </a:lnTo>
                  <a:lnTo>
                    <a:pt x="11" y="166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3" y="169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7"/>
                  </a:lnTo>
                  <a:lnTo>
                    <a:pt x="11" y="177"/>
                  </a:lnTo>
                  <a:lnTo>
                    <a:pt x="8" y="182"/>
                  </a:lnTo>
                  <a:lnTo>
                    <a:pt x="13" y="182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8" y="18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3" name="Freeform 8931">
              <a:extLst>
                <a:ext uri="{FF2B5EF4-FFF2-40B4-BE49-F238E27FC236}">
                  <a16:creationId xmlns:a16="http://schemas.microsoft.com/office/drawing/2014/main" id="{D74D4BC6-DFC0-D841-AFC1-AFDBD1A5559B}"/>
                </a:ext>
              </a:extLst>
            </p:cNvPr>
            <p:cNvSpPr/>
            <p:nvPr/>
          </p:nvSpPr>
          <p:spPr bwMode="auto">
            <a:xfrm>
              <a:off x="1754979" y="4362451"/>
              <a:ext cx="677863" cy="606425"/>
            </a:xfrm>
            <a:custGeom>
              <a:avLst/>
              <a:gdLst>
                <a:gd name="T0" fmla="*/ 414 w 427"/>
                <a:gd name="T1" fmla="*/ 254 h 382"/>
                <a:gd name="T2" fmla="*/ 403 w 427"/>
                <a:gd name="T3" fmla="*/ 233 h 382"/>
                <a:gd name="T4" fmla="*/ 385 w 427"/>
                <a:gd name="T5" fmla="*/ 206 h 382"/>
                <a:gd name="T6" fmla="*/ 371 w 427"/>
                <a:gd name="T7" fmla="*/ 185 h 382"/>
                <a:gd name="T8" fmla="*/ 353 w 427"/>
                <a:gd name="T9" fmla="*/ 150 h 382"/>
                <a:gd name="T10" fmla="*/ 337 w 427"/>
                <a:gd name="T11" fmla="*/ 129 h 382"/>
                <a:gd name="T12" fmla="*/ 323 w 427"/>
                <a:gd name="T13" fmla="*/ 129 h 382"/>
                <a:gd name="T14" fmla="*/ 307 w 427"/>
                <a:gd name="T15" fmla="*/ 131 h 382"/>
                <a:gd name="T16" fmla="*/ 281 w 427"/>
                <a:gd name="T17" fmla="*/ 121 h 382"/>
                <a:gd name="T18" fmla="*/ 270 w 427"/>
                <a:gd name="T19" fmla="*/ 105 h 382"/>
                <a:gd name="T20" fmla="*/ 259 w 427"/>
                <a:gd name="T21" fmla="*/ 86 h 382"/>
                <a:gd name="T22" fmla="*/ 235 w 427"/>
                <a:gd name="T23" fmla="*/ 86 h 382"/>
                <a:gd name="T24" fmla="*/ 214 w 427"/>
                <a:gd name="T25" fmla="*/ 94 h 382"/>
                <a:gd name="T26" fmla="*/ 203 w 427"/>
                <a:gd name="T27" fmla="*/ 81 h 382"/>
                <a:gd name="T28" fmla="*/ 195 w 427"/>
                <a:gd name="T29" fmla="*/ 75 h 382"/>
                <a:gd name="T30" fmla="*/ 174 w 427"/>
                <a:gd name="T31" fmla="*/ 72 h 382"/>
                <a:gd name="T32" fmla="*/ 163 w 427"/>
                <a:gd name="T33" fmla="*/ 72 h 382"/>
                <a:gd name="T34" fmla="*/ 158 w 427"/>
                <a:gd name="T35" fmla="*/ 54 h 382"/>
                <a:gd name="T36" fmla="*/ 144 w 427"/>
                <a:gd name="T37" fmla="*/ 46 h 382"/>
                <a:gd name="T38" fmla="*/ 128 w 427"/>
                <a:gd name="T39" fmla="*/ 51 h 382"/>
                <a:gd name="T40" fmla="*/ 115 w 427"/>
                <a:gd name="T41" fmla="*/ 38 h 382"/>
                <a:gd name="T42" fmla="*/ 107 w 427"/>
                <a:gd name="T43" fmla="*/ 24 h 382"/>
                <a:gd name="T44" fmla="*/ 86 w 427"/>
                <a:gd name="T45" fmla="*/ 8 h 382"/>
                <a:gd name="T46" fmla="*/ 67 w 427"/>
                <a:gd name="T47" fmla="*/ 6 h 382"/>
                <a:gd name="T48" fmla="*/ 46 w 427"/>
                <a:gd name="T49" fmla="*/ 11 h 382"/>
                <a:gd name="T50" fmla="*/ 38 w 427"/>
                <a:gd name="T51" fmla="*/ 27 h 382"/>
                <a:gd name="T52" fmla="*/ 30 w 427"/>
                <a:gd name="T53" fmla="*/ 43 h 382"/>
                <a:gd name="T54" fmla="*/ 16 w 427"/>
                <a:gd name="T55" fmla="*/ 54 h 382"/>
                <a:gd name="T56" fmla="*/ 3 w 427"/>
                <a:gd name="T57" fmla="*/ 54 h 382"/>
                <a:gd name="T58" fmla="*/ 3 w 427"/>
                <a:gd name="T59" fmla="*/ 83 h 382"/>
                <a:gd name="T60" fmla="*/ 11 w 427"/>
                <a:gd name="T61" fmla="*/ 123 h 382"/>
                <a:gd name="T62" fmla="*/ 32 w 427"/>
                <a:gd name="T63" fmla="*/ 123 h 382"/>
                <a:gd name="T64" fmla="*/ 48 w 427"/>
                <a:gd name="T65" fmla="*/ 129 h 382"/>
                <a:gd name="T66" fmla="*/ 64 w 427"/>
                <a:gd name="T67" fmla="*/ 137 h 382"/>
                <a:gd name="T68" fmla="*/ 80 w 427"/>
                <a:gd name="T69" fmla="*/ 150 h 382"/>
                <a:gd name="T70" fmla="*/ 102 w 427"/>
                <a:gd name="T71" fmla="*/ 171 h 382"/>
                <a:gd name="T72" fmla="*/ 102 w 427"/>
                <a:gd name="T73" fmla="*/ 193 h 382"/>
                <a:gd name="T74" fmla="*/ 88 w 427"/>
                <a:gd name="T75" fmla="*/ 203 h 382"/>
                <a:gd name="T76" fmla="*/ 86 w 427"/>
                <a:gd name="T77" fmla="*/ 219 h 382"/>
                <a:gd name="T78" fmla="*/ 102 w 427"/>
                <a:gd name="T79" fmla="*/ 227 h 382"/>
                <a:gd name="T80" fmla="*/ 112 w 427"/>
                <a:gd name="T81" fmla="*/ 222 h 382"/>
                <a:gd name="T82" fmla="*/ 131 w 427"/>
                <a:gd name="T83" fmla="*/ 238 h 382"/>
                <a:gd name="T84" fmla="*/ 144 w 427"/>
                <a:gd name="T85" fmla="*/ 260 h 382"/>
                <a:gd name="T86" fmla="*/ 155 w 427"/>
                <a:gd name="T87" fmla="*/ 257 h 382"/>
                <a:gd name="T88" fmla="*/ 163 w 427"/>
                <a:gd name="T89" fmla="*/ 268 h 382"/>
                <a:gd name="T90" fmla="*/ 179 w 427"/>
                <a:gd name="T91" fmla="*/ 300 h 382"/>
                <a:gd name="T92" fmla="*/ 200 w 427"/>
                <a:gd name="T93" fmla="*/ 310 h 382"/>
                <a:gd name="T94" fmla="*/ 206 w 427"/>
                <a:gd name="T95" fmla="*/ 326 h 382"/>
                <a:gd name="T96" fmla="*/ 208 w 427"/>
                <a:gd name="T97" fmla="*/ 350 h 382"/>
                <a:gd name="T98" fmla="*/ 206 w 427"/>
                <a:gd name="T99" fmla="*/ 372 h 382"/>
                <a:gd name="T100" fmla="*/ 235 w 427"/>
                <a:gd name="T101" fmla="*/ 382 h 382"/>
                <a:gd name="T102" fmla="*/ 249 w 427"/>
                <a:gd name="T103" fmla="*/ 361 h 382"/>
                <a:gd name="T104" fmla="*/ 262 w 427"/>
                <a:gd name="T105" fmla="*/ 318 h 382"/>
                <a:gd name="T106" fmla="*/ 281 w 427"/>
                <a:gd name="T107" fmla="*/ 329 h 382"/>
                <a:gd name="T108" fmla="*/ 305 w 427"/>
                <a:gd name="T109" fmla="*/ 326 h 382"/>
                <a:gd name="T110" fmla="*/ 315 w 427"/>
                <a:gd name="T111" fmla="*/ 310 h 382"/>
                <a:gd name="T112" fmla="*/ 339 w 427"/>
                <a:gd name="T113" fmla="*/ 316 h 382"/>
                <a:gd name="T114" fmla="*/ 379 w 427"/>
                <a:gd name="T115" fmla="*/ 316 h 382"/>
                <a:gd name="T116" fmla="*/ 398 w 427"/>
                <a:gd name="T117" fmla="*/ 308 h 382"/>
                <a:gd name="T118" fmla="*/ 419 w 427"/>
                <a:gd name="T119" fmla="*/ 30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7" h="382" extrusionOk="0">
                  <a:moveTo>
                    <a:pt x="425" y="289"/>
                  </a:moveTo>
                  <a:lnTo>
                    <a:pt x="422" y="286"/>
                  </a:lnTo>
                  <a:lnTo>
                    <a:pt x="425" y="284"/>
                  </a:lnTo>
                  <a:lnTo>
                    <a:pt x="422" y="281"/>
                  </a:lnTo>
                  <a:lnTo>
                    <a:pt x="427" y="273"/>
                  </a:lnTo>
                  <a:lnTo>
                    <a:pt x="425" y="273"/>
                  </a:lnTo>
                  <a:lnTo>
                    <a:pt x="425" y="270"/>
                  </a:lnTo>
                  <a:lnTo>
                    <a:pt x="419" y="265"/>
                  </a:lnTo>
                  <a:lnTo>
                    <a:pt x="419" y="262"/>
                  </a:lnTo>
                  <a:lnTo>
                    <a:pt x="414" y="260"/>
                  </a:lnTo>
                  <a:lnTo>
                    <a:pt x="414" y="260"/>
                  </a:lnTo>
                  <a:lnTo>
                    <a:pt x="411" y="260"/>
                  </a:lnTo>
                  <a:lnTo>
                    <a:pt x="414" y="254"/>
                  </a:lnTo>
                  <a:lnTo>
                    <a:pt x="411" y="252"/>
                  </a:lnTo>
                  <a:lnTo>
                    <a:pt x="411" y="254"/>
                  </a:lnTo>
                  <a:lnTo>
                    <a:pt x="409" y="254"/>
                  </a:lnTo>
                  <a:lnTo>
                    <a:pt x="406" y="249"/>
                  </a:lnTo>
                  <a:lnTo>
                    <a:pt x="403" y="252"/>
                  </a:lnTo>
                  <a:lnTo>
                    <a:pt x="403" y="252"/>
                  </a:lnTo>
                  <a:lnTo>
                    <a:pt x="406" y="244"/>
                  </a:lnTo>
                  <a:lnTo>
                    <a:pt x="409" y="246"/>
                  </a:lnTo>
                  <a:lnTo>
                    <a:pt x="411" y="244"/>
                  </a:lnTo>
                  <a:lnTo>
                    <a:pt x="409" y="241"/>
                  </a:lnTo>
                  <a:lnTo>
                    <a:pt x="409" y="241"/>
                  </a:lnTo>
                  <a:lnTo>
                    <a:pt x="403" y="238"/>
                  </a:lnTo>
                  <a:lnTo>
                    <a:pt x="403" y="233"/>
                  </a:lnTo>
                  <a:lnTo>
                    <a:pt x="403" y="230"/>
                  </a:lnTo>
                  <a:lnTo>
                    <a:pt x="401" y="233"/>
                  </a:lnTo>
                  <a:lnTo>
                    <a:pt x="393" y="227"/>
                  </a:lnTo>
                  <a:lnTo>
                    <a:pt x="393" y="217"/>
                  </a:lnTo>
                  <a:lnTo>
                    <a:pt x="390" y="217"/>
                  </a:lnTo>
                  <a:lnTo>
                    <a:pt x="387" y="217"/>
                  </a:lnTo>
                  <a:lnTo>
                    <a:pt x="387" y="214"/>
                  </a:lnTo>
                  <a:lnTo>
                    <a:pt x="390" y="211"/>
                  </a:lnTo>
                  <a:lnTo>
                    <a:pt x="390" y="209"/>
                  </a:lnTo>
                  <a:lnTo>
                    <a:pt x="393" y="209"/>
                  </a:lnTo>
                  <a:lnTo>
                    <a:pt x="393" y="201"/>
                  </a:lnTo>
                  <a:lnTo>
                    <a:pt x="387" y="201"/>
                  </a:lnTo>
                  <a:lnTo>
                    <a:pt x="385" y="206"/>
                  </a:lnTo>
                  <a:lnTo>
                    <a:pt x="382" y="206"/>
                  </a:lnTo>
                  <a:lnTo>
                    <a:pt x="385" y="198"/>
                  </a:lnTo>
                  <a:lnTo>
                    <a:pt x="382" y="198"/>
                  </a:lnTo>
                  <a:lnTo>
                    <a:pt x="379" y="195"/>
                  </a:lnTo>
                  <a:lnTo>
                    <a:pt x="379" y="198"/>
                  </a:lnTo>
                  <a:lnTo>
                    <a:pt x="377" y="195"/>
                  </a:lnTo>
                  <a:lnTo>
                    <a:pt x="382" y="193"/>
                  </a:lnTo>
                  <a:lnTo>
                    <a:pt x="385" y="190"/>
                  </a:lnTo>
                  <a:lnTo>
                    <a:pt x="379" y="187"/>
                  </a:lnTo>
                  <a:lnTo>
                    <a:pt x="379" y="185"/>
                  </a:lnTo>
                  <a:lnTo>
                    <a:pt x="374" y="182"/>
                  </a:lnTo>
                  <a:lnTo>
                    <a:pt x="374" y="185"/>
                  </a:lnTo>
                  <a:lnTo>
                    <a:pt x="371" y="185"/>
                  </a:lnTo>
                  <a:lnTo>
                    <a:pt x="371" y="182"/>
                  </a:lnTo>
                  <a:lnTo>
                    <a:pt x="369" y="179"/>
                  </a:lnTo>
                  <a:lnTo>
                    <a:pt x="366" y="177"/>
                  </a:lnTo>
                  <a:lnTo>
                    <a:pt x="363" y="177"/>
                  </a:lnTo>
                  <a:lnTo>
                    <a:pt x="363" y="179"/>
                  </a:lnTo>
                  <a:lnTo>
                    <a:pt x="361" y="179"/>
                  </a:lnTo>
                  <a:lnTo>
                    <a:pt x="361" y="182"/>
                  </a:lnTo>
                  <a:lnTo>
                    <a:pt x="358" y="182"/>
                  </a:lnTo>
                  <a:lnTo>
                    <a:pt x="361" y="169"/>
                  </a:lnTo>
                  <a:lnTo>
                    <a:pt x="355" y="166"/>
                  </a:lnTo>
                  <a:lnTo>
                    <a:pt x="358" y="158"/>
                  </a:lnTo>
                  <a:lnTo>
                    <a:pt x="353" y="155"/>
                  </a:lnTo>
                  <a:lnTo>
                    <a:pt x="353" y="150"/>
                  </a:lnTo>
                  <a:lnTo>
                    <a:pt x="353" y="150"/>
                  </a:lnTo>
                  <a:lnTo>
                    <a:pt x="353" y="147"/>
                  </a:lnTo>
                  <a:lnTo>
                    <a:pt x="345" y="147"/>
                  </a:lnTo>
                  <a:lnTo>
                    <a:pt x="342" y="145"/>
                  </a:lnTo>
                  <a:lnTo>
                    <a:pt x="345" y="142"/>
                  </a:lnTo>
                  <a:lnTo>
                    <a:pt x="347" y="139"/>
                  </a:lnTo>
                  <a:lnTo>
                    <a:pt x="353" y="137"/>
                  </a:lnTo>
                  <a:lnTo>
                    <a:pt x="353" y="134"/>
                  </a:lnTo>
                  <a:lnTo>
                    <a:pt x="347" y="134"/>
                  </a:lnTo>
                  <a:lnTo>
                    <a:pt x="347" y="131"/>
                  </a:lnTo>
                  <a:lnTo>
                    <a:pt x="342" y="131"/>
                  </a:lnTo>
                  <a:lnTo>
                    <a:pt x="339" y="126"/>
                  </a:lnTo>
                  <a:lnTo>
                    <a:pt x="337" y="129"/>
                  </a:lnTo>
                  <a:lnTo>
                    <a:pt x="337" y="129"/>
                  </a:lnTo>
                  <a:lnTo>
                    <a:pt x="334" y="129"/>
                  </a:lnTo>
                  <a:lnTo>
                    <a:pt x="331" y="126"/>
                  </a:lnTo>
                  <a:lnTo>
                    <a:pt x="331" y="129"/>
                  </a:lnTo>
                  <a:lnTo>
                    <a:pt x="329" y="129"/>
                  </a:lnTo>
                  <a:lnTo>
                    <a:pt x="329" y="129"/>
                  </a:lnTo>
                  <a:lnTo>
                    <a:pt x="331" y="131"/>
                  </a:lnTo>
                  <a:lnTo>
                    <a:pt x="329" y="134"/>
                  </a:lnTo>
                  <a:lnTo>
                    <a:pt x="329" y="134"/>
                  </a:lnTo>
                  <a:lnTo>
                    <a:pt x="326" y="134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3" y="129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5" y="126"/>
                  </a:lnTo>
                  <a:lnTo>
                    <a:pt x="313" y="134"/>
                  </a:lnTo>
                  <a:lnTo>
                    <a:pt x="307" y="134"/>
                  </a:lnTo>
                  <a:lnTo>
                    <a:pt x="307" y="131"/>
                  </a:lnTo>
                  <a:lnTo>
                    <a:pt x="305" y="131"/>
                  </a:lnTo>
                  <a:lnTo>
                    <a:pt x="305" y="129"/>
                  </a:lnTo>
                  <a:lnTo>
                    <a:pt x="305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7" y="126"/>
                  </a:lnTo>
                  <a:lnTo>
                    <a:pt x="291" y="126"/>
                  </a:lnTo>
                  <a:lnTo>
                    <a:pt x="291" y="126"/>
                  </a:lnTo>
                  <a:lnTo>
                    <a:pt x="289" y="123"/>
                  </a:lnTo>
                  <a:lnTo>
                    <a:pt x="289" y="123"/>
                  </a:lnTo>
                  <a:lnTo>
                    <a:pt x="286" y="121"/>
                  </a:lnTo>
                  <a:lnTo>
                    <a:pt x="283" y="121"/>
                  </a:lnTo>
                  <a:lnTo>
                    <a:pt x="281" y="121"/>
                  </a:lnTo>
                  <a:lnTo>
                    <a:pt x="281" y="118"/>
                  </a:lnTo>
                  <a:lnTo>
                    <a:pt x="281" y="118"/>
                  </a:lnTo>
                  <a:lnTo>
                    <a:pt x="278" y="115"/>
                  </a:lnTo>
                  <a:lnTo>
                    <a:pt x="275" y="118"/>
                  </a:lnTo>
                  <a:lnTo>
                    <a:pt x="273" y="118"/>
                  </a:lnTo>
                  <a:lnTo>
                    <a:pt x="275" y="115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3" y="110"/>
                  </a:lnTo>
                  <a:lnTo>
                    <a:pt x="275" y="107"/>
                  </a:lnTo>
                  <a:lnTo>
                    <a:pt x="273" y="107"/>
                  </a:lnTo>
                  <a:lnTo>
                    <a:pt x="273" y="107"/>
                  </a:lnTo>
                  <a:lnTo>
                    <a:pt x="270" y="105"/>
                  </a:lnTo>
                  <a:lnTo>
                    <a:pt x="267" y="105"/>
                  </a:lnTo>
                  <a:lnTo>
                    <a:pt x="265" y="105"/>
                  </a:lnTo>
                  <a:lnTo>
                    <a:pt x="265" y="102"/>
                  </a:lnTo>
                  <a:lnTo>
                    <a:pt x="262" y="102"/>
                  </a:lnTo>
                  <a:lnTo>
                    <a:pt x="259" y="99"/>
                  </a:lnTo>
                  <a:lnTo>
                    <a:pt x="259" y="99"/>
                  </a:lnTo>
                  <a:lnTo>
                    <a:pt x="259" y="97"/>
                  </a:lnTo>
                  <a:lnTo>
                    <a:pt x="259" y="94"/>
                  </a:lnTo>
                  <a:lnTo>
                    <a:pt x="257" y="94"/>
                  </a:lnTo>
                  <a:lnTo>
                    <a:pt x="257" y="91"/>
                  </a:lnTo>
                  <a:lnTo>
                    <a:pt x="259" y="89"/>
                  </a:lnTo>
                  <a:lnTo>
                    <a:pt x="259" y="89"/>
                  </a:lnTo>
                  <a:lnTo>
                    <a:pt x="259" y="86"/>
                  </a:lnTo>
                  <a:lnTo>
                    <a:pt x="257" y="89"/>
                  </a:lnTo>
                  <a:lnTo>
                    <a:pt x="257" y="89"/>
                  </a:lnTo>
                  <a:lnTo>
                    <a:pt x="254" y="89"/>
                  </a:lnTo>
                  <a:lnTo>
                    <a:pt x="251" y="86"/>
                  </a:lnTo>
                  <a:lnTo>
                    <a:pt x="249" y="86"/>
                  </a:lnTo>
                  <a:lnTo>
                    <a:pt x="249" y="86"/>
                  </a:lnTo>
                  <a:lnTo>
                    <a:pt x="246" y="83"/>
                  </a:lnTo>
                  <a:lnTo>
                    <a:pt x="243" y="83"/>
                  </a:lnTo>
                  <a:lnTo>
                    <a:pt x="241" y="83"/>
                  </a:lnTo>
                  <a:lnTo>
                    <a:pt x="238" y="83"/>
                  </a:lnTo>
                  <a:lnTo>
                    <a:pt x="238" y="86"/>
                  </a:lnTo>
                  <a:lnTo>
                    <a:pt x="238" y="86"/>
                  </a:lnTo>
                  <a:lnTo>
                    <a:pt x="235" y="86"/>
                  </a:lnTo>
                  <a:lnTo>
                    <a:pt x="233" y="86"/>
                  </a:lnTo>
                  <a:lnTo>
                    <a:pt x="233" y="83"/>
                  </a:lnTo>
                  <a:lnTo>
                    <a:pt x="230" y="86"/>
                  </a:lnTo>
                  <a:lnTo>
                    <a:pt x="227" y="89"/>
                  </a:lnTo>
                  <a:lnTo>
                    <a:pt x="224" y="86"/>
                  </a:lnTo>
                  <a:lnTo>
                    <a:pt x="224" y="89"/>
                  </a:lnTo>
                  <a:lnTo>
                    <a:pt x="219" y="86"/>
                  </a:lnTo>
                  <a:lnTo>
                    <a:pt x="216" y="89"/>
                  </a:lnTo>
                  <a:lnTo>
                    <a:pt x="216" y="91"/>
                  </a:lnTo>
                  <a:lnTo>
                    <a:pt x="216" y="91"/>
                  </a:lnTo>
                  <a:lnTo>
                    <a:pt x="216" y="91"/>
                  </a:lnTo>
                  <a:lnTo>
                    <a:pt x="214" y="91"/>
                  </a:lnTo>
                  <a:lnTo>
                    <a:pt x="214" y="94"/>
                  </a:lnTo>
                  <a:lnTo>
                    <a:pt x="211" y="94"/>
                  </a:lnTo>
                  <a:lnTo>
                    <a:pt x="211" y="94"/>
                  </a:lnTo>
                  <a:lnTo>
                    <a:pt x="208" y="91"/>
                  </a:lnTo>
                  <a:lnTo>
                    <a:pt x="208" y="91"/>
                  </a:lnTo>
                  <a:lnTo>
                    <a:pt x="208" y="89"/>
                  </a:lnTo>
                  <a:lnTo>
                    <a:pt x="208" y="89"/>
                  </a:lnTo>
                  <a:lnTo>
                    <a:pt x="203" y="86"/>
                  </a:lnTo>
                  <a:lnTo>
                    <a:pt x="203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3" y="81"/>
                  </a:lnTo>
                  <a:lnTo>
                    <a:pt x="203" y="81"/>
                  </a:lnTo>
                  <a:lnTo>
                    <a:pt x="203" y="81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3" y="75"/>
                  </a:lnTo>
                  <a:lnTo>
                    <a:pt x="203" y="75"/>
                  </a:lnTo>
                  <a:lnTo>
                    <a:pt x="198" y="78"/>
                  </a:lnTo>
                  <a:lnTo>
                    <a:pt x="198" y="75"/>
                  </a:lnTo>
                  <a:lnTo>
                    <a:pt x="198" y="78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5" y="75"/>
                  </a:lnTo>
                  <a:lnTo>
                    <a:pt x="195" y="75"/>
                  </a:lnTo>
                  <a:lnTo>
                    <a:pt x="195" y="75"/>
                  </a:lnTo>
                  <a:lnTo>
                    <a:pt x="192" y="75"/>
                  </a:lnTo>
                  <a:lnTo>
                    <a:pt x="192" y="78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187" y="75"/>
                  </a:lnTo>
                  <a:lnTo>
                    <a:pt x="184" y="78"/>
                  </a:lnTo>
                  <a:lnTo>
                    <a:pt x="184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79" y="75"/>
                  </a:lnTo>
                  <a:lnTo>
                    <a:pt x="176" y="75"/>
                  </a:lnTo>
                  <a:lnTo>
                    <a:pt x="176" y="72"/>
                  </a:lnTo>
                  <a:lnTo>
                    <a:pt x="174" y="72"/>
                  </a:lnTo>
                  <a:lnTo>
                    <a:pt x="174" y="70"/>
                  </a:lnTo>
                  <a:lnTo>
                    <a:pt x="174" y="70"/>
                  </a:lnTo>
                  <a:lnTo>
                    <a:pt x="174" y="70"/>
                  </a:lnTo>
                  <a:lnTo>
                    <a:pt x="174" y="67"/>
                  </a:lnTo>
                  <a:lnTo>
                    <a:pt x="168" y="67"/>
                  </a:lnTo>
                  <a:lnTo>
                    <a:pt x="168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63" y="67"/>
                  </a:lnTo>
                  <a:lnTo>
                    <a:pt x="160" y="64"/>
                  </a:lnTo>
                  <a:lnTo>
                    <a:pt x="160" y="67"/>
                  </a:lnTo>
                  <a:lnTo>
                    <a:pt x="158" y="64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6"/>
                  </a:lnTo>
                  <a:lnTo>
                    <a:pt x="158" y="56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1"/>
                  </a:lnTo>
                  <a:lnTo>
                    <a:pt x="155" y="51"/>
                  </a:lnTo>
                  <a:lnTo>
                    <a:pt x="152" y="51"/>
                  </a:lnTo>
                  <a:lnTo>
                    <a:pt x="152" y="48"/>
                  </a:lnTo>
                  <a:lnTo>
                    <a:pt x="150" y="46"/>
                  </a:lnTo>
                  <a:lnTo>
                    <a:pt x="152" y="46"/>
                  </a:lnTo>
                  <a:lnTo>
                    <a:pt x="150" y="43"/>
                  </a:lnTo>
                  <a:lnTo>
                    <a:pt x="150" y="40"/>
                  </a:lnTo>
                  <a:lnTo>
                    <a:pt x="147" y="40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1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6" y="48"/>
                  </a:lnTo>
                  <a:lnTo>
                    <a:pt x="123" y="46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20" y="43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15" y="38"/>
                  </a:lnTo>
                  <a:lnTo>
                    <a:pt x="115" y="40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5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7" y="30"/>
                  </a:lnTo>
                  <a:lnTo>
                    <a:pt x="107" y="27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4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99" y="22"/>
                  </a:lnTo>
                  <a:lnTo>
                    <a:pt x="99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88" y="16"/>
                  </a:lnTo>
                  <a:lnTo>
                    <a:pt x="86" y="14"/>
                  </a:lnTo>
                  <a:lnTo>
                    <a:pt x="83" y="16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6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78" y="6"/>
                  </a:lnTo>
                  <a:lnTo>
                    <a:pt x="75" y="6"/>
                  </a:lnTo>
                  <a:lnTo>
                    <a:pt x="72" y="6"/>
                  </a:lnTo>
                  <a:lnTo>
                    <a:pt x="72" y="3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7" y="3"/>
                  </a:lnTo>
                  <a:lnTo>
                    <a:pt x="67" y="6"/>
                  </a:lnTo>
                  <a:lnTo>
                    <a:pt x="64" y="6"/>
                  </a:lnTo>
                  <a:lnTo>
                    <a:pt x="64" y="3"/>
                  </a:lnTo>
                  <a:lnTo>
                    <a:pt x="62" y="0"/>
                  </a:lnTo>
                  <a:lnTo>
                    <a:pt x="62" y="3"/>
                  </a:lnTo>
                  <a:lnTo>
                    <a:pt x="62" y="6"/>
                  </a:lnTo>
                  <a:lnTo>
                    <a:pt x="59" y="6"/>
                  </a:lnTo>
                  <a:lnTo>
                    <a:pt x="56" y="8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3" y="11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9"/>
                  </a:lnTo>
                  <a:lnTo>
                    <a:pt x="38" y="19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2" y="43"/>
                  </a:lnTo>
                  <a:lnTo>
                    <a:pt x="22" y="46"/>
                  </a:lnTo>
                  <a:lnTo>
                    <a:pt x="19" y="46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51"/>
                  </a:lnTo>
                  <a:lnTo>
                    <a:pt x="19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8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3" y="54"/>
                  </a:lnTo>
                  <a:lnTo>
                    <a:pt x="3" y="56"/>
                  </a:lnTo>
                  <a:lnTo>
                    <a:pt x="3" y="59"/>
                  </a:lnTo>
                  <a:lnTo>
                    <a:pt x="6" y="62"/>
                  </a:lnTo>
                  <a:lnTo>
                    <a:pt x="8" y="67"/>
                  </a:lnTo>
                  <a:lnTo>
                    <a:pt x="8" y="70"/>
                  </a:lnTo>
                  <a:lnTo>
                    <a:pt x="8" y="72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6" y="78"/>
                  </a:lnTo>
                  <a:lnTo>
                    <a:pt x="3" y="81"/>
                  </a:lnTo>
                  <a:lnTo>
                    <a:pt x="3" y="83"/>
                  </a:lnTo>
                  <a:lnTo>
                    <a:pt x="6" y="89"/>
                  </a:lnTo>
                  <a:lnTo>
                    <a:pt x="3" y="91"/>
                  </a:lnTo>
                  <a:lnTo>
                    <a:pt x="3" y="89"/>
                  </a:lnTo>
                  <a:lnTo>
                    <a:pt x="0" y="89"/>
                  </a:lnTo>
                  <a:lnTo>
                    <a:pt x="0" y="94"/>
                  </a:lnTo>
                  <a:lnTo>
                    <a:pt x="3" y="94"/>
                  </a:lnTo>
                  <a:lnTo>
                    <a:pt x="3" y="102"/>
                  </a:lnTo>
                  <a:lnTo>
                    <a:pt x="8" y="110"/>
                  </a:lnTo>
                  <a:lnTo>
                    <a:pt x="8" y="113"/>
                  </a:lnTo>
                  <a:lnTo>
                    <a:pt x="11" y="113"/>
                  </a:lnTo>
                  <a:lnTo>
                    <a:pt x="11" y="115"/>
                  </a:lnTo>
                  <a:lnTo>
                    <a:pt x="11" y="121"/>
                  </a:lnTo>
                  <a:lnTo>
                    <a:pt x="11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9" y="123"/>
                  </a:lnTo>
                  <a:lnTo>
                    <a:pt x="22" y="123"/>
                  </a:lnTo>
                  <a:lnTo>
                    <a:pt x="22" y="126"/>
                  </a:lnTo>
                  <a:lnTo>
                    <a:pt x="24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30" y="129"/>
                  </a:lnTo>
                  <a:lnTo>
                    <a:pt x="32" y="129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40" y="129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43" y="131"/>
                  </a:lnTo>
                  <a:lnTo>
                    <a:pt x="46" y="131"/>
                  </a:lnTo>
                  <a:lnTo>
                    <a:pt x="46" y="131"/>
                  </a:lnTo>
                  <a:lnTo>
                    <a:pt x="46" y="129"/>
                  </a:lnTo>
                  <a:lnTo>
                    <a:pt x="48" y="129"/>
                  </a:lnTo>
                  <a:lnTo>
                    <a:pt x="48" y="131"/>
                  </a:lnTo>
                  <a:lnTo>
                    <a:pt x="51" y="129"/>
                  </a:lnTo>
                  <a:lnTo>
                    <a:pt x="54" y="12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4" y="139"/>
                  </a:lnTo>
                  <a:lnTo>
                    <a:pt x="56" y="139"/>
                  </a:lnTo>
                  <a:lnTo>
                    <a:pt x="54" y="142"/>
                  </a:lnTo>
                  <a:lnTo>
                    <a:pt x="56" y="142"/>
                  </a:lnTo>
                  <a:lnTo>
                    <a:pt x="62" y="137"/>
                  </a:lnTo>
                  <a:lnTo>
                    <a:pt x="64" y="137"/>
                  </a:lnTo>
                  <a:lnTo>
                    <a:pt x="64" y="139"/>
                  </a:lnTo>
                  <a:lnTo>
                    <a:pt x="67" y="142"/>
                  </a:lnTo>
                  <a:lnTo>
                    <a:pt x="70" y="142"/>
                  </a:lnTo>
                  <a:lnTo>
                    <a:pt x="70" y="142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5" y="142"/>
                  </a:lnTo>
                  <a:lnTo>
                    <a:pt x="78" y="142"/>
                  </a:lnTo>
                  <a:lnTo>
                    <a:pt x="78" y="145"/>
                  </a:lnTo>
                  <a:lnTo>
                    <a:pt x="78" y="145"/>
                  </a:lnTo>
                  <a:lnTo>
                    <a:pt x="78" y="153"/>
                  </a:lnTo>
                  <a:lnTo>
                    <a:pt x="80" y="153"/>
                  </a:lnTo>
                  <a:lnTo>
                    <a:pt x="80" y="150"/>
                  </a:lnTo>
                  <a:lnTo>
                    <a:pt x="83" y="150"/>
                  </a:lnTo>
                  <a:lnTo>
                    <a:pt x="86" y="155"/>
                  </a:lnTo>
                  <a:lnTo>
                    <a:pt x="88" y="158"/>
                  </a:lnTo>
                  <a:lnTo>
                    <a:pt x="96" y="161"/>
                  </a:lnTo>
                  <a:lnTo>
                    <a:pt x="94" y="163"/>
                  </a:lnTo>
                  <a:lnTo>
                    <a:pt x="94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9" y="166"/>
                  </a:lnTo>
                  <a:lnTo>
                    <a:pt x="99" y="166"/>
                  </a:lnTo>
                  <a:lnTo>
                    <a:pt x="102" y="166"/>
                  </a:lnTo>
                  <a:lnTo>
                    <a:pt x="102" y="169"/>
                  </a:lnTo>
                  <a:lnTo>
                    <a:pt x="102" y="171"/>
                  </a:lnTo>
                  <a:lnTo>
                    <a:pt x="102" y="174"/>
                  </a:lnTo>
                  <a:lnTo>
                    <a:pt x="102" y="177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2" y="179"/>
                  </a:lnTo>
                  <a:lnTo>
                    <a:pt x="104" y="182"/>
                  </a:lnTo>
                  <a:lnTo>
                    <a:pt x="102" y="185"/>
                  </a:lnTo>
                  <a:lnTo>
                    <a:pt x="99" y="185"/>
                  </a:lnTo>
                  <a:lnTo>
                    <a:pt x="102" y="187"/>
                  </a:lnTo>
                  <a:lnTo>
                    <a:pt x="99" y="187"/>
                  </a:lnTo>
                  <a:lnTo>
                    <a:pt x="99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2" y="195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99" y="201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6"/>
                  </a:lnTo>
                  <a:lnTo>
                    <a:pt x="91" y="206"/>
                  </a:lnTo>
                  <a:lnTo>
                    <a:pt x="91" y="206"/>
                  </a:lnTo>
                  <a:lnTo>
                    <a:pt x="88" y="206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6" y="203"/>
                  </a:lnTo>
                  <a:lnTo>
                    <a:pt x="86" y="206"/>
                  </a:lnTo>
                  <a:lnTo>
                    <a:pt x="86" y="206"/>
                  </a:lnTo>
                  <a:lnTo>
                    <a:pt x="88" y="206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11"/>
                  </a:lnTo>
                  <a:lnTo>
                    <a:pt x="86" y="211"/>
                  </a:lnTo>
                  <a:lnTo>
                    <a:pt x="86" y="214"/>
                  </a:lnTo>
                  <a:lnTo>
                    <a:pt x="83" y="214"/>
                  </a:lnTo>
                  <a:lnTo>
                    <a:pt x="83" y="217"/>
                  </a:lnTo>
                  <a:lnTo>
                    <a:pt x="83" y="217"/>
                  </a:lnTo>
                  <a:lnTo>
                    <a:pt x="86" y="219"/>
                  </a:lnTo>
                  <a:lnTo>
                    <a:pt x="88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9" y="222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7"/>
                  </a:lnTo>
                  <a:lnTo>
                    <a:pt x="99" y="227"/>
                  </a:lnTo>
                  <a:lnTo>
                    <a:pt x="99" y="227"/>
                  </a:lnTo>
                  <a:lnTo>
                    <a:pt x="102" y="227"/>
                  </a:lnTo>
                  <a:lnTo>
                    <a:pt x="102" y="227"/>
                  </a:lnTo>
                  <a:lnTo>
                    <a:pt x="104" y="227"/>
                  </a:lnTo>
                  <a:lnTo>
                    <a:pt x="104" y="230"/>
                  </a:lnTo>
                  <a:lnTo>
                    <a:pt x="104" y="230"/>
                  </a:lnTo>
                  <a:lnTo>
                    <a:pt x="107" y="233"/>
                  </a:lnTo>
                  <a:lnTo>
                    <a:pt x="110" y="233"/>
                  </a:lnTo>
                  <a:lnTo>
                    <a:pt x="112" y="233"/>
                  </a:lnTo>
                  <a:lnTo>
                    <a:pt x="112" y="230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2"/>
                  </a:lnTo>
                  <a:lnTo>
                    <a:pt x="115" y="222"/>
                  </a:lnTo>
                  <a:lnTo>
                    <a:pt x="118" y="219"/>
                  </a:lnTo>
                  <a:lnTo>
                    <a:pt x="120" y="219"/>
                  </a:lnTo>
                  <a:lnTo>
                    <a:pt x="120" y="222"/>
                  </a:lnTo>
                  <a:lnTo>
                    <a:pt x="123" y="222"/>
                  </a:lnTo>
                  <a:lnTo>
                    <a:pt x="126" y="225"/>
                  </a:lnTo>
                  <a:lnTo>
                    <a:pt x="126" y="227"/>
                  </a:lnTo>
                  <a:lnTo>
                    <a:pt x="126" y="230"/>
                  </a:lnTo>
                  <a:lnTo>
                    <a:pt x="128" y="233"/>
                  </a:lnTo>
                  <a:lnTo>
                    <a:pt x="128" y="233"/>
                  </a:lnTo>
                  <a:lnTo>
                    <a:pt x="131" y="236"/>
                  </a:lnTo>
                  <a:lnTo>
                    <a:pt x="131" y="236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31" y="241"/>
                  </a:lnTo>
                  <a:lnTo>
                    <a:pt x="128" y="244"/>
                  </a:lnTo>
                  <a:lnTo>
                    <a:pt x="123" y="249"/>
                  </a:lnTo>
                  <a:lnTo>
                    <a:pt x="136" y="254"/>
                  </a:lnTo>
                  <a:lnTo>
                    <a:pt x="136" y="252"/>
                  </a:lnTo>
                  <a:lnTo>
                    <a:pt x="139" y="254"/>
                  </a:lnTo>
                  <a:lnTo>
                    <a:pt x="139" y="257"/>
                  </a:lnTo>
                  <a:lnTo>
                    <a:pt x="142" y="257"/>
                  </a:lnTo>
                  <a:lnTo>
                    <a:pt x="142" y="260"/>
                  </a:lnTo>
                  <a:lnTo>
                    <a:pt x="144" y="260"/>
                  </a:lnTo>
                  <a:lnTo>
                    <a:pt x="144" y="260"/>
                  </a:lnTo>
                  <a:lnTo>
                    <a:pt x="147" y="260"/>
                  </a:lnTo>
                  <a:lnTo>
                    <a:pt x="147" y="257"/>
                  </a:lnTo>
                  <a:lnTo>
                    <a:pt x="147" y="257"/>
                  </a:lnTo>
                  <a:lnTo>
                    <a:pt x="147" y="254"/>
                  </a:lnTo>
                  <a:lnTo>
                    <a:pt x="147" y="254"/>
                  </a:lnTo>
                  <a:lnTo>
                    <a:pt x="150" y="254"/>
                  </a:lnTo>
                  <a:lnTo>
                    <a:pt x="150" y="254"/>
                  </a:lnTo>
                  <a:lnTo>
                    <a:pt x="152" y="254"/>
                  </a:lnTo>
                  <a:lnTo>
                    <a:pt x="152" y="254"/>
                  </a:lnTo>
                  <a:lnTo>
                    <a:pt x="155" y="254"/>
                  </a:lnTo>
                  <a:lnTo>
                    <a:pt x="152" y="257"/>
                  </a:lnTo>
                  <a:lnTo>
                    <a:pt x="155" y="257"/>
                  </a:lnTo>
                  <a:lnTo>
                    <a:pt x="155" y="257"/>
                  </a:lnTo>
                  <a:lnTo>
                    <a:pt x="158" y="254"/>
                  </a:lnTo>
                  <a:lnTo>
                    <a:pt x="160" y="252"/>
                  </a:lnTo>
                  <a:lnTo>
                    <a:pt x="160" y="252"/>
                  </a:lnTo>
                  <a:lnTo>
                    <a:pt x="160" y="254"/>
                  </a:lnTo>
                  <a:lnTo>
                    <a:pt x="163" y="254"/>
                  </a:lnTo>
                  <a:lnTo>
                    <a:pt x="166" y="254"/>
                  </a:lnTo>
                  <a:lnTo>
                    <a:pt x="166" y="257"/>
                  </a:lnTo>
                  <a:lnTo>
                    <a:pt x="166" y="260"/>
                  </a:lnTo>
                  <a:lnTo>
                    <a:pt x="166" y="262"/>
                  </a:lnTo>
                  <a:lnTo>
                    <a:pt x="168" y="262"/>
                  </a:lnTo>
                  <a:lnTo>
                    <a:pt x="168" y="265"/>
                  </a:lnTo>
                  <a:lnTo>
                    <a:pt x="166" y="268"/>
                  </a:lnTo>
                  <a:lnTo>
                    <a:pt x="163" y="268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6" y="276"/>
                  </a:lnTo>
                  <a:lnTo>
                    <a:pt x="168" y="278"/>
                  </a:lnTo>
                  <a:lnTo>
                    <a:pt x="166" y="281"/>
                  </a:lnTo>
                  <a:lnTo>
                    <a:pt x="171" y="284"/>
                  </a:lnTo>
                  <a:lnTo>
                    <a:pt x="174" y="281"/>
                  </a:lnTo>
                  <a:lnTo>
                    <a:pt x="182" y="286"/>
                  </a:lnTo>
                  <a:lnTo>
                    <a:pt x="179" y="292"/>
                  </a:lnTo>
                  <a:lnTo>
                    <a:pt x="179" y="294"/>
                  </a:lnTo>
                  <a:lnTo>
                    <a:pt x="176" y="297"/>
                  </a:lnTo>
                  <a:lnTo>
                    <a:pt x="179" y="300"/>
                  </a:lnTo>
                  <a:lnTo>
                    <a:pt x="179" y="300"/>
                  </a:lnTo>
                  <a:lnTo>
                    <a:pt x="184" y="302"/>
                  </a:lnTo>
                  <a:lnTo>
                    <a:pt x="184" y="302"/>
                  </a:lnTo>
                  <a:lnTo>
                    <a:pt x="187" y="305"/>
                  </a:lnTo>
                  <a:lnTo>
                    <a:pt x="190" y="302"/>
                  </a:lnTo>
                  <a:lnTo>
                    <a:pt x="190" y="302"/>
                  </a:lnTo>
                  <a:lnTo>
                    <a:pt x="195" y="302"/>
                  </a:lnTo>
                  <a:lnTo>
                    <a:pt x="200" y="302"/>
                  </a:lnTo>
                  <a:lnTo>
                    <a:pt x="200" y="302"/>
                  </a:lnTo>
                  <a:lnTo>
                    <a:pt x="200" y="302"/>
                  </a:lnTo>
                  <a:lnTo>
                    <a:pt x="200" y="305"/>
                  </a:lnTo>
                  <a:lnTo>
                    <a:pt x="200" y="308"/>
                  </a:lnTo>
                  <a:lnTo>
                    <a:pt x="200" y="308"/>
                  </a:lnTo>
                  <a:lnTo>
                    <a:pt x="200" y="310"/>
                  </a:lnTo>
                  <a:lnTo>
                    <a:pt x="200" y="310"/>
                  </a:lnTo>
                  <a:lnTo>
                    <a:pt x="203" y="313"/>
                  </a:lnTo>
                  <a:lnTo>
                    <a:pt x="203" y="313"/>
                  </a:lnTo>
                  <a:lnTo>
                    <a:pt x="203" y="313"/>
                  </a:lnTo>
                  <a:lnTo>
                    <a:pt x="203" y="316"/>
                  </a:lnTo>
                  <a:lnTo>
                    <a:pt x="203" y="318"/>
                  </a:lnTo>
                  <a:lnTo>
                    <a:pt x="203" y="318"/>
                  </a:lnTo>
                  <a:lnTo>
                    <a:pt x="203" y="321"/>
                  </a:lnTo>
                  <a:lnTo>
                    <a:pt x="203" y="321"/>
                  </a:lnTo>
                  <a:lnTo>
                    <a:pt x="206" y="324"/>
                  </a:lnTo>
                  <a:lnTo>
                    <a:pt x="206" y="324"/>
                  </a:lnTo>
                  <a:lnTo>
                    <a:pt x="206" y="326"/>
                  </a:lnTo>
                  <a:lnTo>
                    <a:pt x="206" y="326"/>
                  </a:lnTo>
                  <a:lnTo>
                    <a:pt x="206" y="329"/>
                  </a:lnTo>
                  <a:lnTo>
                    <a:pt x="206" y="329"/>
                  </a:lnTo>
                  <a:lnTo>
                    <a:pt x="206" y="332"/>
                  </a:lnTo>
                  <a:lnTo>
                    <a:pt x="206" y="332"/>
                  </a:lnTo>
                  <a:lnTo>
                    <a:pt x="206" y="334"/>
                  </a:lnTo>
                  <a:lnTo>
                    <a:pt x="206" y="337"/>
                  </a:lnTo>
                  <a:lnTo>
                    <a:pt x="206" y="337"/>
                  </a:lnTo>
                  <a:lnTo>
                    <a:pt x="208" y="337"/>
                  </a:lnTo>
                  <a:lnTo>
                    <a:pt x="206" y="342"/>
                  </a:lnTo>
                  <a:lnTo>
                    <a:pt x="206" y="345"/>
                  </a:lnTo>
                  <a:lnTo>
                    <a:pt x="208" y="348"/>
                  </a:lnTo>
                  <a:lnTo>
                    <a:pt x="208" y="350"/>
                  </a:lnTo>
                  <a:lnTo>
                    <a:pt x="208" y="350"/>
                  </a:lnTo>
                  <a:lnTo>
                    <a:pt x="206" y="353"/>
                  </a:lnTo>
                  <a:lnTo>
                    <a:pt x="206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1"/>
                  </a:lnTo>
                  <a:lnTo>
                    <a:pt x="206" y="361"/>
                  </a:lnTo>
                  <a:lnTo>
                    <a:pt x="206" y="361"/>
                  </a:lnTo>
                  <a:lnTo>
                    <a:pt x="206" y="364"/>
                  </a:lnTo>
                  <a:lnTo>
                    <a:pt x="206" y="366"/>
                  </a:lnTo>
                  <a:lnTo>
                    <a:pt x="206" y="366"/>
                  </a:lnTo>
                  <a:lnTo>
                    <a:pt x="206" y="369"/>
                  </a:lnTo>
                  <a:lnTo>
                    <a:pt x="206" y="369"/>
                  </a:lnTo>
                  <a:lnTo>
                    <a:pt x="206" y="372"/>
                  </a:lnTo>
                  <a:lnTo>
                    <a:pt x="206" y="372"/>
                  </a:lnTo>
                  <a:lnTo>
                    <a:pt x="208" y="372"/>
                  </a:lnTo>
                  <a:lnTo>
                    <a:pt x="208" y="372"/>
                  </a:lnTo>
                  <a:lnTo>
                    <a:pt x="208" y="374"/>
                  </a:lnTo>
                  <a:lnTo>
                    <a:pt x="208" y="377"/>
                  </a:lnTo>
                  <a:lnTo>
                    <a:pt x="208" y="377"/>
                  </a:lnTo>
                  <a:lnTo>
                    <a:pt x="208" y="377"/>
                  </a:lnTo>
                  <a:lnTo>
                    <a:pt x="211" y="377"/>
                  </a:lnTo>
                  <a:lnTo>
                    <a:pt x="211" y="380"/>
                  </a:lnTo>
                  <a:lnTo>
                    <a:pt x="211" y="380"/>
                  </a:lnTo>
                  <a:lnTo>
                    <a:pt x="211" y="382"/>
                  </a:lnTo>
                  <a:lnTo>
                    <a:pt x="214" y="380"/>
                  </a:lnTo>
                  <a:lnTo>
                    <a:pt x="235" y="382"/>
                  </a:lnTo>
                  <a:lnTo>
                    <a:pt x="246" y="377"/>
                  </a:lnTo>
                  <a:lnTo>
                    <a:pt x="246" y="377"/>
                  </a:lnTo>
                  <a:lnTo>
                    <a:pt x="246" y="374"/>
                  </a:lnTo>
                  <a:lnTo>
                    <a:pt x="246" y="374"/>
                  </a:lnTo>
                  <a:lnTo>
                    <a:pt x="249" y="372"/>
                  </a:lnTo>
                  <a:lnTo>
                    <a:pt x="249" y="369"/>
                  </a:lnTo>
                  <a:lnTo>
                    <a:pt x="246" y="369"/>
                  </a:lnTo>
                  <a:lnTo>
                    <a:pt x="246" y="369"/>
                  </a:lnTo>
                  <a:lnTo>
                    <a:pt x="246" y="369"/>
                  </a:lnTo>
                  <a:lnTo>
                    <a:pt x="243" y="366"/>
                  </a:lnTo>
                  <a:lnTo>
                    <a:pt x="246" y="366"/>
                  </a:lnTo>
                  <a:lnTo>
                    <a:pt x="249" y="364"/>
                  </a:lnTo>
                  <a:lnTo>
                    <a:pt x="249" y="361"/>
                  </a:lnTo>
                  <a:lnTo>
                    <a:pt x="249" y="358"/>
                  </a:lnTo>
                  <a:lnTo>
                    <a:pt x="249" y="358"/>
                  </a:lnTo>
                  <a:lnTo>
                    <a:pt x="249" y="353"/>
                  </a:lnTo>
                  <a:lnTo>
                    <a:pt x="257" y="329"/>
                  </a:lnTo>
                  <a:lnTo>
                    <a:pt x="259" y="326"/>
                  </a:lnTo>
                  <a:lnTo>
                    <a:pt x="259" y="326"/>
                  </a:lnTo>
                  <a:lnTo>
                    <a:pt x="259" y="324"/>
                  </a:lnTo>
                  <a:lnTo>
                    <a:pt x="259" y="321"/>
                  </a:lnTo>
                  <a:lnTo>
                    <a:pt x="259" y="321"/>
                  </a:lnTo>
                  <a:lnTo>
                    <a:pt x="257" y="318"/>
                  </a:lnTo>
                  <a:lnTo>
                    <a:pt x="257" y="318"/>
                  </a:lnTo>
                  <a:lnTo>
                    <a:pt x="259" y="318"/>
                  </a:lnTo>
                  <a:lnTo>
                    <a:pt x="262" y="318"/>
                  </a:lnTo>
                  <a:lnTo>
                    <a:pt x="262" y="318"/>
                  </a:lnTo>
                  <a:lnTo>
                    <a:pt x="262" y="321"/>
                  </a:lnTo>
                  <a:lnTo>
                    <a:pt x="262" y="324"/>
                  </a:lnTo>
                  <a:lnTo>
                    <a:pt x="265" y="324"/>
                  </a:lnTo>
                  <a:lnTo>
                    <a:pt x="265" y="326"/>
                  </a:lnTo>
                  <a:lnTo>
                    <a:pt x="267" y="326"/>
                  </a:lnTo>
                  <a:lnTo>
                    <a:pt x="267" y="326"/>
                  </a:lnTo>
                  <a:lnTo>
                    <a:pt x="270" y="329"/>
                  </a:lnTo>
                  <a:lnTo>
                    <a:pt x="270" y="329"/>
                  </a:lnTo>
                  <a:lnTo>
                    <a:pt x="273" y="329"/>
                  </a:lnTo>
                  <a:lnTo>
                    <a:pt x="275" y="329"/>
                  </a:lnTo>
                  <a:lnTo>
                    <a:pt x="278" y="329"/>
                  </a:lnTo>
                  <a:lnTo>
                    <a:pt x="281" y="329"/>
                  </a:lnTo>
                  <a:lnTo>
                    <a:pt x="281" y="326"/>
                  </a:lnTo>
                  <a:lnTo>
                    <a:pt x="283" y="329"/>
                  </a:lnTo>
                  <a:lnTo>
                    <a:pt x="286" y="329"/>
                  </a:lnTo>
                  <a:lnTo>
                    <a:pt x="289" y="326"/>
                  </a:lnTo>
                  <a:lnTo>
                    <a:pt x="289" y="326"/>
                  </a:lnTo>
                  <a:lnTo>
                    <a:pt x="291" y="324"/>
                  </a:lnTo>
                  <a:lnTo>
                    <a:pt x="294" y="324"/>
                  </a:lnTo>
                  <a:lnTo>
                    <a:pt x="297" y="324"/>
                  </a:lnTo>
                  <a:lnTo>
                    <a:pt x="299" y="324"/>
                  </a:lnTo>
                  <a:lnTo>
                    <a:pt x="299" y="324"/>
                  </a:lnTo>
                  <a:lnTo>
                    <a:pt x="302" y="324"/>
                  </a:lnTo>
                  <a:lnTo>
                    <a:pt x="305" y="326"/>
                  </a:lnTo>
                  <a:lnTo>
                    <a:pt x="305" y="326"/>
                  </a:lnTo>
                  <a:lnTo>
                    <a:pt x="307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3" y="326"/>
                  </a:lnTo>
                  <a:lnTo>
                    <a:pt x="315" y="324"/>
                  </a:lnTo>
                  <a:lnTo>
                    <a:pt x="315" y="321"/>
                  </a:lnTo>
                  <a:lnTo>
                    <a:pt x="315" y="318"/>
                  </a:lnTo>
                  <a:lnTo>
                    <a:pt x="315" y="316"/>
                  </a:lnTo>
                  <a:lnTo>
                    <a:pt x="315" y="316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3"/>
                  </a:lnTo>
                  <a:lnTo>
                    <a:pt x="315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3" y="308"/>
                  </a:lnTo>
                  <a:lnTo>
                    <a:pt x="323" y="308"/>
                  </a:lnTo>
                  <a:lnTo>
                    <a:pt x="326" y="305"/>
                  </a:lnTo>
                  <a:lnTo>
                    <a:pt x="326" y="305"/>
                  </a:lnTo>
                  <a:lnTo>
                    <a:pt x="326" y="308"/>
                  </a:lnTo>
                  <a:lnTo>
                    <a:pt x="329" y="308"/>
                  </a:lnTo>
                  <a:lnTo>
                    <a:pt x="331" y="310"/>
                  </a:lnTo>
                  <a:lnTo>
                    <a:pt x="334" y="310"/>
                  </a:lnTo>
                  <a:lnTo>
                    <a:pt x="339" y="316"/>
                  </a:lnTo>
                  <a:lnTo>
                    <a:pt x="342" y="316"/>
                  </a:lnTo>
                  <a:lnTo>
                    <a:pt x="345" y="316"/>
                  </a:lnTo>
                  <a:lnTo>
                    <a:pt x="347" y="316"/>
                  </a:lnTo>
                  <a:lnTo>
                    <a:pt x="350" y="313"/>
                  </a:lnTo>
                  <a:lnTo>
                    <a:pt x="355" y="310"/>
                  </a:lnTo>
                  <a:lnTo>
                    <a:pt x="358" y="310"/>
                  </a:lnTo>
                  <a:lnTo>
                    <a:pt x="361" y="310"/>
                  </a:lnTo>
                  <a:lnTo>
                    <a:pt x="366" y="313"/>
                  </a:lnTo>
                  <a:lnTo>
                    <a:pt x="369" y="313"/>
                  </a:lnTo>
                  <a:lnTo>
                    <a:pt x="371" y="316"/>
                  </a:lnTo>
                  <a:lnTo>
                    <a:pt x="374" y="316"/>
                  </a:lnTo>
                  <a:lnTo>
                    <a:pt x="377" y="316"/>
                  </a:lnTo>
                  <a:lnTo>
                    <a:pt x="379" y="316"/>
                  </a:lnTo>
                  <a:lnTo>
                    <a:pt x="382" y="316"/>
                  </a:lnTo>
                  <a:lnTo>
                    <a:pt x="382" y="316"/>
                  </a:lnTo>
                  <a:lnTo>
                    <a:pt x="385" y="310"/>
                  </a:lnTo>
                  <a:lnTo>
                    <a:pt x="387" y="310"/>
                  </a:lnTo>
                  <a:lnTo>
                    <a:pt x="387" y="308"/>
                  </a:lnTo>
                  <a:lnTo>
                    <a:pt x="387" y="308"/>
                  </a:lnTo>
                  <a:lnTo>
                    <a:pt x="387" y="308"/>
                  </a:lnTo>
                  <a:lnTo>
                    <a:pt x="390" y="308"/>
                  </a:lnTo>
                  <a:lnTo>
                    <a:pt x="393" y="308"/>
                  </a:lnTo>
                  <a:lnTo>
                    <a:pt x="393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8" y="308"/>
                  </a:lnTo>
                  <a:lnTo>
                    <a:pt x="398" y="308"/>
                  </a:lnTo>
                  <a:lnTo>
                    <a:pt x="403" y="297"/>
                  </a:lnTo>
                  <a:lnTo>
                    <a:pt x="406" y="300"/>
                  </a:lnTo>
                  <a:lnTo>
                    <a:pt x="409" y="294"/>
                  </a:lnTo>
                  <a:lnTo>
                    <a:pt x="411" y="297"/>
                  </a:lnTo>
                  <a:lnTo>
                    <a:pt x="411" y="297"/>
                  </a:lnTo>
                  <a:lnTo>
                    <a:pt x="414" y="300"/>
                  </a:lnTo>
                  <a:lnTo>
                    <a:pt x="414" y="300"/>
                  </a:lnTo>
                  <a:lnTo>
                    <a:pt x="411" y="302"/>
                  </a:lnTo>
                  <a:lnTo>
                    <a:pt x="414" y="305"/>
                  </a:lnTo>
                  <a:lnTo>
                    <a:pt x="417" y="305"/>
                  </a:lnTo>
                  <a:lnTo>
                    <a:pt x="417" y="305"/>
                  </a:lnTo>
                  <a:lnTo>
                    <a:pt x="419" y="302"/>
                  </a:lnTo>
                  <a:lnTo>
                    <a:pt x="419" y="300"/>
                  </a:lnTo>
                  <a:lnTo>
                    <a:pt x="419" y="297"/>
                  </a:lnTo>
                  <a:lnTo>
                    <a:pt x="419" y="294"/>
                  </a:lnTo>
                  <a:lnTo>
                    <a:pt x="419" y="294"/>
                  </a:lnTo>
                  <a:lnTo>
                    <a:pt x="422" y="292"/>
                  </a:lnTo>
                  <a:lnTo>
                    <a:pt x="422" y="292"/>
                  </a:lnTo>
                  <a:lnTo>
                    <a:pt x="425" y="28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4" name="Freeform 8932">
              <a:extLst>
                <a:ext uri="{FF2B5EF4-FFF2-40B4-BE49-F238E27FC236}">
                  <a16:creationId xmlns:a16="http://schemas.microsoft.com/office/drawing/2014/main" id="{839FB24C-FF79-2C44-9C3D-8DE618D76E92}"/>
                </a:ext>
              </a:extLst>
            </p:cNvPr>
            <p:cNvSpPr/>
            <p:nvPr/>
          </p:nvSpPr>
          <p:spPr bwMode="auto">
            <a:xfrm>
              <a:off x="2297904" y="2444752"/>
              <a:ext cx="1114425" cy="1052513"/>
            </a:xfrm>
            <a:custGeom>
              <a:avLst/>
              <a:gdLst>
                <a:gd name="T0" fmla="*/ 571 w 702"/>
                <a:gd name="T1" fmla="*/ 123 h 663"/>
                <a:gd name="T2" fmla="*/ 609 w 702"/>
                <a:gd name="T3" fmla="*/ 172 h 663"/>
                <a:gd name="T4" fmla="*/ 644 w 702"/>
                <a:gd name="T5" fmla="*/ 198 h 663"/>
                <a:gd name="T6" fmla="*/ 686 w 702"/>
                <a:gd name="T7" fmla="*/ 196 h 663"/>
                <a:gd name="T8" fmla="*/ 507 w 702"/>
                <a:gd name="T9" fmla="*/ 313 h 663"/>
                <a:gd name="T10" fmla="*/ 494 w 702"/>
                <a:gd name="T11" fmla="*/ 364 h 663"/>
                <a:gd name="T12" fmla="*/ 478 w 702"/>
                <a:gd name="T13" fmla="*/ 417 h 663"/>
                <a:gd name="T14" fmla="*/ 473 w 702"/>
                <a:gd name="T15" fmla="*/ 455 h 663"/>
                <a:gd name="T16" fmla="*/ 441 w 702"/>
                <a:gd name="T17" fmla="*/ 498 h 663"/>
                <a:gd name="T18" fmla="*/ 513 w 702"/>
                <a:gd name="T19" fmla="*/ 572 h 663"/>
                <a:gd name="T20" fmla="*/ 393 w 702"/>
                <a:gd name="T21" fmla="*/ 634 h 663"/>
                <a:gd name="T22" fmla="*/ 355 w 702"/>
                <a:gd name="T23" fmla="*/ 626 h 663"/>
                <a:gd name="T24" fmla="*/ 328 w 702"/>
                <a:gd name="T25" fmla="*/ 596 h 663"/>
                <a:gd name="T26" fmla="*/ 224 w 702"/>
                <a:gd name="T27" fmla="*/ 530 h 663"/>
                <a:gd name="T28" fmla="*/ 190 w 702"/>
                <a:gd name="T29" fmla="*/ 532 h 663"/>
                <a:gd name="T30" fmla="*/ 168 w 702"/>
                <a:gd name="T31" fmla="*/ 514 h 663"/>
                <a:gd name="T32" fmla="*/ 144 w 702"/>
                <a:gd name="T33" fmla="*/ 498 h 663"/>
                <a:gd name="T34" fmla="*/ 131 w 702"/>
                <a:gd name="T35" fmla="*/ 487 h 663"/>
                <a:gd name="T36" fmla="*/ 99 w 702"/>
                <a:gd name="T37" fmla="*/ 490 h 663"/>
                <a:gd name="T38" fmla="*/ 80 w 702"/>
                <a:gd name="T39" fmla="*/ 465 h 663"/>
                <a:gd name="T40" fmla="*/ 53 w 702"/>
                <a:gd name="T41" fmla="*/ 455 h 663"/>
                <a:gd name="T42" fmla="*/ 29 w 702"/>
                <a:gd name="T43" fmla="*/ 433 h 663"/>
                <a:gd name="T44" fmla="*/ 8 w 702"/>
                <a:gd name="T45" fmla="*/ 404 h 663"/>
                <a:gd name="T46" fmla="*/ 0 w 702"/>
                <a:gd name="T47" fmla="*/ 380 h 663"/>
                <a:gd name="T48" fmla="*/ 8 w 702"/>
                <a:gd name="T49" fmla="*/ 348 h 663"/>
                <a:gd name="T50" fmla="*/ 29 w 702"/>
                <a:gd name="T51" fmla="*/ 310 h 663"/>
                <a:gd name="T52" fmla="*/ 56 w 702"/>
                <a:gd name="T53" fmla="*/ 270 h 663"/>
                <a:gd name="T54" fmla="*/ 61 w 702"/>
                <a:gd name="T55" fmla="*/ 206 h 663"/>
                <a:gd name="T56" fmla="*/ 59 w 702"/>
                <a:gd name="T57" fmla="*/ 155 h 663"/>
                <a:gd name="T58" fmla="*/ 69 w 702"/>
                <a:gd name="T59" fmla="*/ 139 h 663"/>
                <a:gd name="T60" fmla="*/ 80 w 702"/>
                <a:gd name="T61" fmla="*/ 99 h 663"/>
                <a:gd name="T62" fmla="*/ 115 w 702"/>
                <a:gd name="T63" fmla="*/ 102 h 663"/>
                <a:gd name="T64" fmla="*/ 131 w 702"/>
                <a:gd name="T65" fmla="*/ 97 h 663"/>
                <a:gd name="T66" fmla="*/ 147 w 702"/>
                <a:gd name="T67" fmla="*/ 126 h 663"/>
                <a:gd name="T68" fmla="*/ 176 w 702"/>
                <a:gd name="T69" fmla="*/ 131 h 663"/>
                <a:gd name="T70" fmla="*/ 195 w 702"/>
                <a:gd name="T71" fmla="*/ 102 h 663"/>
                <a:gd name="T72" fmla="*/ 195 w 702"/>
                <a:gd name="T73" fmla="*/ 83 h 663"/>
                <a:gd name="T74" fmla="*/ 176 w 702"/>
                <a:gd name="T75" fmla="*/ 54 h 663"/>
                <a:gd name="T76" fmla="*/ 182 w 702"/>
                <a:gd name="T77" fmla="*/ 19 h 663"/>
                <a:gd name="T78" fmla="*/ 198 w 702"/>
                <a:gd name="T79" fmla="*/ 14 h 663"/>
                <a:gd name="T80" fmla="*/ 224 w 702"/>
                <a:gd name="T81" fmla="*/ 9 h 663"/>
                <a:gd name="T82" fmla="*/ 243 w 702"/>
                <a:gd name="T83" fmla="*/ 62 h 663"/>
                <a:gd name="T84" fmla="*/ 230 w 702"/>
                <a:gd name="T85" fmla="*/ 62 h 663"/>
                <a:gd name="T86" fmla="*/ 227 w 702"/>
                <a:gd name="T87" fmla="*/ 73 h 663"/>
                <a:gd name="T88" fmla="*/ 251 w 702"/>
                <a:gd name="T89" fmla="*/ 78 h 663"/>
                <a:gd name="T90" fmla="*/ 278 w 702"/>
                <a:gd name="T91" fmla="*/ 123 h 663"/>
                <a:gd name="T92" fmla="*/ 286 w 702"/>
                <a:gd name="T93" fmla="*/ 123 h 663"/>
                <a:gd name="T94" fmla="*/ 296 w 702"/>
                <a:gd name="T95" fmla="*/ 129 h 663"/>
                <a:gd name="T96" fmla="*/ 302 w 702"/>
                <a:gd name="T97" fmla="*/ 131 h 663"/>
                <a:gd name="T98" fmla="*/ 312 w 702"/>
                <a:gd name="T99" fmla="*/ 129 h 663"/>
                <a:gd name="T100" fmla="*/ 323 w 702"/>
                <a:gd name="T101" fmla="*/ 110 h 663"/>
                <a:gd name="T102" fmla="*/ 326 w 702"/>
                <a:gd name="T103" fmla="*/ 65 h 663"/>
                <a:gd name="T104" fmla="*/ 382 w 702"/>
                <a:gd name="T105" fmla="*/ 38 h 663"/>
                <a:gd name="T106" fmla="*/ 443 w 702"/>
                <a:gd name="T107" fmla="*/ 33 h 663"/>
                <a:gd name="T108" fmla="*/ 489 w 702"/>
                <a:gd name="T109" fmla="*/ 27 h 663"/>
                <a:gd name="T110" fmla="*/ 513 w 702"/>
                <a:gd name="T111" fmla="*/ 51 h 663"/>
                <a:gd name="T112" fmla="*/ 510 w 702"/>
                <a:gd name="T113" fmla="*/ 78 h 663"/>
                <a:gd name="T114" fmla="*/ 497 w 702"/>
                <a:gd name="T115" fmla="*/ 91 h 663"/>
                <a:gd name="T116" fmla="*/ 513 w 702"/>
                <a:gd name="T117" fmla="*/ 83 h 663"/>
                <a:gd name="T118" fmla="*/ 515 w 702"/>
                <a:gd name="T119" fmla="*/ 110 h 663"/>
                <a:gd name="T120" fmla="*/ 531 w 702"/>
                <a:gd name="T121" fmla="*/ 89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2" h="663" extrusionOk="0">
                  <a:moveTo>
                    <a:pt x="547" y="73"/>
                  </a:moveTo>
                  <a:lnTo>
                    <a:pt x="550" y="75"/>
                  </a:lnTo>
                  <a:lnTo>
                    <a:pt x="550" y="78"/>
                  </a:lnTo>
                  <a:lnTo>
                    <a:pt x="553" y="81"/>
                  </a:lnTo>
                  <a:lnTo>
                    <a:pt x="553" y="81"/>
                  </a:lnTo>
                  <a:lnTo>
                    <a:pt x="553" y="83"/>
                  </a:lnTo>
                  <a:lnTo>
                    <a:pt x="553" y="86"/>
                  </a:lnTo>
                  <a:lnTo>
                    <a:pt x="553" y="89"/>
                  </a:lnTo>
                  <a:lnTo>
                    <a:pt x="553" y="91"/>
                  </a:lnTo>
                  <a:lnTo>
                    <a:pt x="553" y="94"/>
                  </a:lnTo>
                  <a:lnTo>
                    <a:pt x="553" y="97"/>
                  </a:lnTo>
                  <a:lnTo>
                    <a:pt x="555" y="97"/>
                  </a:lnTo>
                  <a:lnTo>
                    <a:pt x="558" y="99"/>
                  </a:lnTo>
                  <a:lnTo>
                    <a:pt x="558" y="102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61" y="105"/>
                  </a:lnTo>
                  <a:lnTo>
                    <a:pt x="563" y="107"/>
                  </a:lnTo>
                  <a:lnTo>
                    <a:pt x="563" y="110"/>
                  </a:lnTo>
                  <a:lnTo>
                    <a:pt x="566" y="113"/>
                  </a:lnTo>
                  <a:lnTo>
                    <a:pt x="569" y="115"/>
                  </a:lnTo>
                  <a:lnTo>
                    <a:pt x="569" y="118"/>
                  </a:lnTo>
                  <a:lnTo>
                    <a:pt x="571" y="121"/>
                  </a:lnTo>
                  <a:lnTo>
                    <a:pt x="571" y="123"/>
                  </a:lnTo>
                  <a:lnTo>
                    <a:pt x="574" y="129"/>
                  </a:lnTo>
                  <a:lnTo>
                    <a:pt x="574" y="129"/>
                  </a:lnTo>
                  <a:lnTo>
                    <a:pt x="577" y="131"/>
                  </a:lnTo>
                  <a:lnTo>
                    <a:pt x="577" y="134"/>
                  </a:lnTo>
                  <a:lnTo>
                    <a:pt x="577" y="134"/>
                  </a:lnTo>
                  <a:lnTo>
                    <a:pt x="579" y="137"/>
                  </a:lnTo>
                  <a:lnTo>
                    <a:pt x="579" y="137"/>
                  </a:lnTo>
                  <a:lnTo>
                    <a:pt x="579" y="139"/>
                  </a:lnTo>
                  <a:lnTo>
                    <a:pt x="579" y="139"/>
                  </a:lnTo>
                  <a:lnTo>
                    <a:pt x="587" y="139"/>
                  </a:lnTo>
                  <a:lnTo>
                    <a:pt x="587" y="139"/>
                  </a:lnTo>
                  <a:lnTo>
                    <a:pt x="587" y="142"/>
                  </a:lnTo>
                  <a:lnTo>
                    <a:pt x="590" y="142"/>
                  </a:lnTo>
                  <a:lnTo>
                    <a:pt x="590" y="145"/>
                  </a:lnTo>
                  <a:lnTo>
                    <a:pt x="593" y="147"/>
                  </a:lnTo>
                  <a:lnTo>
                    <a:pt x="595" y="150"/>
                  </a:lnTo>
                  <a:lnTo>
                    <a:pt x="595" y="153"/>
                  </a:lnTo>
                  <a:lnTo>
                    <a:pt x="601" y="155"/>
                  </a:lnTo>
                  <a:lnTo>
                    <a:pt x="601" y="155"/>
                  </a:lnTo>
                  <a:lnTo>
                    <a:pt x="601" y="158"/>
                  </a:lnTo>
                  <a:lnTo>
                    <a:pt x="603" y="161"/>
                  </a:lnTo>
                  <a:lnTo>
                    <a:pt x="603" y="164"/>
                  </a:lnTo>
                  <a:lnTo>
                    <a:pt x="606" y="169"/>
                  </a:lnTo>
                  <a:lnTo>
                    <a:pt x="609" y="172"/>
                  </a:lnTo>
                  <a:lnTo>
                    <a:pt x="609" y="174"/>
                  </a:lnTo>
                  <a:lnTo>
                    <a:pt x="612" y="177"/>
                  </a:lnTo>
                  <a:lnTo>
                    <a:pt x="614" y="180"/>
                  </a:lnTo>
                  <a:lnTo>
                    <a:pt x="614" y="182"/>
                  </a:lnTo>
                  <a:lnTo>
                    <a:pt x="617" y="188"/>
                  </a:lnTo>
                  <a:lnTo>
                    <a:pt x="617" y="190"/>
                  </a:lnTo>
                  <a:lnTo>
                    <a:pt x="617" y="193"/>
                  </a:lnTo>
                  <a:lnTo>
                    <a:pt x="617" y="193"/>
                  </a:lnTo>
                  <a:lnTo>
                    <a:pt x="620" y="196"/>
                  </a:lnTo>
                  <a:lnTo>
                    <a:pt x="622" y="196"/>
                  </a:lnTo>
                  <a:lnTo>
                    <a:pt x="628" y="198"/>
                  </a:lnTo>
                  <a:lnTo>
                    <a:pt x="630" y="198"/>
                  </a:lnTo>
                  <a:lnTo>
                    <a:pt x="633" y="198"/>
                  </a:lnTo>
                  <a:lnTo>
                    <a:pt x="636" y="201"/>
                  </a:lnTo>
                  <a:lnTo>
                    <a:pt x="636" y="204"/>
                  </a:lnTo>
                  <a:lnTo>
                    <a:pt x="638" y="206"/>
                  </a:lnTo>
                  <a:lnTo>
                    <a:pt x="638" y="206"/>
                  </a:lnTo>
                  <a:lnTo>
                    <a:pt x="638" y="206"/>
                  </a:lnTo>
                  <a:lnTo>
                    <a:pt x="641" y="206"/>
                  </a:lnTo>
                  <a:lnTo>
                    <a:pt x="641" y="206"/>
                  </a:lnTo>
                  <a:lnTo>
                    <a:pt x="644" y="204"/>
                  </a:lnTo>
                  <a:lnTo>
                    <a:pt x="644" y="204"/>
                  </a:lnTo>
                  <a:lnTo>
                    <a:pt x="644" y="198"/>
                  </a:lnTo>
                  <a:lnTo>
                    <a:pt x="644" y="198"/>
                  </a:lnTo>
                  <a:lnTo>
                    <a:pt x="644" y="198"/>
                  </a:lnTo>
                  <a:lnTo>
                    <a:pt x="646" y="196"/>
                  </a:lnTo>
                  <a:lnTo>
                    <a:pt x="649" y="196"/>
                  </a:lnTo>
                  <a:lnTo>
                    <a:pt x="652" y="193"/>
                  </a:lnTo>
                  <a:lnTo>
                    <a:pt x="652" y="193"/>
                  </a:lnTo>
                  <a:lnTo>
                    <a:pt x="654" y="193"/>
                  </a:lnTo>
                  <a:lnTo>
                    <a:pt x="654" y="193"/>
                  </a:lnTo>
                  <a:lnTo>
                    <a:pt x="657" y="193"/>
                  </a:lnTo>
                  <a:lnTo>
                    <a:pt x="657" y="193"/>
                  </a:lnTo>
                  <a:lnTo>
                    <a:pt x="660" y="193"/>
                  </a:lnTo>
                  <a:lnTo>
                    <a:pt x="660" y="190"/>
                  </a:lnTo>
                  <a:lnTo>
                    <a:pt x="662" y="190"/>
                  </a:lnTo>
                  <a:lnTo>
                    <a:pt x="662" y="193"/>
                  </a:lnTo>
                  <a:lnTo>
                    <a:pt x="662" y="193"/>
                  </a:lnTo>
                  <a:lnTo>
                    <a:pt x="665" y="193"/>
                  </a:lnTo>
                  <a:lnTo>
                    <a:pt x="665" y="190"/>
                  </a:lnTo>
                  <a:lnTo>
                    <a:pt x="665" y="188"/>
                  </a:lnTo>
                  <a:lnTo>
                    <a:pt x="668" y="188"/>
                  </a:lnTo>
                  <a:lnTo>
                    <a:pt x="668" y="188"/>
                  </a:lnTo>
                  <a:lnTo>
                    <a:pt x="670" y="185"/>
                  </a:lnTo>
                  <a:lnTo>
                    <a:pt x="670" y="188"/>
                  </a:lnTo>
                  <a:lnTo>
                    <a:pt x="673" y="188"/>
                  </a:lnTo>
                  <a:lnTo>
                    <a:pt x="681" y="193"/>
                  </a:lnTo>
                  <a:lnTo>
                    <a:pt x="686" y="196"/>
                  </a:lnTo>
                  <a:lnTo>
                    <a:pt x="692" y="198"/>
                  </a:lnTo>
                  <a:lnTo>
                    <a:pt x="694" y="201"/>
                  </a:lnTo>
                  <a:lnTo>
                    <a:pt x="697" y="204"/>
                  </a:lnTo>
                  <a:lnTo>
                    <a:pt x="697" y="204"/>
                  </a:lnTo>
                  <a:lnTo>
                    <a:pt x="700" y="206"/>
                  </a:lnTo>
                  <a:lnTo>
                    <a:pt x="700" y="206"/>
                  </a:lnTo>
                  <a:lnTo>
                    <a:pt x="702" y="206"/>
                  </a:lnTo>
                  <a:lnTo>
                    <a:pt x="657" y="286"/>
                  </a:lnTo>
                  <a:lnTo>
                    <a:pt x="684" y="294"/>
                  </a:lnTo>
                  <a:lnTo>
                    <a:pt x="678" y="345"/>
                  </a:lnTo>
                  <a:lnTo>
                    <a:pt x="692" y="359"/>
                  </a:lnTo>
                  <a:lnTo>
                    <a:pt x="670" y="383"/>
                  </a:lnTo>
                  <a:lnTo>
                    <a:pt x="646" y="359"/>
                  </a:lnTo>
                  <a:lnTo>
                    <a:pt x="633" y="367"/>
                  </a:lnTo>
                  <a:lnTo>
                    <a:pt x="617" y="353"/>
                  </a:lnTo>
                  <a:lnTo>
                    <a:pt x="603" y="364"/>
                  </a:lnTo>
                  <a:lnTo>
                    <a:pt x="593" y="356"/>
                  </a:lnTo>
                  <a:lnTo>
                    <a:pt x="582" y="367"/>
                  </a:lnTo>
                  <a:lnTo>
                    <a:pt x="574" y="359"/>
                  </a:lnTo>
                  <a:lnTo>
                    <a:pt x="574" y="353"/>
                  </a:lnTo>
                  <a:lnTo>
                    <a:pt x="577" y="348"/>
                  </a:lnTo>
                  <a:lnTo>
                    <a:pt x="547" y="327"/>
                  </a:lnTo>
                  <a:lnTo>
                    <a:pt x="515" y="313"/>
                  </a:lnTo>
                  <a:lnTo>
                    <a:pt x="507" y="313"/>
                  </a:lnTo>
                  <a:lnTo>
                    <a:pt x="505" y="310"/>
                  </a:lnTo>
                  <a:lnTo>
                    <a:pt x="502" y="313"/>
                  </a:lnTo>
                  <a:lnTo>
                    <a:pt x="489" y="300"/>
                  </a:lnTo>
                  <a:lnTo>
                    <a:pt x="465" y="297"/>
                  </a:lnTo>
                  <a:lnTo>
                    <a:pt x="465" y="313"/>
                  </a:lnTo>
                  <a:lnTo>
                    <a:pt x="465" y="316"/>
                  </a:lnTo>
                  <a:lnTo>
                    <a:pt x="467" y="318"/>
                  </a:lnTo>
                  <a:lnTo>
                    <a:pt x="467" y="324"/>
                  </a:lnTo>
                  <a:lnTo>
                    <a:pt x="467" y="327"/>
                  </a:lnTo>
                  <a:lnTo>
                    <a:pt x="470" y="327"/>
                  </a:lnTo>
                  <a:lnTo>
                    <a:pt x="470" y="329"/>
                  </a:lnTo>
                  <a:lnTo>
                    <a:pt x="473" y="332"/>
                  </a:lnTo>
                  <a:lnTo>
                    <a:pt x="475" y="335"/>
                  </a:lnTo>
                  <a:lnTo>
                    <a:pt x="475" y="335"/>
                  </a:lnTo>
                  <a:lnTo>
                    <a:pt x="478" y="335"/>
                  </a:lnTo>
                  <a:lnTo>
                    <a:pt x="478" y="335"/>
                  </a:lnTo>
                  <a:lnTo>
                    <a:pt x="481" y="337"/>
                  </a:lnTo>
                  <a:lnTo>
                    <a:pt x="478" y="340"/>
                  </a:lnTo>
                  <a:lnTo>
                    <a:pt x="486" y="345"/>
                  </a:lnTo>
                  <a:lnTo>
                    <a:pt x="486" y="348"/>
                  </a:lnTo>
                  <a:lnTo>
                    <a:pt x="489" y="353"/>
                  </a:lnTo>
                  <a:lnTo>
                    <a:pt x="491" y="356"/>
                  </a:lnTo>
                  <a:lnTo>
                    <a:pt x="491" y="361"/>
                  </a:lnTo>
                  <a:lnTo>
                    <a:pt x="494" y="364"/>
                  </a:lnTo>
                  <a:lnTo>
                    <a:pt x="494" y="369"/>
                  </a:lnTo>
                  <a:lnTo>
                    <a:pt x="494" y="375"/>
                  </a:lnTo>
                  <a:lnTo>
                    <a:pt x="494" y="377"/>
                  </a:lnTo>
                  <a:lnTo>
                    <a:pt x="494" y="377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8"/>
                  </a:lnTo>
                  <a:lnTo>
                    <a:pt x="494" y="391"/>
                  </a:lnTo>
                  <a:lnTo>
                    <a:pt x="494" y="393"/>
                  </a:lnTo>
                  <a:lnTo>
                    <a:pt x="491" y="396"/>
                  </a:lnTo>
                  <a:lnTo>
                    <a:pt x="491" y="396"/>
                  </a:lnTo>
                  <a:lnTo>
                    <a:pt x="489" y="396"/>
                  </a:lnTo>
                  <a:lnTo>
                    <a:pt x="483" y="396"/>
                  </a:lnTo>
                  <a:lnTo>
                    <a:pt x="483" y="399"/>
                  </a:lnTo>
                  <a:lnTo>
                    <a:pt x="483" y="399"/>
                  </a:lnTo>
                  <a:lnTo>
                    <a:pt x="481" y="401"/>
                  </a:lnTo>
                  <a:lnTo>
                    <a:pt x="481" y="404"/>
                  </a:lnTo>
                  <a:lnTo>
                    <a:pt x="481" y="404"/>
                  </a:lnTo>
                  <a:lnTo>
                    <a:pt x="481" y="409"/>
                  </a:lnTo>
                  <a:lnTo>
                    <a:pt x="481" y="412"/>
                  </a:lnTo>
                  <a:lnTo>
                    <a:pt x="481" y="412"/>
                  </a:lnTo>
                  <a:lnTo>
                    <a:pt x="478" y="415"/>
                  </a:lnTo>
                  <a:lnTo>
                    <a:pt x="478" y="417"/>
                  </a:lnTo>
                  <a:lnTo>
                    <a:pt x="478" y="417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78" y="420"/>
                  </a:lnTo>
                  <a:lnTo>
                    <a:pt x="481" y="423"/>
                  </a:lnTo>
                  <a:lnTo>
                    <a:pt x="481" y="425"/>
                  </a:lnTo>
                  <a:lnTo>
                    <a:pt x="483" y="428"/>
                  </a:lnTo>
                  <a:lnTo>
                    <a:pt x="483" y="428"/>
                  </a:lnTo>
                  <a:lnTo>
                    <a:pt x="483" y="431"/>
                  </a:lnTo>
                  <a:lnTo>
                    <a:pt x="486" y="433"/>
                  </a:lnTo>
                  <a:lnTo>
                    <a:pt x="486" y="436"/>
                  </a:lnTo>
                  <a:lnTo>
                    <a:pt x="486" y="436"/>
                  </a:lnTo>
                  <a:lnTo>
                    <a:pt x="489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41"/>
                  </a:lnTo>
                  <a:lnTo>
                    <a:pt x="491" y="441"/>
                  </a:lnTo>
                  <a:lnTo>
                    <a:pt x="491" y="444"/>
                  </a:lnTo>
                  <a:lnTo>
                    <a:pt x="489" y="447"/>
                  </a:lnTo>
                  <a:lnTo>
                    <a:pt x="489" y="447"/>
                  </a:lnTo>
                  <a:lnTo>
                    <a:pt x="483" y="449"/>
                  </a:lnTo>
                  <a:lnTo>
                    <a:pt x="481" y="452"/>
                  </a:lnTo>
                  <a:lnTo>
                    <a:pt x="478" y="452"/>
                  </a:lnTo>
                  <a:lnTo>
                    <a:pt x="473" y="455"/>
                  </a:lnTo>
                  <a:lnTo>
                    <a:pt x="470" y="455"/>
                  </a:lnTo>
                  <a:lnTo>
                    <a:pt x="467" y="455"/>
                  </a:lnTo>
                  <a:lnTo>
                    <a:pt x="467" y="455"/>
                  </a:lnTo>
                  <a:lnTo>
                    <a:pt x="462" y="455"/>
                  </a:lnTo>
                  <a:lnTo>
                    <a:pt x="462" y="455"/>
                  </a:lnTo>
                  <a:lnTo>
                    <a:pt x="459" y="455"/>
                  </a:lnTo>
                  <a:lnTo>
                    <a:pt x="457" y="455"/>
                  </a:lnTo>
                  <a:lnTo>
                    <a:pt x="457" y="457"/>
                  </a:lnTo>
                  <a:lnTo>
                    <a:pt x="457" y="460"/>
                  </a:lnTo>
                  <a:lnTo>
                    <a:pt x="454" y="463"/>
                  </a:lnTo>
                  <a:lnTo>
                    <a:pt x="454" y="465"/>
                  </a:lnTo>
                  <a:lnTo>
                    <a:pt x="454" y="468"/>
                  </a:lnTo>
                  <a:lnTo>
                    <a:pt x="454" y="471"/>
                  </a:lnTo>
                  <a:lnTo>
                    <a:pt x="454" y="473"/>
                  </a:lnTo>
                  <a:lnTo>
                    <a:pt x="454" y="476"/>
                  </a:lnTo>
                  <a:lnTo>
                    <a:pt x="454" y="479"/>
                  </a:lnTo>
                  <a:lnTo>
                    <a:pt x="451" y="482"/>
                  </a:lnTo>
                  <a:lnTo>
                    <a:pt x="449" y="484"/>
                  </a:lnTo>
                  <a:lnTo>
                    <a:pt x="446" y="487"/>
                  </a:lnTo>
                  <a:lnTo>
                    <a:pt x="446" y="490"/>
                  </a:lnTo>
                  <a:lnTo>
                    <a:pt x="443" y="492"/>
                  </a:lnTo>
                  <a:lnTo>
                    <a:pt x="443" y="495"/>
                  </a:lnTo>
                  <a:lnTo>
                    <a:pt x="441" y="495"/>
                  </a:lnTo>
                  <a:lnTo>
                    <a:pt x="441" y="498"/>
                  </a:lnTo>
                  <a:lnTo>
                    <a:pt x="438" y="500"/>
                  </a:lnTo>
                  <a:lnTo>
                    <a:pt x="438" y="500"/>
                  </a:lnTo>
                  <a:lnTo>
                    <a:pt x="438" y="503"/>
                  </a:lnTo>
                  <a:lnTo>
                    <a:pt x="435" y="503"/>
                  </a:lnTo>
                  <a:lnTo>
                    <a:pt x="443" y="508"/>
                  </a:lnTo>
                  <a:lnTo>
                    <a:pt x="435" y="522"/>
                  </a:lnTo>
                  <a:lnTo>
                    <a:pt x="443" y="527"/>
                  </a:lnTo>
                  <a:lnTo>
                    <a:pt x="454" y="516"/>
                  </a:lnTo>
                  <a:lnTo>
                    <a:pt x="478" y="532"/>
                  </a:lnTo>
                  <a:lnTo>
                    <a:pt x="483" y="522"/>
                  </a:lnTo>
                  <a:lnTo>
                    <a:pt x="483" y="522"/>
                  </a:lnTo>
                  <a:lnTo>
                    <a:pt x="483" y="519"/>
                  </a:lnTo>
                  <a:lnTo>
                    <a:pt x="483" y="516"/>
                  </a:lnTo>
                  <a:lnTo>
                    <a:pt x="486" y="511"/>
                  </a:lnTo>
                  <a:lnTo>
                    <a:pt x="489" y="511"/>
                  </a:lnTo>
                  <a:lnTo>
                    <a:pt x="491" y="506"/>
                  </a:lnTo>
                  <a:lnTo>
                    <a:pt x="494" y="503"/>
                  </a:lnTo>
                  <a:lnTo>
                    <a:pt x="497" y="500"/>
                  </a:lnTo>
                  <a:lnTo>
                    <a:pt x="499" y="498"/>
                  </a:lnTo>
                  <a:lnTo>
                    <a:pt x="502" y="495"/>
                  </a:lnTo>
                  <a:lnTo>
                    <a:pt x="513" y="506"/>
                  </a:lnTo>
                  <a:lnTo>
                    <a:pt x="523" y="495"/>
                  </a:lnTo>
                  <a:lnTo>
                    <a:pt x="555" y="522"/>
                  </a:lnTo>
                  <a:lnTo>
                    <a:pt x="513" y="572"/>
                  </a:lnTo>
                  <a:lnTo>
                    <a:pt x="510" y="570"/>
                  </a:lnTo>
                  <a:lnTo>
                    <a:pt x="507" y="572"/>
                  </a:lnTo>
                  <a:lnTo>
                    <a:pt x="505" y="572"/>
                  </a:lnTo>
                  <a:lnTo>
                    <a:pt x="475" y="607"/>
                  </a:lnTo>
                  <a:lnTo>
                    <a:pt x="491" y="623"/>
                  </a:lnTo>
                  <a:lnTo>
                    <a:pt x="462" y="658"/>
                  </a:lnTo>
                  <a:lnTo>
                    <a:pt x="454" y="650"/>
                  </a:lnTo>
                  <a:lnTo>
                    <a:pt x="446" y="653"/>
                  </a:lnTo>
                  <a:lnTo>
                    <a:pt x="443" y="650"/>
                  </a:lnTo>
                  <a:lnTo>
                    <a:pt x="419" y="647"/>
                  </a:lnTo>
                  <a:lnTo>
                    <a:pt x="409" y="663"/>
                  </a:lnTo>
                  <a:lnTo>
                    <a:pt x="409" y="663"/>
                  </a:lnTo>
                  <a:lnTo>
                    <a:pt x="406" y="661"/>
                  </a:lnTo>
                  <a:lnTo>
                    <a:pt x="403" y="658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5"/>
                  </a:lnTo>
                  <a:lnTo>
                    <a:pt x="395" y="642"/>
                  </a:lnTo>
                  <a:lnTo>
                    <a:pt x="398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5" y="636"/>
                  </a:lnTo>
                  <a:lnTo>
                    <a:pt x="393" y="634"/>
                  </a:lnTo>
                  <a:lnTo>
                    <a:pt x="393" y="634"/>
                  </a:lnTo>
                  <a:lnTo>
                    <a:pt x="393" y="631"/>
                  </a:lnTo>
                  <a:lnTo>
                    <a:pt x="390" y="631"/>
                  </a:lnTo>
                  <a:lnTo>
                    <a:pt x="387" y="628"/>
                  </a:lnTo>
                  <a:lnTo>
                    <a:pt x="387" y="626"/>
                  </a:lnTo>
                  <a:lnTo>
                    <a:pt x="387" y="626"/>
                  </a:lnTo>
                  <a:lnTo>
                    <a:pt x="387" y="623"/>
                  </a:lnTo>
                  <a:lnTo>
                    <a:pt x="385" y="623"/>
                  </a:lnTo>
                  <a:lnTo>
                    <a:pt x="382" y="623"/>
                  </a:lnTo>
                  <a:lnTo>
                    <a:pt x="379" y="623"/>
                  </a:lnTo>
                  <a:lnTo>
                    <a:pt x="379" y="623"/>
                  </a:lnTo>
                  <a:lnTo>
                    <a:pt x="377" y="620"/>
                  </a:lnTo>
                  <a:lnTo>
                    <a:pt x="374" y="618"/>
                  </a:lnTo>
                  <a:lnTo>
                    <a:pt x="371" y="615"/>
                  </a:lnTo>
                  <a:lnTo>
                    <a:pt x="368" y="612"/>
                  </a:lnTo>
                  <a:lnTo>
                    <a:pt x="368" y="615"/>
                  </a:lnTo>
                  <a:lnTo>
                    <a:pt x="366" y="615"/>
                  </a:lnTo>
                  <a:lnTo>
                    <a:pt x="366" y="618"/>
                  </a:lnTo>
                  <a:lnTo>
                    <a:pt x="366" y="618"/>
                  </a:lnTo>
                  <a:lnTo>
                    <a:pt x="363" y="620"/>
                  </a:lnTo>
                  <a:lnTo>
                    <a:pt x="360" y="620"/>
                  </a:lnTo>
                  <a:lnTo>
                    <a:pt x="358" y="620"/>
                  </a:lnTo>
                  <a:lnTo>
                    <a:pt x="358" y="623"/>
                  </a:lnTo>
                  <a:lnTo>
                    <a:pt x="355" y="626"/>
                  </a:lnTo>
                  <a:lnTo>
                    <a:pt x="352" y="628"/>
                  </a:lnTo>
                  <a:lnTo>
                    <a:pt x="352" y="628"/>
                  </a:lnTo>
                  <a:lnTo>
                    <a:pt x="350" y="626"/>
                  </a:lnTo>
                  <a:lnTo>
                    <a:pt x="347" y="623"/>
                  </a:lnTo>
                  <a:lnTo>
                    <a:pt x="347" y="623"/>
                  </a:lnTo>
                  <a:lnTo>
                    <a:pt x="347" y="620"/>
                  </a:lnTo>
                  <a:lnTo>
                    <a:pt x="344" y="618"/>
                  </a:lnTo>
                  <a:lnTo>
                    <a:pt x="344" y="615"/>
                  </a:lnTo>
                  <a:lnTo>
                    <a:pt x="347" y="615"/>
                  </a:lnTo>
                  <a:lnTo>
                    <a:pt x="350" y="612"/>
                  </a:lnTo>
                  <a:lnTo>
                    <a:pt x="347" y="610"/>
                  </a:lnTo>
                  <a:lnTo>
                    <a:pt x="344" y="610"/>
                  </a:lnTo>
                  <a:lnTo>
                    <a:pt x="342" y="607"/>
                  </a:lnTo>
                  <a:lnTo>
                    <a:pt x="339" y="604"/>
                  </a:lnTo>
                  <a:lnTo>
                    <a:pt x="339" y="602"/>
                  </a:lnTo>
                  <a:lnTo>
                    <a:pt x="339" y="602"/>
                  </a:lnTo>
                  <a:lnTo>
                    <a:pt x="339" y="599"/>
                  </a:lnTo>
                  <a:lnTo>
                    <a:pt x="339" y="599"/>
                  </a:lnTo>
                  <a:lnTo>
                    <a:pt x="339" y="596"/>
                  </a:lnTo>
                  <a:lnTo>
                    <a:pt x="339" y="596"/>
                  </a:lnTo>
                  <a:lnTo>
                    <a:pt x="336" y="599"/>
                  </a:lnTo>
                  <a:lnTo>
                    <a:pt x="334" y="596"/>
                  </a:lnTo>
                  <a:lnTo>
                    <a:pt x="331" y="599"/>
                  </a:lnTo>
                  <a:lnTo>
                    <a:pt x="328" y="596"/>
                  </a:lnTo>
                  <a:lnTo>
                    <a:pt x="326" y="599"/>
                  </a:lnTo>
                  <a:lnTo>
                    <a:pt x="307" y="580"/>
                  </a:lnTo>
                  <a:lnTo>
                    <a:pt x="318" y="570"/>
                  </a:lnTo>
                  <a:lnTo>
                    <a:pt x="299" y="554"/>
                  </a:lnTo>
                  <a:lnTo>
                    <a:pt x="278" y="578"/>
                  </a:lnTo>
                  <a:lnTo>
                    <a:pt x="240" y="543"/>
                  </a:lnTo>
                  <a:lnTo>
                    <a:pt x="246" y="535"/>
                  </a:lnTo>
                  <a:lnTo>
                    <a:pt x="243" y="535"/>
                  </a:lnTo>
                  <a:lnTo>
                    <a:pt x="243" y="535"/>
                  </a:lnTo>
                  <a:lnTo>
                    <a:pt x="240" y="535"/>
                  </a:lnTo>
                  <a:lnTo>
                    <a:pt x="240" y="535"/>
                  </a:lnTo>
                  <a:lnTo>
                    <a:pt x="238" y="532"/>
                  </a:lnTo>
                  <a:lnTo>
                    <a:pt x="235" y="532"/>
                  </a:lnTo>
                  <a:lnTo>
                    <a:pt x="232" y="530"/>
                  </a:lnTo>
                  <a:lnTo>
                    <a:pt x="232" y="530"/>
                  </a:lnTo>
                  <a:lnTo>
                    <a:pt x="232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30" y="530"/>
                  </a:lnTo>
                  <a:lnTo>
                    <a:pt x="227" y="527"/>
                  </a:lnTo>
                  <a:lnTo>
                    <a:pt x="227" y="527"/>
                  </a:lnTo>
                  <a:lnTo>
                    <a:pt x="227" y="527"/>
                  </a:lnTo>
                  <a:lnTo>
                    <a:pt x="224" y="530"/>
                  </a:lnTo>
                  <a:lnTo>
                    <a:pt x="224" y="532"/>
                  </a:lnTo>
                  <a:lnTo>
                    <a:pt x="222" y="532"/>
                  </a:lnTo>
                  <a:lnTo>
                    <a:pt x="219" y="535"/>
                  </a:lnTo>
                  <a:lnTo>
                    <a:pt x="219" y="535"/>
                  </a:lnTo>
                  <a:lnTo>
                    <a:pt x="219" y="538"/>
                  </a:lnTo>
                  <a:lnTo>
                    <a:pt x="216" y="538"/>
                  </a:lnTo>
                  <a:lnTo>
                    <a:pt x="216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4" y="538"/>
                  </a:lnTo>
                  <a:lnTo>
                    <a:pt x="211" y="540"/>
                  </a:lnTo>
                  <a:lnTo>
                    <a:pt x="208" y="538"/>
                  </a:lnTo>
                  <a:lnTo>
                    <a:pt x="203" y="546"/>
                  </a:lnTo>
                  <a:lnTo>
                    <a:pt x="200" y="543"/>
                  </a:lnTo>
                  <a:lnTo>
                    <a:pt x="200" y="543"/>
                  </a:lnTo>
                  <a:lnTo>
                    <a:pt x="200" y="543"/>
                  </a:lnTo>
                  <a:lnTo>
                    <a:pt x="198" y="540"/>
                  </a:lnTo>
                  <a:lnTo>
                    <a:pt x="195" y="538"/>
                  </a:lnTo>
                  <a:lnTo>
                    <a:pt x="192" y="538"/>
                  </a:lnTo>
                  <a:lnTo>
                    <a:pt x="192" y="535"/>
                  </a:lnTo>
                  <a:lnTo>
                    <a:pt x="192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2"/>
                  </a:lnTo>
                  <a:lnTo>
                    <a:pt x="190" y="530"/>
                  </a:lnTo>
                  <a:lnTo>
                    <a:pt x="187" y="532"/>
                  </a:lnTo>
                  <a:lnTo>
                    <a:pt x="187" y="532"/>
                  </a:lnTo>
                  <a:lnTo>
                    <a:pt x="184" y="535"/>
                  </a:lnTo>
                  <a:lnTo>
                    <a:pt x="182" y="535"/>
                  </a:lnTo>
                  <a:lnTo>
                    <a:pt x="179" y="532"/>
                  </a:lnTo>
                  <a:lnTo>
                    <a:pt x="179" y="532"/>
                  </a:lnTo>
                  <a:lnTo>
                    <a:pt x="179" y="530"/>
                  </a:lnTo>
                  <a:lnTo>
                    <a:pt x="182" y="527"/>
                  </a:lnTo>
                  <a:lnTo>
                    <a:pt x="182" y="527"/>
                  </a:lnTo>
                  <a:lnTo>
                    <a:pt x="182" y="524"/>
                  </a:lnTo>
                  <a:lnTo>
                    <a:pt x="182" y="524"/>
                  </a:lnTo>
                  <a:lnTo>
                    <a:pt x="179" y="519"/>
                  </a:lnTo>
                  <a:lnTo>
                    <a:pt x="179" y="519"/>
                  </a:lnTo>
                  <a:lnTo>
                    <a:pt x="176" y="519"/>
                  </a:lnTo>
                  <a:lnTo>
                    <a:pt x="176" y="516"/>
                  </a:lnTo>
                  <a:lnTo>
                    <a:pt x="176" y="514"/>
                  </a:lnTo>
                  <a:lnTo>
                    <a:pt x="176" y="514"/>
                  </a:lnTo>
                  <a:lnTo>
                    <a:pt x="171" y="511"/>
                  </a:lnTo>
                  <a:lnTo>
                    <a:pt x="171" y="514"/>
                  </a:lnTo>
                  <a:lnTo>
                    <a:pt x="168" y="514"/>
                  </a:lnTo>
                  <a:lnTo>
                    <a:pt x="168" y="514"/>
                  </a:lnTo>
                  <a:lnTo>
                    <a:pt x="168" y="514"/>
                  </a:lnTo>
                  <a:lnTo>
                    <a:pt x="166" y="516"/>
                  </a:lnTo>
                  <a:lnTo>
                    <a:pt x="166" y="519"/>
                  </a:lnTo>
                  <a:lnTo>
                    <a:pt x="163" y="516"/>
                  </a:lnTo>
                  <a:lnTo>
                    <a:pt x="163" y="514"/>
                  </a:lnTo>
                  <a:lnTo>
                    <a:pt x="163" y="514"/>
                  </a:lnTo>
                  <a:lnTo>
                    <a:pt x="160" y="514"/>
                  </a:lnTo>
                  <a:lnTo>
                    <a:pt x="160" y="514"/>
                  </a:lnTo>
                  <a:lnTo>
                    <a:pt x="158" y="516"/>
                  </a:lnTo>
                  <a:lnTo>
                    <a:pt x="155" y="514"/>
                  </a:lnTo>
                  <a:lnTo>
                    <a:pt x="155" y="511"/>
                  </a:lnTo>
                  <a:lnTo>
                    <a:pt x="152" y="508"/>
                  </a:lnTo>
                  <a:lnTo>
                    <a:pt x="150" y="506"/>
                  </a:lnTo>
                  <a:lnTo>
                    <a:pt x="150" y="506"/>
                  </a:lnTo>
                  <a:lnTo>
                    <a:pt x="150" y="503"/>
                  </a:lnTo>
                  <a:lnTo>
                    <a:pt x="150" y="503"/>
                  </a:lnTo>
                  <a:lnTo>
                    <a:pt x="150" y="500"/>
                  </a:lnTo>
                  <a:lnTo>
                    <a:pt x="152" y="498"/>
                  </a:lnTo>
                  <a:lnTo>
                    <a:pt x="152" y="498"/>
                  </a:lnTo>
                  <a:lnTo>
                    <a:pt x="150" y="495"/>
                  </a:lnTo>
                  <a:lnTo>
                    <a:pt x="150" y="495"/>
                  </a:lnTo>
                  <a:lnTo>
                    <a:pt x="147" y="498"/>
                  </a:lnTo>
                  <a:lnTo>
                    <a:pt x="147" y="498"/>
                  </a:lnTo>
                  <a:lnTo>
                    <a:pt x="144" y="498"/>
                  </a:lnTo>
                  <a:lnTo>
                    <a:pt x="144" y="498"/>
                  </a:lnTo>
                  <a:lnTo>
                    <a:pt x="142" y="495"/>
                  </a:lnTo>
                  <a:lnTo>
                    <a:pt x="142" y="495"/>
                  </a:lnTo>
                  <a:lnTo>
                    <a:pt x="142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7" y="492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7" y="49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44" y="487"/>
                  </a:lnTo>
                  <a:lnTo>
                    <a:pt x="144" y="487"/>
                  </a:lnTo>
                  <a:lnTo>
                    <a:pt x="142" y="487"/>
                  </a:lnTo>
                  <a:lnTo>
                    <a:pt x="142" y="487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36" y="490"/>
                  </a:lnTo>
                  <a:lnTo>
                    <a:pt x="134" y="490"/>
                  </a:lnTo>
                  <a:lnTo>
                    <a:pt x="134" y="487"/>
                  </a:lnTo>
                  <a:lnTo>
                    <a:pt x="131" y="487"/>
                  </a:lnTo>
                  <a:lnTo>
                    <a:pt x="134" y="484"/>
                  </a:lnTo>
                  <a:lnTo>
                    <a:pt x="134" y="484"/>
                  </a:lnTo>
                  <a:lnTo>
                    <a:pt x="134" y="482"/>
                  </a:lnTo>
                  <a:lnTo>
                    <a:pt x="131" y="482"/>
                  </a:lnTo>
                  <a:lnTo>
                    <a:pt x="128" y="479"/>
                  </a:lnTo>
                  <a:lnTo>
                    <a:pt x="128" y="479"/>
                  </a:lnTo>
                  <a:lnTo>
                    <a:pt x="125" y="479"/>
                  </a:lnTo>
                  <a:lnTo>
                    <a:pt x="123" y="479"/>
                  </a:lnTo>
                  <a:lnTo>
                    <a:pt x="120" y="482"/>
                  </a:lnTo>
                  <a:lnTo>
                    <a:pt x="120" y="484"/>
                  </a:lnTo>
                  <a:lnTo>
                    <a:pt x="117" y="484"/>
                  </a:lnTo>
                  <a:lnTo>
                    <a:pt x="117" y="487"/>
                  </a:lnTo>
                  <a:lnTo>
                    <a:pt x="115" y="487"/>
                  </a:lnTo>
                  <a:lnTo>
                    <a:pt x="112" y="490"/>
                  </a:lnTo>
                  <a:lnTo>
                    <a:pt x="109" y="492"/>
                  </a:lnTo>
                  <a:lnTo>
                    <a:pt x="109" y="492"/>
                  </a:lnTo>
                  <a:lnTo>
                    <a:pt x="107" y="495"/>
                  </a:lnTo>
                  <a:lnTo>
                    <a:pt x="107" y="492"/>
                  </a:lnTo>
                  <a:lnTo>
                    <a:pt x="107" y="490"/>
                  </a:lnTo>
                  <a:lnTo>
                    <a:pt x="104" y="490"/>
                  </a:lnTo>
                  <a:lnTo>
                    <a:pt x="101" y="490"/>
                  </a:lnTo>
                  <a:lnTo>
                    <a:pt x="101" y="490"/>
                  </a:lnTo>
                  <a:lnTo>
                    <a:pt x="99" y="490"/>
                  </a:lnTo>
                  <a:lnTo>
                    <a:pt x="99" y="490"/>
                  </a:lnTo>
                  <a:lnTo>
                    <a:pt x="96" y="490"/>
                  </a:lnTo>
                  <a:lnTo>
                    <a:pt x="96" y="487"/>
                  </a:lnTo>
                  <a:lnTo>
                    <a:pt x="96" y="484"/>
                  </a:lnTo>
                  <a:lnTo>
                    <a:pt x="96" y="484"/>
                  </a:lnTo>
                  <a:lnTo>
                    <a:pt x="96" y="482"/>
                  </a:lnTo>
                  <a:lnTo>
                    <a:pt x="93" y="482"/>
                  </a:lnTo>
                  <a:lnTo>
                    <a:pt x="93" y="479"/>
                  </a:lnTo>
                  <a:lnTo>
                    <a:pt x="91" y="479"/>
                  </a:lnTo>
                  <a:lnTo>
                    <a:pt x="91" y="476"/>
                  </a:lnTo>
                  <a:lnTo>
                    <a:pt x="91" y="476"/>
                  </a:lnTo>
                  <a:lnTo>
                    <a:pt x="91" y="473"/>
                  </a:lnTo>
                  <a:lnTo>
                    <a:pt x="88" y="473"/>
                  </a:lnTo>
                  <a:lnTo>
                    <a:pt x="88" y="471"/>
                  </a:lnTo>
                  <a:lnTo>
                    <a:pt x="88" y="471"/>
                  </a:lnTo>
                  <a:lnTo>
                    <a:pt x="91" y="471"/>
                  </a:lnTo>
                  <a:lnTo>
                    <a:pt x="91" y="468"/>
                  </a:lnTo>
                  <a:lnTo>
                    <a:pt x="91" y="468"/>
                  </a:lnTo>
                  <a:lnTo>
                    <a:pt x="88" y="468"/>
                  </a:lnTo>
                  <a:lnTo>
                    <a:pt x="85" y="465"/>
                  </a:lnTo>
                  <a:lnTo>
                    <a:pt x="83" y="468"/>
                  </a:lnTo>
                  <a:lnTo>
                    <a:pt x="83" y="468"/>
                  </a:lnTo>
                  <a:lnTo>
                    <a:pt x="80" y="468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3"/>
                  </a:lnTo>
                  <a:lnTo>
                    <a:pt x="80" y="463"/>
                  </a:lnTo>
                  <a:lnTo>
                    <a:pt x="80" y="460"/>
                  </a:lnTo>
                  <a:lnTo>
                    <a:pt x="80" y="457"/>
                  </a:lnTo>
                  <a:lnTo>
                    <a:pt x="77" y="457"/>
                  </a:lnTo>
                  <a:lnTo>
                    <a:pt x="77" y="457"/>
                  </a:lnTo>
                  <a:lnTo>
                    <a:pt x="75" y="457"/>
                  </a:lnTo>
                  <a:lnTo>
                    <a:pt x="75" y="460"/>
                  </a:lnTo>
                  <a:lnTo>
                    <a:pt x="72" y="460"/>
                  </a:lnTo>
                  <a:lnTo>
                    <a:pt x="72" y="460"/>
                  </a:lnTo>
                  <a:lnTo>
                    <a:pt x="72" y="460"/>
                  </a:lnTo>
                  <a:lnTo>
                    <a:pt x="69" y="460"/>
                  </a:lnTo>
                  <a:lnTo>
                    <a:pt x="69" y="463"/>
                  </a:lnTo>
                  <a:lnTo>
                    <a:pt x="67" y="460"/>
                  </a:lnTo>
                  <a:lnTo>
                    <a:pt x="67" y="457"/>
                  </a:lnTo>
                  <a:lnTo>
                    <a:pt x="67" y="457"/>
                  </a:lnTo>
                  <a:lnTo>
                    <a:pt x="64" y="457"/>
                  </a:lnTo>
                  <a:lnTo>
                    <a:pt x="61" y="457"/>
                  </a:lnTo>
                  <a:lnTo>
                    <a:pt x="61" y="457"/>
                  </a:lnTo>
                  <a:lnTo>
                    <a:pt x="59" y="455"/>
                  </a:lnTo>
                  <a:lnTo>
                    <a:pt x="59" y="455"/>
                  </a:lnTo>
                  <a:lnTo>
                    <a:pt x="56" y="457"/>
                  </a:lnTo>
                  <a:lnTo>
                    <a:pt x="56" y="457"/>
                  </a:lnTo>
                  <a:lnTo>
                    <a:pt x="53" y="455"/>
                  </a:lnTo>
                  <a:lnTo>
                    <a:pt x="51" y="455"/>
                  </a:lnTo>
                  <a:lnTo>
                    <a:pt x="51" y="452"/>
                  </a:lnTo>
                  <a:lnTo>
                    <a:pt x="51" y="452"/>
                  </a:lnTo>
                  <a:lnTo>
                    <a:pt x="51" y="449"/>
                  </a:lnTo>
                  <a:lnTo>
                    <a:pt x="51" y="449"/>
                  </a:lnTo>
                  <a:lnTo>
                    <a:pt x="51" y="447"/>
                  </a:lnTo>
                  <a:lnTo>
                    <a:pt x="51" y="444"/>
                  </a:lnTo>
                  <a:lnTo>
                    <a:pt x="51" y="441"/>
                  </a:lnTo>
                  <a:lnTo>
                    <a:pt x="48" y="441"/>
                  </a:lnTo>
                  <a:lnTo>
                    <a:pt x="45" y="441"/>
                  </a:lnTo>
                  <a:lnTo>
                    <a:pt x="45" y="439"/>
                  </a:lnTo>
                  <a:lnTo>
                    <a:pt x="45" y="439"/>
                  </a:lnTo>
                  <a:lnTo>
                    <a:pt x="45" y="439"/>
                  </a:lnTo>
                  <a:lnTo>
                    <a:pt x="43" y="439"/>
                  </a:lnTo>
                  <a:lnTo>
                    <a:pt x="43" y="439"/>
                  </a:lnTo>
                  <a:lnTo>
                    <a:pt x="40" y="439"/>
                  </a:lnTo>
                  <a:lnTo>
                    <a:pt x="40" y="436"/>
                  </a:lnTo>
                  <a:lnTo>
                    <a:pt x="37" y="436"/>
                  </a:lnTo>
                  <a:lnTo>
                    <a:pt x="37" y="436"/>
                  </a:lnTo>
                  <a:lnTo>
                    <a:pt x="35" y="436"/>
                  </a:lnTo>
                  <a:lnTo>
                    <a:pt x="32" y="436"/>
                  </a:lnTo>
                  <a:lnTo>
                    <a:pt x="32" y="436"/>
                  </a:lnTo>
                  <a:lnTo>
                    <a:pt x="29" y="436"/>
                  </a:lnTo>
                  <a:lnTo>
                    <a:pt x="29" y="433"/>
                  </a:lnTo>
                  <a:lnTo>
                    <a:pt x="29" y="431"/>
                  </a:lnTo>
                  <a:lnTo>
                    <a:pt x="29" y="431"/>
                  </a:lnTo>
                  <a:lnTo>
                    <a:pt x="29" y="431"/>
                  </a:lnTo>
                  <a:lnTo>
                    <a:pt x="27" y="431"/>
                  </a:lnTo>
                  <a:lnTo>
                    <a:pt x="27" y="428"/>
                  </a:lnTo>
                  <a:lnTo>
                    <a:pt x="27" y="428"/>
                  </a:lnTo>
                  <a:lnTo>
                    <a:pt x="24" y="428"/>
                  </a:lnTo>
                  <a:lnTo>
                    <a:pt x="24" y="428"/>
                  </a:lnTo>
                  <a:lnTo>
                    <a:pt x="24" y="431"/>
                  </a:lnTo>
                  <a:lnTo>
                    <a:pt x="21" y="431"/>
                  </a:lnTo>
                  <a:lnTo>
                    <a:pt x="21" y="431"/>
                  </a:lnTo>
                  <a:lnTo>
                    <a:pt x="21" y="431"/>
                  </a:lnTo>
                  <a:lnTo>
                    <a:pt x="21" y="433"/>
                  </a:lnTo>
                  <a:lnTo>
                    <a:pt x="21" y="433"/>
                  </a:lnTo>
                  <a:lnTo>
                    <a:pt x="11" y="417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5" y="415"/>
                  </a:lnTo>
                  <a:lnTo>
                    <a:pt x="3" y="412"/>
                  </a:lnTo>
                  <a:lnTo>
                    <a:pt x="5" y="412"/>
                  </a:lnTo>
                  <a:lnTo>
                    <a:pt x="5" y="409"/>
                  </a:lnTo>
                  <a:lnTo>
                    <a:pt x="8" y="407"/>
                  </a:lnTo>
                  <a:lnTo>
                    <a:pt x="8" y="407"/>
                  </a:lnTo>
                  <a:lnTo>
                    <a:pt x="8" y="404"/>
                  </a:lnTo>
                  <a:lnTo>
                    <a:pt x="5" y="401"/>
                  </a:lnTo>
                  <a:lnTo>
                    <a:pt x="5" y="401"/>
                  </a:lnTo>
                  <a:lnTo>
                    <a:pt x="3" y="399"/>
                  </a:lnTo>
                  <a:lnTo>
                    <a:pt x="3" y="399"/>
                  </a:lnTo>
                  <a:lnTo>
                    <a:pt x="3" y="396"/>
                  </a:lnTo>
                  <a:lnTo>
                    <a:pt x="3" y="396"/>
                  </a:lnTo>
                  <a:lnTo>
                    <a:pt x="5" y="393"/>
                  </a:lnTo>
                  <a:lnTo>
                    <a:pt x="3" y="393"/>
                  </a:lnTo>
                  <a:lnTo>
                    <a:pt x="5" y="391"/>
                  </a:lnTo>
                  <a:lnTo>
                    <a:pt x="5" y="388"/>
                  </a:lnTo>
                  <a:lnTo>
                    <a:pt x="5" y="388"/>
                  </a:lnTo>
                  <a:lnTo>
                    <a:pt x="8" y="388"/>
                  </a:lnTo>
                  <a:lnTo>
                    <a:pt x="11" y="385"/>
                  </a:lnTo>
                  <a:lnTo>
                    <a:pt x="8" y="385"/>
                  </a:lnTo>
                  <a:lnTo>
                    <a:pt x="8" y="383"/>
                  </a:lnTo>
                  <a:lnTo>
                    <a:pt x="8" y="385"/>
                  </a:lnTo>
                  <a:lnTo>
                    <a:pt x="5" y="385"/>
                  </a:lnTo>
                  <a:lnTo>
                    <a:pt x="5" y="385"/>
                  </a:lnTo>
                  <a:lnTo>
                    <a:pt x="3" y="388"/>
                  </a:lnTo>
                  <a:lnTo>
                    <a:pt x="3" y="385"/>
                  </a:lnTo>
                  <a:lnTo>
                    <a:pt x="0" y="385"/>
                  </a:lnTo>
                  <a:lnTo>
                    <a:pt x="0" y="383"/>
                  </a:lnTo>
                  <a:lnTo>
                    <a:pt x="0" y="383"/>
                  </a:lnTo>
                  <a:lnTo>
                    <a:pt x="0" y="380"/>
                  </a:lnTo>
                  <a:lnTo>
                    <a:pt x="3" y="377"/>
                  </a:lnTo>
                  <a:lnTo>
                    <a:pt x="3" y="377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8" y="375"/>
                  </a:lnTo>
                  <a:lnTo>
                    <a:pt x="11" y="375"/>
                  </a:lnTo>
                  <a:lnTo>
                    <a:pt x="11" y="372"/>
                  </a:lnTo>
                  <a:lnTo>
                    <a:pt x="8" y="369"/>
                  </a:lnTo>
                  <a:lnTo>
                    <a:pt x="8" y="369"/>
                  </a:lnTo>
                  <a:lnTo>
                    <a:pt x="8" y="367"/>
                  </a:lnTo>
                  <a:lnTo>
                    <a:pt x="8" y="364"/>
                  </a:lnTo>
                  <a:lnTo>
                    <a:pt x="8" y="364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8" y="361"/>
                  </a:lnTo>
                  <a:lnTo>
                    <a:pt x="5" y="359"/>
                  </a:lnTo>
                  <a:lnTo>
                    <a:pt x="5" y="359"/>
                  </a:lnTo>
                  <a:lnTo>
                    <a:pt x="5" y="356"/>
                  </a:lnTo>
                  <a:lnTo>
                    <a:pt x="8" y="356"/>
                  </a:lnTo>
                  <a:lnTo>
                    <a:pt x="8" y="356"/>
                  </a:lnTo>
                  <a:lnTo>
                    <a:pt x="8" y="353"/>
                  </a:lnTo>
                  <a:lnTo>
                    <a:pt x="8" y="351"/>
                  </a:lnTo>
                  <a:lnTo>
                    <a:pt x="8" y="348"/>
                  </a:lnTo>
                  <a:lnTo>
                    <a:pt x="8" y="348"/>
                  </a:lnTo>
                  <a:lnTo>
                    <a:pt x="8" y="345"/>
                  </a:lnTo>
                  <a:lnTo>
                    <a:pt x="8" y="343"/>
                  </a:lnTo>
                  <a:lnTo>
                    <a:pt x="8" y="343"/>
                  </a:lnTo>
                  <a:lnTo>
                    <a:pt x="11" y="340"/>
                  </a:lnTo>
                  <a:lnTo>
                    <a:pt x="13" y="337"/>
                  </a:lnTo>
                  <a:lnTo>
                    <a:pt x="13" y="337"/>
                  </a:lnTo>
                  <a:lnTo>
                    <a:pt x="11" y="335"/>
                  </a:lnTo>
                  <a:lnTo>
                    <a:pt x="13" y="332"/>
                  </a:lnTo>
                  <a:lnTo>
                    <a:pt x="13" y="332"/>
                  </a:lnTo>
                  <a:lnTo>
                    <a:pt x="13" y="329"/>
                  </a:lnTo>
                  <a:lnTo>
                    <a:pt x="16" y="329"/>
                  </a:lnTo>
                  <a:lnTo>
                    <a:pt x="19" y="327"/>
                  </a:lnTo>
                  <a:lnTo>
                    <a:pt x="19" y="324"/>
                  </a:lnTo>
                  <a:lnTo>
                    <a:pt x="21" y="324"/>
                  </a:lnTo>
                  <a:lnTo>
                    <a:pt x="21" y="324"/>
                  </a:lnTo>
                  <a:lnTo>
                    <a:pt x="21" y="321"/>
                  </a:lnTo>
                  <a:lnTo>
                    <a:pt x="21" y="321"/>
                  </a:lnTo>
                  <a:lnTo>
                    <a:pt x="21" y="318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7" y="313"/>
                  </a:lnTo>
                  <a:lnTo>
                    <a:pt x="29" y="310"/>
                  </a:lnTo>
                  <a:lnTo>
                    <a:pt x="29" y="310"/>
                  </a:lnTo>
                  <a:lnTo>
                    <a:pt x="32" y="310"/>
                  </a:lnTo>
                  <a:lnTo>
                    <a:pt x="35" y="310"/>
                  </a:lnTo>
                  <a:lnTo>
                    <a:pt x="35" y="308"/>
                  </a:lnTo>
                  <a:lnTo>
                    <a:pt x="37" y="305"/>
                  </a:lnTo>
                  <a:lnTo>
                    <a:pt x="37" y="305"/>
                  </a:lnTo>
                  <a:lnTo>
                    <a:pt x="40" y="305"/>
                  </a:lnTo>
                  <a:lnTo>
                    <a:pt x="43" y="302"/>
                  </a:lnTo>
                  <a:lnTo>
                    <a:pt x="43" y="300"/>
                  </a:lnTo>
                  <a:lnTo>
                    <a:pt x="45" y="300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51" y="294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3" y="289"/>
                  </a:lnTo>
                  <a:lnTo>
                    <a:pt x="51" y="289"/>
                  </a:lnTo>
                  <a:lnTo>
                    <a:pt x="51" y="286"/>
                  </a:lnTo>
                  <a:lnTo>
                    <a:pt x="48" y="284"/>
                  </a:lnTo>
                  <a:lnTo>
                    <a:pt x="51" y="284"/>
                  </a:lnTo>
                  <a:lnTo>
                    <a:pt x="51" y="281"/>
                  </a:lnTo>
                  <a:lnTo>
                    <a:pt x="53" y="278"/>
                  </a:lnTo>
                  <a:lnTo>
                    <a:pt x="56" y="276"/>
                  </a:lnTo>
                  <a:lnTo>
                    <a:pt x="56" y="273"/>
                  </a:lnTo>
                  <a:lnTo>
                    <a:pt x="56" y="270"/>
                  </a:lnTo>
                  <a:lnTo>
                    <a:pt x="59" y="268"/>
                  </a:lnTo>
                  <a:lnTo>
                    <a:pt x="59" y="265"/>
                  </a:lnTo>
                  <a:lnTo>
                    <a:pt x="59" y="265"/>
                  </a:lnTo>
                  <a:lnTo>
                    <a:pt x="59" y="262"/>
                  </a:lnTo>
                  <a:lnTo>
                    <a:pt x="56" y="262"/>
                  </a:lnTo>
                  <a:lnTo>
                    <a:pt x="56" y="260"/>
                  </a:lnTo>
                  <a:lnTo>
                    <a:pt x="53" y="260"/>
                  </a:lnTo>
                  <a:lnTo>
                    <a:pt x="51" y="257"/>
                  </a:lnTo>
                  <a:lnTo>
                    <a:pt x="48" y="257"/>
                  </a:lnTo>
                  <a:lnTo>
                    <a:pt x="80" y="225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77" y="220"/>
                  </a:lnTo>
                  <a:lnTo>
                    <a:pt x="75" y="220"/>
                  </a:lnTo>
                  <a:lnTo>
                    <a:pt x="75" y="217"/>
                  </a:lnTo>
                  <a:lnTo>
                    <a:pt x="72" y="214"/>
                  </a:lnTo>
                  <a:lnTo>
                    <a:pt x="72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1" y="209"/>
                  </a:lnTo>
                  <a:lnTo>
                    <a:pt x="61" y="206"/>
                  </a:lnTo>
                  <a:lnTo>
                    <a:pt x="59" y="206"/>
                  </a:lnTo>
                  <a:lnTo>
                    <a:pt x="59" y="204"/>
                  </a:lnTo>
                  <a:lnTo>
                    <a:pt x="56" y="201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3" y="196"/>
                  </a:lnTo>
                  <a:lnTo>
                    <a:pt x="53" y="193"/>
                  </a:lnTo>
                  <a:lnTo>
                    <a:pt x="53" y="193"/>
                  </a:lnTo>
                  <a:lnTo>
                    <a:pt x="53" y="190"/>
                  </a:lnTo>
                  <a:lnTo>
                    <a:pt x="53" y="188"/>
                  </a:lnTo>
                  <a:lnTo>
                    <a:pt x="53" y="188"/>
                  </a:lnTo>
                  <a:lnTo>
                    <a:pt x="51" y="185"/>
                  </a:lnTo>
                  <a:lnTo>
                    <a:pt x="53" y="182"/>
                  </a:lnTo>
                  <a:lnTo>
                    <a:pt x="53" y="180"/>
                  </a:lnTo>
                  <a:lnTo>
                    <a:pt x="53" y="174"/>
                  </a:lnTo>
                  <a:lnTo>
                    <a:pt x="53" y="172"/>
                  </a:lnTo>
                  <a:lnTo>
                    <a:pt x="53" y="169"/>
                  </a:lnTo>
                  <a:lnTo>
                    <a:pt x="53" y="169"/>
                  </a:lnTo>
                  <a:lnTo>
                    <a:pt x="53" y="166"/>
                  </a:lnTo>
                  <a:lnTo>
                    <a:pt x="53" y="164"/>
                  </a:lnTo>
                  <a:lnTo>
                    <a:pt x="56" y="161"/>
                  </a:lnTo>
                  <a:lnTo>
                    <a:pt x="56" y="158"/>
                  </a:lnTo>
                  <a:lnTo>
                    <a:pt x="56" y="155"/>
                  </a:lnTo>
                  <a:lnTo>
                    <a:pt x="59" y="155"/>
                  </a:lnTo>
                  <a:lnTo>
                    <a:pt x="61" y="153"/>
                  </a:lnTo>
                  <a:lnTo>
                    <a:pt x="64" y="153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7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69" y="150"/>
                  </a:lnTo>
                  <a:lnTo>
                    <a:pt x="72" y="150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5" y="145"/>
                  </a:lnTo>
                  <a:lnTo>
                    <a:pt x="75" y="145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7" y="139"/>
                  </a:lnTo>
                  <a:lnTo>
                    <a:pt x="67" y="142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5" y="134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7" y="129"/>
                  </a:lnTo>
                  <a:lnTo>
                    <a:pt x="80" y="126"/>
                  </a:lnTo>
                  <a:lnTo>
                    <a:pt x="80" y="123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21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7" y="113"/>
                  </a:lnTo>
                  <a:lnTo>
                    <a:pt x="77" y="110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3" y="99"/>
                  </a:lnTo>
                  <a:lnTo>
                    <a:pt x="85" y="102"/>
                  </a:lnTo>
                  <a:lnTo>
                    <a:pt x="85" y="102"/>
                  </a:lnTo>
                  <a:lnTo>
                    <a:pt x="88" y="105"/>
                  </a:lnTo>
                  <a:lnTo>
                    <a:pt x="91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5"/>
                  </a:lnTo>
                  <a:lnTo>
                    <a:pt x="93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4" y="107"/>
                  </a:lnTo>
                  <a:lnTo>
                    <a:pt x="104" y="110"/>
                  </a:lnTo>
                  <a:lnTo>
                    <a:pt x="109" y="107"/>
                  </a:lnTo>
                  <a:lnTo>
                    <a:pt x="109" y="107"/>
                  </a:lnTo>
                  <a:lnTo>
                    <a:pt x="112" y="105"/>
                  </a:lnTo>
                  <a:lnTo>
                    <a:pt x="115" y="105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7" y="99"/>
                  </a:lnTo>
                  <a:lnTo>
                    <a:pt x="117" y="97"/>
                  </a:lnTo>
                  <a:lnTo>
                    <a:pt x="120" y="97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1"/>
                  </a:lnTo>
                  <a:lnTo>
                    <a:pt x="123" y="91"/>
                  </a:lnTo>
                  <a:lnTo>
                    <a:pt x="123" y="91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3" y="89"/>
                  </a:lnTo>
                  <a:lnTo>
                    <a:pt x="125" y="86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94"/>
                  </a:lnTo>
                  <a:lnTo>
                    <a:pt x="128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28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9"/>
                  </a:lnTo>
                  <a:lnTo>
                    <a:pt x="134" y="102"/>
                  </a:lnTo>
                  <a:lnTo>
                    <a:pt x="134" y="102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39" y="102"/>
                  </a:lnTo>
                  <a:lnTo>
                    <a:pt x="136" y="105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42" y="107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4" y="113"/>
                  </a:lnTo>
                  <a:lnTo>
                    <a:pt x="144" y="118"/>
                  </a:lnTo>
                  <a:lnTo>
                    <a:pt x="142" y="118"/>
                  </a:lnTo>
                  <a:lnTo>
                    <a:pt x="144" y="121"/>
                  </a:lnTo>
                  <a:lnTo>
                    <a:pt x="144" y="123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50" y="126"/>
                  </a:lnTo>
                  <a:lnTo>
                    <a:pt x="150" y="129"/>
                  </a:lnTo>
                  <a:lnTo>
                    <a:pt x="152" y="129"/>
                  </a:lnTo>
                  <a:lnTo>
                    <a:pt x="155" y="129"/>
                  </a:lnTo>
                  <a:lnTo>
                    <a:pt x="155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3" y="123"/>
                  </a:lnTo>
                  <a:lnTo>
                    <a:pt x="163" y="123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9"/>
                  </a:lnTo>
                  <a:lnTo>
                    <a:pt x="168" y="129"/>
                  </a:lnTo>
                  <a:lnTo>
                    <a:pt x="171" y="129"/>
                  </a:lnTo>
                  <a:lnTo>
                    <a:pt x="171" y="129"/>
                  </a:lnTo>
                  <a:lnTo>
                    <a:pt x="174" y="129"/>
                  </a:lnTo>
                  <a:lnTo>
                    <a:pt x="174" y="129"/>
                  </a:lnTo>
                  <a:lnTo>
                    <a:pt x="174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29"/>
                  </a:lnTo>
                  <a:lnTo>
                    <a:pt x="179" y="129"/>
                  </a:lnTo>
                  <a:lnTo>
                    <a:pt x="179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4" y="126"/>
                  </a:lnTo>
                  <a:lnTo>
                    <a:pt x="184" y="126"/>
                  </a:lnTo>
                  <a:lnTo>
                    <a:pt x="187" y="126"/>
                  </a:lnTo>
                  <a:lnTo>
                    <a:pt x="187" y="123"/>
                  </a:lnTo>
                  <a:lnTo>
                    <a:pt x="190" y="121"/>
                  </a:lnTo>
                  <a:lnTo>
                    <a:pt x="190" y="121"/>
                  </a:lnTo>
                  <a:lnTo>
                    <a:pt x="190" y="118"/>
                  </a:lnTo>
                  <a:lnTo>
                    <a:pt x="190" y="115"/>
                  </a:lnTo>
                  <a:lnTo>
                    <a:pt x="190" y="113"/>
                  </a:lnTo>
                  <a:lnTo>
                    <a:pt x="192" y="110"/>
                  </a:lnTo>
                  <a:lnTo>
                    <a:pt x="190" y="110"/>
                  </a:lnTo>
                  <a:lnTo>
                    <a:pt x="190" y="107"/>
                  </a:lnTo>
                  <a:lnTo>
                    <a:pt x="192" y="105"/>
                  </a:lnTo>
                  <a:lnTo>
                    <a:pt x="192" y="102"/>
                  </a:lnTo>
                  <a:lnTo>
                    <a:pt x="195" y="102"/>
                  </a:lnTo>
                  <a:lnTo>
                    <a:pt x="195" y="102"/>
                  </a:lnTo>
                  <a:lnTo>
                    <a:pt x="198" y="102"/>
                  </a:lnTo>
                  <a:lnTo>
                    <a:pt x="198" y="102"/>
                  </a:lnTo>
                  <a:lnTo>
                    <a:pt x="200" y="102"/>
                  </a:lnTo>
                  <a:lnTo>
                    <a:pt x="200" y="102"/>
                  </a:lnTo>
                  <a:lnTo>
                    <a:pt x="200" y="99"/>
                  </a:lnTo>
                  <a:lnTo>
                    <a:pt x="200" y="99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198" y="97"/>
                  </a:lnTo>
                  <a:lnTo>
                    <a:pt x="200" y="97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0" y="94"/>
                  </a:lnTo>
                  <a:lnTo>
                    <a:pt x="200" y="91"/>
                  </a:lnTo>
                  <a:lnTo>
                    <a:pt x="198" y="91"/>
                  </a:lnTo>
                  <a:lnTo>
                    <a:pt x="198" y="89"/>
                  </a:lnTo>
                  <a:lnTo>
                    <a:pt x="200" y="86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198" y="81"/>
                  </a:lnTo>
                  <a:lnTo>
                    <a:pt x="195" y="81"/>
                  </a:lnTo>
                  <a:lnTo>
                    <a:pt x="195" y="83"/>
                  </a:lnTo>
                  <a:lnTo>
                    <a:pt x="192" y="83"/>
                  </a:lnTo>
                  <a:lnTo>
                    <a:pt x="192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3"/>
                  </a:lnTo>
                  <a:lnTo>
                    <a:pt x="190" y="81"/>
                  </a:lnTo>
                  <a:lnTo>
                    <a:pt x="187" y="81"/>
                  </a:lnTo>
                  <a:lnTo>
                    <a:pt x="187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2" y="78"/>
                  </a:lnTo>
                  <a:lnTo>
                    <a:pt x="179" y="78"/>
                  </a:lnTo>
                  <a:lnTo>
                    <a:pt x="176" y="75"/>
                  </a:lnTo>
                  <a:lnTo>
                    <a:pt x="176" y="73"/>
                  </a:lnTo>
                  <a:lnTo>
                    <a:pt x="176" y="70"/>
                  </a:lnTo>
                  <a:lnTo>
                    <a:pt x="176" y="70"/>
                  </a:lnTo>
                  <a:lnTo>
                    <a:pt x="176" y="67"/>
                  </a:lnTo>
                  <a:lnTo>
                    <a:pt x="176" y="65"/>
                  </a:lnTo>
                  <a:lnTo>
                    <a:pt x="176" y="65"/>
                  </a:lnTo>
                  <a:lnTo>
                    <a:pt x="176" y="62"/>
                  </a:lnTo>
                  <a:lnTo>
                    <a:pt x="176" y="59"/>
                  </a:lnTo>
                  <a:lnTo>
                    <a:pt x="176" y="57"/>
                  </a:lnTo>
                  <a:lnTo>
                    <a:pt x="176" y="54"/>
                  </a:lnTo>
                  <a:lnTo>
                    <a:pt x="176" y="51"/>
                  </a:lnTo>
                  <a:lnTo>
                    <a:pt x="176" y="49"/>
                  </a:lnTo>
                  <a:lnTo>
                    <a:pt x="179" y="46"/>
                  </a:lnTo>
                  <a:lnTo>
                    <a:pt x="179" y="43"/>
                  </a:lnTo>
                  <a:lnTo>
                    <a:pt x="179" y="43"/>
                  </a:lnTo>
                  <a:lnTo>
                    <a:pt x="179" y="41"/>
                  </a:lnTo>
                  <a:lnTo>
                    <a:pt x="179" y="41"/>
                  </a:lnTo>
                  <a:lnTo>
                    <a:pt x="182" y="38"/>
                  </a:lnTo>
                  <a:lnTo>
                    <a:pt x="182" y="35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5"/>
                  </a:lnTo>
                  <a:lnTo>
                    <a:pt x="179" y="25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9" y="19"/>
                  </a:lnTo>
                  <a:lnTo>
                    <a:pt x="179" y="19"/>
                  </a:lnTo>
                  <a:lnTo>
                    <a:pt x="182" y="19"/>
                  </a:lnTo>
                  <a:lnTo>
                    <a:pt x="182" y="19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7"/>
                  </a:lnTo>
                  <a:lnTo>
                    <a:pt x="182" y="14"/>
                  </a:lnTo>
                  <a:lnTo>
                    <a:pt x="182" y="11"/>
                  </a:lnTo>
                  <a:lnTo>
                    <a:pt x="182" y="11"/>
                  </a:lnTo>
                  <a:lnTo>
                    <a:pt x="184" y="9"/>
                  </a:lnTo>
                  <a:lnTo>
                    <a:pt x="184" y="9"/>
                  </a:lnTo>
                  <a:lnTo>
                    <a:pt x="184" y="9"/>
                  </a:lnTo>
                  <a:lnTo>
                    <a:pt x="187" y="9"/>
                  </a:lnTo>
                  <a:lnTo>
                    <a:pt x="190" y="9"/>
                  </a:lnTo>
                  <a:lnTo>
                    <a:pt x="190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5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200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0" y="11"/>
                  </a:lnTo>
                  <a:lnTo>
                    <a:pt x="203" y="11"/>
                  </a:lnTo>
                  <a:lnTo>
                    <a:pt x="206" y="11"/>
                  </a:lnTo>
                  <a:lnTo>
                    <a:pt x="206" y="9"/>
                  </a:lnTo>
                  <a:lnTo>
                    <a:pt x="206" y="9"/>
                  </a:lnTo>
                  <a:lnTo>
                    <a:pt x="208" y="9"/>
                  </a:lnTo>
                  <a:lnTo>
                    <a:pt x="208" y="6"/>
                  </a:lnTo>
                  <a:lnTo>
                    <a:pt x="211" y="6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1" y="0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9" y="0"/>
                  </a:lnTo>
                  <a:lnTo>
                    <a:pt x="222" y="3"/>
                  </a:lnTo>
                  <a:lnTo>
                    <a:pt x="222" y="6"/>
                  </a:lnTo>
                  <a:lnTo>
                    <a:pt x="224" y="6"/>
                  </a:lnTo>
                  <a:lnTo>
                    <a:pt x="224" y="9"/>
                  </a:lnTo>
                  <a:lnTo>
                    <a:pt x="227" y="11"/>
                  </a:lnTo>
                  <a:lnTo>
                    <a:pt x="227" y="14"/>
                  </a:lnTo>
                  <a:lnTo>
                    <a:pt x="227" y="14"/>
                  </a:lnTo>
                  <a:lnTo>
                    <a:pt x="230" y="17"/>
                  </a:lnTo>
                  <a:lnTo>
                    <a:pt x="230" y="19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5" y="27"/>
                  </a:lnTo>
                  <a:lnTo>
                    <a:pt x="235" y="30"/>
                  </a:lnTo>
                  <a:lnTo>
                    <a:pt x="235" y="33"/>
                  </a:lnTo>
                  <a:lnTo>
                    <a:pt x="232" y="35"/>
                  </a:lnTo>
                  <a:lnTo>
                    <a:pt x="232" y="38"/>
                  </a:lnTo>
                  <a:lnTo>
                    <a:pt x="232" y="43"/>
                  </a:lnTo>
                  <a:lnTo>
                    <a:pt x="232" y="46"/>
                  </a:lnTo>
                  <a:lnTo>
                    <a:pt x="235" y="49"/>
                  </a:lnTo>
                  <a:lnTo>
                    <a:pt x="235" y="51"/>
                  </a:lnTo>
                  <a:lnTo>
                    <a:pt x="238" y="54"/>
                  </a:lnTo>
                  <a:lnTo>
                    <a:pt x="238" y="57"/>
                  </a:lnTo>
                  <a:lnTo>
                    <a:pt x="240" y="59"/>
                  </a:lnTo>
                  <a:lnTo>
                    <a:pt x="243" y="59"/>
                  </a:lnTo>
                  <a:lnTo>
                    <a:pt x="243" y="62"/>
                  </a:lnTo>
                  <a:lnTo>
                    <a:pt x="246" y="62"/>
                  </a:lnTo>
                  <a:lnTo>
                    <a:pt x="246" y="62"/>
                  </a:lnTo>
                  <a:lnTo>
                    <a:pt x="248" y="65"/>
                  </a:lnTo>
                  <a:lnTo>
                    <a:pt x="246" y="65"/>
                  </a:lnTo>
                  <a:lnTo>
                    <a:pt x="246" y="65"/>
                  </a:lnTo>
                  <a:lnTo>
                    <a:pt x="246" y="67"/>
                  </a:lnTo>
                  <a:lnTo>
                    <a:pt x="246" y="67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70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5"/>
                  </a:lnTo>
                  <a:lnTo>
                    <a:pt x="240" y="65"/>
                  </a:lnTo>
                  <a:lnTo>
                    <a:pt x="240" y="65"/>
                  </a:lnTo>
                  <a:lnTo>
                    <a:pt x="240" y="67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8" y="65"/>
                  </a:lnTo>
                  <a:lnTo>
                    <a:pt x="235" y="62"/>
                  </a:lnTo>
                  <a:lnTo>
                    <a:pt x="232" y="62"/>
                  </a:lnTo>
                  <a:lnTo>
                    <a:pt x="230" y="62"/>
                  </a:lnTo>
                  <a:lnTo>
                    <a:pt x="230" y="62"/>
                  </a:lnTo>
                  <a:lnTo>
                    <a:pt x="227" y="65"/>
                  </a:lnTo>
                  <a:lnTo>
                    <a:pt x="227" y="65"/>
                  </a:lnTo>
                  <a:lnTo>
                    <a:pt x="230" y="67"/>
                  </a:lnTo>
                  <a:lnTo>
                    <a:pt x="227" y="70"/>
                  </a:lnTo>
                  <a:lnTo>
                    <a:pt x="230" y="70"/>
                  </a:lnTo>
                  <a:lnTo>
                    <a:pt x="227" y="70"/>
                  </a:lnTo>
                  <a:lnTo>
                    <a:pt x="227" y="70"/>
                  </a:lnTo>
                  <a:lnTo>
                    <a:pt x="224" y="73"/>
                  </a:lnTo>
                  <a:lnTo>
                    <a:pt x="224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22" y="73"/>
                  </a:lnTo>
                  <a:lnTo>
                    <a:pt x="219" y="73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19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24" y="73"/>
                  </a:lnTo>
                  <a:lnTo>
                    <a:pt x="224" y="73"/>
                  </a:lnTo>
                  <a:lnTo>
                    <a:pt x="227" y="73"/>
                  </a:lnTo>
                  <a:lnTo>
                    <a:pt x="227" y="73"/>
                  </a:lnTo>
                  <a:lnTo>
                    <a:pt x="230" y="73"/>
                  </a:lnTo>
                  <a:lnTo>
                    <a:pt x="230" y="70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35" y="73"/>
                  </a:lnTo>
                  <a:lnTo>
                    <a:pt x="235" y="73"/>
                  </a:lnTo>
                  <a:lnTo>
                    <a:pt x="240" y="73"/>
                  </a:lnTo>
                  <a:lnTo>
                    <a:pt x="240" y="73"/>
                  </a:lnTo>
                  <a:lnTo>
                    <a:pt x="243" y="73"/>
                  </a:lnTo>
                  <a:lnTo>
                    <a:pt x="243" y="75"/>
                  </a:lnTo>
                  <a:lnTo>
                    <a:pt x="243" y="75"/>
                  </a:lnTo>
                  <a:lnTo>
                    <a:pt x="246" y="75"/>
                  </a:lnTo>
                  <a:lnTo>
                    <a:pt x="246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6" y="73"/>
                  </a:lnTo>
                  <a:lnTo>
                    <a:pt x="246" y="70"/>
                  </a:lnTo>
                  <a:lnTo>
                    <a:pt x="248" y="70"/>
                  </a:lnTo>
                  <a:lnTo>
                    <a:pt x="248" y="70"/>
                  </a:lnTo>
                  <a:lnTo>
                    <a:pt x="248" y="73"/>
                  </a:lnTo>
                  <a:lnTo>
                    <a:pt x="251" y="73"/>
                  </a:lnTo>
                  <a:lnTo>
                    <a:pt x="251" y="75"/>
                  </a:lnTo>
                  <a:lnTo>
                    <a:pt x="251" y="78"/>
                  </a:lnTo>
                  <a:lnTo>
                    <a:pt x="254" y="78"/>
                  </a:lnTo>
                  <a:lnTo>
                    <a:pt x="254" y="81"/>
                  </a:lnTo>
                  <a:lnTo>
                    <a:pt x="256" y="83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62" y="89"/>
                  </a:lnTo>
                  <a:lnTo>
                    <a:pt x="262" y="94"/>
                  </a:lnTo>
                  <a:lnTo>
                    <a:pt x="264" y="97"/>
                  </a:lnTo>
                  <a:lnTo>
                    <a:pt x="264" y="99"/>
                  </a:lnTo>
                  <a:lnTo>
                    <a:pt x="267" y="102"/>
                  </a:lnTo>
                  <a:lnTo>
                    <a:pt x="267" y="105"/>
                  </a:lnTo>
                  <a:lnTo>
                    <a:pt x="270" y="107"/>
                  </a:lnTo>
                  <a:lnTo>
                    <a:pt x="270" y="110"/>
                  </a:lnTo>
                  <a:lnTo>
                    <a:pt x="270" y="113"/>
                  </a:lnTo>
                  <a:lnTo>
                    <a:pt x="270" y="115"/>
                  </a:lnTo>
                  <a:lnTo>
                    <a:pt x="270" y="118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5" y="123"/>
                  </a:lnTo>
                  <a:lnTo>
                    <a:pt x="275" y="123"/>
                  </a:lnTo>
                  <a:lnTo>
                    <a:pt x="278" y="123"/>
                  </a:lnTo>
                  <a:lnTo>
                    <a:pt x="278" y="126"/>
                  </a:lnTo>
                  <a:lnTo>
                    <a:pt x="278" y="126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78" y="123"/>
                  </a:lnTo>
                  <a:lnTo>
                    <a:pt x="280" y="123"/>
                  </a:lnTo>
                  <a:lnTo>
                    <a:pt x="280" y="123"/>
                  </a:lnTo>
                  <a:lnTo>
                    <a:pt x="280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6" y="126"/>
                  </a:lnTo>
                  <a:lnTo>
                    <a:pt x="286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8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6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3"/>
                  </a:lnTo>
                  <a:lnTo>
                    <a:pt x="283" y="121"/>
                  </a:lnTo>
                  <a:lnTo>
                    <a:pt x="286" y="121"/>
                  </a:lnTo>
                  <a:lnTo>
                    <a:pt x="286" y="121"/>
                  </a:lnTo>
                  <a:lnTo>
                    <a:pt x="286" y="121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6" y="118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8" y="118"/>
                  </a:lnTo>
                  <a:lnTo>
                    <a:pt x="288" y="121"/>
                  </a:lnTo>
                  <a:lnTo>
                    <a:pt x="291" y="123"/>
                  </a:lnTo>
                  <a:lnTo>
                    <a:pt x="291" y="123"/>
                  </a:lnTo>
                  <a:lnTo>
                    <a:pt x="291" y="126"/>
                  </a:lnTo>
                  <a:lnTo>
                    <a:pt x="291" y="126"/>
                  </a:lnTo>
                  <a:lnTo>
                    <a:pt x="294" y="126"/>
                  </a:lnTo>
                  <a:lnTo>
                    <a:pt x="294" y="129"/>
                  </a:lnTo>
                  <a:lnTo>
                    <a:pt x="294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3"/>
                  </a:lnTo>
                  <a:lnTo>
                    <a:pt x="296" y="123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4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9" y="121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3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9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4" y="131"/>
                  </a:lnTo>
                  <a:lnTo>
                    <a:pt x="304" y="131"/>
                  </a:lnTo>
                  <a:lnTo>
                    <a:pt x="307" y="129"/>
                  </a:lnTo>
                  <a:lnTo>
                    <a:pt x="307" y="129"/>
                  </a:lnTo>
                  <a:lnTo>
                    <a:pt x="307" y="126"/>
                  </a:lnTo>
                  <a:lnTo>
                    <a:pt x="307" y="123"/>
                  </a:lnTo>
                  <a:lnTo>
                    <a:pt x="307" y="123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4" y="121"/>
                  </a:lnTo>
                  <a:lnTo>
                    <a:pt x="304" y="118"/>
                  </a:lnTo>
                  <a:lnTo>
                    <a:pt x="304" y="118"/>
                  </a:lnTo>
                  <a:lnTo>
                    <a:pt x="307" y="118"/>
                  </a:lnTo>
                  <a:lnTo>
                    <a:pt x="307" y="121"/>
                  </a:lnTo>
                  <a:lnTo>
                    <a:pt x="310" y="121"/>
                  </a:lnTo>
                  <a:lnTo>
                    <a:pt x="310" y="121"/>
                  </a:lnTo>
                  <a:lnTo>
                    <a:pt x="310" y="123"/>
                  </a:lnTo>
                  <a:lnTo>
                    <a:pt x="310" y="121"/>
                  </a:lnTo>
                  <a:lnTo>
                    <a:pt x="312" y="121"/>
                  </a:lnTo>
                  <a:lnTo>
                    <a:pt x="312" y="123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310" y="129"/>
                  </a:lnTo>
                  <a:lnTo>
                    <a:pt x="312" y="129"/>
                  </a:lnTo>
                  <a:lnTo>
                    <a:pt x="312" y="129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5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20" y="126"/>
                  </a:lnTo>
                  <a:lnTo>
                    <a:pt x="320" y="126"/>
                  </a:lnTo>
                  <a:lnTo>
                    <a:pt x="320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1"/>
                  </a:lnTo>
                  <a:lnTo>
                    <a:pt x="320" y="118"/>
                  </a:lnTo>
                  <a:lnTo>
                    <a:pt x="320" y="115"/>
                  </a:lnTo>
                  <a:lnTo>
                    <a:pt x="320" y="115"/>
                  </a:lnTo>
                  <a:lnTo>
                    <a:pt x="323" y="110"/>
                  </a:lnTo>
                  <a:lnTo>
                    <a:pt x="323" y="110"/>
                  </a:lnTo>
                  <a:lnTo>
                    <a:pt x="323" y="107"/>
                  </a:lnTo>
                  <a:lnTo>
                    <a:pt x="326" y="105"/>
                  </a:lnTo>
                  <a:lnTo>
                    <a:pt x="323" y="105"/>
                  </a:lnTo>
                  <a:lnTo>
                    <a:pt x="326" y="102"/>
                  </a:lnTo>
                  <a:lnTo>
                    <a:pt x="326" y="99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6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3" y="94"/>
                  </a:lnTo>
                  <a:lnTo>
                    <a:pt x="326" y="89"/>
                  </a:lnTo>
                  <a:lnTo>
                    <a:pt x="326" y="89"/>
                  </a:lnTo>
                  <a:lnTo>
                    <a:pt x="323" y="86"/>
                  </a:lnTo>
                  <a:lnTo>
                    <a:pt x="326" y="83"/>
                  </a:lnTo>
                  <a:lnTo>
                    <a:pt x="326" y="78"/>
                  </a:lnTo>
                  <a:lnTo>
                    <a:pt x="326" y="78"/>
                  </a:lnTo>
                  <a:lnTo>
                    <a:pt x="326" y="78"/>
                  </a:lnTo>
                  <a:lnTo>
                    <a:pt x="326" y="75"/>
                  </a:lnTo>
                  <a:lnTo>
                    <a:pt x="326" y="73"/>
                  </a:lnTo>
                  <a:lnTo>
                    <a:pt x="326" y="70"/>
                  </a:lnTo>
                  <a:lnTo>
                    <a:pt x="326" y="65"/>
                  </a:lnTo>
                  <a:lnTo>
                    <a:pt x="326" y="62"/>
                  </a:lnTo>
                  <a:lnTo>
                    <a:pt x="326" y="59"/>
                  </a:lnTo>
                  <a:lnTo>
                    <a:pt x="326" y="57"/>
                  </a:lnTo>
                  <a:lnTo>
                    <a:pt x="328" y="54"/>
                  </a:lnTo>
                  <a:lnTo>
                    <a:pt x="328" y="51"/>
                  </a:lnTo>
                  <a:lnTo>
                    <a:pt x="331" y="49"/>
                  </a:lnTo>
                  <a:lnTo>
                    <a:pt x="334" y="46"/>
                  </a:lnTo>
                  <a:lnTo>
                    <a:pt x="336" y="43"/>
                  </a:lnTo>
                  <a:lnTo>
                    <a:pt x="339" y="41"/>
                  </a:lnTo>
                  <a:lnTo>
                    <a:pt x="339" y="41"/>
                  </a:lnTo>
                  <a:lnTo>
                    <a:pt x="342" y="41"/>
                  </a:lnTo>
                  <a:lnTo>
                    <a:pt x="342" y="41"/>
                  </a:lnTo>
                  <a:lnTo>
                    <a:pt x="342" y="38"/>
                  </a:lnTo>
                  <a:lnTo>
                    <a:pt x="347" y="38"/>
                  </a:lnTo>
                  <a:lnTo>
                    <a:pt x="350" y="38"/>
                  </a:lnTo>
                  <a:lnTo>
                    <a:pt x="352" y="38"/>
                  </a:lnTo>
                  <a:lnTo>
                    <a:pt x="358" y="38"/>
                  </a:lnTo>
                  <a:lnTo>
                    <a:pt x="363" y="38"/>
                  </a:lnTo>
                  <a:lnTo>
                    <a:pt x="366" y="41"/>
                  </a:lnTo>
                  <a:lnTo>
                    <a:pt x="368" y="38"/>
                  </a:lnTo>
                  <a:lnTo>
                    <a:pt x="371" y="38"/>
                  </a:lnTo>
                  <a:lnTo>
                    <a:pt x="374" y="38"/>
                  </a:lnTo>
                  <a:lnTo>
                    <a:pt x="379" y="38"/>
                  </a:lnTo>
                  <a:lnTo>
                    <a:pt x="382" y="38"/>
                  </a:lnTo>
                  <a:lnTo>
                    <a:pt x="385" y="35"/>
                  </a:lnTo>
                  <a:lnTo>
                    <a:pt x="390" y="33"/>
                  </a:lnTo>
                  <a:lnTo>
                    <a:pt x="393" y="33"/>
                  </a:lnTo>
                  <a:lnTo>
                    <a:pt x="395" y="30"/>
                  </a:lnTo>
                  <a:lnTo>
                    <a:pt x="398" y="30"/>
                  </a:lnTo>
                  <a:lnTo>
                    <a:pt x="401" y="30"/>
                  </a:lnTo>
                  <a:lnTo>
                    <a:pt x="403" y="30"/>
                  </a:lnTo>
                  <a:lnTo>
                    <a:pt x="406" y="30"/>
                  </a:lnTo>
                  <a:lnTo>
                    <a:pt x="409" y="33"/>
                  </a:lnTo>
                  <a:lnTo>
                    <a:pt x="414" y="33"/>
                  </a:lnTo>
                  <a:lnTo>
                    <a:pt x="417" y="35"/>
                  </a:lnTo>
                  <a:lnTo>
                    <a:pt x="422" y="35"/>
                  </a:lnTo>
                  <a:lnTo>
                    <a:pt x="425" y="35"/>
                  </a:lnTo>
                  <a:lnTo>
                    <a:pt x="427" y="38"/>
                  </a:lnTo>
                  <a:lnTo>
                    <a:pt x="430" y="38"/>
                  </a:lnTo>
                  <a:lnTo>
                    <a:pt x="433" y="38"/>
                  </a:lnTo>
                  <a:lnTo>
                    <a:pt x="435" y="35"/>
                  </a:lnTo>
                  <a:lnTo>
                    <a:pt x="438" y="35"/>
                  </a:lnTo>
                  <a:lnTo>
                    <a:pt x="438" y="35"/>
                  </a:lnTo>
                  <a:lnTo>
                    <a:pt x="438" y="35"/>
                  </a:lnTo>
                  <a:lnTo>
                    <a:pt x="441" y="35"/>
                  </a:lnTo>
                  <a:lnTo>
                    <a:pt x="441" y="35"/>
                  </a:lnTo>
                  <a:lnTo>
                    <a:pt x="443" y="35"/>
                  </a:lnTo>
                  <a:lnTo>
                    <a:pt x="443" y="33"/>
                  </a:lnTo>
                  <a:lnTo>
                    <a:pt x="443" y="33"/>
                  </a:lnTo>
                  <a:lnTo>
                    <a:pt x="446" y="33"/>
                  </a:lnTo>
                  <a:lnTo>
                    <a:pt x="449" y="33"/>
                  </a:lnTo>
                  <a:lnTo>
                    <a:pt x="451" y="30"/>
                  </a:lnTo>
                  <a:lnTo>
                    <a:pt x="454" y="30"/>
                  </a:lnTo>
                  <a:lnTo>
                    <a:pt x="457" y="30"/>
                  </a:lnTo>
                  <a:lnTo>
                    <a:pt x="459" y="27"/>
                  </a:lnTo>
                  <a:lnTo>
                    <a:pt x="462" y="27"/>
                  </a:lnTo>
                  <a:lnTo>
                    <a:pt x="465" y="25"/>
                  </a:lnTo>
                  <a:lnTo>
                    <a:pt x="467" y="25"/>
                  </a:lnTo>
                  <a:lnTo>
                    <a:pt x="470" y="25"/>
                  </a:lnTo>
                  <a:lnTo>
                    <a:pt x="470" y="25"/>
                  </a:lnTo>
                  <a:lnTo>
                    <a:pt x="473" y="22"/>
                  </a:lnTo>
                  <a:lnTo>
                    <a:pt x="475" y="22"/>
                  </a:lnTo>
                  <a:lnTo>
                    <a:pt x="475" y="19"/>
                  </a:lnTo>
                  <a:lnTo>
                    <a:pt x="478" y="19"/>
                  </a:lnTo>
                  <a:lnTo>
                    <a:pt x="478" y="19"/>
                  </a:lnTo>
                  <a:lnTo>
                    <a:pt x="481" y="19"/>
                  </a:lnTo>
                  <a:lnTo>
                    <a:pt x="483" y="19"/>
                  </a:lnTo>
                  <a:lnTo>
                    <a:pt x="483" y="19"/>
                  </a:lnTo>
                  <a:lnTo>
                    <a:pt x="486" y="19"/>
                  </a:lnTo>
                  <a:lnTo>
                    <a:pt x="489" y="22"/>
                  </a:lnTo>
                  <a:lnTo>
                    <a:pt x="489" y="25"/>
                  </a:lnTo>
                  <a:lnTo>
                    <a:pt x="489" y="27"/>
                  </a:lnTo>
                  <a:lnTo>
                    <a:pt x="489" y="30"/>
                  </a:lnTo>
                  <a:lnTo>
                    <a:pt x="491" y="33"/>
                  </a:lnTo>
                  <a:lnTo>
                    <a:pt x="494" y="35"/>
                  </a:lnTo>
                  <a:lnTo>
                    <a:pt x="494" y="35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89" y="38"/>
                  </a:lnTo>
                  <a:lnTo>
                    <a:pt x="489" y="38"/>
                  </a:lnTo>
                  <a:lnTo>
                    <a:pt x="489" y="38"/>
                  </a:lnTo>
                  <a:lnTo>
                    <a:pt x="486" y="38"/>
                  </a:lnTo>
                  <a:lnTo>
                    <a:pt x="486" y="38"/>
                  </a:lnTo>
                  <a:lnTo>
                    <a:pt x="489" y="38"/>
                  </a:lnTo>
                  <a:lnTo>
                    <a:pt x="491" y="38"/>
                  </a:lnTo>
                  <a:lnTo>
                    <a:pt x="494" y="41"/>
                  </a:lnTo>
                  <a:lnTo>
                    <a:pt x="494" y="41"/>
                  </a:lnTo>
                  <a:lnTo>
                    <a:pt x="499" y="43"/>
                  </a:lnTo>
                  <a:lnTo>
                    <a:pt x="502" y="46"/>
                  </a:lnTo>
                  <a:lnTo>
                    <a:pt x="502" y="46"/>
                  </a:lnTo>
                  <a:lnTo>
                    <a:pt x="505" y="46"/>
                  </a:lnTo>
                  <a:lnTo>
                    <a:pt x="507" y="49"/>
                  </a:lnTo>
                  <a:lnTo>
                    <a:pt x="510" y="49"/>
                  </a:lnTo>
                  <a:lnTo>
                    <a:pt x="513" y="51"/>
                  </a:lnTo>
                  <a:lnTo>
                    <a:pt x="513" y="51"/>
                  </a:lnTo>
                  <a:lnTo>
                    <a:pt x="515" y="54"/>
                  </a:lnTo>
                  <a:lnTo>
                    <a:pt x="515" y="57"/>
                  </a:lnTo>
                  <a:lnTo>
                    <a:pt x="515" y="57"/>
                  </a:lnTo>
                  <a:lnTo>
                    <a:pt x="513" y="59"/>
                  </a:lnTo>
                  <a:lnTo>
                    <a:pt x="513" y="59"/>
                  </a:lnTo>
                  <a:lnTo>
                    <a:pt x="513" y="62"/>
                  </a:lnTo>
                  <a:lnTo>
                    <a:pt x="513" y="62"/>
                  </a:lnTo>
                  <a:lnTo>
                    <a:pt x="513" y="62"/>
                  </a:lnTo>
                  <a:lnTo>
                    <a:pt x="515" y="65"/>
                  </a:lnTo>
                  <a:lnTo>
                    <a:pt x="515" y="65"/>
                  </a:lnTo>
                  <a:lnTo>
                    <a:pt x="518" y="67"/>
                  </a:lnTo>
                  <a:lnTo>
                    <a:pt x="518" y="70"/>
                  </a:lnTo>
                  <a:lnTo>
                    <a:pt x="518" y="73"/>
                  </a:lnTo>
                  <a:lnTo>
                    <a:pt x="518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18" y="75"/>
                  </a:lnTo>
                  <a:lnTo>
                    <a:pt x="518" y="75"/>
                  </a:lnTo>
                  <a:lnTo>
                    <a:pt x="518" y="78"/>
                  </a:lnTo>
                  <a:lnTo>
                    <a:pt x="518" y="78"/>
                  </a:lnTo>
                  <a:lnTo>
                    <a:pt x="515" y="78"/>
                  </a:lnTo>
                  <a:lnTo>
                    <a:pt x="513" y="78"/>
                  </a:lnTo>
                  <a:lnTo>
                    <a:pt x="513" y="78"/>
                  </a:lnTo>
                  <a:lnTo>
                    <a:pt x="510" y="78"/>
                  </a:lnTo>
                  <a:lnTo>
                    <a:pt x="510" y="78"/>
                  </a:lnTo>
                  <a:lnTo>
                    <a:pt x="507" y="78"/>
                  </a:lnTo>
                  <a:lnTo>
                    <a:pt x="507" y="78"/>
                  </a:lnTo>
                  <a:lnTo>
                    <a:pt x="505" y="78"/>
                  </a:lnTo>
                  <a:lnTo>
                    <a:pt x="505" y="78"/>
                  </a:lnTo>
                  <a:lnTo>
                    <a:pt x="505" y="81"/>
                  </a:lnTo>
                  <a:lnTo>
                    <a:pt x="502" y="81"/>
                  </a:lnTo>
                  <a:lnTo>
                    <a:pt x="502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9" y="81"/>
                  </a:lnTo>
                  <a:lnTo>
                    <a:pt x="497" y="81"/>
                  </a:lnTo>
                  <a:lnTo>
                    <a:pt x="497" y="81"/>
                  </a:lnTo>
                  <a:lnTo>
                    <a:pt x="494" y="81"/>
                  </a:lnTo>
                  <a:lnTo>
                    <a:pt x="497" y="83"/>
                  </a:lnTo>
                  <a:lnTo>
                    <a:pt x="497" y="83"/>
                  </a:lnTo>
                  <a:lnTo>
                    <a:pt x="494" y="86"/>
                  </a:lnTo>
                  <a:lnTo>
                    <a:pt x="494" y="86"/>
                  </a:lnTo>
                  <a:lnTo>
                    <a:pt x="494" y="89"/>
                  </a:lnTo>
                  <a:lnTo>
                    <a:pt x="497" y="89"/>
                  </a:lnTo>
                  <a:lnTo>
                    <a:pt x="497" y="89"/>
                  </a:lnTo>
                  <a:lnTo>
                    <a:pt x="497" y="89"/>
                  </a:lnTo>
                  <a:lnTo>
                    <a:pt x="497" y="91"/>
                  </a:lnTo>
                  <a:lnTo>
                    <a:pt x="497" y="91"/>
                  </a:lnTo>
                  <a:lnTo>
                    <a:pt x="497" y="94"/>
                  </a:lnTo>
                  <a:lnTo>
                    <a:pt x="497" y="94"/>
                  </a:lnTo>
                  <a:lnTo>
                    <a:pt x="497" y="94"/>
                  </a:lnTo>
                  <a:lnTo>
                    <a:pt x="497" y="97"/>
                  </a:lnTo>
                  <a:lnTo>
                    <a:pt x="497" y="97"/>
                  </a:lnTo>
                  <a:lnTo>
                    <a:pt x="499" y="94"/>
                  </a:lnTo>
                  <a:lnTo>
                    <a:pt x="499" y="94"/>
                  </a:lnTo>
                  <a:lnTo>
                    <a:pt x="499" y="91"/>
                  </a:lnTo>
                  <a:lnTo>
                    <a:pt x="499" y="89"/>
                  </a:lnTo>
                  <a:lnTo>
                    <a:pt x="499" y="89"/>
                  </a:lnTo>
                  <a:lnTo>
                    <a:pt x="499" y="89"/>
                  </a:lnTo>
                  <a:lnTo>
                    <a:pt x="499" y="86"/>
                  </a:lnTo>
                  <a:lnTo>
                    <a:pt x="499" y="86"/>
                  </a:lnTo>
                  <a:lnTo>
                    <a:pt x="497" y="86"/>
                  </a:lnTo>
                  <a:lnTo>
                    <a:pt x="497" y="86"/>
                  </a:lnTo>
                  <a:lnTo>
                    <a:pt x="497" y="86"/>
                  </a:lnTo>
                  <a:lnTo>
                    <a:pt x="499" y="83"/>
                  </a:lnTo>
                  <a:lnTo>
                    <a:pt x="499" y="83"/>
                  </a:lnTo>
                  <a:lnTo>
                    <a:pt x="502" y="83"/>
                  </a:lnTo>
                  <a:lnTo>
                    <a:pt x="502" y="81"/>
                  </a:lnTo>
                  <a:lnTo>
                    <a:pt x="505" y="81"/>
                  </a:lnTo>
                  <a:lnTo>
                    <a:pt x="507" y="81"/>
                  </a:lnTo>
                  <a:lnTo>
                    <a:pt x="510" y="81"/>
                  </a:lnTo>
                  <a:lnTo>
                    <a:pt x="513" y="83"/>
                  </a:lnTo>
                  <a:lnTo>
                    <a:pt x="513" y="83"/>
                  </a:lnTo>
                  <a:lnTo>
                    <a:pt x="515" y="83"/>
                  </a:lnTo>
                  <a:lnTo>
                    <a:pt x="515" y="83"/>
                  </a:lnTo>
                  <a:lnTo>
                    <a:pt x="518" y="83"/>
                  </a:lnTo>
                  <a:lnTo>
                    <a:pt x="518" y="83"/>
                  </a:lnTo>
                  <a:lnTo>
                    <a:pt x="518" y="83"/>
                  </a:lnTo>
                  <a:lnTo>
                    <a:pt x="521" y="83"/>
                  </a:lnTo>
                  <a:lnTo>
                    <a:pt x="521" y="86"/>
                  </a:lnTo>
                  <a:lnTo>
                    <a:pt x="521" y="86"/>
                  </a:lnTo>
                  <a:lnTo>
                    <a:pt x="521" y="86"/>
                  </a:lnTo>
                  <a:lnTo>
                    <a:pt x="521" y="89"/>
                  </a:lnTo>
                  <a:lnTo>
                    <a:pt x="521" y="89"/>
                  </a:lnTo>
                  <a:lnTo>
                    <a:pt x="521" y="91"/>
                  </a:lnTo>
                  <a:lnTo>
                    <a:pt x="521" y="94"/>
                  </a:lnTo>
                  <a:lnTo>
                    <a:pt x="521" y="94"/>
                  </a:lnTo>
                  <a:lnTo>
                    <a:pt x="521" y="97"/>
                  </a:lnTo>
                  <a:lnTo>
                    <a:pt x="521" y="99"/>
                  </a:lnTo>
                  <a:lnTo>
                    <a:pt x="521" y="99"/>
                  </a:lnTo>
                  <a:lnTo>
                    <a:pt x="521" y="102"/>
                  </a:lnTo>
                  <a:lnTo>
                    <a:pt x="521" y="105"/>
                  </a:lnTo>
                  <a:lnTo>
                    <a:pt x="518" y="105"/>
                  </a:lnTo>
                  <a:lnTo>
                    <a:pt x="518" y="107"/>
                  </a:lnTo>
                  <a:lnTo>
                    <a:pt x="515" y="107"/>
                  </a:lnTo>
                  <a:lnTo>
                    <a:pt x="515" y="110"/>
                  </a:lnTo>
                  <a:lnTo>
                    <a:pt x="515" y="110"/>
                  </a:lnTo>
                  <a:lnTo>
                    <a:pt x="515" y="113"/>
                  </a:lnTo>
                  <a:lnTo>
                    <a:pt x="515" y="115"/>
                  </a:lnTo>
                  <a:lnTo>
                    <a:pt x="515" y="115"/>
                  </a:lnTo>
                  <a:lnTo>
                    <a:pt x="515" y="118"/>
                  </a:lnTo>
                  <a:lnTo>
                    <a:pt x="515" y="121"/>
                  </a:lnTo>
                  <a:lnTo>
                    <a:pt x="515" y="121"/>
                  </a:lnTo>
                  <a:lnTo>
                    <a:pt x="513" y="121"/>
                  </a:lnTo>
                  <a:lnTo>
                    <a:pt x="513" y="123"/>
                  </a:lnTo>
                  <a:lnTo>
                    <a:pt x="515" y="123"/>
                  </a:lnTo>
                  <a:lnTo>
                    <a:pt x="515" y="121"/>
                  </a:lnTo>
                  <a:lnTo>
                    <a:pt x="518" y="118"/>
                  </a:lnTo>
                  <a:lnTo>
                    <a:pt x="518" y="115"/>
                  </a:lnTo>
                  <a:lnTo>
                    <a:pt x="518" y="115"/>
                  </a:lnTo>
                  <a:lnTo>
                    <a:pt x="518" y="113"/>
                  </a:lnTo>
                  <a:lnTo>
                    <a:pt x="518" y="110"/>
                  </a:lnTo>
                  <a:lnTo>
                    <a:pt x="521" y="107"/>
                  </a:lnTo>
                  <a:lnTo>
                    <a:pt x="521" y="105"/>
                  </a:lnTo>
                  <a:lnTo>
                    <a:pt x="523" y="105"/>
                  </a:lnTo>
                  <a:lnTo>
                    <a:pt x="526" y="102"/>
                  </a:lnTo>
                  <a:lnTo>
                    <a:pt x="526" y="99"/>
                  </a:lnTo>
                  <a:lnTo>
                    <a:pt x="529" y="97"/>
                  </a:lnTo>
                  <a:lnTo>
                    <a:pt x="529" y="91"/>
                  </a:lnTo>
                  <a:lnTo>
                    <a:pt x="531" y="89"/>
                  </a:lnTo>
                  <a:lnTo>
                    <a:pt x="531" y="86"/>
                  </a:lnTo>
                  <a:lnTo>
                    <a:pt x="534" y="83"/>
                  </a:lnTo>
                  <a:lnTo>
                    <a:pt x="537" y="83"/>
                  </a:lnTo>
                  <a:lnTo>
                    <a:pt x="537" y="81"/>
                  </a:lnTo>
                  <a:lnTo>
                    <a:pt x="539" y="81"/>
                  </a:lnTo>
                  <a:lnTo>
                    <a:pt x="542" y="78"/>
                  </a:lnTo>
                  <a:lnTo>
                    <a:pt x="545" y="78"/>
                  </a:lnTo>
                  <a:lnTo>
                    <a:pt x="547" y="75"/>
                  </a:lnTo>
                  <a:lnTo>
                    <a:pt x="547" y="75"/>
                  </a:lnTo>
                  <a:lnTo>
                    <a:pt x="547" y="73"/>
                  </a:lnTo>
                  <a:lnTo>
                    <a:pt x="550" y="73"/>
                  </a:lnTo>
                  <a:lnTo>
                    <a:pt x="547" y="7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5" name="Freeform 8933">
              <a:extLst>
                <a:ext uri="{FF2B5EF4-FFF2-40B4-BE49-F238E27FC236}">
                  <a16:creationId xmlns:a16="http://schemas.microsoft.com/office/drawing/2014/main" id="{E0FF9097-4294-7B4D-BB3E-ADF162EEF188}"/>
                </a:ext>
              </a:extLst>
            </p:cNvPr>
            <p:cNvSpPr/>
            <p:nvPr/>
          </p:nvSpPr>
          <p:spPr bwMode="auto">
            <a:xfrm>
              <a:off x="2001042" y="3722689"/>
              <a:ext cx="665163" cy="482600"/>
            </a:xfrm>
            <a:custGeom>
              <a:avLst/>
              <a:gdLst>
                <a:gd name="T0" fmla="*/ 251 w 419"/>
                <a:gd name="T1" fmla="*/ 198 h 304"/>
                <a:gd name="T2" fmla="*/ 251 w 419"/>
                <a:gd name="T3" fmla="*/ 176 h 304"/>
                <a:gd name="T4" fmla="*/ 259 w 419"/>
                <a:gd name="T5" fmla="*/ 166 h 304"/>
                <a:gd name="T6" fmla="*/ 251 w 419"/>
                <a:gd name="T7" fmla="*/ 152 h 304"/>
                <a:gd name="T8" fmla="*/ 270 w 419"/>
                <a:gd name="T9" fmla="*/ 149 h 304"/>
                <a:gd name="T10" fmla="*/ 283 w 419"/>
                <a:gd name="T11" fmla="*/ 131 h 304"/>
                <a:gd name="T12" fmla="*/ 304 w 419"/>
                <a:gd name="T13" fmla="*/ 133 h 304"/>
                <a:gd name="T14" fmla="*/ 323 w 419"/>
                <a:gd name="T15" fmla="*/ 144 h 304"/>
                <a:gd name="T16" fmla="*/ 337 w 419"/>
                <a:gd name="T17" fmla="*/ 128 h 304"/>
                <a:gd name="T18" fmla="*/ 345 w 419"/>
                <a:gd name="T19" fmla="*/ 107 h 304"/>
                <a:gd name="T20" fmla="*/ 363 w 419"/>
                <a:gd name="T21" fmla="*/ 104 h 304"/>
                <a:gd name="T22" fmla="*/ 393 w 419"/>
                <a:gd name="T23" fmla="*/ 115 h 304"/>
                <a:gd name="T24" fmla="*/ 411 w 419"/>
                <a:gd name="T25" fmla="*/ 96 h 304"/>
                <a:gd name="T26" fmla="*/ 406 w 419"/>
                <a:gd name="T27" fmla="*/ 80 h 304"/>
                <a:gd name="T28" fmla="*/ 342 w 419"/>
                <a:gd name="T29" fmla="*/ 29 h 304"/>
                <a:gd name="T30" fmla="*/ 323 w 419"/>
                <a:gd name="T31" fmla="*/ 27 h 304"/>
                <a:gd name="T32" fmla="*/ 299 w 419"/>
                <a:gd name="T33" fmla="*/ 0 h 304"/>
                <a:gd name="T34" fmla="*/ 283 w 419"/>
                <a:gd name="T35" fmla="*/ 24 h 304"/>
                <a:gd name="T36" fmla="*/ 259 w 419"/>
                <a:gd name="T37" fmla="*/ 29 h 304"/>
                <a:gd name="T38" fmla="*/ 235 w 419"/>
                <a:gd name="T39" fmla="*/ 29 h 304"/>
                <a:gd name="T40" fmla="*/ 214 w 419"/>
                <a:gd name="T41" fmla="*/ 21 h 304"/>
                <a:gd name="T42" fmla="*/ 211 w 419"/>
                <a:gd name="T43" fmla="*/ 32 h 304"/>
                <a:gd name="T44" fmla="*/ 198 w 419"/>
                <a:gd name="T45" fmla="*/ 35 h 304"/>
                <a:gd name="T46" fmla="*/ 192 w 419"/>
                <a:gd name="T47" fmla="*/ 45 h 304"/>
                <a:gd name="T48" fmla="*/ 174 w 419"/>
                <a:gd name="T49" fmla="*/ 56 h 304"/>
                <a:gd name="T50" fmla="*/ 152 w 419"/>
                <a:gd name="T51" fmla="*/ 48 h 304"/>
                <a:gd name="T52" fmla="*/ 136 w 419"/>
                <a:gd name="T53" fmla="*/ 64 h 304"/>
                <a:gd name="T54" fmla="*/ 112 w 419"/>
                <a:gd name="T55" fmla="*/ 69 h 304"/>
                <a:gd name="T56" fmla="*/ 110 w 419"/>
                <a:gd name="T57" fmla="*/ 88 h 304"/>
                <a:gd name="T58" fmla="*/ 110 w 419"/>
                <a:gd name="T59" fmla="*/ 96 h 304"/>
                <a:gd name="T60" fmla="*/ 102 w 419"/>
                <a:gd name="T61" fmla="*/ 99 h 304"/>
                <a:gd name="T62" fmla="*/ 88 w 419"/>
                <a:gd name="T63" fmla="*/ 107 h 304"/>
                <a:gd name="T64" fmla="*/ 75 w 419"/>
                <a:gd name="T65" fmla="*/ 115 h 304"/>
                <a:gd name="T66" fmla="*/ 51 w 419"/>
                <a:gd name="T67" fmla="*/ 117 h 304"/>
                <a:gd name="T68" fmla="*/ 40 w 419"/>
                <a:gd name="T69" fmla="*/ 125 h 304"/>
                <a:gd name="T70" fmla="*/ 21 w 419"/>
                <a:gd name="T71" fmla="*/ 139 h 304"/>
                <a:gd name="T72" fmla="*/ 8 w 419"/>
                <a:gd name="T73" fmla="*/ 149 h 304"/>
                <a:gd name="T74" fmla="*/ 5 w 419"/>
                <a:gd name="T75" fmla="*/ 166 h 304"/>
                <a:gd name="T76" fmla="*/ 24 w 419"/>
                <a:gd name="T77" fmla="*/ 187 h 304"/>
                <a:gd name="T78" fmla="*/ 24 w 419"/>
                <a:gd name="T79" fmla="*/ 203 h 304"/>
                <a:gd name="T80" fmla="*/ 37 w 419"/>
                <a:gd name="T81" fmla="*/ 216 h 304"/>
                <a:gd name="T82" fmla="*/ 56 w 419"/>
                <a:gd name="T83" fmla="*/ 211 h 304"/>
                <a:gd name="T84" fmla="*/ 72 w 419"/>
                <a:gd name="T85" fmla="*/ 222 h 304"/>
                <a:gd name="T86" fmla="*/ 86 w 419"/>
                <a:gd name="T87" fmla="*/ 243 h 304"/>
                <a:gd name="T88" fmla="*/ 86 w 419"/>
                <a:gd name="T89" fmla="*/ 267 h 304"/>
                <a:gd name="T90" fmla="*/ 102 w 419"/>
                <a:gd name="T91" fmla="*/ 291 h 304"/>
                <a:gd name="T92" fmla="*/ 123 w 419"/>
                <a:gd name="T93" fmla="*/ 299 h 304"/>
                <a:gd name="T94" fmla="*/ 126 w 419"/>
                <a:gd name="T95" fmla="*/ 294 h 304"/>
                <a:gd name="T96" fmla="*/ 144 w 419"/>
                <a:gd name="T97" fmla="*/ 283 h 304"/>
                <a:gd name="T98" fmla="*/ 171 w 419"/>
                <a:gd name="T99" fmla="*/ 264 h 304"/>
                <a:gd name="T100" fmla="*/ 187 w 419"/>
                <a:gd name="T101" fmla="*/ 272 h 304"/>
                <a:gd name="T102" fmla="*/ 195 w 419"/>
                <a:gd name="T103" fmla="*/ 286 h 304"/>
                <a:gd name="T104" fmla="*/ 208 w 419"/>
                <a:gd name="T105" fmla="*/ 272 h 304"/>
                <a:gd name="T106" fmla="*/ 219 w 419"/>
                <a:gd name="T107" fmla="*/ 264 h 304"/>
                <a:gd name="T108" fmla="*/ 232 w 419"/>
                <a:gd name="T109" fmla="*/ 259 h 304"/>
                <a:gd name="T110" fmla="*/ 224 w 419"/>
                <a:gd name="T111" fmla="*/ 251 h 304"/>
                <a:gd name="T112" fmla="*/ 224 w 419"/>
                <a:gd name="T113" fmla="*/ 240 h 304"/>
                <a:gd name="T114" fmla="*/ 224 w 419"/>
                <a:gd name="T115" fmla="*/ 224 h 304"/>
                <a:gd name="T116" fmla="*/ 238 w 419"/>
                <a:gd name="T117" fmla="*/ 219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9" h="304" extrusionOk="0">
                  <a:moveTo>
                    <a:pt x="254" y="206"/>
                  </a:moveTo>
                  <a:lnTo>
                    <a:pt x="251" y="206"/>
                  </a:lnTo>
                  <a:lnTo>
                    <a:pt x="251" y="206"/>
                  </a:lnTo>
                  <a:lnTo>
                    <a:pt x="251" y="206"/>
                  </a:lnTo>
                  <a:lnTo>
                    <a:pt x="251" y="206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51" y="203"/>
                  </a:lnTo>
                  <a:lnTo>
                    <a:pt x="251" y="200"/>
                  </a:lnTo>
                  <a:lnTo>
                    <a:pt x="248" y="200"/>
                  </a:lnTo>
                  <a:lnTo>
                    <a:pt x="251" y="198"/>
                  </a:lnTo>
                  <a:lnTo>
                    <a:pt x="251" y="198"/>
                  </a:lnTo>
                  <a:lnTo>
                    <a:pt x="251" y="195"/>
                  </a:lnTo>
                  <a:lnTo>
                    <a:pt x="254" y="195"/>
                  </a:lnTo>
                  <a:lnTo>
                    <a:pt x="254" y="192"/>
                  </a:lnTo>
                  <a:lnTo>
                    <a:pt x="254" y="192"/>
                  </a:lnTo>
                  <a:lnTo>
                    <a:pt x="254" y="190"/>
                  </a:lnTo>
                  <a:lnTo>
                    <a:pt x="254" y="190"/>
                  </a:lnTo>
                  <a:lnTo>
                    <a:pt x="251" y="190"/>
                  </a:lnTo>
                  <a:lnTo>
                    <a:pt x="251" y="187"/>
                  </a:lnTo>
                  <a:lnTo>
                    <a:pt x="251" y="187"/>
                  </a:lnTo>
                  <a:lnTo>
                    <a:pt x="248" y="184"/>
                  </a:lnTo>
                  <a:lnTo>
                    <a:pt x="248" y="182"/>
                  </a:lnTo>
                  <a:lnTo>
                    <a:pt x="248" y="179"/>
                  </a:lnTo>
                  <a:lnTo>
                    <a:pt x="251" y="176"/>
                  </a:lnTo>
                  <a:lnTo>
                    <a:pt x="251" y="176"/>
                  </a:lnTo>
                  <a:lnTo>
                    <a:pt x="254" y="176"/>
                  </a:lnTo>
                  <a:lnTo>
                    <a:pt x="256" y="176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9" y="174"/>
                  </a:lnTo>
                  <a:lnTo>
                    <a:pt x="259" y="171"/>
                  </a:lnTo>
                  <a:lnTo>
                    <a:pt x="259" y="171"/>
                  </a:lnTo>
                  <a:lnTo>
                    <a:pt x="262" y="171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6"/>
                  </a:lnTo>
                  <a:lnTo>
                    <a:pt x="259" y="166"/>
                  </a:lnTo>
                  <a:lnTo>
                    <a:pt x="259" y="166"/>
                  </a:lnTo>
                  <a:lnTo>
                    <a:pt x="256" y="166"/>
                  </a:lnTo>
                  <a:lnTo>
                    <a:pt x="254" y="163"/>
                  </a:lnTo>
                  <a:lnTo>
                    <a:pt x="254" y="163"/>
                  </a:lnTo>
                  <a:lnTo>
                    <a:pt x="254" y="163"/>
                  </a:lnTo>
                  <a:lnTo>
                    <a:pt x="254" y="160"/>
                  </a:lnTo>
                  <a:lnTo>
                    <a:pt x="256" y="160"/>
                  </a:lnTo>
                  <a:lnTo>
                    <a:pt x="254" y="158"/>
                  </a:lnTo>
                  <a:lnTo>
                    <a:pt x="251" y="160"/>
                  </a:lnTo>
                  <a:lnTo>
                    <a:pt x="251" y="158"/>
                  </a:lnTo>
                  <a:lnTo>
                    <a:pt x="251" y="155"/>
                  </a:lnTo>
                  <a:lnTo>
                    <a:pt x="251" y="155"/>
                  </a:lnTo>
                  <a:lnTo>
                    <a:pt x="251" y="152"/>
                  </a:lnTo>
                  <a:lnTo>
                    <a:pt x="251" y="152"/>
                  </a:lnTo>
                  <a:lnTo>
                    <a:pt x="251" y="152"/>
                  </a:lnTo>
                  <a:lnTo>
                    <a:pt x="254" y="152"/>
                  </a:lnTo>
                  <a:lnTo>
                    <a:pt x="254" y="149"/>
                  </a:lnTo>
                  <a:lnTo>
                    <a:pt x="254" y="149"/>
                  </a:lnTo>
                  <a:lnTo>
                    <a:pt x="256" y="147"/>
                  </a:lnTo>
                  <a:lnTo>
                    <a:pt x="259" y="147"/>
                  </a:lnTo>
                  <a:lnTo>
                    <a:pt x="259" y="147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7"/>
                  </a:lnTo>
                  <a:lnTo>
                    <a:pt x="264" y="147"/>
                  </a:lnTo>
                  <a:lnTo>
                    <a:pt x="267" y="147"/>
                  </a:lnTo>
                  <a:lnTo>
                    <a:pt x="267" y="149"/>
                  </a:lnTo>
                  <a:lnTo>
                    <a:pt x="270" y="149"/>
                  </a:lnTo>
                  <a:lnTo>
                    <a:pt x="270" y="149"/>
                  </a:lnTo>
                  <a:lnTo>
                    <a:pt x="270" y="149"/>
                  </a:lnTo>
                  <a:lnTo>
                    <a:pt x="272" y="149"/>
                  </a:lnTo>
                  <a:lnTo>
                    <a:pt x="272" y="147"/>
                  </a:lnTo>
                  <a:lnTo>
                    <a:pt x="272" y="144"/>
                  </a:lnTo>
                  <a:lnTo>
                    <a:pt x="272" y="141"/>
                  </a:lnTo>
                  <a:lnTo>
                    <a:pt x="275" y="141"/>
                  </a:lnTo>
                  <a:lnTo>
                    <a:pt x="275" y="141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8" y="141"/>
                  </a:lnTo>
                  <a:lnTo>
                    <a:pt x="280" y="139"/>
                  </a:lnTo>
                  <a:lnTo>
                    <a:pt x="283" y="136"/>
                  </a:lnTo>
                  <a:lnTo>
                    <a:pt x="283" y="133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6" y="131"/>
                  </a:lnTo>
                  <a:lnTo>
                    <a:pt x="288" y="133"/>
                  </a:lnTo>
                  <a:lnTo>
                    <a:pt x="291" y="133"/>
                  </a:lnTo>
                  <a:lnTo>
                    <a:pt x="291" y="133"/>
                  </a:lnTo>
                  <a:lnTo>
                    <a:pt x="294" y="136"/>
                  </a:lnTo>
                  <a:lnTo>
                    <a:pt x="296" y="136"/>
                  </a:lnTo>
                  <a:lnTo>
                    <a:pt x="296" y="136"/>
                  </a:lnTo>
                  <a:lnTo>
                    <a:pt x="299" y="136"/>
                  </a:lnTo>
                  <a:lnTo>
                    <a:pt x="299" y="136"/>
                  </a:lnTo>
                  <a:lnTo>
                    <a:pt x="302" y="139"/>
                  </a:lnTo>
                  <a:lnTo>
                    <a:pt x="302" y="139"/>
                  </a:lnTo>
                  <a:lnTo>
                    <a:pt x="304" y="136"/>
                  </a:lnTo>
                  <a:lnTo>
                    <a:pt x="304" y="133"/>
                  </a:lnTo>
                  <a:lnTo>
                    <a:pt x="310" y="139"/>
                  </a:lnTo>
                  <a:lnTo>
                    <a:pt x="310" y="139"/>
                  </a:lnTo>
                  <a:lnTo>
                    <a:pt x="315" y="141"/>
                  </a:lnTo>
                  <a:lnTo>
                    <a:pt x="312" y="144"/>
                  </a:lnTo>
                  <a:lnTo>
                    <a:pt x="315" y="144"/>
                  </a:lnTo>
                  <a:lnTo>
                    <a:pt x="315" y="141"/>
                  </a:lnTo>
                  <a:lnTo>
                    <a:pt x="315" y="144"/>
                  </a:lnTo>
                  <a:lnTo>
                    <a:pt x="315" y="144"/>
                  </a:lnTo>
                  <a:lnTo>
                    <a:pt x="318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3" y="144"/>
                  </a:lnTo>
                  <a:lnTo>
                    <a:pt x="323" y="141"/>
                  </a:lnTo>
                  <a:lnTo>
                    <a:pt x="323" y="144"/>
                  </a:lnTo>
                  <a:lnTo>
                    <a:pt x="329" y="144"/>
                  </a:lnTo>
                  <a:lnTo>
                    <a:pt x="329" y="144"/>
                  </a:lnTo>
                  <a:lnTo>
                    <a:pt x="326" y="141"/>
                  </a:lnTo>
                  <a:lnTo>
                    <a:pt x="329" y="139"/>
                  </a:lnTo>
                  <a:lnTo>
                    <a:pt x="331" y="139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7" y="133"/>
                  </a:lnTo>
                  <a:lnTo>
                    <a:pt x="337" y="133"/>
                  </a:lnTo>
                  <a:lnTo>
                    <a:pt x="334" y="133"/>
                  </a:lnTo>
                  <a:lnTo>
                    <a:pt x="334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31"/>
                  </a:lnTo>
                  <a:lnTo>
                    <a:pt x="342" y="128"/>
                  </a:lnTo>
                  <a:lnTo>
                    <a:pt x="342" y="125"/>
                  </a:lnTo>
                  <a:lnTo>
                    <a:pt x="345" y="123"/>
                  </a:lnTo>
                  <a:lnTo>
                    <a:pt x="342" y="120"/>
                  </a:lnTo>
                  <a:lnTo>
                    <a:pt x="342" y="120"/>
                  </a:lnTo>
                  <a:lnTo>
                    <a:pt x="339" y="117"/>
                  </a:lnTo>
                  <a:lnTo>
                    <a:pt x="342" y="112"/>
                  </a:lnTo>
                  <a:lnTo>
                    <a:pt x="347" y="112"/>
                  </a:lnTo>
                  <a:lnTo>
                    <a:pt x="350" y="109"/>
                  </a:lnTo>
                  <a:lnTo>
                    <a:pt x="347" y="109"/>
                  </a:lnTo>
                  <a:lnTo>
                    <a:pt x="347" y="109"/>
                  </a:lnTo>
                  <a:lnTo>
                    <a:pt x="345" y="107"/>
                  </a:lnTo>
                  <a:lnTo>
                    <a:pt x="347" y="107"/>
                  </a:lnTo>
                  <a:lnTo>
                    <a:pt x="350" y="107"/>
                  </a:lnTo>
                  <a:lnTo>
                    <a:pt x="350" y="107"/>
                  </a:lnTo>
                  <a:lnTo>
                    <a:pt x="353" y="107"/>
                  </a:lnTo>
                  <a:lnTo>
                    <a:pt x="355" y="107"/>
                  </a:lnTo>
                  <a:lnTo>
                    <a:pt x="353" y="104"/>
                  </a:lnTo>
                  <a:lnTo>
                    <a:pt x="355" y="101"/>
                  </a:lnTo>
                  <a:lnTo>
                    <a:pt x="353" y="101"/>
                  </a:lnTo>
                  <a:lnTo>
                    <a:pt x="353" y="99"/>
                  </a:lnTo>
                  <a:lnTo>
                    <a:pt x="355" y="99"/>
                  </a:lnTo>
                  <a:lnTo>
                    <a:pt x="355" y="101"/>
                  </a:lnTo>
                  <a:lnTo>
                    <a:pt x="358" y="104"/>
                  </a:lnTo>
                  <a:lnTo>
                    <a:pt x="358" y="104"/>
                  </a:lnTo>
                  <a:lnTo>
                    <a:pt x="363" y="104"/>
                  </a:lnTo>
                  <a:lnTo>
                    <a:pt x="366" y="109"/>
                  </a:lnTo>
                  <a:lnTo>
                    <a:pt x="369" y="107"/>
                  </a:lnTo>
                  <a:lnTo>
                    <a:pt x="371" y="109"/>
                  </a:lnTo>
                  <a:lnTo>
                    <a:pt x="374" y="109"/>
                  </a:lnTo>
                  <a:lnTo>
                    <a:pt x="377" y="109"/>
                  </a:lnTo>
                  <a:lnTo>
                    <a:pt x="379" y="109"/>
                  </a:lnTo>
                  <a:lnTo>
                    <a:pt x="379" y="109"/>
                  </a:lnTo>
                  <a:lnTo>
                    <a:pt x="379" y="109"/>
                  </a:lnTo>
                  <a:lnTo>
                    <a:pt x="385" y="112"/>
                  </a:lnTo>
                  <a:lnTo>
                    <a:pt x="382" y="115"/>
                  </a:lnTo>
                  <a:lnTo>
                    <a:pt x="387" y="117"/>
                  </a:lnTo>
                  <a:lnTo>
                    <a:pt x="390" y="115"/>
                  </a:lnTo>
                  <a:lnTo>
                    <a:pt x="393" y="115"/>
                  </a:lnTo>
                  <a:lnTo>
                    <a:pt x="393" y="115"/>
                  </a:lnTo>
                  <a:lnTo>
                    <a:pt x="393" y="115"/>
                  </a:lnTo>
                  <a:lnTo>
                    <a:pt x="395" y="112"/>
                  </a:lnTo>
                  <a:lnTo>
                    <a:pt x="395" y="109"/>
                  </a:lnTo>
                  <a:lnTo>
                    <a:pt x="398" y="109"/>
                  </a:lnTo>
                  <a:lnTo>
                    <a:pt x="398" y="107"/>
                  </a:lnTo>
                  <a:lnTo>
                    <a:pt x="398" y="104"/>
                  </a:lnTo>
                  <a:lnTo>
                    <a:pt x="401" y="104"/>
                  </a:lnTo>
                  <a:lnTo>
                    <a:pt x="401" y="104"/>
                  </a:lnTo>
                  <a:lnTo>
                    <a:pt x="403" y="104"/>
                  </a:lnTo>
                  <a:lnTo>
                    <a:pt x="403" y="99"/>
                  </a:lnTo>
                  <a:lnTo>
                    <a:pt x="403" y="96"/>
                  </a:lnTo>
                  <a:lnTo>
                    <a:pt x="406" y="96"/>
                  </a:lnTo>
                  <a:lnTo>
                    <a:pt x="409" y="96"/>
                  </a:lnTo>
                  <a:lnTo>
                    <a:pt x="411" y="96"/>
                  </a:lnTo>
                  <a:lnTo>
                    <a:pt x="411" y="96"/>
                  </a:lnTo>
                  <a:lnTo>
                    <a:pt x="414" y="96"/>
                  </a:lnTo>
                  <a:lnTo>
                    <a:pt x="414" y="96"/>
                  </a:lnTo>
                  <a:lnTo>
                    <a:pt x="417" y="96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1"/>
                  </a:lnTo>
                  <a:lnTo>
                    <a:pt x="417" y="88"/>
                  </a:lnTo>
                  <a:lnTo>
                    <a:pt x="414" y="85"/>
                  </a:lnTo>
                  <a:lnTo>
                    <a:pt x="414" y="83"/>
                  </a:lnTo>
                  <a:lnTo>
                    <a:pt x="411" y="83"/>
                  </a:lnTo>
                  <a:lnTo>
                    <a:pt x="409" y="80"/>
                  </a:lnTo>
                  <a:lnTo>
                    <a:pt x="409" y="80"/>
                  </a:lnTo>
                  <a:lnTo>
                    <a:pt x="406" y="80"/>
                  </a:lnTo>
                  <a:lnTo>
                    <a:pt x="409" y="75"/>
                  </a:lnTo>
                  <a:lnTo>
                    <a:pt x="387" y="61"/>
                  </a:lnTo>
                  <a:lnTo>
                    <a:pt x="371" y="51"/>
                  </a:lnTo>
                  <a:lnTo>
                    <a:pt x="371" y="51"/>
                  </a:lnTo>
                  <a:lnTo>
                    <a:pt x="369" y="51"/>
                  </a:lnTo>
                  <a:lnTo>
                    <a:pt x="366" y="51"/>
                  </a:lnTo>
                  <a:lnTo>
                    <a:pt x="366" y="51"/>
                  </a:lnTo>
                  <a:lnTo>
                    <a:pt x="366" y="48"/>
                  </a:lnTo>
                  <a:lnTo>
                    <a:pt x="363" y="48"/>
                  </a:lnTo>
                  <a:lnTo>
                    <a:pt x="363" y="45"/>
                  </a:lnTo>
                  <a:lnTo>
                    <a:pt x="363" y="43"/>
                  </a:lnTo>
                  <a:lnTo>
                    <a:pt x="363" y="43"/>
                  </a:lnTo>
                  <a:lnTo>
                    <a:pt x="347" y="32"/>
                  </a:lnTo>
                  <a:lnTo>
                    <a:pt x="342" y="29"/>
                  </a:lnTo>
                  <a:lnTo>
                    <a:pt x="339" y="29"/>
                  </a:lnTo>
                  <a:lnTo>
                    <a:pt x="337" y="32"/>
                  </a:lnTo>
                  <a:lnTo>
                    <a:pt x="337" y="29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6" y="35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3" y="29"/>
                  </a:lnTo>
                  <a:lnTo>
                    <a:pt x="323" y="29"/>
                  </a:lnTo>
                  <a:lnTo>
                    <a:pt x="323" y="29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3" y="27"/>
                  </a:lnTo>
                  <a:lnTo>
                    <a:pt x="323" y="24"/>
                  </a:lnTo>
                  <a:lnTo>
                    <a:pt x="323" y="21"/>
                  </a:lnTo>
                  <a:lnTo>
                    <a:pt x="323" y="21"/>
                  </a:lnTo>
                  <a:lnTo>
                    <a:pt x="318" y="19"/>
                  </a:lnTo>
                  <a:lnTo>
                    <a:pt x="318" y="16"/>
                  </a:lnTo>
                  <a:lnTo>
                    <a:pt x="315" y="16"/>
                  </a:lnTo>
                  <a:lnTo>
                    <a:pt x="315" y="13"/>
                  </a:lnTo>
                  <a:lnTo>
                    <a:pt x="315" y="13"/>
                  </a:lnTo>
                  <a:lnTo>
                    <a:pt x="315" y="11"/>
                  </a:lnTo>
                  <a:lnTo>
                    <a:pt x="315" y="11"/>
                  </a:lnTo>
                  <a:lnTo>
                    <a:pt x="307" y="5"/>
                  </a:lnTo>
                  <a:lnTo>
                    <a:pt x="304" y="5"/>
                  </a:lnTo>
                  <a:lnTo>
                    <a:pt x="302" y="3"/>
                  </a:lnTo>
                  <a:lnTo>
                    <a:pt x="299" y="0"/>
                  </a:lnTo>
                  <a:lnTo>
                    <a:pt x="296" y="3"/>
                  </a:lnTo>
                  <a:lnTo>
                    <a:pt x="296" y="5"/>
                  </a:lnTo>
                  <a:lnTo>
                    <a:pt x="294" y="5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9"/>
                  </a:lnTo>
                  <a:lnTo>
                    <a:pt x="286" y="19"/>
                  </a:lnTo>
                  <a:lnTo>
                    <a:pt x="286" y="19"/>
                  </a:lnTo>
                  <a:lnTo>
                    <a:pt x="286" y="21"/>
                  </a:lnTo>
                  <a:lnTo>
                    <a:pt x="286" y="21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0" y="24"/>
                  </a:lnTo>
                  <a:lnTo>
                    <a:pt x="278" y="24"/>
                  </a:lnTo>
                  <a:lnTo>
                    <a:pt x="278" y="24"/>
                  </a:lnTo>
                  <a:lnTo>
                    <a:pt x="275" y="27"/>
                  </a:lnTo>
                  <a:lnTo>
                    <a:pt x="275" y="29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0" y="27"/>
                  </a:lnTo>
                  <a:lnTo>
                    <a:pt x="270" y="24"/>
                  </a:lnTo>
                  <a:lnTo>
                    <a:pt x="267" y="24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9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1" y="29"/>
                  </a:lnTo>
                  <a:lnTo>
                    <a:pt x="246" y="32"/>
                  </a:lnTo>
                  <a:lnTo>
                    <a:pt x="243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5" y="29"/>
                  </a:lnTo>
                  <a:lnTo>
                    <a:pt x="235" y="29"/>
                  </a:lnTo>
                  <a:lnTo>
                    <a:pt x="232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4" y="27"/>
                  </a:lnTo>
                  <a:lnTo>
                    <a:pt x="222" y="27"/>
                  </a:lnTo>
                  <a:lnTo>
                    <a:pt x="219" y="27"/>
                  </a:lnTo>
                  <a:lnTo>
                    <a:pt x="216" y="19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4" y="21"/>
                  </a:lnTo>
                  <a:lnTo>
                    <a:pt x="214" y="24"/>
                  </a:lnTo>
                  <a:lnTo>
                    <a:pt x="214" y="24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9"/>
                  </a:lnTo>
                  <a:lnTo>
                    <a:pt x="219" y="29"/>
                  </a:lnTo>
                  <a:lnTo>
                    <a:pt x="219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29"/>
                  </a:lnTo>
                  <a:lnTo>
                    <a:pt x="214" y="29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08" y="29"/>
                  </a:lnTo>
                  <a:lnTo>
                    <a:pt x="206" y="29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0" y="32"/>
                  </a:lnTo>
                  <a:lnTo>
                    <a:pt x="200" y="29"/>
                  </a:lnTo>
                  <a:lnTo>
                    <a:pt x="200" y="29"/>
                  </a:lnTo>
                  <a:lnTo>
                    <a:pt x="198" y="32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195" y="35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7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2" y="43"/>
                  </a:lnTo>
                  <a:lnTo>
                    <a:pt x="195" y="43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8"/>
                  </a:lnTo>
                  <a:lnTo>
                    <a:pt x="195" y="48"/>
                  </a:lnTo>
                  <a:lnTo>
                    <a:pt x="195" y="51"/>
                  </a:lnTo>
                  <a:lnTo>
                    <a:pt x="195" y="51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90" y="53"/>
                  </a:lnTo>
                  <a:lnTo>
                    <a:pt x="187" y="53"/>
                  </a:lnTo>
                  <a:lnTo>
                    <a:pt x="187" y="53"/>
                  </a:lnTo>
                  <a:lnTo>
                    <a:pt x="184" y="53"/>
                  </a:lnTo>
                  <a:lnTo>
                    <a:pt x="184" y="56"/>
                  </a:lnTo>
                  <a:lnTo>
                    <a:pt x="179" y="59"/>
                  </a:lnTo>
                  <a:lnTo>
                    <a:pt x="176" y="59"/>
                  </a:lnTo>
                  <a:lnTo>
                    <a:pt x="174" y="56"/>
                  </a:lnTo>
                  <a:lnTo>
                    <a:pt x="171" y="56"/>
                  </a:lnTo>
                  <a:lnTo>
                    <a:pt x="168" y="56"/>
                  </a:lnTo>
                  <a:lnTo>
                    <a:pt x="168" y="56"/>
                  </a:lnTo>
                  <a:lnTo>
                    <a:pt x="163" y="53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0" y="48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5" y="51"/>
                  </a:lnTo>
                  <a:lnTo>
                    <a:pt x="152" y="51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50" y="48"/>
                  </a:lnTo>
                  <a:lnTo>
                    <a:pt x="147" y="48"/>
                  </a:lnTo>
                  <a:lnTo>
                    <a:pt x="144" y="45"/>
                  </a:lnTo>
                  <a:lnTo>
                    <a:pt x="139" y="48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8" y="75"/>
                  </a:lnTo>
                  <a:lnTo>
                    <a:pt x="126" y="75"/>
                  </a:lnTo>
                  <a:lnTo>
                    <a:pt x="118" y="69"/>
                  </a:lnTo>
                  <a:lnTo>
                    <a:pt x="118" y="69"/>
                  </a:lnTo>
                  <a:lnTo>
                    <a:pt x="115" y="69"/>
                  </a:lnTo>
                  <a:lnTo>
                    <a:pt x="115" y="72"/>
                  </a:lnTo>
                  <a:lnTo>
                    <a:pt x="112" y="69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5"/>
                  </a:lnTo>
                  <a:lnTo>
                    <a:pt x="112" y="75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5" y="83"/>
                  </a:lnTo>
                  <a:lnTo>
                    <a:pt x="112" y="83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2" y="88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10" y="91"/>
                  </a:lnTo>
                  <a:lnTo>
                    <a:pt x="107" y="91"/>
                  </a:lnTo>
                  <a:lnTo>
                    <a:pt x="107" y="91"/>
                  </a:lnTo>
                  <a:lnTo>
                    <a:pt x="107" y="93"/>
                  </a:lnTo>
                  <a:lnTo>
                    <a:pt x="107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2" y="96"/>
                  </a:lnTo>
                  <a:lnTo>
                    <a:pt x="115" y="96"/>
                  </a:lnTo>
                  <a:lnTo>
                    <a:pt x="115" y="99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2" y="101"/>
                  </a:lnTo>
                  <a:lnTo>
                    <a:pt x="112" y="104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4" y="101"/>
                  </a:lnTo>
                  <a:lnTo>
                    <a:pt x="104" y="99"/>
                  </a:lnTo>
                  <a:lnTo>
                    <a:pt x="104" y="99"/>
                  </a:lnTo>
                  <a:lnTo>
                    <a:pt x="102" y="99"/>
                  </a:lnTo>
                  <a:lnTo>
                    <a:pt x="102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4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4" y="107"/>
                  </a:lnTo>
                  <a:lnTo>
                    <a:pt x="94" y="107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88" y="107"/>
                  </a:lnTo>
                  <a:lnTo>
                    <a:pt x="86" y="109"/>
                  </a:lnTo>
                  <a:lnTo>
                    <a:pt x="83" y="109"/>
                  </a:lnTo>
                  <a:lnTo>
                    <a:pt x="83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78" y="107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5"/>
                  </a:lnTo>
                  <a:lnTo>
                    <a:pt x="72" y="115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67" y="115"/>
                  </a:lnTo>
                  <a:lnTo>
                    <a:pt x="67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1" y="115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5" y="117"/>
                  </a:lnTo>
                  <a:lnTo>
                    <a:pt x="45" y="120"/>
                  </a:lnTo>
                  <a:lnTo>
                    <a:pt x="45" y="120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0" y="120"/>
                  </a:lnTo>
                  <a:lnTo>
                    <a:pt x="40" y="123"/>
                  </a:lnTo>
                  <a:lnTo>
                    <a:pt x="40" y="123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37" y="128"/>
                  </a:lnTo>
                  <a:lnTo>
                    <a:pt x="37" y="128"/>
                  </a:lnTo>
                  <a:lnTo>
                    <a:pt x="37" y="131"/>
                  </a:lnTo>
                  <a:lnTo>
                    <a:pt x="37" y="133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2" y="136"/>
                  </a:lnTo>
                  <a:lnTo>
                    <a:pt x="32" y="139"/>
                  </a:lnTo>
                  <a:lnTo>
                    <a:pt x="32" y="136"/>
                  </a:lnTo>
                  <a:lnTo>
                    <a:pt x="29" y="136"/>
                  </a:lnTo>
                  <a:lnTo>
                    <a:pt x="27" y="136"/>
                  </a:lnTo>
                  <a:lnTo>
                    <a:pt x="24" y="141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41"/>
                  </a:lnTo>
                  <a:lnTo>
                    <a:pt x="19" y="141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16" y="144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8" y="147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5" y="149"/>
                  </a:lnTo>
                  <a:lnTo>
                    <a:pt x="3" y="149"/>
                  </a:lnTo>
                  <a:lnTo>
                    <a:pt x="0" y="152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11" y="158"/>
                  </a:lnTo>
                  <a:lnTo>
                    <a:pt x="11" y="160"/>
                  </a:lnTo>
                  <a:lnTo>
                    <a:pt x="8" y="160"/>
                  </a:lnTo>
                  <a:lnTo>
                    <a:pt x="8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8"/>
                  </a:lnTo>
                  <a:lnTo>
                    <a:pt x="8" y="171"/>
                  </a:lnTo>
                  <a:lnTo>
                    <a:pt x="11" y="174"/>
                  </a:lnTo>
                  <a:lnTo>
                    <a:pt x="13" y="176"/>
                  </a:lnTo>
                  <a:lnTo>
                    <a:pt x="16" y="176"/>
                  </a:lnTo>
                  <a:lnTo>
                    <a:pt x="19" y="176"/>
                  </a:lnTo>
                  <a:lnTo>
                    <a:pt x="19" y="179"/>
                  </a:lnTo>
                  <a:lnTo>
                    <a:pt x="21" y="176"/>
                  </a:lnTo>
                  <a:lnTo>
                    <a:pt x="24" y="179"/>
                  </a:lnTo>
                  <a:lnTo>
                    <a:pt x="27" y="179"/>
                  </a:lnTo>
                  <a:lnTo>
                    <a:pt x="27" y="184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21" y="190"/>
                  </a:lnTo>
                  <a:lnTo>
                    <a:pt x="16" y="195"/>
                  </a:lnTo>
                  <a:lnTo>
                    <a:pt x="13" y="195"/>
                  </a:lnTo>
                  <a:lnTo>
                    <a:pt x="13" y="198"/>
                  </a:lnTo>
                  <a:lnTo>
                    <a:pt x="16" y="198"/>
                  </a:lnTo>
                  <a:lnTo>
                    <a:pt x="19" y="195"/>
                  </a:lnTo>
                  <a:lnTo>
                    <a:pt x="19" y="195"/>
                  </a:lnTo>
                  <a:lnTo>
                    <a:pt x="19" y="198"/>
                  </a:lnTo>
                  <a:lnTo>
                    <a:pt x="19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3"/>
                  </a:lnTo>
                  <a:lnTo>
                    <a:pt x="24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8"/>
                  </a:lnTo>
                  <a:lnTo>
                    <a:pt x="29" y="208"/>
                  </a:lnTo>
                  <a:lnTo>
                    <a:pt x="29" y="211"/>
                  </a:lnTo>
                  <a:lnTo>
                    <a:pt x="32" y="211"/>
                  </a:lnTo>
                  <a:lnTo>
                    <a:pt x="35" y="214"/>
                  </a:lnTo>
                  <a:lnTo>
                    <a:pt x="37" y="214"/>
                  </a:lnTo>
                  <a:lnTo>
                    <a:pt x="37" y="214"/>
                  </a:lnTo>
                  <a:lnTo>
                    <a:pt x="40" y="214"/>
                  </a:lnTo>
                  <a:lnTo>
                    <a:pt x="37" y="216"/>
                  </a:lnTo>
                  <a:lnTo>
                    <a:pt x="40" y="216"/>
                  </a:lnTo>
                  <a:lnTo>
                    <a:pt x="40" y="216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5" y="219"/>
                  </a:lnTo>
                  <a:lnTo>
                    <a:pt x="45" y="216"/>
                  </a:lnTo>
                  <a:lnTo>
                    <a:pt x="45" y="216"/>
                  </a:lnTo>
                  <a:lnTo>
                    <a:pt x="48" y="216"/>
                  </a:lnTo>
                  <a:lnTo>
                    <a:pt x="48" y="214"/>
                  </a:lnTo>
                  <a:lnTo>
                    <a:pt x="51" y="214"/>
                  </a:lnTo>
                  <a:lnTo>
                    <a:pt x="51" y="211"/>
                  </a:lnTo>
                  <a:lnTo>
                    <a:pt x="53" y="211"/>
                  </a:lnTo>
                  <a:lnTo>
                    <a:pt x="53" y="211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6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61" y="211"/>
                  </a:lnTo>
                  <a:lnTo>
                    <a:pt x="64" y="214"/>
                  </a:lnTo>
                  <a:lnTo>
                    <a:pt x="64" y="216"/>
                  </a:lnTo>
                  <a:lnTo>
                    <a:pt x="67" y="216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2" y="224"/>
                  </a:lnTo>
                  <a:lnTo>
                    <a:pt x="72" y="224"/>
                  </a:lnTo>
                  <a:lnTo>
                    <a:pt x="69" y="224"/>
                  </a:lnTo>
                  <a:lnTo>
                    <a:pt x="69" y="227"/>
                  </a:lnTo>
                  <a:lnTo>
                    <a:pt x="69" y="230"/>
                  </a:lnTo>
                  <a:lnTo>
                    <a:pt x="72" y="230"/>
                  </a:lnTo>
                  <a:lnTo>
                    <a:pt x="72" y="230"/>
                  </a:lnTo>
                  <a:lnTo>
                    <a:pt x="75" y="235"/>
                  </a:lnTo>
                  <a:lnTo>
                    <a:pt x="78" y="235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80" y="246"/>
                  </a:lnTo>
                  <a:lnTo>
                    <a:pt x="80" y="246"/>
                  </a:lnTo>
                  <a:lnTo>
                    <a:pt x="83" y="251"/>
                  </a:lnTo>
                  <a:lnTo>
                    <a:pt x="86" y="251"/>
                  </a:lnTo>
                  <a:lnTo>
                    <a:pt x="88" y="251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6" y="254"/>
                  </a:lnTo>
                  <a:lnTo>
                    <a:pt x="83" y="259"/>
                  </a:lnTo>
                  <a:lnTo>
                    <a:pt x="86" y="264"/>
                  </a:lnTo>
                  <a:lnTo>
                    <a:pt x="86" y="267"/>
                  </a:lnTo>
                  <a:lnTo>
                    <a:pt x="88" y="270"/>
                  </a:lnTo>
                  <a:lnTo>
                    <a:pt x="94" y="272"/>
                  </a:lnTo>
                  <a:lnTo>
                    <a:pt x="91" y="278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102" y="280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91"/>
                  </a:lnTo>
                  <a:lnTo>
                    <a:pt x="102" y="291"/>
                  </a:lnTo>
                  <a:lnTo>
                    <a:pt x="104" y="291"/>
                  </a:lnTo>
                  <a:lnTo>
                    <a:pt x="107" y="291"/>
                  </a:lnTo>
                  <a:lnTo>
                    <a:pt x="110" y="291"/>
                  </a:lnTo>
                  <a:lnTo>
                    <a:pt x="110" y="296"/>
                  </a:lnTo>
                  <a:lnTo>
                    <a:pt x="112" y="296"/>
                  </a:lnTo>
                  <a:lnTo>
                    <a:pt x="112" y="299"/>
                  </a:lnTo>
                  <a:lnTo>
                    <a:pt x="115" y="299"/>
                  </a:lnTo>
                  <a:lnTo>
                    <a:pt x="118" y="299"/>
                  </a:lnTo>
                  <a:lnTo>
                    <a:pt x="118" y="302"/>
                  </a:lnTo>
                  <a:lnTo>
                    <a:pt x="120" y="304"/>
                  </a:lnTo>
                  <a:lnTo>
                    <a:pt x="123" y="304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3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3" y="299"/>
                  </a:lnTo>
                  <a:lnTo>
                    <a:pt x="123" y="299"/>
                  </a:lnTo>
                  <a:lnTo>
                    <a:pt x="123" y="296"/>
                  </a:lnTo>
                  <a:lnTo>
                    <a:pt x="123" y="296"/>
                  </a:lnTo>
                  <a:lnTo>
                    <a:pt x="123" y="296"/>
                  </a:lnTo>
                  <a:lnTo>
                    <a:pt x="123" y="294"/>
                  </a:lnTo>
                  <a:lnTo>
                    <a:pt x="123" y="294"/>
                  </a:lnTo>
                  <a:lnTo>
                    <a:pt x="120" y="294"/>
                  </a:lnTo>
                  <a:lnTo>
                    <a:pt x="123" y="291"/>
                  </a:lnTo>
                  <a:lnTo>
                    <a:pt x="123" y="291"/>
                  </a:lnTo>
                  <a:lnTo>
                    <a:pt x="126" y="294"/>
                  </a:lnTo>
                  <a:lnTo>
                    <a:pt x="128" y="291"/>
                  </a:lnTo>
                  <a:lnTo>
                    <a:pt x="126" y="291"/>
                  </a:lnTo>
                  <a:lnTo>
                    <a:pt x="126" y="291"/>
                  </a:lnTo>
                  <a:lnTo>
                    <a:pt x="131" y="288"/>
                  </a:lnTo>
                  <a:lnTo>
                    <a:pt x="131" y="286"/>
                  </a:lnTo>
                  <a:lnTo>
                    <a:pt x="131" y="283"/>
                  </a:lnTo>
                  <a:lnTo>
                    <a:pt x="134" y="280"/>
                  </a:lnTo>
                  <a:lnTo>
                    <a:pt x="136" y="280"/>
                  </a:lnTo>
                  <a:lnTo>
                    <a:pt x="136" y="280"/>
                  </a:lnTo>
                  <a:lnTo>
                    <a:pt x="139" y="278"/>
                  </a:lnTo>
                  <a:lnTo>
                    <a:pt x="142" y="280"/>
                  </a:lnTo>
                  <a:lnTo>
                    <a:pt x="139" y="283"/>
                  </a:lnTo>
                  <a:lnTo>
                    <a:pt x="139" y="286"/>
                  </a:lnTo>
                  <a:lnTo>
                    <a:pt x="144" y="283"/>
                  </a:lnTo>
                  <a:lnTo>
                    <a:pt x="147" y="278"/>
                  </a:lnTo>
                  <a:lnTo>
                    <a:pt x="152" y="278"/>
                  </a:lnTo>
                  <a:lnTo>
                    <a:pt x="155" y="278"/>
                  </a:lnTo>
                  <a:lnTo>
                    <a:pt x="158" y="280"/>
                  </a:lnTo>
                  <a:lnTo>
                    <a:pt x="160" y="278"/>
                  </a:lnTo>
                  <a:lnTo>
                    <a:pt x="160" y="275"/>
                  </a:lnTo>
                  <a:lnTo>
                    <a:pt x="163" y="275"/>
                  </a:lnTo>
                  <a:lnTo>
                    <a:pt x="163" y="275"/>
                  </a:lnTo>
                  <a:lnTo>
                    <a:pt x="163" y="272"/>
                  </a:lnTo>
                  <a:lnTo>
                    <a:pt x="163" y="270"/>
                  </a:lnTo>
                  <a:lnTo>
                    <a:pt x="166" y="270"/>
                  </a:lnTo>
                  <a:lnTo>
                    <a:pt x="168" y="267"/>
                  </a:lnTo>
                  <a:lnTo>
                    <a:pt x="168" y="264"/>
                  </a:lnTo>
                  <a:lnTo>
                    <a:pt x="171" y="264"/>
                  </a:lnTo>
                  <a:lnTo>
                    <a:pt x="174" y="264"/>
                  </a:lnTo>
                  <a:lnTo>
                    <a:pt x="174" y="267"/>
                  </a:lnTo>
                  <a:lnTo>
                    <a:pt x="174" y="267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9" y="264"/>
                  </a:lnTo>
                  <a:lnTo>
                    <a:pt x="179" y="264"/>
                  </a:lnTo>
                  <a:lnTo>
                    <a:pt x="182" y="262"/>
                  </a:lnTo>
                  <a:lnTo>
                    <a:pt x="187" y="264"/>
                  </a:lnTo>
                  <a:lnTo>
                    <a:pt x="187" y="267"/>
                  </a:lnTo>
                  <a:lnTo>
                    <a:pt x="184" y="267"/>
                  </a:lnTo>
                  <a:lnTo>
                    <a:pt x="184" y="270"/>
                  </a:lnTo>
                  <a:lnTo>
                    <a:pt x="187" y="270"/>
                  </a:lnTo>
                  <a:lnTo>
                    <a:pt x="187" y="272"/>
                  </a:lnTo>
                  <a:lnTo>
                    <a:pt x="184" y="272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76" y="280"/>
                  </a:lnTo>
                  <a:lnTo>
                    <a:pt x="176" y="280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84" y="286"/>
                  </a:lnTo>
                  <a:lnTo>
                    <a:pt x="190" y="286"/>
                  </a:lnTo>
                  <a:lnTo>
                    <a:pt x="192" y="286"/>
                  </a:lnTo>
                  <a:lnTo>
                    <a:pt x="195" y="286"/>
                  </a:lnTo>
                  <a:lnTo>
                    <a:pt x="195" y="283"/>
                  </a:lnTo>
                  <a:lnTo>
                    <a:pt x="198" y="283"/>
                  </a:lnTo>
                  <a:lnTo>
                    <a:pt x="198" y="283"/>
                  </a:lnTo>
                  <a:lnTo>
                    <a:pt x="198" y="280"/>
                  </a:lnTo>
                  <a:lnTo>
                    <a:pt x="200" y="278"/>
                  </a:lnTo>
                  <a:lnTo>
                    <a:pt x="198" y="278"/>
                  </a:lnTo>
                  <a:lnTo>
                    <a:pt x="198" y="278"/>
                  </a:lnTo>
                  <a:lnTo>
                    <a:pt x="200" y="275"/>
                  </a:lnTo>
                  <a:lnTo>
                    <a:pt x="200" y="278"/>
                  </a:lnTo>
                  <a:lnTo>
                    <a:pt x="203" y="275"/>
                  </a:lnTo>
                  <a:lnTo>
                    <a:pt x="203" y="275"/>
                  </a:lnTo>
                  <a:lnTo>
                    <a:pt x="206" y="272"/>
                  </a:lnTo>
                  <a:lnTo>
                    <a:pt x="206" y="272"/>
                  </a:lnTo>
                  <a:lnTo>
                    <a:pt x="208" y="272"/>
                  </a:lnTo>
                  <a:lnTo>
                    <a:pt x="211" y="272"/>
                  </a:lnTo>
                  <a:lnTo>
                    <a:pt x="211" y="272"/>
                  </a:lnTo>
                  <a:lnTo>
                    <a:pt x="214" y="272"/>
                  </a:lnTo>
                  <a:lnTo>
                    <a:pt x="214" y="270"/>
                  </a:lnTo>
                  <a:lnTo>
                    <a:pt x="214" y="272"/>
                  </a:lnTo>
                  <a:lnTo>
                    <a:pt x="216" y="270"/>
                  </a:lnTo>
                  <a:lnTo>
                    <a:pt x="216" y="270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6" y="267"/>
                  </a:lnTo>
                  <a:lnTo>
                    <a:pt x="216" y="264"/>
                  </a:lnTo>
                  <a:lnTo>
                    <a:pt x="219" y="267"/>
                  </a:lnTo>
                  <a:lnTo>
                    <a:pt x="219" y="264"/>
                  </a:lnTo>
                  <a:lnTo>
                    <a:pt x="219" y="264"/>
                  </a:lnTo>
                  <a:lnTo>
                    <a:pt x="219" y="264"/>
                  </a:lnTo>
                  <a:lnTo>
                    <a:pt x="222" y="264"/>
                  </a:lnTo>
                  <a:lnTo>
                    <a:pt x="222" y="264"/>
                  </a:lnTo>
                  <a:lnTo>
                    <a:pt x="224" y="264"/>
                  </a:lnTo>
                  <a:lnTo>
                    <a:pt x="224" y="262"/>
                  </a:lnTo>
                  <a:lnTo>
                    <a:pt x="224" y="264"/>
                  </a:lnTo>
                  <a:lnTo>
                    <a:pt x="227" y="264"/>
                  </a:lnTo>
                  <a:lnTo>
                    <a:pt x="227" y="264"/>
                  </a:lnTo>
                  <a:lnTo>
                    <a:pt x="227" y="264"/>
                  </a:lnTo>
                  <a:lnTo>
                    <a:pt x="230" y="264"/>
                  </a:lnTo>
                  <a:lnTo>
                    <a:pt x="232" y="262"/>
                  </a:lnTo>
                  <a:lnTo>
                    <a:pt x="232" y="262"/>
                  </a:lnTo>
                  <a:lnTo>
                    <a:pt x="232" y="259"/>
                  </a:lnTo>
                  <a:lnTo>
                    <a:pt x="232" y="259"/>
                  </a:lnTo>
                  <a:lnTo>
                    <a:pt x="230" y="259"/>
                  </a:lnTo>
                  <a:lnTo>
                    <a:pt x="230" y="259"/>
                  </a:lnTo>
                  <a:lnTo>
                    <a:pt x="232" y="259"/>
                  </a:lnTo>
                  <a:lnTo>
                    <a:pt x="232" y="256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0" y="256"/>
                  </a:lnTo>
                  <a:lnTo>
                    <a:pt x="230" y="254"/>
                  </a:lnTo>
                  <a:lnTo>
                    <a:pt x="230" y="254"/>
                  </a:lnTo>
                  <a:lnTo>
                    <a:pt x="230" y="251"/>
                  </a:lnTo>
                  <a:lnTo>
                    <a:pt x="227" y="251"/>
                  </a:lnTo>
                  <a:lnTo>
                    <a:pt x="227" y="251"/>
                  </a:lnTo>
                  <a:lnTo>
                    <a:pt x="227" y="251"/>
                  </a:lnTo>
                  <a:lnTo>
                    <a:pt x="224" y="251"/>
                  </a:lnTo>
                  <a:lnTo>
                    <a:pt x="224" y="251"/>
                  </a:lnTo>
                  <a:lnTo>
                    <a:pt x="224" y="251"/>
                  </a:lnTo>
                  <a:lnTo>
                    <a:pt x="224" y="248"/>
                  </a:lnTo>
                  <a:lnTo>
                    <a:pt x="224" y="248"/>
                  </a:lnTo>
                  <a:lnTo>
                    <a:pt x="224" y="248"/>
                  </a:lnTo>
                  <a:lnTo>
                    <a:pt x="222" y="248"/>
                  </a:lnTo>
                  <a:lnTo>
                    <a:pt x="224" y="246"/>
                  </a:lnTo>
                  <a:lnTo>
                    <a:pt x="224" y="246"/>
                  </a:lnTo>
                  <a:lnTo>
                    <a:pt x="224" y="246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4" y="240"/>
                  </a:lnTo>
                  <a:lnTo>
                    <a:pt x="224" y="240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2" y="238"/>
                  </a:lnTo>
                  <a:lnTo>
                    <a:pt x="222" y="235"/>
                  </a:lnTo>
                  <a:lnTo>
                    <a:pt x="222" y="235"/>
                  </a:lnTo>
                  <a:lnTo>
                    <a:pt x="222" y="232"/>
                  </a:lnTo>
                  <a:lnTo>
                    <a:pt x="222" y="232"/>
                  </a:lnTo>
                  <a:lnTo>
                    <a:pt x="222" y="230"/>
                  </a:lnTo>
                  <a:lnTo>
                    <a:pt x="222" y="230"/>
                  </a:lnTo>
                  <a:lnTo>
                    <a:pt x="222" y="227"/>
                  </a:lnTo>
                  <a:lnTo>
                    <a:pt x="222" y="227"/>
                  </a:lnTo>
                  <a:lnTo>
                    <a:pt x="224" y="227"/>
                  </a:lnTo>
                  <a:lnTo>
                    <a:pt x="224" y="224"/>
                  </a:lnTo>
                  <a:lnTo>
                    <a:pt x="227" y="224"/>
                  </a:lnTo>
                  <a:lnTo>
                    <a:pt x="227" y="224"/>
                  </a:lnTo>
                  <a:lnTo>
                    <a:pt x="230" y="227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2" y="224"/>
                  </a:lnTo>
                  <a:lnTo>
                    <a:pt x="232" y="224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5" y="224"/>
                  </a:lnTo>
                  <a:lnTo>
                    <a:pt x="238" y="224"/>
                  </a:lnTo>
                  <a:lnTo>
                    <a:pt x="238" y="222"/>
                  </a:lnTo>
                  <a:lnTo>
                    <a:pt x="238" y="222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0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6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4"/>
                  </a:lnTo>
                  <a:lnTo>
                    <a:pt x="243" y="211"/>
                  </a:lnTo>
                  <a:lnTo>
                    <a:pt x="246" y="211"/>
                  </a:lnTo>
                  <a:lnTo>
                    <a:pt x="254" y="20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6" name="Freeform 8934">
              <a:extLst>
                <a:ext uri="{FF2B5EF4-FFF2-40B4-BE49-F238E27FC236}">
                  <a16:creationId xmlns:a16="http://schemas.microsoft.com/office/drawing/2014/main" id="{1B7C645D-CD4A-0A47-970F-D824BADD6710}"/>
                </a:ext>
              </a:extLst>
            </p:cNvPr>
            <p:cNvSpPr/>
            <p:nvPr/>
          </p:nvSpPr>
          <p:spPr bwMode="auto">
            <a:xfrm>
              <a:off x="1661317" y="3854451"/>
              <a:ext cx="382589" cy="292099"/>
            </a:xfrm>
            <a:custGeom>
              <a:avLst/>
              <a:gdLst>
                <a:gd name="T0" fmla="*/ 40 w 241"/>
                <a:gd name="T1" fmla="*/ 147 h 184"/>
                <a:gd name="T2" fmla="*/ 43 w 241"/>
                <a:gd name="T3" fmla="*/ 133 h 184"/>
                <a:gd name="T4" fmla="*/ 40 w 241"/>
                <a:gd name="T5" fmla="*/ 123 h 184"/>
                <a:gd name="T6" fmla="*/ 16 w 241"/>
                <a:gd name="T7" fmla="*/ 125 h 184"/>
                <a:gd name="T8" fmla="*/ 3 w 241"/>
                <a:gd name="T9" fmla="*/ 117 h 184"/>
                <a:gd name="T10" fmla="*/ 3 w 241"/>
                <a:gd name="T11" fmla="*/ 112 h 184"/>
                <a:gd name="T12" fmla="*/ 6 w 241"/>
                <a:gd name="T13" fmla="*/ 99 h 184"/>
                <a:gd name="T14" fmla="*/ 3 w 241"/>
                <a:gd name="T15" fmla="*/ 91 h 184"/>
                <a:gd name="T16" fmla="*/ 11 w 241"/>
                <a:gd name="T17" fmla="*/ 80 h 184"/>
                <a:gd name="T18" fmla="*/ 14 w 241"/>
                <a:gd name="T19" fmla="*/ 72 h 184"/>
                <a:gd name="T20" fmla="*/ 16 w 241"/>
                <a:gd name="T21" fmla="*/ 58 h 184"/>
                <a:gd name="T22" fmla="*/ 19 w 241"/>
                <a:gd name="T23" fmla="*/ 50 h 184"/>
                <a:gd name="T24" fmla="*/ 24 w 241"/>
                <a:gd name="T25" fmla="*/ 42 h 184"/>
                <a:gd name="T26" fmla="*/ 38 w 241"/>
                <a:gd name="T27" fmla="*/ 32 h 184"/>
                <a:gd name="T28" fmla="*/ 48 w 241"/>
                <a:gd name="T29" fmla="*/ 26 h 184"/>
                <a:gd name="T30" fmla="*/ 51 w 241"/>
                <a:gd name="T31" fmla="*/ 16 h 184"/>
                <a:gd name="T32" fmla="*/ 62 w 241"/>
                <a:gd name="T33" fmla="*/ 16 h 184"/>
                <a:gd name="T34" fmla="*/ 78 w 241"/>
                <a:gd name="T35" fmla="*/ 18 h 184"/>
                <a:gd name="T36" fmla="*/ 86 w 241"/>
                <a:gd name="T37" fmla="*/ 16 h 184"/>
                <a:gd name="T38" fmla="*/ 102 w 241"/>
                <a:gd name="T39" fmla="*/ 8 h 184"/>
                <a:gd name="T40" fmla="*/ 118 w 241"/>
                <a:gd name="T41" fmla="*/ 5 h 184"/>
                <a:gd name="T42" fmla="*/ 129 w 241"/>
                <a:gd name="T43" fmla="*/ 2 h 184"/>
                <a:gd name="T44" fmla="*/ 153 w 241"/>
                <a:gd name="T45" fmla="*/ 5 h 184"/>
                <a:gd name="T46" fmla="*/ 161 w 241"/>
                <a:gd name="T47" fmla="*/ 5 h 184"/>
                <a:gd name="T48" fmla="*/ 174 w 241"/>
                <a:gd name="T49" fmla="*/ 10 h 184"/>
                <a:gd name="T50" fmla="*/ 171 w 241"/>
                <a:gd name="T51" fmla="*/ 26 h 184"/>
                <a:gd name="T52" fmla="*/ 182 w 241"/>
                <a:gd name="T53" fmla="*/ 29 h 184"/>
                <a:gd name="T54" fmla="*/ 187 w 241"/>
                <a:gd name="T55" fmla="*/ 42 h 184"/>
                <a:gd name="T56" fmla="*/ 201 w 241"/>
                <a:gd name="T57" fmla="*/ 42 h 184"/>
                <a:gd name="T58" fmla="*/ 203 w 241"/>
                <a:gd name="T59" fmla="*/ 56 h 184"/>
                <a:gd name="T60" fmla="*/ 217 w 241"/>
                <a:gd name="T61" fmla="*/ 66 h 184"/>
                <a:gd name="T62" fmla="*/ 222 w 241"/>
                <a:gd name="T63" fmla="*/ 77 h 184"/>
                <a:gd name="T64" fmla="*/ 233 w 241"/>
                <a:gd name="T65" fmla="*/ 96 h 184"/>
                <a:gd name="T66" fmla="*/ 227 w 241"/>
                <a:gd name="T67" fmla="*/ 109 h 184"/>
                <a:gd name="T68" fmla="*/ 225 w 241"/>
                <a:gd name="T69" fmla="*/ 123 h 184"/>
                <a:gd name="T70" fmla="*/ 227 w 241"/>
                <a:gd name="T71" fmla="*/ 133 h 184"/>
                <a:gd name="T72" fmla="*/ 222 w 241"/>
                <a:gd name="T73" fmla="*/ 139 h 184"/>
                <a:gd name="T74" fmla="*/ 214 w 241"/>
                <a:gd name="T75" fmla="*/ 149 h 184"/>
                <a:gd name="T76" fmla="*/ 203 w 241"/>
                <a:gd name="T77" fmla="*/ 155 h 184"/>
                <a:gd name="T78" fmla="*/ 193 w 241"/>
                <a:gd name="T79" fmla="*/ 155 h 184"/>
                <a:gd name="T80" fmla="*/ 185 w 241"/>
                <a:gd name="T81" fmla="*/ 157 h 184"/>
                <a:gd name="T82" fmla="*/ 201 w 241"/>
                <a:gd name="T83" fmla="*/ 160 h 184"/>
                <a:gd name="T84" fmla="*/ 203 w 241"/>
                <a:gd name="T85" fmla="*/ 176 h 184"/>
                <a:gd name="T86" fmla="*/ 195 w 241"/>
                <a:gd name="T87" fmla="*/ 173 h 184"/>
                <a:gd name="T88" fmla="*/ 185 w 241"/>
                <a:gd name="T89" fmla="*/ 168 h 184"/>
                <a:gd name="T90" fmla="*/ 182 w 241"/>
                <a:gd name="T91" fmla="*/ 165 h 184"/>
                <a:gd name="T92" fmla="*/ 179 w 241"/>
                <a:gd name="T93" fmla="*/ 181 h 184"/>
                <a:gd name="T94" fmla="*/ 161 w 241"/>
                <a:gd name="T95" fmla="*/ 181 h 184"/>
                <a:gd name="T96" fmla="*/ 147 w 241"/>
                <a:gd name="T97" fmla="*/ 173 h 184"/>
                <a:gd name="T98" fmla="*/ 134 w 241"/>
                <a:gd name="T99" fmla="*/ 168 h 184"/>
                <a:gd name="T100" fmla="*/ 123 w 241"/>
                <a:gd name="T101" fmla="*/ 163 h 184"/>
                <a:gd name="T102" fmla="*/ 99 w 241"/>
                <a:gd name="T103" fmla="*/ 176 h 184"/>
                <a:gd name="T104" fmla="*/ 91 w 241"/>
                <a:gd name="T105" fmla="*/ 173 h 184"/>
                <a:gd name="T106" fmla="*/ 83 w 241"/>
                <a:gd name="T107" fmla="*/ 160 h 184"/>
                <a:gd name="T108" fmla="*/ 75 w 241"/>
                <a:gd name="T109" fmla="*/ 157 h 184"/>
                <a:gd name="T110" fmla="*/ 67 w 241"/>
                <a:gd name="T111" fmla="*/ 157 h 184"/>
                <a:gd name="T112" fmla="*/ 57 w 241"/>
                <a:gd name="T113" fmla="*/ 160 h 184"/>
                <a:gd name="T114" fmla="*/ 48 w 241"/>
                <a:gd name="T115" fmla="*/ 15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1" h="184" extrusionOk="0">
                  <a:moveTo>
                    <a:pt x="43" y="157"/>
                  </a:moveTo>
                  <a:lnTo>
                    <a:pt x="43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1"/>
                  </a:lnTo>
                  <a:lnTo>
                    <a:pt x="38" y="139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3" y="133"/>
                  </a:lnTo>
                  <a:lnTo>
                    <a:pt x="46" y="133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5"/>
                  </a:lnTo>
                  <a:lnTo>
                    <a:pt x="43" y="123"/>
                  </a:lnTo>
                  <a:lnTo>
                    <a:pt x="40" y="123"/>
                  </a:lnTo>
                  <a:lnTo>
                    <a:pt x="40" y="125"/>
                  </a:lnTo>
                  <a:lnTo>
                    <a:pt x="38" y="125"/>
                  </a:lnTo>
                  <a:lnTo>
                    <a:pt x="40" y="123"/>
                  </a:lnTo>
                  <a:lnTo>
                    <a:pt x="30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3"/>
                  </a:lnTo>
                  <a:lnTo>
                    <a:pt x="24" y="125"/>
                  </a:lnTo>
                  <a:lnTo>
                    <a:pt x="22" y="125"/>
                  </a:lnTo>
                  <a:lnTo>
                    <a:pt x="19" y="128"/>
                  </a:lnTo>
                  <a:lnTo>
                    <a:pt x="19" y="125"/>
                  </a:lnTo>
                  <a:lnTo>
                    <a:pt x="19" y="125"/>
                  </a:lnTo>
                  <a:lnTo>
                    <a:pt x="16" y="125"/>
                  </a:lnTo>
                  <a:lnTo>
                    <a:pt x="14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0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3" y="107"/>
                  </a:lnTo>
                  <a:lnTo>
                    <a:pt x="3" y="104"/>
                  </a:lnTo>
                  <a:lnTo>
                    <a:pt x="6" y="104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3" y="93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88"/>
                  </a:lnTo>
                  <a:lnTo>
                    <a:pt x="6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11" y="83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8" y="80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8" y="75"/>
                  </a:lnTo>
                  <a:lnTo>
                    <a:pt x="8" y="72"/>
                  </a:lnTo>
                  <a:lnTo>
                    <a:pt x="11" y="72"/>
                  </a:lnTo>
                  <a:lnTo>
                    <a:pt x="14" y="72"/>
                  </a:lnTo>
                  <a:lnTo>
                    <a:pt x="14" y="69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6" y="64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9" y="50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7" y="45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4" y="42"/>
                  </a:lnTo>
                  <a:lnTo>
                    <a:pt x="27" y="37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4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8" y="32"/>
                  </a:lnTo>
                  <a:lnTo>
                    <a:pt x="51" y="29"/>
                  </a:lnTo>
                  <a:lnTo>
                    <a:pt x="48" y="26"/>
                  </a:lnTo>
                  <a:lnTo>
                    <a:pt x="46" y="26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1"/>
                  </a:lnTo>
                  <a:lnTo>
                    <a:pt x="48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4" y="18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5" y="16"/>
                  </a:lnTo>
                  <a:lnTo>
                    <a:pt x="67" y="16"/>
                  </a:lnTo>
                  <a:lnTo>
                    <a:pt x="67" y="18"/>
                  </a:lnTo>
                  <a:lnTo>
                    <a:pt x="70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8" y="21"/>
                  </a:lnTo>
                  <a:lnTo>
                    <a:pt x="78" y="18"/>
                  </a:lnTo>
                  <a:lnTo>
                    <a:pt x="81" y="18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6"/>
                  </a:lnTo>
                  <a:lnTo>
                    <a:pt x="89" y="13"/>
                  </a:lnTo>
                  <a:lnTo>
                    <a:pt x="91" y="13"/>
                  </a:lnTo>
                  <a:lnTo>
                    <a:pt x="91" y="16"/>
                  </a:lnTo>
                  <a:lnTo>
                    <a:pt x="94" y="13"/>
                  </a:lnTo>
                  <a:lnTo>
                    <a:pt x="94" y="10"/>
                  </a:lnTo>
                  <a:lnTo>
                    <a:pt x="97" y="10"/>
                  </a:lnTo>
                  <a:lnTo>
                    <a:pt x="99" y="10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5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3" y="8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5" y="5"/>
                  </a:lnTo>
                  <a:lnTo>
                    <a:pt x="118" y="5"/>
                  </a:lnTo>
                  <a:lnTo>
                    <a:pt x="115" y="8"/>
                  </a:lnTo>
                  <a:lnTo>
                    <a:pt x="118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29" y="8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29" y="2"/>
                  </a:lnTo>
                  <a:lnTo>
                    <a:pt x="126" y="2"/>
                  </a:lnTo>
                  <a:lnTo>
                    <a:pt x="126" y="0"/>
                  </a:lnTo>
                  <a:lnTo>
                    <a:pt x="131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7" y="0"/>
                  </a:lnTo>
                  <a:lnTo>
                    <a:pt x="139" y="2"/>
                  </a:lnTo>
                  <a:lnTo>
                    <a:pt x="142" y="2"/>
                  </a:lnTo>
                  <a:lnTo>
                    <a:pt x="150" y="5"/>
                  </a:lnTo>
                  <a:lnTo>
                    <a:pt x="153" y="5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0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61" y="2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1" y="5"/>
                  </a:lnTo>
                  <a:lnTo>
                    <a:pt x="161" y="5"/>
                  </a:lnTo>
                  <a:lnTo>
                    <a:pt x="163" y="8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6" y="10"/>
                  </a:lnTo>
                  <a:lnTo>
                    <a:pt x="166" y="10"/>
                  </a:lnTo>
                  <a:lnTo>
                    <a:pt x="169" y="10"/>
                  </a:lnTo>
                  <a:lnTo>
                    <a:pt x="171" y="10"/>
                  </a:lnTo>
                  <a:lnTo>
                    <a:pt x="174" y="10"/>
                  </a:lnTo>
                  <a:lnTo>
                    <a:pt x="174" y="13"/>
                  </a:lnTo>
                  <a:lnTo>
                    <a:pt x="171" y="13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69" y="18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71" y="26"/>
                  </a:lnTo>
                  <a:lnTo>
                    <a:pt x="171" y="24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7" y="26"/>
                  </a:lnTo>
                  <a:lnTo>
                    <a:pt x="177" y="26"/>
                  </a:lnTo>
                  <a:lnTo>
                    <a:pt x="179" y="26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82" y="29"/>
                  </a:lnTo>
                  <a:lnTo>
                    <a:pt x="182" y="29"/>
                  </a:lnTo>
                  <a:lnTo>
                    <a:pt x="185" y="26"/>
                  </a:lnTo>
                  <a:lnTo>
                    <a:pt x="190" y="29"/>
                  </a:lnTo>
                  <a:lnTo>
                    <a:pt x="190" y="32"/>
                  </a:lnTo>
                  <a:lnTo>
                    <a:pt x="187" y="37"/>
                  </a:lnTo>
                  <a:lnTo>
                    <a:pt x="187" y="37"/>
                  </a:lnTo>
                  <a:lnTo>
                    <a:pt x="187" y="40"/>
                  </a:lnTo>
                  <a:lnTo>
                    <a:pt x="187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90" y="42"/>
                  </a:lnTo>
                  <a:lnTo>
                    <a:pt x="190" y="40"/>
                  </a:lnTo>
                  <a:lnTo>
                    <a:pt x="190" y="40"/>
                  </a:lnTo>
                  <a:lnTo>
                    <a:pt x="193" y="40"/>
                  </a:lnTo>
                  <a:lnTo>
                    <a:pt x="195" y="40"/>
                  </a:lnTo>
                  <a:lnTo>
                    <a:pt x="195" y="40"/>
                  </a:lnTo>
                  <a:lnTo>
                    <a:pt x="198" y="42"/>
                  </a:lnTo>
                  <a:lnTo>
                    <a:pt x="201" y="42"/>
                  </a:lnTo>
                  <a:lnTo>
                    <a:pt x="201" y="45"/>
                  </a:lnTo>
                  <a:lnTo>
                    <a:pt x="201" y="45"/>
                  </a:lnTo>
                  <a:lnTo>
                    <a:pt x="201" y="48"/>
                  </a:lnTo>
                  <a:lnTo>
                    <a:pt x="201" y="50"/>
                  </a:lnTo>
                  <a:lnTo>
                    <a:pt x="201" y="53"/>
                  </a:lnTo>
                  <a:lnTo>
                    <a:pt x="201" y="53"/>
                  </a:lnTo>
                  <a:lnTo>
                    <a:pt x="201" y="53"/>
                  </a:lnTo>
                  <a:lnTo>
                    <a:pt x="201" y="56"/>
                  </a:lnTo>
                  <a:lnTo>
                    <a:pt x="203" y="56"/>
                  </a:lnTo>
                  <a:lnTo>
                    <a:pt x="203" y="56"/>
                  </a:lnTo>
                  <a:lnTo>
                    <a:pt x="206" y="56"/>
                  </a:lnTo>
                  <a:lnTo>
                    <a:pt x="206" y="56"/>
                  </a:lnTo>
                  <a:lnTo>
                    <a:pt x="209" y="56"/>
                  </a:lnTo>
                  <a:lnTo>
                    <a:pt x="209" y="58"/>
                  </a:lnTo>
                  <a:lnTo>
                    <a:pt x="211" y="58"/>
                  </a:lnTo>
                  <a:lnTo>
                    <a:pt x="211" y="61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4" y="64"/>
                  </a:lnTo>
                  <a:lnTo>
                    <a:pt x="217" y="66"/>
                  </a:lnTo>
                  <a:lnTo>
                    <a:pt x="214" y="69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7" y="75"/>
                  </a:lnTo>
                  <a:lnTo>
                    <a:pt x="217" y="75"/>
                  </a:lnTo>
                  <a:lnTo>
                    <a:pt x="219" y="75"/>
                  </a:lnTo>
                  <a:lnTo>
                    <a:pt x="222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2" y="77"/>
                  </a:lnTo>
                  <a:lnTo>
                    <a:pt x="222" y="83"/>
                  </a:lnTo>
                  <a:lnTo>
                    <a:pt x="219" y="83"/>
                  </a:lnTo>
                  <a:lnTo>
                    <a:pt x="219" y="83"/>
                  </a:lnTo>
                  <a:lnTo>
                    <a:pt x="219" y="85"/>
                  </a:lnTo>
                  <a:lnTo>
                    <a:pt x="222" y="88"/>
                  </a:lnTo>
                  <a:lnTo>
                    <a:pt x="225" y="91"/>
                  </a:lnTo>
                  <a:lnTo>
                    <a:pt x="227" y="93"/>
                  </a:lnTo>
                  <a:lnTo>
                    <a:pt x="230" y="93"/>
                  </a:lnTo>
                  <a:lnTo>
                    <a:pt x="233" y="93"/>
                  </a:lnTo>
                  <a:lnTo>
                    <a:pt x="233" y="96"/>
                  </a:lnTo>
                  <a:lnTo>
                    <a:pt x="235" y="93"/>
                  </a:lnTo>
                  <a:lnTo>
                    <a:pt x="238" y="96"/>
                  </a:lnTo>
                  <a:lnTo>
                    <a:pt x="241" y="96"/>
                  </a:lnTo>
                  <a:lnTo>
                    <a:pt x="241" y="101"/>
                  </a:lnTo>
                  <a:lnTo>
                    <a:pt x="238" y="101"/>
                  </a:lnTo>
                  <a:lnTo>
                    <a:pt x="238" y="104"/>
                  </a:lnTo>
                  <a:lnTo>
                    <a:pt x="235" y="107"/>
                  </a:lnTo>
                  <a:lnTo>
                    <a:pt x="230" y="112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5" y="112"/>
                  </a:lnTo>
                  <a:lnTo>
                    <a:pt x="225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2" y="117"/>
                  </a:lnTo>
                  <a:lnTo>
                    <a:pt x="222" y="120"/>
                  </a:lnTo>
                  <a:lnTo>
                    <a:pt x="225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27" y="125"/>
                  </a:lnTo>
                  <a:lnTo>
                    <a:pt x="230" y="128"/>
                  </a:lnTo>
                  <a:lnTo>
                    <a:pt x="230" y="128"/>
                  </a:lnTo>
                  <a:lnTo>
                    <a:pt x="227" y="131"/>
                  </a:lnTo>
                  <a:lnTo>
                    <a:pt x="225" y="131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6"/>
                  </a:lnTo>
                  <a:lnTo>
                    <a:pt x="227" y="136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5" y="139"/>
                  </a:lnTo>
                  <a:lnTo>
                    <a:pt x="225" y="139"/>
                  </a:lnTo>
                  <a:lnTo>
                    <a:pt x="222" y="139"/>
                  </a:lnTo>
                  <a:lnTo>
                    <a:pt x="222" y="139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19" y="144"/>
                  </a:lnTo>
                  <a:lnTo>
                    <a:pt x="219" y="144"/>
                  </a:lnTo>
                  <a:lnTo>
                    <a:pt x="219" y="141"/>
                  </a:lnTo>
                  <a:lnTo>
                    <a:pt x="217" y="141"/>
                  </a:lnTo>
                  <a:lnTo>
                    <a:pt x="214" y="144"/>
                  </a:lnTo>
                  <a:lnTo>
                    <a:pt x="214" y="147"/>
                  </a:lnTo>
                  <a:lnTo>
                    <a:pt x="214" y="147"/>
                  </a:lnTo>
                  <a:lnTo>
                    <a:pt x="214" y="149"/>
                  </a:lnTo>
                  <a:lnTo>
                    <a:pt x="214" y="149"/>
                  </a:lnTo>
                  <a:lnTo>
                    <a:pt x="214" y="152"/>
                  </a:lnTo>
                  <a:lnTo>
                    <a:pt x="214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6" y="152"/>
                  </a:lnTo>
                  <a:lnTo>
                    <a:pt x="203" y="155"/>
                  </a:lnTo>
                  <a:lnTo>
                    <a:pt x="203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3" y="155"/>
                  </a:lnTo>
                  <a:lnTo>
                    <a:pt x="190" y="152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52"/>
                  </a:lnTo>
                  <a:lnTo>
                    <a:pt x="187" y="155"/>
                  </a:lnTo>
                  <a:lnTo>
                    <a:pt x="185" y="155"/>
                  </a:lnTo>
                  <a:lnTo>
                    <a:pt x="185" y="155"/>
                  </a:lnTo>
                  <a:lnTo>
                    <a:pt x="185" y="155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7" y="160"/>
                  </a:lnTo>
                  <a:lnTo>
                    <a:pt x="190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57"/>
                  </a:lnTo>
                  <a:lnTo>
                    <a:pt x="198" y="157"/>
                  </a:lnTo>
                  <a:lnTo>
                    <a:pt x="198" y="160"/>
                  </a:lnTo>
                  <a:lnTo>
                    <a:pt x="201" y="160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3" y="168"/>
                  </a:lnTo>
                  <a:lnTo>
                    <a:pt x="203" y="168"/>
                  </a:lnTo>
                  <a:lnTo>
                    <a:pt x="206" y="168"/>
                  </a:lnTo>
                  <a:lnTo>
                    <a:pt x="206" y="171"/>
                  </a:lnTo>
                  <a:lnTo>
                    <a:pt x="203" y="173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1" y="171"/>
                  </a:lnTo>
                  <a:lnTo>
                    <a:pt x="201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5" y="168"/>
                  </a:lnTo>
                  <a:lnTo>
                    <a:pt x="195" y="171"/>
                  </a:lnTo>
                  <a:lnTo>
                    <a:pt x="195" y="171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3" y="173"/>
                  </a:lnTo>
                  <a:lnTo>
                    <a:pt x="193" y="173"/>
                  </a:lnTo>
                  <a:lnTo>
                    <a:pt x="190" y="171"/>
                  </a:lnTo>
                  <a:lnTo>
                    <a:pt x="190" y="171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90" y="168"/>
                  </a:lnTo>
                  <a:lnTo>
                    <a:pt x="187" y="168"/>
                  </a:lnTo>
                  <a:lnTo>
                    <a:pt x="185" y="168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5" y="165"/>
                  </a:lnTo>
                  <a:lnTo>
                    <a:pt x="187" y="165"/>
                  </a:lnTo>
                  <a:lnTo>
                    <a:pt x="187" y="163"/>
                  </a:lnTo>
                  <a:lnTo>
                    <a:pt x="185" y="163"/>
                  </a:lnTo>
                  <a:lnTo>
                    <a:pt x="185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5"/>
                  </a:lnTo>
                  <a:lnTo>
                    <a:pt x="182" y="168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5" y="173"/>
                  </a:lnTo>
                  <a:lnTo>
                    <a:pt x="185" y="179"/>
                  </a:lnTo>
                  <a:lnTo>
                    <a:pt x="185" y="179"/>
                  </a:lnTo>
                  <a:lnTo>
                    <a:pt x="182" y="179"/>
                  </a:lnTo>
                  <a:lnTo>
                    <a:pt x="182" y="181"/>
                  </a:lnTo>
                  <a:lnTo>
                    <a:pt x="179" y="181"/>
                  </a:lnTo>
                  <a:lnTo>
                    <a:pt x="179" y="181"/>
                  </a:lnTo>
                  <a:lnTo>
                    <a:pt x="177" y="181"/>
                  </a:lnTo>
                  <a:lnTo>
                    <a:pt x="174" y="184"/>
                  </a:lnTo>
                  <a:lnTo>
                    <a:pt x="174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6" y="184"/>
                  </a:lnTo>
                  <a:lnTo>
                    <a:pt x="166" y="181"/>
                  </a:lnTo>
                  <a:lnTo>
                    <a:pt x="163" y="184"/>
                  </a:lnTo>
                  <a:lnTo>
                    <a:pt x="161" y="181"/>
                  </a:lnTo>
                  <a:lnTo>
                    <a:pt x="161" y="181"/>
                  </a:lnTo>
                  <a:lnTo>
                    <a:pt x="158" y="181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76"/>
                  </a:lnTo>
                  <a:lnTo>
                    <a:pt x="153" y="176"/>
                  </a:lnTo>
                  <a:lnTo>
                    <a:pt x="150" y="176"/>
                  </a:lnTo>
                  <a:lnTo>
                    <a:pt x="150" y="173"/>
                  </a:lnTo>
                  <a:lnTo>
                    <a:pt x="147" y="173"/>
                  </a:lnTo>
                  <a:lnTo>
                    <a:pt x="147" y="173"/>
                  </a:lnTo>
                  <a:lnTo>
                    <a:pt x="145" y="173"/>
                  </a:lnTo>
                  <a:lnTo>
                    <a:pt x="145" y="173"/>
                  </a:lnTo>
                  <a:lnTo>
                    <a:pt x="145" y="171"/>
                  </a:lnTo>
                  <a:lnTo>
                    <a:pt x="145" y="171"/>
                  </a:lnTo>
                  <a:lnTo>
                    <a:pt x="142" y="168"/>
                  </a:lnTo>
                  <a:lnTo>
                    <a:pt x="139" y="168"/>
                  </a:lnTo>
                  <a:lnTo>
                    <a:pt x="139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4" y="168"/>
                  </a:lnTo>
                  <a:lnTo>
                    <a:pt x="134" y="165"/>
                  </a:lnTo>
                  <a:lnTo>
                    <a:pt x="134" y="165"/>
                  </a:lnTo>
                  <a:lnTo>
                    <a:pt x="131" y="165"/>
                  </a:lnTo>
                  <a:lnTo>
                    <a:pt x="131" y="165"/>
                  </a:lnTo>
                  <a:lnTo>
                    <a:pt x="129" y="165"/>
                  </a:lnTo>
                  <a:lnTo>
                    <a:pt x="129" y="165"/>
                  </a:lnTo>
                  <a:lnTo>
                    <a:pt x="129" y="163"/>
                  </a:lnTo>
                  <a:lnTo>
                    <a:pt x="126" y="163"/>
                  </a:lnTo>
                  <a:lnTo>
                    <a:pt x="126" y="160"/>
                  </a:lnTo>
                  <a:lnTo>
                    <a:pt x="123" y="163"/>
                  </a:lnTo>
                  <a:lnTo>
                    <a:pt x="123" y="160"/>
                  </a:lnTo>
                  <a:lnTo>
                    <a:pt x="113" y="176"/>
                  </a:lnTo>
                  <a:lnTo>
                    <a:pt x="110" y="179"/>
                  </a:lnTo>
                  <a:lnTo>
                    <a:pt x="107" y="179"/>
                  </a:lnTo>
                  <a:lnTo>
                    <a:pt x="107" y="179"/>
                  </a:lnTo>
                  <a:lnTo>
                    <a:pt x="105" y="176"/>
                  </a:lnTo>
                  <a:lnTo>
                    <a:pt x="105" y="176"/>
                  </a:lnTo>
                  <a:lnTo>
                    <a:pt x="102" y="179"/>
                  </a:lnTo>
                  <a:lnTo>
                    <a:pt x="99" y="179"/>
                  </a:lnTo>
                  <a:lnTo>
                    <a:pt x="99" y="176"/>
                  </a:lnTo>
                  <a:lnTo>
                    <a:pt x="99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89" y="176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89" y="165"/>
                  </a:lnTo>
                  <a:lnTo>
                    <a:pt x="89" y="165"/>
                  </a:lnTo>
                  <a:lnTo>
                    <a:pt x="86" y="165"/>
                  </a:lnTo>
                  <a:lnTo>
                    <a:pt x="83" y="165"/>
                  </a:lnTo>
                  <a:lnTo>
                    <a:pt x="81" y="168"/>
                  </a:lnTo>
                  <a:lnTo>
                    <a:pt x="81" y="165"/>
                  </a:lnTo>
                  <a:lnTo>
                    <a:pt x="83" y="165"/>
                  </a:lnTo>
                  <a:lnTo>
                    <a:pt x="83" y="163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57"/>
                  </a:lnTo>
                  <a:lnTo>
                    <a:pt x="81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5" y="155"/>
                  </a:lnTo>
                  <a:lnTo>
                    <a:pt x="75" y="157"/>
                  </a:lnTo>
                  <a:lnTo>
                    <a:pt x="75" y="157"/>
                  </a:lnTo>
                  <a:lnTo>
                    <a:pt x="75" y="157"/>
                  </a:lnTo>
                  <a:lnTo>
                    <a:pt x="73" y="155"/>
                  </a:lnTo>
                  <a:lnTo>
                    <a:pt x="73" y="157"/>
                  </a:lnTo>
                  <a:lnTo>
                    <a:pt x="70" y="157"/>
                  </a:lnTo>
                  <a:lnTo>
                    <a:pt x="70" y="157"/>
                  </a:lnTo>
                  <a:lnTo>
                    <a:pt x="70" y="160"/>
                  </a:lnTo>
                  <a:lnTo>
                    <a:pt x="67" y="160"/>
                  </a:lnTo>
                  <a:lnTo>
                    <a:pt x="67" y="160"/>
                  </a:lnTo>
                  <a:lnTo>
                    <a:pt x="67" y="157"/>
                  </a:lnTo>
                  <a:lnTo>
                    <a:pt x="67" y="157"/>
                  </a:lnTo>
                  <a:lnTo>
                    <a:pt x="67" y="155"/>
                  </a:lnTo>
                  <a:lnTo>
                    <a:pt x="67" y="155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5" y="152"/>
                  </a:lnTo>
                  <a:lnTo>
                    <a:pt x="62" y="160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1" y="157"/>
                  </a:lnTo>
                  <a:lnTo>
                    <a:pt x="51" y="155"/>
                  </a:lnTo>
                  <a:lnTo>
                    <a:pt x="51" y="155"/>
                  </a:lnTo>
                  <a:lnTo>
                    <a:pt x="51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3" y="157"/>
                  </a:lnTo>
                  <a:lnTo>
                    <a:pt x="43" y="15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7" name="Freeform 8935">
              <a:extLst>
                <a:ext uri="{FF2B5EF4-FFF2-40B4-BE49-F238E27FC236}">
                  <a16:creationId xmlns:a16="http://schemas.microsoft.com/office/drawing/2014/main" id="{4649BD46-F56F-BF4B-8866-D9FC9AEDEAC8}"/>
                </a:ext>
              </a:extLst>
            </p:cNvPr>
            <p:cNvSpPr/>
            <p:nvPr/>
          </p:nvSpPr>
          <p:spPr bwMode="auto">
            <a:xfrm>
              <a:off x="1861342" y="4141788"/>
              <a:ext cx="381000" cy="382588"/>
            </a:xfrm>
            <a:custGeom>
              <a:avLst/>
              <a:gdLst>
                <a:gd name="T0" fmla="*/ 211 w 240"/>
                <a:gd name="T1" fmla="*/ 233 h 241"/>
                <a:gd name="T2" fmla="*/ 222 w 240"/>
                <a:gd name="T3" fmla="*/ 211 h 241"/>
                <a:gd name="T4" fmla="*/ 232 w 240"/>
                <a:gd name="T5" fmla="*/ 193 h 241"/>
                <a:gd name="T6" fmla="*/ 232 w 240"/>
                <a:gd name="T7" fmla="*/ 171 h 241"/>
                <a:gd name="T8" fmla="*/ 230 w 240"/>
                <a:gd name="T9" fmla="*/ 166 h 241"/>
                <a:gd name="T10" fmla="*/ 224 w 240"/>
                <a:gd name="T11" fmla="*/ 161 h 241"/>
                <a:gd name="T12" fmla="*/ 232 w 240"/>
                <a:gd name="T13" fmla="*/ 150 h 241"/>
                <a:gd name="T14" fmla="*/ 230 w 240"/>
                <a:gd name="T15" fmla="*/ 134 h 241"/>
                <a:gd name="T16" fmla="*/ 230 w 240"/>
                <a:gd name="T17" fmla="*/ 121 h 241"/>
                <a:gd name="T18" fmla="*/ 227 w 240"/>
                <a:gd name="T19" fmla="*/ 110 h 241"/>
                <a:gd name="T20" fmla="*/ 224 w 240"/>
                <a:gd name="T21" fmla="*/ 102 h 241"/>
                <a:gd name="T22" fmla="*/ 211 w 240"/>
                <a:gd name="T23" fmla="*/ 102 h 241"/>
                <a:gd name="T24" fmla="*/ 200 w 240"/>
                <a:gd name="T25" fmla="*/ 97 h 241"/>
                <a:gd name="T26" fmla="*/ 190 w 240"/>
                <a:gd name="T27" fmla="*/ 91 h 241"/>
                <a:gd name="T28" fmla="*/ 179 w 240"/>
                <a:gd name="T29" fmla="*/ 78 h 241"/>
                <a:gd name="T30" fmla="*/ 163 w 240"/>
                <a:gd name="T31" fmla="*/ 75 h 241"/>
                <a:gd name="T32" fmla="*/ 152 w 240"/>
                <a:gd name="T33" fmla="*/ 78 h 241"/>
                <a:gd name="T34" fmla="*/ 149 w 240"/>
                <a:gd name="T35" fmla="*/ 89 h 241"/>
                <a:gd name="T36" fmla="*/ 141 w 240"/>
                <a:gd name="T37" fmla="*/ 89 h 241"/>
                <a:gd name="T38" fmla="*/ 139 w 240"/>
                <a:gd name="T39" fmla="*/ 83 h 241"/>
                <a:gd name="T40" fmla="*/ 131 w 240"/>
                <a:gd name="T41" fmla="*/ 78 h 241"/>
                <a:gd name="T42" fmla="*/ 123 w 240"/>
                <a:gd name="T43" fmla="*/ 73 h 241"/>
                <a:gd name="T44" fmla="*/ 117 w 240"/>
                <a:gd name="T45" fmla="*/ 57 h 241"/>
                <a:gd name="T46" fmla="*/ 117 w 240"/>
                <a:gd name="T47" fmla="*/ 43 h 241"/>
                <a:gd name="T48" fmla="*/ 104 w 240"/>
                <a:gd name="T49" fmla="*/ 27 h 241"/>
                <a:gd name="T50" fmla="*/ 96 w 240"/>
                <a:gd name="T51" fmla="*/ 22 h 241"/>
                <a:gd name="T52" fmla="*/ 85 w 240"/>
                <a:gd name="T53" fmla="*/ 27 h 241"/>
                <a:gd name="T54" fmla="*/ 80 w 240"/>
                <a:gd name="T55" fmla="*/ 27 h 241"/>
                <a:gd name="T56" fmla="*/ 69 w 240"/>
                <a:gd name="T57" fmla="*/ 27 h 241"/>
                <a:gd name="T58" fmla="*/ 61 w 240"/>
                <a:gd name="T59" fmla="*/ 22 h 241"/>
                <a:gd name="T60" fmla="*/ 59 w 240"/>
                <a:gd name="T61" fmla="*/ 19 h 241"/>
                <a:gd name="T62" fmla="*/ 53 w 240"/>
                <a:gd name="T63" fmla="*/ 16 h 241"/>
                <a:gd name="T64" fmla="*/ 51 w 240"/>
                <a:gd name="T65" fmla="*/ 19 h 241"/>
                <a:gd name="T66" fmla="*/ 43 w 240"/>
                <a:gd name="T67" fmla="*/ 8 h 241"/>
                <a:gd name="T68" fmla="*/ 35 w 240"/>
                <a:gd name="T69" fmla="*/ 0 h 241"/>
                <a:gd name="T70" fmla="*/ 21 w 240"/>
                <a:gd name="T71" fmla="*/ 19 h 241"/>
                <a:gd name="T72" fmla="*/ 21 w 240"/>
                <a:gd name="T73" fmla="*/ 38 h 241"/>
                <a:gd name="T74" fmla="*/ 21 w 240"/>
                <a:gd name="T75" fmla="*/ 46 h 241"/>
                <a:gd name="T76" fmla="*/ 21 w 240"/>
                <a:gd name="T77" fmla="*/ 75 h 241"/>
                <a:gd name="T78" fmla="*/ 27 w 240"/>
                <a:gd name="T79" fmla="*/ 97 h 241"/>
                <a:gd name="T80" fmla="*/ 24 w 240"/>
                <a:gd name="T81" fmla="*/ 129 h 241"/>
                <a:gd name="T82" fmla="*/ 8 w 240"/>
                <a:gd name="T83" fmla="*/ 134 h 241"/>
                <a:gd name="T84" fmla="*/ 5 w 240"/>
                <a:gd name="T85" fmla="*/ 137 h 241"/>
                <a:gd name="T86" fmla="*/ 5 w 240"/>
                <a:gd name="T87" fmla="*/ 145 h 241"/>
                <a:gd name="T88" fmla="*/ 19 w 240"/>
                <a:gd name="T89" fmla="*/ 147 h 241"/>
                <a:gd name="T90" fmla="*/ 35 w 240"/>
                <a:gd name="T91" fmla="*/ 161 h 241"/>
                <a:gd name="T92" fmla="*/ 43 w 240"/>
                <a:gd name="T93" fmla="*/ 169 h 241"/>
                <a:gd name="T94" fmla="*/ 51 w 240"/>
                <a:gd name="T95" fmla="*/ 179 h 241"/>
                <a:gd name="T96" fmla="*/ 56 w 240"/>
                <a:gd name="T97" fmla="*/ 185 h 241"/>
                <a:gd name="T98" fmla="*/ 67 w 240"/>
                <a:gd name="T99" fmla="*/ 187 h 241"/>
                <a:gd name="T100" fmla="*/ 80 w 240"/>
                <a:gd name="T101" fmla="*/ 179 h 241"/>
                <a:gd name="T102" fmla="*/ 91 w 240"/>
                <a:gd name="T103" fmla="*/ 193 h 241"/>
                <a:gd name="T104" fmla="*/ 93 w 240"/>
                <a:gd name="T105" fmla="*/ 206 h 241"/>
                <a:gd name="T106" fmla="*/ 99 w 240"/>
                <a:gd name="T107" fmla="*/ 211 h 241"/>
                <a:gd name="T108" fmla="*/ 107 w 240"/>
                <a:gd name="T109" fmla="*/ 211 h 241"/>
                <a:gd name="T110" fmla="*/ 123 w 240"/>
                <a:gd name="T111" fmla="*/ 217 h 241"/>
                <a:gd name="T112" fmla="*/ 128 w 240"/>
                <a:gd name="T113" fmla="*/ 217 h 241"/>
                <a:gd name="T114" fmla="*/ 136 w 240"/>
                <a:gd name="T115" fmla="*/ 220 h 241"/>
                <a:gd name="T116" fmla="*/ 141 w 240"/>
                <a:gd name="T117" fmla="*/ 230 h 241"/>
                <a:gd name="T118" fmla="*/ 152 w 240"/>
                <a:gd name="T119" fmla="*/ 225 h 241"/>
                <a:gd name="T120" fmla="*/ 171 w 240"/>
                <a:gd name="T121" fmla="*/ 225 h 241"/>
                <a:gd name="T122" fmla="*/ 190 w 240"/>
                <a:gd name="T123" fmla="*/ 228 h 241"/>
                <a:gd name="T124" fmla="*/ 192 w 240"/>
                <a:gd name="T125" fmla="*/ 238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0" h="241" extrusionOk="0">
                  <a:moveTo>
                    <a:pt x="198" y="241"/>
                  </a:moveTo>
                  <a:lnTo>
                    <a:pt x="198" y="238"/>
                  </a:lnTo>
                  <a:lnTo>
                    <a:pt x="200" y="238"/>
                  </a:lnTo>
                  <a:lnTo>
                    <a:pt x="200" y="236"/>
                  </a:lnTo>
                  <a:lnTo>
                    <a:pt x="203" y="236"/>
                  </a:lnTo>
                  <a:lnTo>
                    <a:pt x="206" y="236"/>
                  </a:lnTo>
                  <a:lnTo>
                    <a:pt x="206" y="236"/>
                  </a:lnTo>
                  <a:lnTo>
                    <a:pt x="208" y="236"/>
                  </a:lnTo>
                  <a:lnTo>
                    <a:pt x="211" y="233"/>
                  </a:lnTo>
                  <a:lnTo>
                    <a:pt x="214" y="236"/>
                  </a:lnTo>
                  <a:lnTo>
                    <a:pt x="216" y="230"/>
                  </a:lnTo>
                  <a:lnTo>
                    <a:pt x="214" y="228"/>
                  </a:lnTo>
                  <a:lnTo>
                    <a:pt x="216" y="222"/>
                  </a:lnTo>
                  <a:lnTo>
                    <a:pt x="219" y="222"/>
                  </a:lnTo>
                  <a:lnTo>
                    <a:pt x="219" y="220"/>
                  </a:lnTo>
                  <a:lnTo>
                    <a:pt x="219" y="217"/>
                  </a:lnTo>
                  <a:lnTo>
                    <a:pt x="222" y="214"/>
                  </a:lnTo>
                  <a:lnTo>
                    <a:pt x="222" y="211"/>
                  </a:lnTo>
                  <a:lnTo>
                    <a:pt x="224" y="209"/>
                  </a:lnTo>
                  <a:lnTo>
                    <a:pt x="227" y="206"/>
                  </a:lnTo>
                  <a:lnTo>
                    <a:pt x="230" y="206"/>
                  </a:lnTo>
                  <a:lnTo>
                    <a:pt x="232" y="201"/>
                  </a:lnTo>
                  <a:lnTo>
                    <a:pt x="230" y="198"/>
                  </a:lnTo>
                  <a:lnTo>
                    <a:pt x="230" y="195"/>
                  </a:lnTo>
                  <a:lnTo>
                    <a:pt x="230" y="195"/>
                  </a:lnTo>
                  <a:lnTo>
                    <a:pt x="230" y="193"/>
                  </a:lnTo>
                  <a:lnTo>
                    <a:pt x="232" y="193"/>
                  </a:lnTo>
                  <a:lnTo>
                    <a:pt x="235" y="193"/>
                  </a:lnTo>
                  <a:lnTo>
                    <a:pt x="238" y="190"/>
                  </a:lnTo>
                  <a:lnTo>
                    <a:pt x="235" y="190"/>
                  </a:lnTo>
                  <a:lnTo>
                    <a:pt x="240" y="182"/>
                  </a:lnTo>
                  <a:lnTo>
                    <a:pt x="235" y="179"/>
                  </a:lnTo>
                  <a:lnTo>
                    <a:pt x="235" y="179"/>
                  </a:lnTo>
                  <a:lnTo>
                    <a:pt x="235" y="177"/>
                  </a:lnTo>
                  <a:lnTo>
                    <a:pt x="235" y="174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69"/>
                  </a:lnTo>
                  <a:lnTo>
                    <a:pt x="235" y="169"/>
                  </a:lnTo>
                  <a:lnTo>
                    <a:pt x="235" y="169"/>
                  </a:lnTo>
                  <a:lnTo>
                    <a:pt x="235" y="166"/>
                  </a:lnTo>
                  <a:lnTo>
                    <a:pt x="232" y="166"/>
                  </a:lnTo>
                  <a:lnTo>
                    <a:pt x="230" y="166"/>
                  </a:lnTo>
                  <a:lnTo>
                    <a:pt x="230" y="166"/>
                  </a:lnTo>
                  <a:lnTo>
                    <a:pt x="230" y="166"/>
                  </a:lnTo>
                  <a:lnTo>
                    <a:pt x="230" y="163"/>
                  </a:lnTo>
                  <a:lnTo>
                    <a:pt x="230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7" y="166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4" y="161"/>
                  </a:lnTo>
                  <a:lnTo>
                    <a:pt x="224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5"/>
                  </a:lnTo>
                  <a:lnTo>
                    <a:pt x="227" y="153"/>
                  </a:lnTo>
                  <a:lnTo>
                    <a:pt x="230" y="153"/>
                  </a:lnTo>
                  <a:lnTo>
                    <a:pt x="230" y="150"/>
                  </a:lnTo>
                  <a:lnTo>
                    <a:pt x="230" y="150"/>
                  </a:lnTo>
                  <a:lnTo>
                    <a:pt x="232" y="150"/>
                  </a:lnTo>
                  <a:lnTo>
                    <a:pt x="232" y="147"/>
                  </a:lnTo>
                  <a:lnTo>
                    <a:pt x="230" y="145"/>
                  </a:lnTo>
                  <a:lnTo>
                    <a:pt x="230" y="145"/>
                  </a:lnTo>
                  <a:lnTo>
                    <a:pt x="230" y="142"/>
                  </a:lnTo>
                  <a:lnTo>
                    <a:pt x="230" y="139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30" y="134"/>
                  </a:lnTo>
                  <a:lnTo>
                    <a:pt x="230" y="134"/>
                  </a:lnTo>
                  <a:lnTo>
                    <a:pt x="227" y="134"/>
                  </a:lnTo>
                  <a:lnTo>
                    <a:pt x="227" y="131"/>
                  </a:lnTo>
                  <a:lnTo>
                    <a:pt x="230" y="131"/>
                  </a:lnTo>
                  <a:lnTo>
                    <a:pt x="230" y="131"/>
                  </a:lnTo>
                  <a:lnTo>
                    <a:pt x="227" y="129"/>
                  </a:lnTo>
                  <a:lnTo>
                    <a:pt x="224" y="126"/>
                  </a:lnTo>
                  <a:lnTo>
                    <a:pt x="227" y="126"/>
                  </a:lnTo>
                  <a:lnTo>
                    <a:pt x="227" y="123"/>
                  </a:lnTo>
                  <a:lnTo>
                    <a:pt x="230" y="121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2" y="118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3"/>
                  </a:lnTo>
                  <a:lnTo>
                    <a:pt x="230" y="110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07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7" y="105"/>
                  </a:lnTo>
                  <a:lnTo>
                    <a:pt x="224" y="105"/>
                  </a:lnTo>
                  <a:lnTo>
                    <a:pt x="224" y="105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2" y="102"/>
                  </a:lnTo>
                  <a:lnTo>
                    <a:pt x="219" y="105"/>
                  </a:lnTo>
                  <a:lnTo>
                    <a:pt x="219" y="105"/>
                  </a:lnTo>
                  <a:lnTo>
                    <a:pt x="216" y="102"/>
                  </a:lnTo>
                  <a:lnTo>
                    <a:pt x="216" y="102"/>
                  </a:lnTo>
                  <a:lnTo>
                    <a:pt x="216" y="99"/>
                  </a:lnTo>
                  <a:lnTo>
                    <a:pt x="216" y="102"/>
                  </a:lnTo>
                  <a:lnTo>
                    <a:pt x="214" y="102"/>
                  </a:lnTo>
                  <a:lnTo>
                    <a:pt x="211" y="102"/>
                  </a:lnTo>
                  <a:lnTo>
                    <a:pt x="211" y="102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3" y="99"/>
                  </a:lnTo>
                  <a:lnTo>
                    <a:pt x="203" y="99"/>
                  </a:lnTo>
                  <a:lnTo>
                    <a:pt x="203" y="97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200" y="99"/>
                  </a:lnTo>
                  <a:lnTo>
                    <a:pt x="198" y="99"/>
                  </a:lnTo>
                  <a:lnTo>
                    <a:pt x="198" y="97"/>
                  </a:lnTo>
                  <a:lnTo>
                    <a:pt x="192" y="94"/>
                  </a:lnTo>
                  <a:lnTo>
                    <a:pt x="192" y="97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90" y="91"/>
                  </a:lnTo>
                  <a:lnTo>
                    <a:pt x="190" y="89"/>
                  </a:lnTo>
                  <a:lnTo>
                    <a:pt x="190" y="86"/>
                  </a:lnTo>
                  <a:lnTo>
                    <a:pt x="190" y="86"/>
                  </a:lnTo>
                  <a:lnTo>
                    <a:pt x="187" y="83"/>
                  </a:lnTo>
                  <a:lnTo>
                    <a:pt x="187" y="83"/>
                  </a:lnTo>
                  <a:lnTo>
                    <a:pt x="184" y="81"/>
                  </a:lnTo>
                  <a:lnTo>
                    <a:pt x="184" y="83"/>
                  </a:lnTo>
                  <a:lnTo>
                    <a:pt x="179" y="81"/>
                  </a:lnTo>
                  <a:lnTo>
                    <a:pt x="179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4" y="78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1" y="73"/>
                  </a:lnTo>
                  <a:lnTo>
                    <a:pt x="168" y="75"/>
                  </a:lnTo>
                  <a:lnTo>
                    <a:pt x="163" y="73"/>
                  </a:lnTo>
                  <a:lnTo>
                    <a:pt x="163" y="75"/>
                  </a:lnTo>
                  <a:lnTo>
                    <a:pt x="160" y="75"/>
                  </a:lnTo>
                  <a:lnTo>
                    <a:pt x="160" y="73"/>
                  </a:lnTo>
                  <a:lnTo>
                    <a:pt x="157" y="73"/>
                  </a:lnTo>
                  <a:lnTo>
                    <a:pt x="157" y="73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2" y="78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52" y="81"/>
                  </a:lnTo>
                  <a:lnTo>
                    <a:pt x="149" y="81"/>
                  </a:lnTo>
                  <a:lnTo>
                    <a:pt x="149" y="83"/>
                  </a:lnTo>
                  <a:lnTo>
                    <a:pt x="149" y="83"/>
                  </a:lnTo>
                  <a:lnTo>
                    <a:pt x="149" y="86"/>
                  </a:lnTo>
                  <a:lnTo>
                    <a:pt x="149" y="89"/>
                  </a:lnTo>
                  <a:lnTo>
                    <a:pt x="149" y="89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47" y="91"/>
                  </a:lnTo>
                  <a:lnTo>
                    <a:pt x="147" y="89"/>
                  </a:lnTo>
                  <a:lnTo>
                    <a:pt x="144" y="89"/>
                  </a:lnTo>
                  <a:lnTo>
                    <a:pt x="144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9"/>
                  </a:lnTo>
                  <a:lnTo>
                    <a:pt x="141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6" y="83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1" y="81"/>
                  </a:lnTo>
                  <a:lnTo>
                    <a:pt x="131" y="78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0"/>
                  </a:lnTo>
                  <a:lnTo>
                    <a:pt x="123" y="70"/>
                  </a:lnTo>
                  <a:lnTo>
                    <a:pt x="123" y="67"/>
                  </a:lnTo>
                  <a:lnTo>
                    <a:pt x="120" y="67"/>
                  </a:lnTo>
                  <a:lnTo>
                    <a:pt x="117" y="65"/>
                  </a:lnTo>
                  <a:lnTo>
                    <a:pt x="117" y="59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5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20" y="57"/>
                  </a:lnTo>
                  <a:lnTo>
                    <a:pt x="120" y="54"/>
                  </a:lnTo>
                  <a:lnTo>
                    <a:pt x="123" y="51"/>
                  </a:lnTo>
                  <a:lnTo>
                    <a:pt x="120" y="46"/>
                  </a:lnTo>
                  <a:lnTo>
                    <a:pt x="117" y="43"/>
                  </a:lnTo>
                  <a:lnTo>
                    <a:pt x="117" y="40"/>
                  </a:lnTo>
                  <a:lnTo>
                    <a:pt x="117" y="38"/>
                  </a:lnTo>
                  <a:lnTo>
                    <a:pt x="115" y="38"/>
                  </a:lnTo>
                  <a:lnTo>
                    <a:pt x="112" y="35"/>
                  </a:lnTo>
                  <a:lnTo>
                    <a:pt x="112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88" y="19"/>
                  </a:lnTo>
                  <a:lnTo>
                    <a:pt x="88" y="22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32"/>
                  </a:lnTo>
                  <a:lnTo>
                    <a:pt x="83" y="32"/>
                  </a:lnTo>
                  <a:lnTo>
                    <a:pt x="83" y="30"/>
                  </a:lnTo>
                  <a:lnTo>
                    <a:pt x="83" y="30"/>
                  </a:lnTo>
                  <a:lnTo>
                    <a:pt x="83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0"/>
                  </a:lnTo>
                  <a:lnTo>
                    <a:pt x="77" y="30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72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4" y="19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1" y="22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9"/>
                  </a:lnTo>
                  <a:lnTo>
                    <a:pt x="53" y="19"/>
                  </a:lnTo>
                  <a:lnTo>
                    <a:pt x="51" y="19"/>
                  </a:lnTo>
                  <a:lnTo>
                    <a:pt x="51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4"/>
                  </a:lnTo>
                  <a:lnTo>
                    <a:pt x="59" y="14"/>
                  </a:lnTo>
                  <a:lnTo>
                    <a:pt x="56" y="14"/>
                  </a:lnTo>
                  <a:lnTo>
                    <a:pt x="53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6"/>
                  </a:lnTo>
                  <a:lnTo>
                    <a:pt x="51" y="19"/>
                  </a:lnTo>
                  <a:lnTo>
                    <a:pt x="51" y="22"/>
                  </a:lnTo>
                  <a:lnTo>
                    <a:pt x="48" y="19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5" y="14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8"/>
                  </a:lnTo>
                  <a:lnTo>
                    <a:pt x="43" y="8"/>
                  </a:lnTo>
                  <a:lnTo>
                    <a:pt x="43" y="6"/>
                  </a:lnTo>
                  <a:lnTo>
                    <a:pt x="48" y="6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7" y="3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2" y="3"/>
                  </a:lnTo>
                  <a:lnTo>
                    <a:pt x="32" y="6"/>
                  </a:lnTo>
                  <a:lnTo>
                    <a:pt x="29" y="3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7" y="14"/>
                  </a:lnTo>
                  <a:lnTo>
                    <a:pt x="24" y="11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19" y="24"/>
                  </a:lnTo>
                  <a:lnTo>
                    <a:pt x="21" y="30"/>
                  </a:lnTo>
                  <a:lnTo>
                    <a:pt x="24" y="30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9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9" y="40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1" y="46"/>
                  </a:lnTo>
                  <a:lnTo>
                    <a:pt x="24" y="48"/>
                  </a:lnTo>
                  <a:lnTo>
                    <a:pt x="21" y="51"/>
                  </a:lnTo>
                  <a:lnTo>
                    <a:pt x="21" y="65"/>
                  </a:lnTo>
                  <a:lnTo>
                    <a:pt x="19" y="65"/>
                  </a:lnTo>
                  <a:lnTo>
                    <a:pt x="16" y="65"/>
                  </a:lnTo>
                  <a:lnTo>
                    <a:pt x="19" y="67"/>
                  </a:lnTo>
                  <a:lnTo>
                    <a:pt x="19" y="70"/>
                  </a:lnTo>
                  <a:lnTo>
                    <a:pt x="21" y="70"/>
                  </a:lnTo>
                  <a:lnTo>
                    <a:pt x="21" y="75"/>
                  </a:lnTo>
                  <a:lnTo>
                    <a:pt x="21" y="78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1" y="89"/>
                  </a:lnTo>
                  <a:lnTo>
                    <a:pt x="24" y="91"/>
                  </a:lnTo>
                  <a:lnTo>
                    <a:pt x="27" y="94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105"/>
                  </a:lnTo>
                  <a:lnTo>
                    <a:pt x="27" y="107"/>
                  </a:lnTo>
                  <a:lnTo>
                    <a:pt x="27" y="110"/>
                  </a:lnTo>
                  <a:lnTo>
                    <a:pt x="27" y="118"/>
                  </a:lnTo>
                  <a:lnTo>
                    <a:pt x="27" y="121"/>
                  </a:lnTo>
                  <a:lnTo>
                    <a:pt x="27" y="126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1" y="129"/>
                  </a:lnTo>
                  <a:lnTo>
                    <a:pt x="16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8" y="137"/>
                  </a:lnTo>
                  <a:lnTo>
                    <a:pt x="8" y="134"/>
                  </a:lnTo>
                  <a:lnTo>
                    <a:pt x="5" y="134"/>
                  </a:lnTo>
                  <a:lnTo>
                    <a:pt x="5" y="137"/>
                  </a:lnTo>
                  <a:lnTo>
                    <a:pt x="5" y="139"/>
                  </a:lnTo>
                  <a:lnTo>
                    <a:pt x="5" y="142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0" y="142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5" y="142"/>
                  </a:lnTo>
                  <a:lnTo>
                    <a:pt x="5" y="145"/>
                  </a:lnTo>
                  <a:lnTo>
                    <a:pt x="8" y="145"/>
                  </a:lnTo>
                  <a:lnTo>
                    <a:pt x="11" y="145"/>
                  </a:lnTo>
                  <a:lnTo>
                    <a:pt x="11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9" y="145"/>
                  </a:lnTo>
                  <a:lnTo>
                    <a:pt x="19" y="147"/>
                  </a:lnTo>
                  <a:lnTo>
                    <a:pt x="19" y="147"/>
                  </a:lnTo>
                  <a:lnTo>
                    <a:pt x="16" y="155"/>
                  </a:lnTo>
                  <a:lnTo>
                    <a:pt x="19" y="153"/>
                  </a:lnTo>
                  <a:lnTo>
                    <a:pt x="21" y="155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32" y="158"/>
                  </a:lnTo>
                  <a:lnTo>
                    <a:pt x="32" y="161"/>
                  </a:lnTo>
                  <a:lnTo>
                    <a:pt x="35" y="161"/>
                  </a:lnTo>
                  <a:lnTo>
                    <a:pt x="35" y="161"/>
                  </a:lnTo>
                  <a:lnTo>
                    <a:pt x="37" y="161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40" y="166"/>
                  </a:lnTo>
                  <a:lnTo>
                    <a:pt x="40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4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3" y="185"/>
                  </a:lnTo>
                  <a:lnTo>
                    <a:pt x="53" y="185"/>
                  </a:lnTo>
                  <a:lnTo>
                    <a:pt x="53" y="182"/>
                  </a:lnTo>
                  <a:lnTo>
                    <a:pt x="56" y="182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59" y="187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90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75" y="187"/>
                  </a:lnTo>
                  <a:lnTo>
                    <a:pt x="75" y="187"/>
                  </a:lnTo>
                  <a:lnTo>
                    <a:pt x="77" y="187"/>
                  </a:lnTo>
                  <a:lnTo>
                    <a:pt x="77" y="185"/>
                  </a:lnTo>
                  <a:lnTo>
                    <a:pt x="77" y="182"/>
                  </a:lnTo>
                  <a:lnTo>
                    <a:pt x="77" y="182"/>
                  </a:lnTo>
                  <a:lnTo>
                    <a:pt x="80" y="179"/>
                  </a:lnTo>
                  <a:lnTo>
                    <a:pt x="83" y="179"/>
                  </a:lnTo>
                  <a:lnTo>
                    <a:pt x="83" y="182"/>
                  </a:lnTo>
                  <a:lnTo>
                    <a:pt x="85" y="185"/>
                  </a:lnTo>
                  <a:lnTo>
                    <a:pt x="83" y="185"/>
                  </a:lnTo>
                  <a:lnTo>
                    <a:pt x="85" y="187"/>
                  </a:lnTo>
                  <a:lnTo>
                    <a:pt x="85" y="190"/>
                  </a:lnTo>
                  <a:lnTo>
                    <a:pt x="88" y="190"/>
                  </a:lnTo>
                  <a:lnTo>
                    <a:pt x="91" y="190"/>
                  </a:lnTo>
                  <a:lnTo>
                    <a:pt x="91" y="193"/>
                  </a:lnTo>
                  <a:lnTo>
                    <a:pt x="91" y="193"/>
                  </a:lnTo>
                  <a:lnTo>
                    <a:pt x="88" y="193"/>
                  </a:lnTo>
                  <a:lnTo>
                    <a:pt x="88" y="193"/>
                  </a:lnTo>
                  <a:lnTo>
                    <a:pt x="91" y="195"/>
                  </a:lnTo>
                  <a:lnTo>
                    <a:pt x="93" y="195"/>
                  </a:lnTo>
                  <a:lnTo>
                    <a:pt x="93" y="198"/>
                  </a:lnTo>
                  <a:lnTo>
                    <a:pt x="93" y="198"/>
                  </a:lnTo>
                  <a:lnTo>
                    <a:pt x="91" y="203"/>
                  </a:lnTo>
                  <a:lnTo>
                    <a:pt x="93" y="206"/>
                  </a:lnTo>
                  <a:lnTo>
                    <a:pt x="93" y="203"/>
                  </a:lnTo>
                  <a:lnTo>
                    <a:pt x="96" y="206"/>
                  </a:lnTo>
                  <a:lnTo>
                    <a:pt x="93" y="209"/>
                  </a:lnTo>
                  <a:lnTo>
                    <a:pt x="93" y="209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6" y="211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99" y="209"/>
                  </a:lnTo>
                  <a:lnTo>
                    <a:pt x="99" y="209"/>
                  </a:lnTo>
                  <a:lnTo>
                    <a:pt x="101" y="209"/>
                  </a:lnTo>
                  <a:lnTo>
                    <a:pt x="101" y="206"/>
                  </a:lnTo>
                  <a:lnTo>
                    <a:pt x="107" y="206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9" y="211"/>
                  </a:lnTo>
                  <a:lnTo>
                    <a:pt x="109" y="214"/>
                  </a:lnTo>
                  <a:lnTo>
                    <a:pt x="112" y="214"/>
                  </a:lnTo>
                  <a:lnTo>
                    <a:pt x="115" y="214"/>
                  </a:lnTo>
                  <a:lnTo>
                    <a:pt x="115" y="214"/>
                  </a:lnTo>
                  <a:lnTo>
                    <a:pt x="117" y="214"/>
                  </a:lnTo>
                  <a:lnTo>
                    <a:pt x="117" y="217"/>
                  </a:lnTo>
                  <a:lnTo>
                    <a:pt x="120" y="214"/>
                  </a:lnTo>
                  <a:lnTo>
                    <a:pt x="123" y="217"/>
                  </a:lnTo>
                  <a:lnTo>
                    <a:pt x="123" y="217"/>
                  </a:lnTo>
                  <a:lnTo>
                    <a:pt x="125" y="217"/>
                  </a:lnTo>
                  <a:lnTo>
                    <a:pt x="125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28" y="217"/>
                  </a:lnTo>
                  <a:lnTo>
                    <a:pt x="131" y="217"/>
                  </a:lnTo>
                  <a:lnTo>
                    <a:pt x="131" y="214"/>
                  </a:lnTo>
                  <a:lnTo>
                    <a:pt x="131" y="217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3" y="217"/>
                  </a:lnTo>
                  <a:lnTo>
                    <a:pt x="133" y="217"/>
                  </a:lnTo>
                  <a:lnTo>
                    <a:pt x="136" y="220"/>
                  </a:lnTo>
                  <a:lnTo>
                    <a:pt x="136" y="220"/>
                  </a:lnTo>
                  <a:lnTo>
                    <a:pt x="136" y="220"/>
                  </a:lnTo>
                  <a:lnTo>
                    <a:pt x="133" y="222"/>
                  </a:lnTo>
                  <a:lnTo>
                    <a:pt x="133" y="222"/>
                  </a:lnTo>
                  <a:lnTo>
                    <a:pt x="136" y="222"/>
                  </a:lnTo>
                  <a:lnTo>
                    <a:pt x="136" y="225"/>
                  </a:lnTo>
                  <a:lnTo>
                    <a:pt x="141" y="228"/>
                  </a:lnTo>
                  <a:lnTo>
                    <a:pt x="141" y="228"/>
                  </a:lnTo>
                  <a:lnTo>
                    <a:pt x="141" y="230"/>
                  </a:lnTo>
                  <a:lnTo>
                    <a:pt x="141" y="230"/>
                  </a:lnTo>
                  <a:lnTo>
                    <a:pt x="144" y="233"/>
                  </a:lnTo>
                  <a:lnTo>
                    <a:pt x="144" y="233"/>
                  </a:lnTo>
                  <a:lnTo>
                    <a:pt x="147" y="233"/>
                  </a:lnTo>
                  <a:lnTo>
                    <a:pt x="147" y="230"/>
                  </a:lnTo>
                  <a:lnTo>
                    <a:pt x="149" y="230"/>
                  </a:lnTo>
                  <a:lnTo>
                    <a:pt x="149" y="230"/>
                  </a:lnTo>
                  <a:lnTo>
                    <a:pt x="149" y="230"/>
                  </a:lnTo>
                  <a:lnTo>
                    <a:pt x="149" y="228"/>
                  </a:lnTo>
                  <a:lnTo>
                    <a:pt x="152" y="225"/>
                  </a:lnTo>
                  <a:lnTo>
                    <a:pt x="157" y="228"/>
                  </a:lnTo>
                  <a:lnTo>
                    <a:pt x="157" y="225"/>
                  </a:lnTo>
                  <a:lnTo>
                    <a:pt x="160" y="228"/>
                  </a:lnTo>
                  <a:lnTo>
                    <a:pt x="163" y="225"/>
                  </a:lnTo>
                  <a:lnTo>
                    <a:pt x="166" y="222"/>
                  </a:lnTo>
                  <a:lnTo>
                    <a:pt x="166" y="225"/>
                  </a:lnTo>
                  <a:lnTo>
                    <a:pt x="168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2"/>
                  </a:lnTo>
                  <a:lnTo>
                    <a:pt x="174" y="222"/>
                  </a:lnTo>
                  <a:lnTo>
                    <a:pt x="176" y="222"/>
                  </a:lnTo>
                  <a:lnTo>
                    <a:pt x="179" y="222"/>
                  </a:lnTo>
                  <a:lnTo>
                    <a:pt x="182" y="225"/>
                  </a:lnTo>
                  <a:lnTo>
                    <a:pt x="182" y="225"/>
                  </a:lnTo>
                  <a:lnTo>
                    <a:pt x="184" y="225"/>
                  </a:lnTo>
                  <a:lnTo>
                    <a:pt x="187" y="228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2" y="225"/>
                  </a:lnTo>
                  <a:lnTo>
                    <a:pt x="192" y="228"/>
                  </a:lnTo>
                  <a:lnTo>
                    <a:pt x="192" y="228"/>
                  </a:lnTo>
                  <a:lnTo>
                    <a:pt x="190" y="230"/>
                  </a:lnTo>
                  <a:lnTo>
                    <a:pt x="190" y="233"/>
                  </a:lnTo>
                  <a:lnTo>
                    <a:pt x="192" y="233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2" y="238"/>
                  </a:lnTo>
                  <a:lnTo>
                    <a:pt x="195" y="241"/>
                  </a:lnTo>
                  <a:lnTo>
                    <a:pt x="198" y="24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8" name="Freeform 8936">
              <a:extLst>
                <a:ext uri="{FF2B5EF4-FFF2-40B4-BE49-F238E27FC236}">
                  <a16:creationId xmlns:a16="http://schemas.microsoft.com/office/drawing/2014/main" id="{26BE484F-E1BE-1F4B-8CB0-D50FD421602E}"/>
                </a:ext>
              </a:extLst>
            </p:cNvPr>
            <p:cNvSpPr/>
            <p:nvPr/>
          </p:nvSpPr>
          <p:spPr bwMode="auto">
            <a:xfrm>
              <a:off x="1632743" y="4095751"/>
              <a:ext cx="284163" cy="355599"/>
            </a:xfrm>
            <a:custGeom>
              <a:avLst/>
              <a:gdLst>
                <a:gd name="T0" fmla="*/ 152 w 179"/>
                <a:gd name="T1" fmla="*/ 163 h 224"/>
                <a:gd name="T2" fmla="*/ 155 w 179"/>
                <a:gd name="T3" fmla="*/ 160 h 224"/>
                <a:gd name="T4" fmla="*/ 168 w 179"/>
                <a:gd name="T5" fmla="*/ 158 h 224"/>
                <a:gd name="T6" fmla="*/ 171 w 179"/>
                <a:gd name="T7" fmla="*/ 128 h 224"/>
                <a:gd name="T8" fmla="*/ 165 w 179"/>
                <a:gd name="T9" fmla="*/ 110 h 224"/>
                <a:gd name="T10" fmla="*/ 165 w 179"/>
                <a:gd name="T11" fmla="*/ 94 h 224"/>
                <a:gd name="T12" fmla="*/ 160 w 179"/>
                <a:gd name="T13" fmla="*/ 69 h 224"/>
                <a:gd name="T14" fmla="*/ 165 w 179"/>
                <a:gd name="T15" fmla="*/ 59 h 224"/>
                <a:gd name="T16" fmla="*/ 171 w 179"/>
                <a:gd name="T17" fmla="*/ 37 h 224"/>
                <a:gd name="T18" fmla="*/ 173 w 179"/>
                <a:gd name="T19" fmla="*/ 27 h 224"/>
                <a:gd name="T20" fmla="*/ 163 w 179"/>
                <a:gd name="T21" fmla="*/ 21 h 224"/>
                <a:gd name="T22" fmla="*/ 155 w 179"/>
                <a:gd name="T23" fmla="*/ 16 h 224"/>
                <a:gd name="T24" fmla="*/ 147 w 179"/>
                <a:gd name="T25" fmla="*/ 11 h 224"/>
                <a:gd name="T26" fmla="*/ 125 w 179"/>
                <a:gd name="T27" fmla="*/ 27 h 224"/>
                <a:gd name="T28" fmla="*/ 115 w 179"/>
                <a:gd name="T29" fmla="*/ 27 h 224"/>
                <a:gd name="T30" fmla="*/ 109 w 179"/>
                <a:gd name="T31" fmla="*/ 19 h 224"/>
                <a:gd name="T32" fmla="*/ 101 w 179"/>
                <a:gd name="T33" fmla="*/ 11 h 224"/>
                <a:gd name="T34" fmla="*/ 96 w 179"/>
                <a:gd name="T35" fmla="*/ 3 h 224"/>
                <a:gd name="T36" fmla="*/ 88 w 179"/>
                <a:gd name="T37" fmla="*/ 5 h 224"/>
                <a:gd name="T38" fmla="*/ 85 w 179"/>
                <a:gd name="T39" fmla="*/ 0 h 224"/>
                <a:gd name="T40" fmla="*/ 75 w 179"/>
                <a:gd name="T41" fmla="*/ 8 h 224"/>
                <a:gd name="T42" fmla="*/ 66 w 179"/>
                <a:gd name="T43" fmla="*/ 5 h 224"/>
                <a:gd name="T44" fmla="*/ 58 w 179"/>
                <a:gd name="T45" fmla="*/ 5 h 224"/>
                <a:gd name="T46" fmla="*/ 50 w 179"/>
                <a:gd name="T47" fmla="*/ 13 h 224"/>
                <a:gd name="T48" fmla="*/ 45 w 179"/>
                <a:gd name="T49" fmla="*/ 24 h 224"/>
                <a:gd name="T50" fmla="*/ 37 w 179"/>
                <a:gd name="T51" fmla="*/ 32 h 224"/>
                <a:gd name="T52" fmla="*/ 32 w 179"/>
                <a:gd name="T53" fmla="*/ 37 h 224"/>
                <a:gd name="T54" fmla="*/ 26 w 179"/>
                <a:gd name="T55" fmla="*/ 40 h 224"/>
                <a:gd name="T56" fmla="*/ 24 w 179"/>
                <a:gd name="T57" fmla="*/ 37 h 224"/>
                <a:gd name="T58" fmla="*/ 18 w 179"/>
                <a:gd name="T59" fmla="*/ 43 h 224"/>
                <a:gd name="T60" fmla="*/ 13 w 179"/>
                <a:gd name="T61" fmla="*/ 48 h 224"/>
                <a:gd name="T62" fmla="*/ 16 w 179"/>
                <a:gd name="T63" fmla="*/ 64 h 224"/>
                <a:gd name="T64" fmla="*/ 21 w 179"/>
                <a:gd name="T65" fmla="*/ 77 h 224"/>
                <a:gd name="T66" fmla="*/ 21 w 179"/>
                <a:gd name="T67" fmla="*/ 91 h 224"/>
                <a:gd name="T68" fmla="*/ 26 w 179"/>
                <a:gd name="T69" fmla="*/ 102 h 224"/>
                <a:gd name="T70" fmla="*/ 26 w 179"/>
                <a:gd name="T71" fmla="*/ 104 h 224"/>
                <a:gd name="T72" fmla="*/ 21 w 179"/>
                <a:gd name="T73" fmla="*/ 110 h 224"/>
                <a:gd name="T74" fmla="*/ 13 w 179"/>
                <a:gd name="T75" fmla="*/ 115 h 224"/>
                <a:gd name="T76" fmla="*/ 2 w 179"/>
                <a:gd name="T77" fmla="*/ 120 h 224"/>
                <a:gd name="T78" fmla="*/ 8 w 179"/>
                <a:gd name="T79" fmla="*/ 131 h 224"/>
                <a:gd name="T80" fmla="*/ 16 w 179"/>
                <a:gd name="T81" fmla="*/ 144 h 224"/>
                <a:gd name="T82" fmla="*/ 10 w 179"/>
                <a:gd name="T83" fmla="*/ 155 h 224"/>
                <a:gd name="T84" fmla="*/ 18 w 179"/>
                <a:gd name="T85" fmla="*/ 160 h 224"/>
                <a:gd name="T86" fmla="*/ 26 w 179"/>
                <a:gd name="T87" fmla="*/ 163 h 224"/>
                <a:gd name="T88" fmla="*/ 37 w 179"/>
                <a:gd name="T89" fmla="*/ 168 h 224"/>
                <a:gd name="T90" fmla="*/ 42 w 179"/>
                <a:gd name="T91" fmla="*/ 174 h 224"/>
                <a:gd name="T92" fmla="*/ 53 w 179"/>
                <a:gd name="T93" fmla="*/ 184 h 224"/>
                <a:gd name="T94" fmla="*/ 53 w 179"/>
                <a:gd name="T95" fmla="*/ 192 h 224"/>
                <a:gd name="T96" fmla="*/ 64 w 179"/>
                <a:gd name="T97" fmla="*/ 195 h 224"/>
                <a:gd name="T98" fmla="*/ 69 w 179"/>
                <a:gd name="T99" fmla="*/ 206 h 224"/>
                <a:gd name="T100" fmla="*/ 69 w 179"/>
                <a:gd name="T101" fmla="*/ 214 h 224"/>
                <a:gd name="T102" fmla="*/ 80 w 179"/>
                <a:gd name="T103" fmla="*/ 222 h 224"/>
                <a:gd name="T104" fmla="*/ 91 w 179"/>
                <a:gd name="T105" fmla="*/ 222 h 224"/>
                <a:gd name="T106" fmla="*/ 96 w 179"/>
                <a:gd name="T107" fmla="*/ 219 h 224"/>
                <a:gd name="T108" fmla="*/ 104 w 179"/>
                <a:gd name="T109" fmla="*/ 211 h 224"/>
                <a:gd name="T110" fmla="*/ 112 w 179"/>
                <a:gd name="T111" fmla="*/ 206 h 224"/>
                <a:gd name="T112" fmla="*/ 115 w 179"/>
                <a:gd name="T113" fmla="*/ 195 h 224"/>
                <a:gd name="T114" fmla="*/ 117 w 179"/>
                <a:gd name="T115" fmla="*/ 184 h 224"/>
                <a:gd name="T116" fmla="*/ 128 w 179"/>
                <a:gd name="T117" fmla="*/ 179 h 224"/>
                <a:gd name="T118" fmla="*/ 141 w 179"/>
                <a:gd name="T119" fmla="*/ 17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9" h="224" extrusionOk="0">
                  <a:moveTo>
                    <a:pt x="144" y="171"/>
                  </a:moveTo>
                  <a:lnTo>
                    <a:pt x="147" y="171"/>
                  </a:lnTo>
                  <a:lnTo>
                    <a:pt x="147" y="171"/>
                  </a:lnTo>
                  <a:lnTo>
                    <a:pt x="149" y="171"/>
                  </a:lnTo>
                  <a:lnTo>
                    <a:pt x="149" y="168"/>
                  </a:lnTo>
                  <a:lnTo>
                    <a:pt x="149" y="166"/>
                  </a:lnTo>
                  <a:lnTo>
                    <a:pt x="149" y="163"/>
                  </a:lnTo>
                  <a:lnTo>
                    <a:pt x="152" y="163"/>
                  </a:lnTo>
                  <a:lnTo>
                    <a:pt x="152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3"/>
                  </a:lnTo>
                  <a:lnTo>
                    <a:pt x="152" y="163"/>
                  </a:lnTo>
                  <a:lnTo>
                    <a:pt x="152" y="163"/>
                  </a:lnTo>
                  <a:lnTo>
                    <a:pt x="155" y="160"/>
                  </a:lnTo>
                  <a:lnTo>
                    <a:pt x="155" y="158"/>
                  </a:lnTo>
                  <a:lnTo>
                    <a:pt x="157" y="158"/>
                  </a:lnTo>
                  <a:lnTo>
                    <a:pt x="157" y="158"/>
                  </a:lnTo>
                  <a:lnTo>
                    <a:pt x="160" y="158"/>
                  </a:lnTo>
                  <a:lnTo>
                    <a:pt x="165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71" y="155"/>
                  </a:lnTo>
                  <a:lnTo>
                    <a:pt x="171" y="150"/>
                  </a:lnTo>
                  <a:lnTo>
                    <a:pt x="171" y="147"/>
                  </a:lnTo>
                  <a:lnTo>
                    <a:pt x="171" y="139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6"/>
                  </a:lnTo>
                  <a:lnTo>
                    <a:pt x="173" y="126"/>
                  </a:lnTo>
                  <a:lnTo>
                    <a:pt x="171" y="123"/>
                  </a:lnTo>
                  <a:lnTo>
                    <a:pt x="168" y="120"/>
                  </a:lnTo>
                  <a:lnTo>
                    <a:pt x="165" y="118"/>
                  </a:lnTo>
                  <a:lnTo>
                    <a:pt x="165" y="115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5" y="107"/>
                  </a:lnTo>
                  <a:lnTo>
                    <a:pt x="165" y="104"/>
                  </a:lnTo>
                  <a:lnTo>
                    <a:pt x="165" y="99"/>
                  </a:lnTo>
                  <a:lnTo>
                    <a:pt x="163" y="99"/>
                  </a:lnTo>
                  <a:lnTo>
                    <a:pt x="163" y="96"/>
                  </a:lnTo>
                  <a:lnTo>
                    <a:pt x="160" y="94"/>
                  </a:lnTo>
                  <a:lnTo>
                    <a:pt x="163" y="94"/>
                  </a:lnTo>
                  <a:lnTo>
                    <a:pt x="165" y="94"/>
                  </a:lnTo>
                  <a:lnTo>
                    <a:pt x="165" y="80"/>
                  </a:lnTo>
                  <a:lnTo>
                    <a:pt x="168" y="77"/>
                  </a:lnTo>
                  <a:lnTo>
                    <a:pt x="165" y="75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3" y="69"/>
                  </a:lnTo>
                  <a:lnTo>
                    <a:pt x="160" y="69"/>
                  </a:lnTo>
                  <a:lnTo>
                    <a:pt x="160" y="69"/>
                  </a:lnTo>
                  <a:lnTo>
                    <a:pt x="160" y="67"/>
                  </a:lnTo>
                  <a:lnTo>
                    <a:pt x="163" y="67"/>
                  </a:lnTo>
                  <a:lnTo>
                    <a:pt x="165" y="67"/>
                  </a:lnTo>
                  <a:lnTo>
                    <a:pt x="165" y="67"/>
                  </a:lnTo>
                  <a:lnTo>
                    <a:pt x="168" y="64"/>
                  </a:lnTo>
                  <a:lnTo>
                    <a:pt x="168" y="64"/>
                  </a:lnTo>
                  <a:lnTo>
                    <a:pt x="168" y="59"/>
                  </a:lnTo>
                  <a:lnTo>
                    <a:pt x="165" y="59"/>
                  </a:lnTo>
                  <a:lnTo>
                    <a:pt x="163" y="53"/>
                  </a:lnTo>
                  <a:lnTo>
                    <a:pt x="165" y="53"/>
                  </a:lnTo>
                  <a:lnTo>
                    <a:pt x="163" y="53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8" y="40"/>
                  </a:lnTo>
                  <a:lnTo>
                    <a:pt x="171" y="43"/>
                  </a:lnTo>
                  <a:lnTo>
                    <a:pt x="171" y="37"/>
                  </a:lnTo>
                  <a:lnTo>
                    <a:pt x="171" y="35"/>
                  </a:lnTo>
                  <a:lnTo>
                    <a:pt x="173" y="32"/>
                  </a:lnTo>
                  <a:lnTo>
                    <a:pt x="176" y="35"/>
                  </a:lnTo>
                  <a:lnTo>
                    <a:pt x="176" y="32"/>
                  </a:lnTo>
                  <a:lnTo>
                    <a:pt x="179" y="32"/>
                  </a:lnTo>
                  <a:lnTo>
                    <a:pt x="179" y="29"/>
                  </a:lnTo>
                  <a:lnTo>
                    <a:pt x="176" y="29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4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8" y="21"/>
                  </a:lnTo>
                  <a:lnTo>
                    <a:pt x="165" y="21"/>
                  </a:lnTo>
                  <a:lnTo>
                    <a:pt x="165" y="21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2" y="16"/>
                  </a:lnTo>
                  <a:lnTo>
                    <a:pt x="152" y="13"/>
                  </a:lnTo>
                  <a:lnTo>
                    <a:pt x="152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7" y="11"/>
                  </a:lnTo>
                  <a:lnTo>
                    <a:pt x="144" y="11"/>
                  </a:lnTo>
                  <a:lnTo>
                    <a:pt x="144" y="8"/>
                  </a:lnTo>
                  <a:lnTo>
                    <a:pt x="141" y="11"/>
                  </a:lnTo>
                  <a:lnTo>
                    <a:pt x="141" y="8"/>
                  </a:lnTo>
                  <a:lnTo>
                    <a:pt x="131" y="24"/>
                  </a:lnTo>
                  <a:lnTo>
                    <a:pt x="128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0" y="27"/>
                  </a:lnTo>
                  <a:lnTo>
                    <a:pt x="117" y="27"/>
                  </a:lnTo>
                  <a:lnTo>
                    <a:pt x="117" y="24"/>
                  </a:lnTo>
                  <a:lnTo>
                    <a:pt x="117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07" y="24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09" y="19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4" y="13"/>
                  </a:lnTo>
                  <a:lnTo>
                    <a:pt x="101" y="13"/>
                  </a:lnTo>
                  <a:lnTo>
                    <a:pt x="99" y="16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1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5"/>
                  </a:lnTo>
                  <a:lnTo>
                    <a:pt x="99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3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1" y="3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3" y="0"/>
                  </a:lnTo>
                  <a:lnTo>
                    <a:pt x="80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69" y="5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6" y="5"/>
                  </a:lnTo>
                  <a:lnTo>
                    <a:pt x="56" y="8"/>
                  </a:lnTo>
                  <a:lnTo>
                    <a:pt x="53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0" y="11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7" y="32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4" y="29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40"/>
                  </a:lnTo>
                  <a:lnTo>
                    <a:pt x="29" y="40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7"/>
                  </a:lnTo>
                  <a:lnTo>
                    <a:pt x="21" y="37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37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13" y="51"/>
                  </a:lnTo>
                  <a:lnTo>
                    <a:pt x="13" y="53"/>
                  </a:lnTo>
                  <a:lnTo>
                    <a:pt x="16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4"/>
                  </a:lnTo>
                  <a:lnTo>
                    <a:pt x="16" y="67"/>
                  </a:lnTo>
                  <a:lnTo>
                    <a:pt x="16" y="69"/>
                  </a:lnTo>
                  <a:lnTo>
                    <a:pt x="18" y="69"/>
                  </a:lnTo>
                  <a:lnTo>
                    <a:pt x="18" y="72"/>
                  </a:lnTo>
                  <a:lnTo>
                    <a:pt x="18" y="75"/>
                  </a:lnTo>
                  <a:lnTo>
                    <a:pt x="21" y="75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6" y="80"/>
                  </a:lnTo>
                  <a:lnTo>
                    <a:pt x="18" y="83"/>
                  </a:lnTo>
                  <a:lnTo>
                    <a:pt x="18" y="86"/>
                  </a:lnTo>
                  <a:lnTo>
                    <a:pt x="24" y="88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4" y="91"/>
                  </a:lnTo>
                  <a:lnTo>
                    <a:pt x="24" y="94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4"/>
                  </a:lnTo>
                  <a:lnTo>
                    <a:pt x="26" y="107"/>
                  </a:lnTo>
                  <a:lnTo>
                    <a:pt x="26" y="112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07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4" y="107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18" y="110"/>
                  </a:lnTo>
                  <a:lnTo>
                    <a:pt x="18" y="112"/>
                  </a:lnTo>
                  <a:lnTo>
                    <a:pt x="16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5" y="118"/>
                  </a:lnTo>
                  <a:lnTo>
                    <a:pt x="5" y="120"/>
                  </a:lnTo>
                  <a:lnTo>
                    <a:pt x="2" y="120"/>
                  </a:lnTo>
                  <a:lnTo>
                    <a:pt x="0" y="123"/>
                  </a:lnTo>
                  <a:lnTo>
                    <a:pt x="2" y="123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5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0" y="134"/>
                  </a:lnTo>
                  <a:lnTo>
                    <a:pt x="10" y="136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6" y="136"/>
                  </a:lnTo>
                  <a:lnTo>
                    <a:pt x="18" y="142"/>
                  </a:lnTo>
                  <a:lnTo>
                    <a:pt x="18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2"/>
                  </a:lnTo>
                  <a:lnTo>
                    <a:pt x="10" y="155"/>
                  </a:lnTo>
                  <a:lnTo>
                    <a:pt x="13" y="155"/>
                  </a:lnTo>
                  <a:lnTo>
                    <a:pt x="13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1" y="160"/>
                  </a:lnTo>
                  <a:lnTo>
                    <a:pt x="21" y="163"/>
                  </a:lnTo>
                  <a:lnTo>
                    <a:pt x="24" y="163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9" y="166"/>
                  </a:lnTo>
                  <a:lnTo>
                    <a:pt x="29" y="163"/>
                  </a:lnTo>
                  <a:lnTo>
                    <a:pt x="26" y="163"/>
                  </a:lnTo>
                  <a:lnTo>
                    <a:pt x="29" y="160"/>
                  </a:lnTo>
                  <a:lnTo>
                    <a:pt x="29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4" y="168"/>
                  </a:lnTo>
                  <a:lnTo>
                    <a:pt x="34" y="166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40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0" y="171"/>
                  </a:lnTo>
                  <a:lnTo>
                    <a:pt x="40" y="174"/>
                  </a:lnTo>
                  <a:lnTo>
                    <a:pt x="42" y="174"/>
                  </a:lnTo>
                  <a:lnTo>
                    <a:pt x="42" y="176"/>
                  </a:lnTo>
                  <a:lnTo>
                    <a:pt x="48" y="182"/>
                  </a:lnTo>
                  <a:lnTo>
                    <a:pt x="45" y="182"/>
                  </a:lnTo>
                  <a:lnTo>
                    <a:pt x="48" y="182"/>
                  </a:lnTo>
                  <a:lnTo>
                    <a:pt x="48" y="184"/>
                  </a:lnTo>
                  <a:lnTo>
                    <a:pt x="50" y="184"/>
                  </a:lnTo>
                  <a:lnTo>
                    <a:pt x="53" y="187"/>
                  </a:lnTo>
                  <a:lnTo>
                    <a:pt x="53" y="184"/>
                  </a:lnTo>
                  <a:lnTo>
                    <a:pt x="56" y="187"/>
                  </a:lnTo>
                  <a:lnTo>
                    <a:pt x="53" y="190"/>
                  </a:lnTo>
                  <a:lnTo>
                    <a:pt x="50" y="187"/>
                  </a:lnTo>
                  <a:lnTo>
                    <a:pt x="50" y="190"/>
                  </a:lnTo>
                  <a:lnTo>
                    <a:pt x="53" y="190"/>
                  </a:lnTo>
                  <a:lnTo>
                    <a:pt x="53" y="192"/>
                  </a:lnTo>
                  <a:lnTo>
                    <a:pt x="53" y="192"/>
                  </a:lnTo>
                  <a:lnTo>
                    <a:pt x="53" y="192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61" y="200"/>
                  </a:lnTo>
                  <a:lnTo>
                    <a:pt x="61" y="200"/>
                  </a:lnTo>
                  <a:lnTo>
                    <a:pt x="64" y="195"/>
                  </a:lnTo>
                  <a:lnTo>
                    <a:pt x="66" y="195"/>
                  </a:lnTo>
                  <a:lnTo>
                    <a:pt x="66" y="198"/>
                  </a:lnTo>
                  <a:lnTo>
                    <a:pt x="66" y="198"/>
                  </a:lnTo>
                  <a:lnTo>
                    <a:pt x="69" y="195"/>
                  </a:lnTo>
                  <a:lnTo>
                    <a:pt x="72" y="198"/>
                  </a:lnTo>
                  <a:lnTo>
                    <a:pt x="72" y="203"/>
                  </a:lnTo>
                  <a:lnTo>
                    <a:pt x="69" y="203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66" y="206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6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69" y="214"/>
                  </a:lnTo>
                  <a:lnTo>
                    <a:pt x="72" y="214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7" y="211"/>
                  </a:lnTo>
                  <a:lnTo>
                    <a:pt x="77" y="214"/>
                  </a:lnTo>
                  <a:lnTo>
                    <a:pt x="77" y="214"/>
                  </a:lnTo>
                  <a:lnTo>
                    <a:pt x="80" y="216"/>
                  </a:lnTo>
                  <a:lnTo>
                    <a:pt x="80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5" y="222"/>
                  </a:lnTo>
                  <a:lnTo>
                    <a:pt x="88" y="224"/>
                  </a:lnTo>
                  <a:lnTo>
                    <a:pt x="88" y="224"/>
                  </a:lnTo>
                  <a:lnTo>
                    <a:pt x="88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1" y="224"/>
                  </a:lnTo>
                  <a:lnTo>
                    <a:pt x="91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6" y="222"/>
                  </a:lnTo>
                  <a:lnTo>
                    <a:pt x="96" y="219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9" y="214"/>
                  </a:lnTo>
                  <a:lnTo>
                    <a:pt x="99" y="211"/>
                  </a:lnTo>
                  <a:lnTo>
                    <a:pt x="101" y="211"/>
                  </a:lnTo>
                  <a:lnTo>
                    <a:pt x="101" y="211"/>
                  </a:lnTo>
                  <a:lnTo>
                    <a:pt x="104" y="211"/>
                  </a:lnTo>
                  <a:lnTo>
                    <a:pt x="104" y="211"/>
                  </a:lnTo>
                  <a:lnTo>
                    <a:pt x="107" y="211"/>
                  </a:lnTo>
                  <a:lnTo>
                    <a:pt x="107" y="211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2" y="203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5" y="200"/>
                  </a:lnTo>
                  <a:lnTo>
                    <a:pt x="115" y="198"/>
                  </a:lnTo>
                  <a:lnTo>
                    <a:pt x="115" y="198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5" y="190"/>
                  </a:lnTo>
                  <a:lnTo>
                    <a:pt x="115" y="187"/>
                  </a:lnTo>
                  <a:lnTo>
                    <a:pt x="117" y="187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20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8" y="179"/>
                  </a:lnTo>
                  <a:lnTo>
                    <a:pt x="131" y="179"/>
                  </a:lnTo>
                  <a:lnTo>
                    <a:pt x="133" y="176"/>
                  </a:lnTo>
                  <a:lnTo>
                    <a:pt x="136" y="174"/>
                  </a:lnTo>
                  <a:lnTo>
                    <a:pt x="139" y="174"/>
                  </a:lnTo>
                  <a:lnTo>
                    <a:pt x="139" y="171"/>
                  </a:lnTo>
                  <a:lnTo>
                    <a:pt x="139" y="168"/>
                  </a:lnTo>
                  <a:lnTo>
                    <a:pt x="141" y="171"/>
                  </a:lnTo>
                  <a:lnTo>
                    <a:pt x="141" y="174"/>
                  </a:lnTo>
                  <a:lnTo>
                    <a:pt x="144" y="174"/>
                  </a:lnTo>
                  <a:lnTo>
                    <a:pt x="144" y="17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19" name="Freeform 8937">
              <a:extLst>
                <a:ext uri="{FF2B5EF4-FFF2-40B4-BE49-F238E27FC236}">
                  <a16:creationId xmlns:a16="http://schemas.microsoft.com/office/drawing/2014/main" id="{74BCF9CD-B5E8-E746-B84B-1A0678EB398E}"/>
                </a:ext>
              </a:extLst>
            </p:cNvPr>
            <p:cNvSpPr/>
            <p:nvPr/>
          </p:nvSpPr>
          <p:spPr bwMode="auto">
            <a:xfrm>
              <a:off x="1861342" y="3590926"/>
              <a:ext cx="322263" cy="368300"/>
            </a:xfrm>
            <a:custGeom>
              <a:avLst/>
              <a:gdLst>
                <a:gd name="T0" fmla="*/ 32 w 203"/>
                <a:gd name="T1" fmla="*/ 8 h 232"/>
                <a:gd name="T2" fmla="*/ 32 w 203"/>
                <a:gd name="T3" fmla="*/ 16 h 232"/>
                <a:gd name="T4" fmla="*/ 40 w 203"/>
                <a:gd name="T5" fmla="*/ 21 h 232"/>
                <a:gd name="T6" fmla="*/ 45 w 203"/>
                <a:gd name="T7" fmla="*/ 24 h 232"/>
                <a:gd name="T8" fmla="*/ 53 w 203"/>
                <a:gd name="T9" fmla="*/ 32 h 232"/>
                <a:gd name="T10" fmla="*/ 61 w 203"/>
                <a:gd name="T11" fmla="*/ 40 h 232"/>
                <a:gd name="T12" fmla="*/ 69 w 203"/>
                <a:gd name="T13" fmla="*/ 35 h 232"/>
                <a:gd name="T14" fmla="*/ 80 w 203"/>
                <a:gd name="T15" fmla="*/ 27 h 232"/>
                <a:gd name="T16" fmla="*/ 91 w 203"/>
                <a:gd name="T17" fmla="*/ 32 h 232"/>
                <a:gd name="T18" fmla="*/ 96 w 203"/>
                <a:gd name="T19" fmla="*/ 35 h 232"/>
                <a:gd name="T20" fmla="*/ 93 w 203"/>
                <a:gd name="T21" fmla="*/ 48 h 232"/>
                <a:gd name="T22" fmla="*/ 88 w 203"/>
                <a:gd name="T23" fmla="*/ 61 h 232"/>
                <a:gd name="T24" fmla="*/ 91 w 203"/>
                <a:gd name="T25" fmla="*/ 72 h 232"/>
                <a:gd name="T26" fmla="*/ 101 w 203"/>
                <a:gd name="T27" fmla="*/ 77 h 232"/>
                <a:gd name="T28" fmla="*/ 115 w 203"/>
                <a:gd name="T29" fmla="*/ 77 h 232"/>
                <a:gd name="T30" fmla="*/ 125 w 203"/>
                <a:gd name="T31" fmla="*/ 80 h 232"/>
                <a:gd name="T32" fmla="*/ 133 w 203"/>
                <a:gd name="T33" fmla="*/ 96 h 232"/>
                <a:gd name="T34" fmla="*/ 144 w 203"/>
                <a:gd name="T35" fmla="*/ 107 h 232"/>
                <a:gd name="T36" fmla="*/ 157 w 203"/>
                <a:gd name="T37" fmla="*/ 115 h 232"/>
                <a:gd name="T38" fmla="*/ 174 w 203"/>
                <a:gd name="T39" fmla="*/ 123 h 232"/>
                <a:gd name="T40" fmla="*/ 171 w 203"/>
                <a:gd name="T41" fmla="*/ 131 h 232"/>
                <a:gd name="T42" fmla="*/ 171 w 203"/>
                <a:gd name="T43" fmla="*/ 142 h 232"/>
                <a:gd name="T44" fmla="*/ 182 w 203"/>
                <a:gd name="T45" fmla="*/ 139 h 232"/>
                <a:gd name="T46" fmla="*/ 192 w 203"/>
                <a:gd name="T47" fmla="*/ 147 h 232"/>
                <a:gd name="T48" fmla="*/ 200 w 203"/>
                <a:gd name="T49" fmla="*/ 155 h 232"/>
                <a:gd name="T50" fmla="*/ 200 w 203"/>
                <a:gd name="T51" fmla="*/ 168 h 232"/>
                <a:gd name="T52" fmla="*/ 195 w 203"/>
                <a:gd name="T53" fmla="*/ 174 h 232"/>
                <a:gd name="T54" fmla="*/ 198 w 203"/>
                <a:gd name="T55" fmla="*/ 179 h 232"/>
                <a:gd name="T56" fmla="*/ 195 w 203"/>
                <a:gd name="T57" fmla="*/ 184 h 232"/>
                <a:gd name="T58" fmla="*/ 184 w 203"/>
                <a:gd name="T59" fmla="*/ 182 h 232"/>
                <a:gd name="T60" fmla="*/ 179 w 203"/>
                <a:gd name="T61" fmla="*/ 192 h 232"/>
                <a:gd name="T62" fmla="*/ 166 w 203"/>
                <a:gd name="T63" fmla="*/ 192 h 232"/>
                <a:gd name="T64" fmla="*/ 157 w 203"/>
                <a:gd name="T65" fmla="*/ 198 h 232"/>
                <a:gd name="T66" fmla="*/ 141 w 203"/>
                <a:gd name="T67" fmla="*/ 198 h 232"/>
                <a:gd name="T68" fmla="*/ 131 w 203"/>
                <a:gd name="T69" fmla="*/ 203 h 232"/>
                <a:gd name="T70" fmla="*/ 125 w 203"/>
                <a:gd name="T71" fmla="*/ 211 h 232"/>
                <a:gd name="T72" fmla="*/ 115 w 203"/>
                <a:gd name="T73" fmla="*/ 219 h 232"/>
                <a:gd name="T74" fmla="*/ 107 w 203"/>
                <a:gd name="T75" fmla="*/ 227 h 232"/>
                <a:gd name="T76" fmla="*/ 93 w 203"/>
                <a:gd name="T77" fmla="*/ 232 h 232"/>
                <a:gd name="T78" fmla="*/ 80 w 203"/>
                <a:gd name="T79" fmla="*/ 222 h 232"/>
                <a:gd name="T80" fmla="*/ 75 w 203"/>
                <a:gd name="T81" fmla="*/ 214 h 232"/>
                <a:gd name="T82" fmla="*/ 64 w 203"/>
                <a:gd name="T83" fmla="*/ 206 h 232"/>
                <a:gd name="T84" fmla="*/ 61 w 203"/>
                <a:gd name="T85" fmla="*/ 203 h 232"/>
                <a:gd name="T86" fmla="*/ 51 w 203"/>
                <a:gd name="T87" fmla="*/ 192 h 232"/>
                <a:gd name="T88" fmla="*/ 43 w 203"/>
                <a:gd name="T89" fmla="*/ 187 h 232"/>
                <a:gd name="T90" fmla="*/ 43 w 203"/>
                <a:gd name="T91" fmla="*/ 176 h 232"/>
                <a:gd name="T92" fmla="*/ 40 w 203"/>
                <a:gd name="T93" fmla="*/ 171 h 232"/>
                <a:gd name="T94" fmla="*/ 37 w 203"/>
                <a:gd name="T95" fmla="*/ 158 h 232"/>
                <a:gd name="T96" fmla="*/ 37 w 203"/>
                <a:gd name="T97" fmla="*/ 147 h 232"/>
                <a:gd name="T98" fmla="*/ 43 w 203"/>
                <a:gd name="T99" fmla="*/ 136 h 232"/>
                <a:gd name="T100" fmla="*/ 45 w 203"/>
                <a:gd name="T101" fmla="*/ 123 h 232"/>
                <a:gd name="T102" fmla="*/ 29 w 203"/>
                <a:gd name="T103" fmla="*/ 110 h 232"/>
                <a:gd name="T104" fmla="*/ 24 w 203"/>
                <a:gd name="T105" fmla="*/ 99 h 232"/>
                <a:gd name="T106" fmla="*/ 13 w 203"/>
                <a:gd name="T107" fmla="*/ 91 h 232"/>
                <a:gd name="T108" fmla="*/ 11 w 203"/>
                <a:gd name="T109" fmla="*/ 75 h 232"/>
                <a:gd name="T110" fmla="*/ 0 w 203"/>
                <a:gd name="T111" fmla="*/ 64 h 232"/>
                <a:gd name="T112" fmla="*/ 5 w 203"/>
                <a:gd name="T113" fmla="*/ 45 h 232"/>
                <a:gd name="T114" fmla="*/ 11 w 203"/>
                <a:gd name="T115" fmla="*/ 32 h 232"/>
                <a:gd name="T116" fmla="*/ 16 w 203"/>
                <a:gd name="T117" fmla="*/ 21 h 232"/>
                <a:gd name="T118" fmla="*/ 24 w 203"/>
                <a:gd name="T119" fmla="*/ 1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3" h="232" extrusionOk="0">
                  <a:moveTo>
                    <a:pt x="27" y="0"/>
                  </a:move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5" y="11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6"/>
                  </a:lnTo>
                  <a:lnTo>
                    <a:pt x="29" y="19"/>
                  </a:lnTo>
                  <a:lnTo>
                    <a:pt x="32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9" y="37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8" y="29"/>
                  </a:lnTo>
                  <a:lnTo>
                    <a:pt x="91" y="29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3" y="32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6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3"/>
                  </a:lnTo>
                  <a:lnTo>
                    <a:pt x="99" y="45"/>
                  </a:lnTo>
                  <a:lnTo>
                    <a:pt x="96" y="45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88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6"/>
                  </a:lnTo>
                  <a:lnTo>
                    <a:pt x="91" y="59"/>
                  </a:lnTo>
                  <a:lnTo>
                    <a:pt x="88" y="59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5" y="64"/>
                  </a:lnTo>
                  <a:lnTo>
                    <a:pt x="85" y="67"/>
                  </a:lnTo>
                  <a:lnTo>
                    <a:pt x="85" y="69"/>
                  </a:lnTo>
                  <a:lnTo>
                    <a:pt x="88" y="69"/>
                  </a:lnTo>
                  <a:lnTo>
                    <a:pt x="91" y="69"/>
                  </a:lnTo>
                  <a:lnTo>
                    <a:pt x="91" y="72"/>
                  </a:lnTo>
                  <a:lnTo>
                    <a:pt x="93" y="75"/>
                  </a:lnTo>
                  <a:lnTo>
                    <a:pt x="93" y="77"/>
                  </a:lnTo>
                  <a:lnTo>
                    <a:pt x="93" y="77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101" y="77"/>
                  </a:lnTo>
                  <a:lnTo>
                    <a:pt x="104" y="75"/>
                  </a:lnTo>
                  <a:lnTo>
                    <a:pt x="107" y="77"/>
                  </a:lnTo>
                  <a:lnTo>
                    <a:pt x="107" y="75"/>
                  </a:lnTo>
                  <a:lnTo>
                    <a:pt x="109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7" y="77"/>
                  </a:lnTo>
                  <a:lnTo>
                    <a:pt x="117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3" y="80"/>
                  </a:lnTo>
                  <a:lnTo>
                    <a:pt x="125" y="80"/>
                  </a:lnTo>
                  <a:lnTo>
                    <a:pt x="128" y="80"/>
                  </a:lnTo>
                  <a:lnTo>
                    <a:pt x="128" y="83"/>
                  </a:lnTo>
                  <a:lnTo>
                    <a:pt x="131" y="88"/>
                  </a:lnTo>
                  <a:lnTo>
                    <a:pt x="131" y="91"/>
                  </a:lnTo>
                  <a:lnTo>
                    <a:pt x="128" y="94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31" y="96"/>
                  </a:lnTo>
                  <a:lnTo>
                    <a:pt x="133" y="96"/>
                  </a:lnTo>
                  <a:lnTo>
                    <a:pt x="136" y="99"/>
                  </a:lnTo>
                  <a:lnTo>
                    <a:pt x="133" y="99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9" y="104"/>
                  </a:lnTo>
                  <a:lnTo>
                    <a:pt x="141" y="107"/>
                  </a:lnTo>
                  <a:lnTo>
                    <a:pt x="144" y="107"/>
                  </a:lnTo>
                  <a:lnTo>
                    <a:pt x="144" y="110"/>
                  </a:lnTo>
                  <a:lnTo>
                    <a:pt x="144" y="110"/>
                  </a:lnTo>
                  <a:lnTo>
                    <a:pt x="147" y="110"/>
                  </a:lnTo>
                  <a:lnTo>
                    <a:pt x="149" y="112"/>
                  </a:lnTo>
                  <a:lnTo>
                    <a:pt x="149" y="112"/>
                  </a:lnTo>
                  <a:lnTo>
                    <a:pt x="152" y="112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7" y="115"/>
                  </a:lnTo>
                  <a:lnTo>
                    <a:pt x="157" y="118"/>
                  </a:lnTo>
                  <a:lnTo>
                    <a:pt x="157" y="118"/>
                  </a:lnTo>
                  <a:lnTo>
                    <a:pt x="160" y="118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71" y="123"/>
                  </a:lnTo>
                  <a:lnTo>
                    <a:pt x="171" y="123"/>
                  </a:lnTo>
                  <a:lnTo>
                    <a:pt x="174" y="123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74" y="128"/>
                  </a:lnTo>
                  <a:lnTo>
                    <a:pt x="174" y="128"/>
                  </a:lnTo>
                  <a:lnTo>
                    <a:pt x="174" y="128"/>
                  </a:lnTo>
                  <a:lnTo>
                    <a:pt x="174" y="131"/>
                  </a:lnTo>
                  <a:lnTo>
                    <a:pt x="171" y="131"/>
                  </a:lnTo>
                  <a:lnTo>
                    <a:pt x="171" y="134"/>
                  </a:lnTo>
                  <a:lnTo>
                    <a:pt x="171" y="134"/>
                  </a:lnTo>
                  <a:lnTo>
                    <a:pt x="171" y="136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4" y="142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9" y="142"/>
                  </a:lnTo>
                  <a:lnTo>
                    <a:pt x="179" y="142"/>
                  </a:lnTo>
                  <a:lnTo>
                    <a:pt x="182" y="142"/>
                  </a:lnTo>
                  <a:lnTo>
                    <a:pt x="182" y="139"/>
                  </a:lnTo>
                  <a:lnTo>
                    <a:pt x="184" y="139"/>
                  </a:lnTo>
                  <a:lnTo>
                    <a:pt x="184" y="142"/>
                  </a:lnTo>
                  <a:lnTo>
                    <a:pt x="187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7"/>
                  </a:lnTo>
                  <a:lnTo>
                    <a:pt x="192" y="147"/>
                  </a:lnTo>
                  <a:lnTo>
                    <a:pt x="195" y="150"/>
                  </a:lnTo>
                  <a:lnTo>
                    <a:pt x="195" y="150"/>
                  </a:lnTo>
                  <a:lnTo>
                    <a:pt x="195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198" y="152"/>
                  </a:lnTo>
                  <a:lnTo>
                    <a:pt x="200" y="152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60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203" y="166"/>
                  </a:lnTo>
                  <a:lnTo>
                    <a:pt x="200" y="166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8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6"/>
                  </a:lnTo>
                  <a:lnTo>
                    <a:pt x="195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198" y="179"/>
                  </a:lnTo>
                  <a:lnTo>
                    <a:pt x="198" y="179"/>
                  </a:lnTo>
                  <a:lnTo>
                    <a:pt x="200" y="179"/>
                  </a:lnTo>
                  <a:lnTo>
                    <a:pt x="203" y="179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4"/>
                  </a:lnTo>
                  <a:lnTo>
                    <a:pt x="200" y="184"/>
                  </a:lnTo>
                  <a:lnTo>
                    <a:pt x="200" y="187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2" y="184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4" y="182"/>
                  </a:lnTo>
                  <a:lnTo>
                    <a:pt x="184" y="182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7"/>
                  </a:lnTo>
                  <a:lnTo>
                    <a:pt x="184" y="187"/>
                  </a:lnTo>
                  <a:lnTo>
                    <a:pt x="182" y="187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79" y="192"/>
                  </a:lnTo>
                  <a:lnTo>
                    <a:pt x="179" y="192"/>
                  </a:lnTo>
                  <a:lnTo>
                    <a:pt x="176" y="190"/>
                  </a:lnTo>
                  <a:lnTo>
                    <a:pt x="174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8" y="190"/>
                  </a:lnTo>
                  <a:lnTo>
                    <a:pt x="168" y="190"/>
                  </a:lnTo>
                  <a:lnTo>
                    <a:pt x="168" y="190"/>
                  </a:lnTo>
                  <a:lnTo>
                    <a:pt x="166" y="190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5"/>
                  </a:lnTo>
                  <a:lnTo>
                    <a:pt x="163" y="198"/>
                  </a:lnTo>
                  <a:lnTo>
                    <a:pt x="160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5" y="198"/>
                  </a:lnTo>
                  <a:lnTo>
                    <a:pt x="155" y="200"/>
                  </a:lnTo>
                  <a:lnTo>
                    <a:pt x="152" y="200"/>
                  </a:lnTo>
                  <a:lnTo>
                    <a:pt x="152" y="198"/>
                  </a:lnTo>
                  <a:lnTo>
                    <a:pt x="149" y="198"/>
                  </a:lnTo>
                  <a:lnTo>
                    <a:pt x="147" y="198"/>
                  </a:lnTo>
                  <a:lnTo>
                    <a:pt x="147" y="198"/>
                  </a:lnTo>
                  <a:lnTo>
                    <a:pt x="144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3" y="200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1" y="203"/>
                  </a:lnTo>
                  <a:lnTo>
                    <a:pt x="131" y="203"/>
                  </a:lnTo>
                  <a:lnTo>
                    <a:pt x="128" y="203"/>
                  </a:lnTo>
                  <a:lnTo>
                    <a:pt x="128" y="206"/>
                  </a:lnTo>
                  <a:lnTo>
                    <a:pt x="128" y="206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5" y="211"/>
                  </a:lnTo>
                  <a:lnTo>
                    <a:pt x="125" y="211"/>
                  </a:lnTo>
                  <a:lnTo>
                    <a:pt x="125" y="214"/>
                  </a:lnTo>
                  <a:lnTo>
                    <a:pt x="125" y="216"/>
                  </a:lnTo>
                  <a:lnTo>
                    <a:pt x="125" y="219"/>
                  </a:lnTo>
                  <a:lnTo>
                    <a:pt x="123" y="219"/>
                  </a:lnTo>
                  <a:lnTo>
                    <a:pt x="120" y="219"/>
                  </a:lnTo>
                  <a:lnTo>
                    <a:pt x="120" y="222"/>
                  </a:lnTo>
                  <a:lnTo>
                    <a:pt x="120" y="219"/>
                  </a:lnTo>
                  <a:lnTo>
                    <a:pt x="117" y="219"/>
                  </a:lnTo>
                  <a:lnTo>
                    <a:pt x="115" y="219"/>
                  </a:lnTo>
                  <a:lnTo>
                    <a:pt x="112" y="224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4"/>
                  </a:lnTo>
                  <a:lnTo>
                    <a:pt x="107" y="224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4" y="227"/>
                  </a:lnTo>
                  <a:lnTo>
                    <a:pt x="101" y="227"/>
                  </a:lnTo>
                  <a:lnTo>
                    <a:pt x="101" y="230"/>
                  </a:lnTo>
                  <a:lnTo>
                    <a:pt x="99" y="230"/>
                  </a:lnTo>
                  <a:lnTo>
                    <a:pt x="99" y="230"/>
                  </a:lnTo>
                  <a:lnTo>
                    <a:pt x="96" y="230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3" y="232"/>
                  </a:lnTo>
                  <a:lnTo>
                    <a:pt x="91" y="232"/>
                  </a:lnTo>
                  <a:lnTo>
                    <a:pt x="88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27"/>
                  </a:lnTo>
                  <a:lnTo>
                    <a:pt x="85" y="224"/>
                  </a:lnTo>
                  <a:lnTo>
                    <a:pt x="83" y="224"/>
                  </a:lnTo>
                  <a:lnTo>
                    <a:pt x="83" y="222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77" y="222"/>
                  </a:lnTo>
                  <a:lnTo>
                    <a:pt x="77" y="222"/>
                  </a:lnTo>
                  <a:lnTo>
                    <a:pt x="75" y="222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6"/>
                  </a:lnTo>
                  <a:lnTo>
                    <a:pt x="75" y="214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08"/>
                  </a:lnTo>
                  <a:lnTo>
                    <a:pt x="72" y="208"/>
                  </a:lnTo>
                  <a:lnTo>
                    <a:pt x="69" y="206"/>
                  </a:lnTo>
                  <a:lnTo>
                    <a:pt x="69" y="206"/>
                  </a:lnTo>
                  <a:lnTo>
                    <a:pt x="67" y="206"/>
                  </a:lnTo>
                  <a:lnTo>
                    <a:pt x="64" y="206"/>
                  </a:lnTo>
                  <a:lnTo>
                    <a:pt x="64" y="206"/>
                  </a:lnTo>
                  <a:lnTo>
                    <a:pt x="64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8"/>
                  </a:lnTo>
                  <a:lnTo>
                    <a:pt x="61" y="206"/>
                  </a:lnTo>
                  <a:lnTo>
                    <a:pt x="61" y="206"/>
                  </a:lnTo>
                  <a:lnTo>
                    <a:pt x="61" y="203"/>
                  </a:lnTo>
                  <a:lnTo>
                    <a:pt x="61" y="203"/>
                  </a:lnTo>
                  <a:lnTo>
                    <a:pt x="64" y="198"/>
                  </a:lnTo>
                  <a:lnTo>
                    <a:pt x="64" y="195"/>
                  </a:lnTo>
                  <a:lnTo>
                    <a:pt x="59" y="192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3" y="192"/>
                  </a:lnTo>
                  <a:lnTo>
                    <a:pt x="51" y="192"/>
                  </a:lnTo>
                  <a:lnTo>
                    <a:pt x="51" y="192"/>
                  </a:lnTo>
                  <a:lnTo>
                    <a:pt x="48" y="192"/>
                  </a:lnTo>
                  <a:lnTo>
                    <a:pt x="48" y="192"/>
                  </a:lnTo>
                  <a:lnTo>
                    <a:pt x="48" y="192"/>
                  </a:lnTo>
                  <a:lnTo>
                    <a:pt x="45" y="190"/>
                  </a:lnTo>
                  <a:lnTo>
                    <a:pt x="45" y="192"/>
                  </a:lnTo>
                  <a:lnTo>
                    <a:pt x="43" y="190"/>
                  </a:lnTo>
                  <a:lnTo>
                    <a:pt x="43" y="190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4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79"/>
                  </a:lnTo>
                  <a:lnTo>
                    <a:pt x="48" y="179"/>
                  </a:lnTo>
                  <a:lnTo>
                    <a:pt x="48" y="176"/>
                  </a:lnTo>
                  <a:lnTo>
                    <a:pt x="45" y="176"/>
                  </a:lnTo>
                  <a:lnTo>
                    <a:pt x="43" y="176"/>
                  </a:lnTo>
                  <a:lnTo>
                    <a:pt x="40" y="176"/>
                  </a:lnTo>
                  <a:lnTo>
                    <a:pt x="40" y="176"/>
                  </a:lnTo>
                  <a:lnTo>
                    <a:pt x="37" y="176"/>
                  </a:lnTo>
                  <a:lnTo>
                    <a:pt x="37" y="176"/>
                  </a:lnTo>
                  <a:lnTo>
                    <a:pt x="37" y="176"/>
                  </a:lnTo>
                  <a:lnTo>
                    <a:pt x="37" y="174"/>
                  </a:lnTo>
                  <a:lnTo>
                    <a:pt x="35" y="171"/>
                  </a:lnTo>
                  <a:lnTo>
                    <a:pt x="35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35" y="168"/>
                  </a:lnTo>
                  <a:lnTo>
                    <a:pt x="32" y="166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5" y="158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40" y="155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3" y="150"/>
                  </a:lnTo>
                  <a:lnTo>
                    <a:pt x="40" y="150"/>
                  </a:lnTo>
                  <a:lnTo>
                    <a:pt x="37" y="150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4"/>
                  </a:lnTo>
                  <a:lnTo>
                    <a:pt x="37" y="142"/>
                  </a:lnTo>
                  <a:lnTo>
                    <a:pt x="37" y="139"/>
                  </a:lnTo>
                  <a:lnTo>
                    <a:pt x="40" y="139"/>
                  </a:lnTo>
                  <a:lnTo>
                    <a:pt x="40" y="142"/>
                  </a:lnTo>
                  <a:lnTo>
                    <a:pt x="43" y="139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1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5" y="123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45" y="115"/>
                  </a:lnTo>
                  <a:lnTo>
                    <a:pt x="43" y="112"/>
                  </a:lnTo>
                  <a:lnTo>
                    <a:pt x="37" y="115"/>
                  </a:lnTo>
                  <a:lnTo>
                    <a:pt x="37" y="112"/>
                  </a:lnTo>
                  <a:lnTo>
                    <a:pt x="35" y="112"/>
                  </a:lnTo>
                  <a:lnTo>
                    <a:pt x="32" y="110"/>
                  </a:lnTo>
                  <a:lnTo>
                    <a:pt x="29" y="110"/>
                  </a:lnTo>
                  <a:lnTo>
                    <a:pt x="24" y="112"/>
                  </a:lnTo>
                  <a:lnTo>
                    <a:pt x="24" y="110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4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99"/>
                  </a:lnTo>
                  <a:lnTo>
                    <a:pt x="24" y="99"/>
                  </a:lnTo>
                  <a:lnTo>
                    <a:pt x="24" y="96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1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13" y="88"/>
                  </a:lnTo>
                  <a:lnTo>
                    <a:pt x="13" y="86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0"/>
                  </a:lnTo>
                  <a:lnTo>
                    <a:pt x="13" y="80"/>
                  </a:lnTo>
                  <a:lnTo>
                    <a:pt x="13" y="77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5" y="75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3" y="69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0" y="64"/>
                  </a:lnTo>
                  <a:lnTo>
                    <a:pt x="0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6"/>
                  </a:lnTo>
                  <a:lnTo>
                    <a:pt x="3" y="53"/>
                  </a:lnTo>
                  <a:lnTo>
                    <a:pt x="3" y="51"/>
                  </a:lnTo>
                  <a:lnTo>
                    <a:pt x="5" y="48"/>
                  </a:lnTo>
                  <a:lnTo>
                    <a:pt x="5" y="45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1" y="43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5" y="40"/>
                  </a:lnTo>
                  <a:lnTo>
                    <a:pt x="8" y="37"/>
                  </a:lnTo>
                  <a:lnTo>
                    <a:pt x="8" y="35"/>
                  </a:lnTo>
                  <a:lnTo>
                    <a:pt x="11" y="32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6" y="13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4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0" name="Freeform 8938">
              <a:extLst>
                <a:ext uri="{FF2B5EF4-FFF2-40B4-BE49-F238E27FC236}">
                  <a16:creationId xmlns:a16="http://schemas.microsoft.com/office/drawing/2014/main" id="{C9D5F082-54AC-C94C-ABA5-5135E44D2192}"/>
                </a:ext>
              </a:extLst>
            </p:cNvPr>
            <p:cNvSpPr/>
            <p:nvPr/>
          </p:nvSpPr>
          <p:spPr bwMode="auto">
            <a:xfrm>
              <a:off x="1988343" y="3603626"/>
              <a:ext cx="360362" cy="238125"/>
            </a:xfrm>
            <a:custGeom>
              <a:avLst/>
              <a:gdLst>
                <a:gd name="T0" fmla="*/ 139 w 227"/>
                <a:gd name="T1" fmla="*/ 147 h 150"/>
                <a:gd name="T2" fmla="*/ 142 w 227"/>
                <a:gd name="T3" fmla="*/ 136 h 150"/>
                <a:gd name="T4" fmla="*/ 152 w 227"/>
                <a:gd name="T5" fmla="*/ 120 h 150"/>
                <a:gd name="T6" fmla="*/ 166 w 227"/>
                <a:gd name="T7" fmla="*/ 126 h 150"/>
                <a:gd name="T8" fmla="*/ 184 w 227"/>
                <a:gd name="T9" fmla="*/ 134 h 150"/>
                <a:gd name="T10" fmla="*/ 203 w 227"/>
                <a:gd name="T11" fmla="*/ 126 h 150"/>
                <a:gd name="T12" fmla="*/ 200 w 227"/>
                <a:gd name="T13" fmla="*/ 118 h 150"/>
                <a:gd name="T14" fmla="*/ 206 w 227"/>
                <a:gd name="T15" fmla="*/ 110 h 150"/>
                <a:gd name="T16" fmla="*/ 214 w 227"/>
                <a:gd name="T17" fmla="*/ 104 h 150"/>
                <a:gd name="T18" fmla="*/ 224 w 227"/>
                <a:gd name="T19" fmla="*/ 104 h 150"/>
                <a:gd name="T20" fmla="*/ 222 w 227"/>
                <a:gd name="T21" fmla="*/ 99 h 150"/>
                <a:gd name="T22" fmla="*/ 224 w 227"/>
                <a:gd name="T23" fmla="*/ 86 h 150"/>
                <a:gd name="T24" fmla="*/ 222 w 227"/>
                <a:gd name="T25" fmla="*/ 78 h 150"/>
                <a:gd name="T26" fmla="*/ 219 w 227"/>
                <a:gd name="T27" fmla="*/ 75 h 150"/>
                <a:gd name="T28" fmla="*/ 206 w 227"/>
                <a:gd name="T29" fmla="*/ 83 h 150"/>
                <a:gd name="T30" fmla="*/ 206 w 227"/>
                <a:gd name="T31" fmla="*/ 78 h 150"/>
                <a:gd name="T32" fmla="*/ 211 w 227"/>
                <a:gd name="T33" fmla="*/ 67 h 150"/>
                <a:gd name="T34" fmla="*/ 203 w 227"/>
                <a:gd name="T35" fmla="*/ 78 h 150"/>
                <a:gd name="T36" fmla="*/ 190 w 227"/>
                <a:gd name="T37" fmla="*/ 80 h 150"/>
                <a:gd name="T38" fmla="*/ 190 w 227"/>
                <a:gd name="T39" fmla="*/ 67 h 150"/>
                <a:gd name="T40" fmla="*/ 195 w 227"/>
                <a:gd name="T41" fmla="*/ 56 h 150"/>
                <a:gd name="T42" fmla="*/ 190 w 227"/>
                <a:gd name="T43" fmla="*/ 51 h 150"/>
                <a:gd name="T44" fmla="*/ 168 w 227"/>
                <a:gd name="T45" fmla="*/ 40 h 150"/>
                <a:gd name="T46" fmla="*/ 158 w 227"/>
                <a:gd name="T47" fmla="*/ 27 h 150"/>
                <a:gd name="T48" fmla="*/ 150 w 227"/>
                <a:gd name="T49" fmla="*/ 11 h 150"/>
                <a:gd name="T50" fmla="*/ 142 w 227"/>
                <a:gd name="T51" fmla="*/ 19 h 150"/>
                <a:gd name="T52" fmla="*/ 126 w 227"/>
                <a:gd name="T53" fmla="*/ 27 h 150"/>
                <a:gd name="T54" fmla="*/ 112 w 227"/>
                <a:gd name="T55" fmla="*/ 21 h 150"/>
                <a:gd name="T56" fmla="*/ 99 w 227"/>
                <a:gd name="T57" fmla="*/ 24 h 150"/>
                <a:gd name="T58" fmla="*/ 80 w 227"/>
                <a:gd name="T59" fmla="*/ 13 h 150"/>
                <a:gd name="T60" fmla="*/ 67 w 227"/>
                <a:gd name="T61" fmla="*/ 5 h 150"/>
                <a:gd name="T62" fmla="*/ 64 w 227"/>
                <a:gd name="T63" fmla="*/ 8 h 150"/>
                <a:gd name="T64" fmla="*/ 56 w 227"/>
                <a:gd name="T65" fmla="*/ 11 h 150"/>
                <a:gd name="T66" fmla="*/ 53 w 227"/>
                <a:gd name="T67" fmla="*/ 5 h 150"/>
                <a:gd name="T68" fmla="*/ 43 w 227"/>
                <a:gd name="T69" fmla="*/ 0 h 150"/>
                <a:gd name="T70" fmla="*/ 37 w 227"/>
                <a:gd name="T71" fmla="*/ 5 h 150"/>
                <a:gd name="T72" fmla="*/ 24 w 227"/>
                <a:gd name="T73" fmla="*/ 5 h 150"/>
                <a:gd name="T74" fmla="*/ 19 w 227"/>
                <a:gd name="T75" fmla="*/ 8 h 150"/>
                <a:gd name="T76" fmla="*/ 8 w 227"/>
                <a:gd name="T77" fmla="*/ 11 h 150"/>
                <a:gd name="T78" fmla="*/ 3 w 227"/>
                <a:gd name="T79" fmla="*/ 13 h 150"/>
                <a:gd name="T80" fmla="*/ 3 w 227"/>
                <a:gd name="T81" fmla="*/ 24 h 150"/>
                <a:gd name="T82" fmla="*/ 13 w 227"/>
                <a:gd name="T83" fmla="*/ 24 h 150"/>
                <a:gd name="T84" fmla="*/ 19 w 227"/>
                <a:gd name="T85" fmla="*/ 32 h 150"/>
                <a:gd name="T86" fmla="*/ 11 w 227"/>
                <a:gd name="T87" fmla="*/ 45 h 150"/>
                <a:gd name="T88" fmla="*/ 5 w 227"/>
                <a:gd name="T89" fmla="*/ 56 h 150"/>
                <a:gd name="T90" fmla="*/ 16 w 227"/>
                <a:gd name="T91" fmla="*/ 69 h 150"/>
                <a:gd name="T92" fmla="*/ 29 w 227"/>
                <a:gd name="T93" fmla="*/ 69 h 150"/>
                <a:gd name="T94" fmla="*/ 40 w 227"/>
                <a:gd name="T95" fmla="*/ 69 h 150"/>
                <a:gd name="T96" fmla="*/ 51 w 227"/>
                <a:gd name="T97" fmla="*/ 83 h 150"/>
                <a:gd name="T98" fmla="*/ 53 w 227"/>
                <a:gd name="T99" fmla="*/ 94 h 150"/>
                <a:gd name="T100" fmla="*/ 69 w 227"/>
                <a:gd name="T101" fmla="*/ 104 h 150"/>
                <a:gd name="T102" fmla="*/ 86 w 227"/>
                <a:gd name="T103" fmla="*/ 112 h 150"/>
                <a:gd name="T104" fmla="*/ 94 w 227"/>
                <a:gd name="T105" fmla="*/ 118 h 150"/>
                <a:gd name="T106" fmla="*/ 91 w 227"/>
                <a:gd name="T107" fmla="*/ 131 h 150"/>
                <a:gd name="T108" fmla="*/ 96 w 227"/>
                <a:gd name="T109" fmla="*/ 134 h 150"/>
                <a:gd name="T110" fmla="*/ 110 w 227"/>
                <a:gd name="T111" fmla="*/ 134 h 150"/>
                <a:gd name="T112" fmla="*/ 118 w 227"/>
                <a:gd name="T113" fmla="*/ 14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" h="150" extrusionOk="0">
                  <a:moveTo>
                    <a:pt x="120" y="147"/>
                  </a:moveTo>
                  <a:lnTo>
                    <a:pt x="120" y="144"/>
                  </a:lnTo>
                  <a:lnTo>
                    <a:pt x="123" y="147"/>
                  </a:lnTo>
                  <a:lnTo>
                    <a:pt x="123" y="144"/>
                  </a:lnTo>
                  <a:lnTo>
                    <a:pt x="126" y="144"/>
                  </a:lnTo>
                  <a:lnTo>
                    <a:pt x="126" y="144"/>
                  </a:lnTo>
                  <a:lnTo>
                    <a:pt x="134" y="150"/>
                  </a:lnTo>
                  <a:lnTo>
                    <a:pt x="136" y="150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42" y="144"/>
                  </a:lnTo>
                  <a:lnTo>
                    <a:pt x="142" y="142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6"/>
                  </a:lnTo>
                  <a:lnTo>
                    <a:pt x="142" y="136"/>
                  </a:lnTo>
                  <a:lnTo>
                    <a:pt x="142" y="134"/>
                  </a:lnTo>
                  <a:lnTo>
                    <a:pt x="142" y="131"/>
                  </a:lnTo>
                  <a:lnTo>
                    <a:pt x="142" y="131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7" y="128"/>
                  </a:lnTo>
                  <a:lnTo>
                    <a:pt x="147" y="126"/>
                  </a:lnTo>
                  <a:lnTo>
                    <a:pt x="147" y="123"/>
                  </a:lnTo>
                  <a:lnTo>
                    <a:pt x="152" y="120"/>
                  </a:lnTo>
                  <a:lnTo>
                    <a:pt x="155" y="123"/>
                  </a:lnTo>
                  <a:lnTo>
                    <a:pt x="158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6"/>
                  </a:lnTo>
                  <a:lnTo>
                    <a:pt x="163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3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1" y="128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9" y="131"/>
                  </a:lnTo>
                  <a:lnTo>
                    <a:pt x="182" y="131"/>
                  </a:lnTo>
                  <a:lnTo>
                    <a:pt x="184" y="134"/>
                  </a:lnTo>
                  <a:lnTo>
                    <a:pt x="187" y="134"/>
                  </a:lnTo>
                  <a:lnTo>
                    <a:pt x="192" y="131"/>
                  </a:lnTo>
                  <a:lnTo>
                    <a:pt x="192" y="128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8" y="128"/>
                  </a:lnTo>
                  <a:lnTo>
                    <a:pt x="200" y="126"/>
                  </a:lnTo>
                  <a:lnTo>
                    <a:pt x="200" y="126"/>
                  </a:lnTo>
                  <a:lnTo>
                    <a:pt x="203" y="126"/>
                  </a:lnTo>
                  <a:lnTo>
                    <a:pt x="203" y="126"/>
                  </a:lnTo>
                  <a:lnTo>
                    <a:pt x="203" y="123"/>
                  </a:lnTo>
                  <a:lnTo>
                    <a:pt x="200" y="123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203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200" y="118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0"/>
                  </a:lnTo>
                  <a:lnTo>
                    <a:pt x="203" y="110"/>
                  </a:lnTo>
                  <a:lnTo>
                    <a:pt x="206" y="107"/>
                  </a:lnTo>
                  <a:lnTo>
                    <a:pt x="206" y="110"/>
                  </a:lnTo>
                  <a:lnTo>
                    <a:pt x="206" y="107"/>
                  </a:lnTo>
                  <a:lnTo>
                    <a:pt x="208" y="104"/>
                  </a:lnTo>
                  <a:lnTo>
                    <a:pt x="208" y="104"/>
                  </a:lnTo>
                  <a:lnTo>
                    <a:pt x="208" y="107"/>
                  </a:lnTo>
                  <a:lnTo>
                    <a:pt x="211" y="107"/>
                  </a:lnTo>
                  <a:lnTo>
                    <a:pt x="211" y="110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4" y="104"/>
                  </a:lnTo>
                  <a:lnTo>
                    <a:pt x="216" y="104"/>
                  </a:lnTo>
                  <a:lnTo>
                    <a:pt x="219" y="104"/>
                  </a:lnTo>
                  <a:lnTo>
                    <a:pt x="219" y="104"/>
                  </a:lnTo>
                  <a:lnTo>
                    <a:pt x="219" y="107"/>
                  </a:lnTo>
                  <a:lnTo>
                    <a:pt x="219" y="107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2" y="104"/>
                  </a:lnTo>
                  <a:lnTo>
                    <a:pt x="224" y="104"/>
                  </a:lnTo>
                  <a:lnTo>
                    <a:pt x="224" y="107"/>
                  </a:lnTo>
                  <a:lnTo>
                    <a:pt x="224" y="107"/>
                  </a:lnTo>
                  <a:lnTo>
                    <a:pt x="227" y="107"/>
                  </a:lnTo>
                  <a:lnTo>
                    <a:pt x="227" y="104"/>
                  </a:lnTo>
                  <a:lnTo>
                    <a:pt x="224" y="104"/>
                  </a:lnTo>
                  <a:lnTo>
                    <a:pt x="224" y="102"/>
                  </a:lnTo>
                  <a:lnTo>
                    <a:pt x="224" y="102"/>
                  </a:lnTo>
                  <a:lnTo>
                    <a:pt x="222" y="99"/>
                  </a:lnTo>
                  <a:lnTo>
                    <a:pt x="222" y="99"/>
                  </a:lnTo>
                  <a:lnTo>
                    <a:pt x="222" y="96"/>
                  </a:lnTo>
                  <a:lnTo>
                    <a:pt x="224" y="96"/>
                  </a:lnTo>
                  <a:lnTo>
                    <a:pt x="224" y="96"/>
                  </a:lnTo>
                  <a:lnTo>
                    <a:pt x="224" y="94"/>
                  </a:lnTo>
                  <a:lnTo>
                    <a:pt x="227" y="94"/>
                  </a:lnTo>
                  <a:lnTo>
                    <a:pt x="224" y="91"/>
                  </a:lnTo>
                  <a:lnTo>
                    <a:pt x="224" y="88"/>
                  </a:lnTo>
                  <a:lnTo>
                    <a:pt x="224" y="86"/>
                  </a:lnTo>
                  <a:lnTo>
                    <a:pt x="224" y="86"/>
                  </a:lnTo>
                  <a:lnTo>
                    <a:pt x="224" y="83"/>
                  </a:lnTo>
                  <a:lnTo>
                    <a:pt x="222" y="80"/>
                  </a:lnTo>
                  <a:lnTo>
                    <a:pt x="219" y="78"/>
                  </a:lnTo>
                  <a:lnTo>
                    <a:pt x="219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4" y="75"/>
                  </a:lnTo>
                  <a:lnTo>
                    <a:pt x="222" y="75"/>
                  </a:lnTo>
                  <a:lnTo>
                    <a:pt x="222" y="75"/>
                  </a:lnTo>
                  <a:lnTo>
                    <a:pt x="219" y="75"/>
                  </a:lnTo>
                  <a:lnTo>
                    <a:pt x="219" y="78"/>
                  </a:lnTo>
                  <a:lnTo>
                    <a:pt x="216" y="78"/>
                  </a:lnTo>
                  <a:lnTo>
                    <a:pt x="214" y="78"/>
                  </a:lnTo>
                  <a:lnTo>
                    <a:pt x="214" y="78"/>
                  </a:lnTo>
                  <a:lnTo>
                    <a:pt x="214" y="78"/>
                  </a:lnTo>
                  <a:lnTo>
                    <a:pt x="211" y="80"/>
                  </a:lnTo>
                  <a:lnTo>
                    <a:pt x="208" y="80"/>
                  </a:lnTo>
                  <a:lnTo>
                    <a:pt x="206" y="80"/>
                  </a:lnTo>
                  <a:lnTo>
                    <a:pt x="206" y="83"/>
                  </a:lnTo>
                  <a:lnTo>
                    <a:pt x="203" y="83"/>
                  </a:lnTo>
                  <a:lnTo>
                    <a:pt x="203" y="83"/>
                  </a:lnTo>
                  <a:lnTo>
                    <a:pt x="203" y="86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0"/>
                  </a:lnTo>
                  <a:lnTo>
                    <a:pt x="203" y="80"/>
                  </a:lnTo>
                  <a:lnTo>
                    <a:pt x="203" y="80"/>
                  </a:lnTo>
                  <a:lnTo>
                    <a:pt x="206" y="78"/>
                  </a:lnTo>
                  <a:lnTo>
                    <a:pt x="206" y="78"/>
                  </a:lnTo>
                  <a:lnTo>
                    <a:pt x="206" y="75"/>
                  </a:lnTo>
                  <a:lnTo>
                    <a:pt x="206" y="75"/>
                  </a:lnTo>
                  <a:lnTo>
                    <a:pt x="208" y="72"/>
                  </a:lnTo>
                  <a:lnTo>
                    <a:pt x="208" y="69"/>
                  </a:lnTo>
                  <a:lnTo>
                    <a:pt x="208" y="69"/>
                  </a:lnTo>
                  <a:lnTo>
                    <a:pt x="211" y="69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08" y="67"/>
                  </a:lnTo>
                  <a:lnTo>
                    <a:pt x="208" y="67"/>
                  </a:lnTo>
                  <a:lnTo>
                    <a:pt x="206" y="69"/>
                  </a:lnTo>
                  <a:lnTo>
                    <a:pt x="206" y="69"/>
                  </a:lnTo>
                  <a:lnTo>
                    <a:pt x="206" y="69"/>
                  </a:lnTo>
                  <a:lnTo>
                    <a:pt x="203" y="72"/>
                  </a:lnTo>
                  <a:lnTo>
                    <a:pt x="203" y="75"/>
                  </a:lnTo>
                  <a:lnTo>
                    <a:pt x="203" y="75"/>
                  </a:lnTo>
                  <a:lnTo>
                    <a:pt x="203" y="78"/>
                  </a:lnTo>
                  <a:lnTo>
                    <a:pt x="203" y="78"/>
                  </a:lnTo>
                  <a:lnTo>
                    <a:pt x="200" y="78"/>
                  </a:lnTo>
                  <a:lnTo>
                    <a:pt x="200" y="80"/>
                  </a:lnTo>
                  <a:lnTo>
                    <a:pt x="198" y="83"/>
                  </a:lnTo>
                  <a:lnTo>
                    <a:pt x="198" y="83"/>
                  </a:lnTo>
                  <a:lnTo>
                    <a:pt x="195" y="83"/>
                  </a:lnTo>
                  <a:lnTo>
                    <a:pt x="195" y="83"/>
                  </a:lnTo>
                  <a:lnTo>
                    <a:pt x="190" y="83"/>
                  </a:lnTo>
                  <a:lnTo>
                    <a:pt x="190" y="80"/>
                  </a:lnTo>
                  <a:lnTo>
                    <a:pt x="184" y="78"/>
                  </a:lnTo>
                  <a:lnTo>
                    <a:pt x="182" y="75"/>
                  </a:lnTo>
                  <a:lnTo>
                    <a:pt x="184" y="75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7" y="67"/>
                  </a:lnTo>
                  <a:lnTo>
                    <a:pt x="187" y="67"/>
                  </a:lnTo>
                  <a:lnTo>
                    <a:pt x="190" y="67"/>
                  </a:lnTo>
                  <a:lnTo>
                    <a:pt x="190" y="67"/>
                  </a:lnTo>
                  <a:lnTo>
                    <a:pt x="190" y="64"/>
                  </a:lnTo>
                  <a:lnTo>
                    <a:pt x="190" y="64"/>
                  </a:lnTo>
                  <a:lnTo>
                    <a:pt x="190" y="61"/>
                  </a:lnTo>
                  <a:lnTo>
                    <a:pt x="190" y="61"/>
                  </a:lnTo>
                  <a:lnTo>
                    <a:pt x="192" y="61"/>
                  </a:lnTo>
                  <a:lnTo>
                    <a:pt x="192" y="59"/>
                  </a:lnTo>
                  <a:lnTo>
                    <a:pt x="195" y="59"/>
                  </a:lnTo>
                  <a:lnTo>
                    <a:pt x="195" y="59"/>
                  </a:lnTo>
                  <a:lnTo>
                    <a:pt x="195" y="56"/>
                  </a:lnTo>
                  <a:lnTo>
                    <a:pt x="198" y="56"/>
                  </a:lnTo>
                  <a:lnTo>
                    <a:pt x="198" y="53"/>
                  </a:lnTo>
                  <a:lnTo>
                    <a:pt x="198" y="53"/>
                  </a:lnTo>
                  <a:lnTo>
                    <a:pt x="198" y="51"/>
                  </a:lnTo>
                  <a:lnTo>
                    <a:pt x="198" y="48"/>
                  </a:lnTo>
                  <a:lnTo>
                    <a:pt x="198" y="48"/>
                  </a:lnTo>
                  <a:lnTo>
                    <a:pt x="198" y="45"/>
                  </a:lnTo>
                  <a:lnTo>
                    <a:pt x="195" y="45"/>
                  </a:lnTo>
                  <a:lnTo>
                    <a:pt x="190" y="51"/>
                  </a:lnTo>
                  <a:lnTo>
                    <a:pt x="182" y="45"/>
                  </a:lnTo>
                  <a:lnTo>
                    <a:pt x="179" y="43"/>
                  </a:lnTo>
                  <a:lnTo>
                    <a:pt x="176" y="40"/>
                  </a:lnTo>
                  <a:lnTo>
                    <a:pt x="176" y="43"/>
                  </a:lnTo>
                  <a:lnTo>
                    <a:pt x="174" y="43"/>
                  </a:lnTo>
                  <a:lnTo>
                    <a:pt x="174" y="43"/>
                  </a:lnTo>
                  <a:lnTo>
                    <a:pt x="171" y="43"/>
                  </a:lnTo>
                  <a:lnTo>
                    <a:pt x="168" y="43"/>
                  </a:lnTo>
                  <a:lnTo>
                    <a:pt x="168" y="40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3" y="37"/>
                  </a:lnTo>
                  <a:lnTo>
                    <a:pt x="160" y="37"/>
                  </a:lnTo>
                  <a:lnTo>
                    <a:pt x="160" y="35"/>
                  </a:lnTo>
                  <a:lnTo>
                    <a:pt x="158" y="32"/>
                  </a:lnTo>
                  <a:lnTo>
                    <a:pt x="160" y="29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4"/>
                  </a:lnTo>
                  <a:lnTo>
                    <a:pt x="158" y="21"/>
                  </a:lnTo>
                  <a:lnTo>
                    <a:pt x="158" y="21"/>
                  </a:lnTo>
                  <a:lnTo>
                    <a:pt x="155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55" y="13"/>
                  </a:lnTo>
                  <a:lnTo>
                    <a:pt x="152" y="13"/>
                  </a:lnTo>
                  <a:lnTo>
                    <a:pt x="150" y="11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7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3"/>
                  </a:lnTo>
                  <a:lnTo>
                    <a:pt x="142" y="16"/>
                  </a:lnTo>
                  <a:lnTo>
                    <a:pt x="142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39" y="24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1" y="29"/>
                  </a:lnTo>
                  <a:lnTo>
                    <a:pt x="126" y="24"/>
                  </a:lnTo>
                  <a:lnTo>
                    <a:pt x="126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0" y="27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2" y="24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07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1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9" y="24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4" y="19"/>
                  </a:lnTo>
                  <a:lnTo>
                    <a:pt x="91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0" y="13"/>
                  </a:lnTo>
                  <a:lnTo>
                    <a:pt x="77" y="13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2" y="11"/>
                  </a:lnTo>
                  <a:lnTo>
                    <a:pt x="72" y="8"/>
                  </a:lnTo>
                  <a:lnTo>
                    <a:pt x="69" y="8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4" y="5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6" y="11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5"/>
                  </a:lnTo>
                  <a:lnTo>
                    <a:pt x="45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5"/>
                  </a:lnTo>
                  <a:lnTo>
                    <a:pt x="40" y="8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3"/>
                  </a:lnTo>
                  <a:lnTo>
                    <a:pt x="21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1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8" y="21"/>
                  </a:lnTo>
                  <a:lnTo>
                    <a:pt x="11" y="21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6" y="37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8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8"/>
                  </a:lnTo>
                  <a:lnTo>
                    <a:pt x="11" y="51"/>
                  </a:lnTo>
                  <a:lnTo>
                    <a:pt x="8" y="51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5" y="56"/>
                  </a:lnTo>
                  <a:lnTo>
                    <a:pt x="5" y="59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11" y="61"/>
                  </a:lnTo>
                  <a:lnTo>
                    <a:pt x="11" y="64"/>
                  </a:lnTo>
                  <a:lnTo>
                    <a:pt x="13" y="67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4" y="67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9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8" y="72"/>
                  </a:lnTo>
                  <a:lnTo>
                    <a:pt x="48" y="75"/>
                  </a:lnTo>
                  <a:lnTo>
                    <a:pt x="51" y="80"/>
                  </a:lnTo>
                  <a:lnTo>
                    <a:pt x="51" y="83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8"/>
                  </a:lnTo>
                  <a:lnTo>
                    <a:pt x="51" y="88"/>
                  </a:lnTo>
                  <a:lnTo>
                    <a:pt x="53" y="88"/>
                  </a:lnTo>
                  <a:lnTo>
                    <a:pt x="56" y="91"/>
                  </a:lnTo>
                  <a:lnTo>
                    <a:pt x="53" y="91"/>
                  </a:lnTo>
                  <a:lnTo>
                    <a:pt x="53" y="94"/>
                  </a:lnTo>
                  <a:lnTo>
                    <a:pt x="53" y="94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9" y="96"/>
                  </a:lnTo>
                  <a:lnTo>
                    <a:pt x="61" y="99"/>
                  </a:lnTo>
                  <a:lnTo>
                    <a:pt x="64" y="99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7" y="102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5" y="107"/>
                  </a:lnTo>
                  <a:lnTo>
                    <a:pt x="75" y="107"/>
                  </a:lnTo>
                  <a:lnTo>
                    <a:pt x="77" y="107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80" y="110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8" y="112"/>
                  </a:lnTo>
                  <a:lnTo>
                    <a:pt x="91" y="115"/>
                  </a:lnTo>
                  <a:lnTo>
                    <a:pt x="91" y="115"/>
                  </a:lnTo>
                  <a:lnTo>
                    <a:pt x="94" y="11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4" y="123"/>
                  </a:lnTo>
                  <a:lnTo>
                    <a:pt x="91" y="123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8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1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102" y="134"/>
                  </a:lnTo>
                  <a:lnTo>
                    <a:pt x="102" y="131"/>
                  </a:lnTo>
                  <a:lnTo>
                    <a:pt x="104" y="131"/>
                  </a:lnTo>
                  <a:lnTo>
                    <a:pt x="104" y="134"/>
                  </a:lnTo>
                  <a:lnTo>
                    <a:pt x="107" y="134"/>
                  </a:lnTo>
                  <a:lnTo>
                    <a:pt x="110" y="134"/>
                  </a:lnTo>
                  <a:lnTo>
                    <a:pt x="110" y="136"/>
                  </a:lnTo>
                  <a:lnTo>
                    <a:pt x="110" y="136"/>
                  </a:lnTo>
                  <a:lnTo>
                    <a:pt x="112" y="136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18" y="144"/>
                  </a:lnTo>
                  <a:lnTo>
                    <a:pt x="120" y="144"/>
                  </a:lnTo>
                  <a:lnTo>
                    <a:pt x="120" y="14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1" name="Freeform 8939">
              <a:extLst>
                <a:ext uri="{FF2B5EF4-FFF2-40B4-BE49-F238E27FC236}">
                  <a16:creationId xmlns:a16="http://schemas.microsoft.com/office/drawing/2014/main" id="{D169AB7E-05A8-B342-9862-FF7408E18B02}"/>
                </a:ext>
              </a:extLst>
            </p:cNvPr>
            <p:cNvSpPr/>
            <p:nvPr/>
          </p:nvSpPr>
          <p:spPr bwMode="auto">
            <a:xfrm>
              <a:off x="2107405" y="3421064"/>
              <a:ext cx="647700" cy="369887"/>
            </a:xfrm>
            <a:custGeom>
              <a:avLst/>
              <a:gdLst>
                <a:gd name="T0" fmla="*/ 168 w 408"/>
                <a:gd name="T1" fmla="*/ 219 h 233"/>
                <a:gd name="T2" fmla="*/ 187 w 408"/>
                <a:gd name="T3" fmla="*/ 219 h 233"/>
                <a:gd name="T4" fmla="*/ 205 w 408"/>
                <a:gd name="T5" fmla="*/ 219 h 233"/>
                <a:gd name="T6" fmla="*/ 219 w 408"/>
                <a:gd name="T7" fmla="*/ 209 h 233"/>
                <a:gd name="T8" fmla="*/ 235 w 408"/>
                <a:gd name="T9" fmla="*/ 193 h 233"/>
                <a:gd name="T10" fmla="*/ 256 w 408"/>
                <a:gd name="T11" fmla="*/ 211 h 233"/>
                <a:gd name="T12" fmla="*/ 262 w 408"/>
                <a:gd name="T13" fmla="*/ 225 h 233"/>
                <a:gd name="T14" fmla="*/ 299 w 408"/>
                <a:gd name="T15" fmla="*/ 227 h 233"/>
                <a:gd name="T16" fmla="*/ 310 w 408"/>
                <a:gd name="T17" fmla="*/ 217 h 233"/>
                <a:gd name="T18" fmla="*/ 318 w 408"/>
                <a:gd name="T19" fmla="*/ 209 h 233"/>
                <a:gd name="T20" fmla="*/ 339 w 408"/>
                <a:gd name="T21" fmla="*/ 198 h 233"/>
                <a:gd name="T22" fmla="*/ 371 w 408"/>
                <a:gd name="T23" fmla="*/ 198 h 233"/>
                <a:gd name="T24" fmla="*/ 382 w 408"/>
                <a:gd name="T25" fmla="*/ 187 h 233"/>
                <a:gd name="T26" fmla="*/ 395 w 408"/>
                <a:gd name="T27" fmla="*/ 195 h 233"/>
                <a:gd name="T28" fmla="*/ 398 w 408"/>
                <a:gd name="T29" fmla="*/ 174 h 233"/>
                <a:gd name="T30" fmla="*/ 400 w 408"/>
                <a:gd name="T31" fmla="*/ 168 h 233"/>
                <a:gd name="T32" fmla="*/ 398 w 408"/>
                <a:gd name="T33" fmla="*/ 158 h 233"/>
                <a:gd name="T34" fmla="*/ 395 w 408"/>
                <a:gd name="T35" fmla="*/ 115 h 233"/>
                <a:gd name="T36" fmla="*/ 350 w 408"/>
                <a:gd name="T37" fmla="*/ 120 h 233"/>
                <a:gd name="T38" fmla="*/ 310 w 408"/>
                <a:gd name="T39" fmla="*/ 112 h 233"/>
                <a:gd name="T40" fmla="*/ 262 w 408"/>
                <a:gd name="T41" fmla="*/ 75 h 233"/>
                <a:gd name="T42" fmla="*/ 243 w 408"/>
                <a:gd name="T43" fmla="*/ 59 h 233"/>
                <a:gd name="T44" fmla="*/ 237 w 408"/>
                <a:gd name="T45" fmla="*/ 54 h 233"/>
                <a:gd name="T46" fmla="*/ 229 w 408"/>
                <a:gd name="T47" fmla="*/ 54 h 233"/>
                <a:gd name="T48" fmla="*/ 221 w 408"/>
                <a:gd name="T49" fmla="*/ 46 h 233"/>
                <a:gd name="T50" fmla="*/ 208 w 408"/>
                <a:gd name="T51" fmla="*/ 46 h 233"/>
                <a:gd name="T52" fmla="*/ 203 w 408"/>
                <a:gd name="T53" fmla="*/ 35 h 233"/>
                <a:gd name="T54" fmla="*/ 192 w 408"/>
                <a:gd name="T55" fmla="*/ 19 h 233"/>
                <a:gd name="T56" fmla="*/ 192 w 408"/>
                <a:gd name="T57" fmla="*/ 5 h 233"/>
                <a:gd name="T58" fmla="*/ 176 w 408"/>
                <a:gd name="T59" fmla="*/ 13 h 233"/>
                <a:gd name="T60" fmla="*/ 160 w 408"/>
                <a:gd name="T61" fmla="*/ 24 h 233"/>
                <a:gd name="T62" fmla="*/ 141 w 408"/>
                <a:gd name="T63" fmla="*/ 19 h 233"/>
                <a:gd name="T64" fmla="*/ 125 w 408"/>
                <a:gd name="T65" fmla="*/ 21 h 233"/>
                <a:gd name="T66" fmla="*/ 109 w 408"/>
                <a:gd name="T67" fmla="*/ 35 h 233"/>
                <a:gd name="T68" fmla="*/ 93 w 408"/>
                <a:gd name="T69" fmla="*/ 40 h 233"/>
                <a:gd name="T70" fmla="*/ 91 w 408"/>
                <a:gd name="T71" fmla="*/ 56 h 233"/>
                <a:gd name="T72" fmla="*/ 77 w 408"/>
                <a:gd name="T73" fmla="*/ 64 h 233"/>
                <a:gd name="T74" fmla="*/ 61 w 408"/>
                <a:gd name="T75" fmla="*/ 72 h 233"/>
                <a:gd name="T76" fmla="*/ 51 w 408"/>
                <a:gd name="T77" fmla="*/ 80 h 233"/>
                <a:gd name="T78" fmla="*/ 37 w 408"/>
                <a:gd name="T79" fmla="*/ 91 h 233"/>
                <a:gd name="T80" fmla="*/ 29 w 408"/>
                <a:gd name="T81" fmla="*/ 102 h 233"/>
                <a:gd name="T82" fmla="*/ 19 w 408"/>
                <a:gd name="T83" fmla="*/ 104 h 233"/>
                <a:gd name="T84" fmla="*/ 5 w 408"/>
                <a:gd name="T85" fmla="*/ 115 h 233"/>
                <a:gd name="T86" fmla="*/ 2 w 408"/>
                <a:gd name="T87" fmla="*/ 128 h 233"/>
                <a:gd name="T88" fmla="*/ 27 w 408"/>
                <a:gd name="T89" fmla="*/ 139 h 233"/>
                <a:gd name="T90" fmla="*/ 37 w 408"/>
                <a:gd name="T91" fmla="*/ 139 h 233"/>
                <a:gd name="T92" fmla="*/ 64 w 408"/>
                <a:gd name="T93" fmla="*/ 142 h 233"/>
                <a:gd name="T94" fmla="*/ 75 w 408"/>
                <a:gd name="T95" fmla="*/ 123 h 233"/>
                <a:gd name="T96" fmla="*/ 83 w 408"/>
                <a:gd name="T97" fmla="*/ 142 h 233"/>
                <a:gd name="T98" fmla="*/ 96 w 408"/>
                <a:gd name="T99" fmla="*/ 158 h 233"/>
                <a:gd name="T100" fmla="*/ 123 w 408"/>
                <a:gd name="T101" fmla="*/ 163 h 233"/>
                <a:gd name="T102" fmla="*/ 115 w 408"/>
                <a:gd name="T103" fmla="*/ 176 h 233"/>
                <a:gd name="T104" fmla="*/ 109 w 408"/>
                <a:gd name="T105" fmla="*/ 193 h 233"/>
                <a:gd name="T106" fmla="*/ 128 w 408"/>
                <a:gd name="T107" fmla="*/ 190 h 233"/>
                <a:gd name="T108" fmla="*/ 133 w 408"/>
                <a:gd name="T109" fmla="*/ 184 h 233"/>
                <a:gd name="T110" fmla="*/ 125 w 408"/>
                <a:gd name="T111" fmla="*/ 198 h 233"/>
                <a:gd name="T112" fmla="*/ 141 w 408"/>
                <a:gd name="T113" fmla="*/ 193 h 233"/>
                <a:gd name="T114" fmla="*/ 147 w 408"/>
                <a:gd name="T115" fmla="*/ 193 h 233"/>
                <a:gd name="T116" fmla="*/ 149 w 408"/>
                <a:gd name="T117" fmla="*/ 20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8" h="233" extrusionOk="0">
                  <a:moveTo>
                    <a:pt x="149" y="209"/>
                  </a:moveTo>
                  <a:lnTo>
                    <a:pt x="152" y="217"/>
                  </a:lnTo>
                  <a:lnTo>
                    <a:pt x="155" y="217"/>
                  </a:lnTo>
                  <a:lnTo>
                    <a:pt x="157" y="217"/>
                  </a:lnTo>
                  <a:lnTo>
                    <a:pt x="160" y="217"/>
                  </a:lnTo>
                  <a:lnTo>
                    <a:pt x="160" y="217"/>
                  </a:lnTo>
                  <a:lnTo>
                    <a:pt x="160" y="219"/>
                  </a:lnTo>
                  <a:lnTo>
                    <a:pt x="163" y="219"/>
                  </a:lnTo>
                  <a:lnTo>
                    <a:pt x="163" y="219"/>
                  </a:lnTo>
                  <a:lnTo>
                    <a:pt x="165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6" y="219"/>
                  </a:lnTo>
                  <a:lnTo>
                    <a:pt x="179" y="222"/>
                  </a:lnTo>
                  <a:lnTo>
                    <a:pt x="184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9" y="219"/>
                  </a:lnTo>
                  <a:lnTo>
                    <a:pt x="189" y="219"/>
                  </a:lnTo>
                  <a:lnTo>
                    <a:pt x="189" y="219"/>
                  </a:lnTo>
                  <a:lnTo>
                    <a:pt x="192" y="219"/>
                  </a:lnTo>
                  <a:lnTo>
                    <a:pt x="192" y="217"/>
                  </a:lnTo>
                  <a:lnTo>
                    <a:pt x="192" y="217"/>
                  </a:lnTo>
                  <a:lnTo>
                    <a:pt x="200" y="214"/>
                  </a:lnTo>
                  <a:lnTo>
                    <a:pt x="203" y="214"/>
                  </a:lnTo>
                  <a:lnTo>
                    <a:pt x="203" y="217"/>
                  </a:lnTo>
                  <a:lnTo>
                    <a:pt x="205" y="217"/>
                  </a:lnTo>
                  <a:lnTo>
                    <a:pt x="205" y="219"/>
                  </a:lnTo>
                  <a:lnTo>
                    <a:pt x="208" y="219"/>
                  </a:lnTo>
                  <a:lnTo>
                    <a:pt x="208" y="217"/>
                  </a:lnTo>
                  <a:lnTo>
                    <a:pt x="211" y="214"/>
                  </a:lnTo>
                  <a:lnTo>
                    <a:pt x="211" y="214"/>
                  </a:lnTo>
                  <a:lnTo>
                    <a:pt x="213" y="214"/>
                  </a:lnTo>
                  <a:lnTo>
                    <a:pt x="216" y="214"/>
                  </a:lnTo>
                  <a:lnTo>
                    <a:pt x="216" y="214"/>
                  </a:lnTo>
                  <a:lnTo>
                    <a:pt x="216" y="214"/>
                  </a:lnTo>
                  <a:lnTo>
                    <a:pt x="219" y="211"/>
                  </a:lnTo>
                  <a:lnTo>
                    <a:pt x="219" y="211"/>
                  </a:lnTo>
                  <a:lnTo>
                    <a:pt x="219" y="209"/>
                  </a:lnTo>
                  <a:lnTo>
                    <a:pt x="219" y="209"/>
                  </a:lnTo>
                  <a:lnTo>
                    <a:pt x="221" y="209"/>
                  </a:lnTo>
                  <a:lnTo>
                    <a:pt x="221" y="206"/>
                  </a:lnTo>
                  <a:lnTo>
                    <a:pt x="221" y="206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7" y="195"/>
                  </a:lnTo>
                  <a:lnTo>
                    <a:pt x="229" y="195"/>
                  </a:lnTo>
                  <a:lnTo>
                    <a:pt x="229" y="193"/>
                  </a:lnTo>
                  <a:lnTo>
                    <a:pt x="232" y="190"/>
                  </a:lnTo>
                  <a:lnTo>
                    <a:pt x="235" y="193"/>
                  </a:lnTo>
                  <a:lnTo>
                    <a:pt x="237" y="195"/>
                  </a:lnTo>
                  <a:lnTo>
                    <a:pt x="240" y="195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48" y="206"/>
                  </a:lnTo>
                  <a:lnTo>
                    <a:pt x="251" y="206"/>
                  </a:lnTo>
                  <a:lnTo>
                    <a:pt x="251" y="209"/>
                  </a:lnTo>
                  <a:lnTo>
                    <a:pt x="256" y="211"/>
                  </a:lnTo>
                  <a:lnTo>
                    <a:pt x="256" y="211"/>
                  </a:lnTo>
                  <a:lnTo>
                    <a:pt x="256" y="214"/>
                  </a:lnTo>
                  <a:lnTo>
                    <a:pt x="256" y="217"/>
                  </a:lnTo>
                  <a:lnTo>
                    <a:pt x="256" y="217"/>
                  </a:lnTo>
                  <a:lnTo>
                    <a:pt x="256" y="217"/>
                  </a:lnTo>
                  <a:lnTo>
                    <a:pt x="256" y="219"/>
                  </a:lnTo>
                  <a:lnTo>
                    <a:pt x="256" y="219"/>
                  </a:lnTo>
                  <a:lnTo>
                    <a:pt x="256" y="219"/>
                  </a:lnTo>
                  <a:lnTo>
                    <a:pt x="256" y="225"/>
                  </a:lnTo>
                  <a:lnTo>
                    <a:pt x="256" y="225"/>
                  </a:lnTo>
                  <a:lnTo>
                    <a:pt x="259" y="225"/>
                  </a:lnTo>
                  <a:lnTo>
                    <a:pt x="262" y="225"/>
                  </a:lnTo>
                  <a:lnTo>
                    <a:pt x="264" y="225"/>
                  </a:lnTo>
                  <a:lnTo>
                    <a:pt x="270" y="219"/>
                  </a:lnTo>
                  <a:lnTo>
                    <a:pt x="270" y="222"/>
                  </a:lnTo>
                  <a:lnTo>
                    <a:pt x="272" y="219"/>
                  </a:lnTo>
                  <a:lnTo>
                    <a:pt x="275" y="219"/>
                  </a:lnTo>
                  <a:lnTo>
                    <a:pt x="280" y="222"/>
                  </a:lnTo>
                  <a:lnTo>
                    <a:pt x="296" y="233"/>
                  </a:lnTo>
                  <a:lnTo>
                    <a:pt x="296" y="233"/>
                  </a:lnTo>
                  <a:lnTo>
                    <a:pt x="296" y="230"/>
                  </a:lnTo>
                  <a:lnTo>
                    <a:pt x="296" y="227"/>
                  </a:lnTo>
                  <a:lnTo>
                    <a:pt x="299" y="227"/>
                  </a:lnTo>
                  <a:lnTo>
                    <a:pt x="299" y="227"/>
                  </a:lnTo>
                  <a:lnTo>
                    <a:pt x="302" y="225"/>
                  </a:lnTo>
                  <a:lnTo>
                    <a:pt x="302" y="225"/>
                  </a:lnTo>
                  <a:lnTo>
                    <a:pt x="302" y="225"/>
                  </a:lnTo>
                  <a:lnTo>
                    <a:pt x="304" y="222"/>
                  </a:lnTo>
                  <a:lnTo>
                    <a:pt x="307" y="222"/>
                  </a:lnTo>
                  <a:lnTo>
                    <a:pt x="307" y="222"/>
                  </a:lnTo>
                  <a:lnTo>
                    <a:pt x="307" y="219"/>
                  </a:lnTo>
                  <a:lnTo>
                    <a:pt x="310" y="219"/>
                  </a:lnTo>
                  <a:lnTo>
                    <a:pt x="310" y="217"/>
                  </a:lnTo>
                  <a:lnTo>
                    <a:pt x="310" y="217"/>
                  </a:lnTo>
                  <a:lnTo>
                    <a:pt x="312" y="214"/>
                  </a:lnTo>
                  <a:lnTo>
                    <a:pt x="315" y="214"/>
                  </a:lnTo>
                  <a:lnTo>
                    <a:pt x="315" y="214"/>
                  </a:lnTo>
                  <a:lnTo>
                    <a:pt x="318" y="211"/>
                  </a:lnTo>
                  <a:lnTo>
                    <a:pt x="318" y="211"/>
                  </a:lnTo>
                  <a:lnTo>
                    <a:pt x="318" y="211"/>
                  </a:lnTo>
                  <a:lnTo>
                    <a:pt x="315" y="211"/>
                  </a:lnTo>
                  <a:lnTo>
                    <a:pt x="315" y="211"/>
                  </a:lnTo>
                  <a:lnTo>
                    <a:pt x="315" y="209"/>
                  </a:lnTo>
                  <a:lnTo>
                    <a:pt x="315" y="209"/>
                  </a:lnTo>
                  <a:lnTo>
                    <a:pt x="318" y="209"/>
                  </a:lnTo>
                  <a:lnTo>
                    <a:pt x="320" y="209"/>
                  </a:lnTo>
                  <a:lnTo>
                    <a:pt x="320" y="209"/>
                  </a:lnTo>
                  <a:lnTo>
                    <a:pt x="323" y="209"/>
                  </a:lnTo>
                  <a:lnTo>
                    <a:pt x="326" y="209"/>
                  </a:lnTo>
                  <a:lnTo>
                    <a:pt x="326" y="206"/>
                  </a:lnTo>
                  <a:lnTo>
                    <a:pt x="328" y="206"/>
                  </a:lnTo>
                  <a:lnTo>
                    <a:pt x="328" y="203"/>
                  </a:lnTo>
                  <a:lnTo>
                    <a:pt x="334" y="201"/>
                  </a:lnTo>
                  <a:lnTo>
                    <a:pt x="334" y="198"/>
                  </a:lnTo>
                  <a:lnTo>
                    <a:pt x="336" y="198"/>
                  </a:lnTo>
                  <a:lnTo>
                    <a:pt x="339" y="198"/>
                  </a:lnTo>
                  <a:lnTo>
                    <a:pt x="336" y="201"/>
                  </a:lnTo>
                  <a:lnTo>
                    <a:pt x="342" y="201"/>
                  </a:lnTo>
                  <a:lnTo>
                    <a:pt x="344" y="201"/>
                  </a:lnTo>
                  <a:lnTo>
                    <a:pt x="350" y="201"/>
                  </a:lnTo>
                  <a:lnTo>
                    <a:pt x="352" y="206"/>
                  </a:lnTo>
                  <a:lnTo>
                    <a:pt x="355" y="203"/>
                  </a:lnTo>
                  <a:lnTo>
                    <a:pt x="358" y="195"/>
                  </a:lnTo>
                  <a:lnTo>
                    <a:pt x="360" y="198"/>
                  </a:lnTo>
                  <a:lnTo>
                    <a:pt x="368" y="195"/>
                  </a:lnTo>
                  <a:lnTo>
                    <a:pt x="371" y="198"/>
                  </a:lnTo>
                  <a:lnTo>
                    <a:pt x="371" y="198"/>
                  </a:lnTo>
                  <a:lnTo>
                    <a:pt x="374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5"/>
                  </a:lnTo>
                  <a:lnTo>
                    <a:pt x="379" y="193"/>
                  </a:lnTo>
                  <a:lnTo>
                    <a:pt x="379" y="193"/>
                  </a:lnTo>
                  <a:lnTo>
                    <a:pt x="379" y="190"/>
                  </a:lnTo>
                  <a:lnTo>
                    <a:pt x="379" y="187"/>
                  </a:lnTo>
                  <a:lnTo>
                    <a:pt x="382" y="187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90"/>
                  </a:lnTo>
                  <a:lnTo>
                    <a:pt x="384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0"/>
                  </a:lnTo>
                  <a:lnTo>
                    <a:pt x="387" y="193"/>
                  </a:lnTo>
                  <a:lnTo>
                    <a:pt x="392" y="193"/>
                  </a:lnTo>
                  <a:lnTo>
                    <a:pt x="392" y="195"/>
                  </a:lnTo>
                  <a:lnTo>
                    <a:pt x="395" y="195"/>
                  </a:lnTo>
                  <a:lnTo>
                    <a:pt x="398" y="193"/>
                  </a:lnTo>
                  <a:lnTo>
                    <a:pt x="398" y="190"/>
                  </a:lnTo>
                  <a:lnTo>
                    <a:pt x="398" y="187"/>
                  </a:lnTo>
                  <a:lnTo>
                    <a:pt x="400" y="182"/>
                  </a:lnTo>
                  <a:lnTo>
                    <a:pt x="400" y="179"/>
                  </a:lnTo>
                  <a:lnTo>
                    <a:pt x="400" y="179"/>
                  </a:lnTo>
                  <a:lnTo>
                    <a:pt x="400" y="179"/>
                  </a:lnTo>
                  <a:lnTo>
                    <a:pt x="400" y="176"/>
                  </a:lnTo>
                  <a:lnTo>
                    <a:pt x="400" y="176"/>
                  </a:lnTo>
                  <a:lnTo>
                    <a:pt x="400" y="174"/>
                  </a:lnTo>
                  <a:lnTo>
                    <a:pt x="398" y="174"/>
                  </a:lnTo>
                  <a:lnTo>
                    <a:pt x="398" y="174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400" y="166"/>
                  </a:lnTo>
                  <a:lnTo>
                    <a:pt x="400" y="168"/>
                  </a:lnTo>
                  <a:lnTo>
                    <a:pt x="400" y="168"/>
                  </a:lnTo>
                  <a:lnTo>
                    <a:pt x="398" y="168"/>
                  </a:lnTo>
                  <a:lnTo>
                    <a:pt x="398" y="168"/>
                  </a:lnTo>
                  <a:lnTo>
                    <a:pt x="398" y="168"/>
                  </a:lnTo>
                  <a:lnTo>
                    <a:pt x="398" y="166"/>
                  </a:lnTo>
                  <a:lnTo>
                    <a:pt x="398" y="166"/>
                  </a:lnTo>
                  <a:lnTo>
                    <a:pt x="395" y="163"/>
                  </a:lnTo>
                  <a:lnTo>
                    <a:pt x="395" y="160"/>
                  </a:lnTo>
                  <a:lnTo>
                    <a:pt x="395" y="160"/>
                  </a:lnTo>
                  <a:lnTo>
                    <a:pt x="395" y="158"/>
                  </a:lnTo>
                  <a:lnTo>
                    <a:pt x="395" y="155"/>
                  </a:lnTo>
                  <a:lnTo>
                    <a:pt x="398" y="158"/>
                  </a:lnTo>
                  <a:lnTo>
                    <a:pt x="398" y="155"/>
                  </a:lnTo>
                  <a:lnTo>
                    <a:pt x="398" y="155"/>
                  </a:lnTo>
                  <a:lnTo>
                    <a:pt x="398" y="155"/>
                  </a:lnTo>
                  <a:lnTo>
                    <a:pt x="398" y="152"/>
                  </a:lnTo>
                  <a:lnTo>
                    <a:pt x="400" y="152"/>
                  </a:lnTo>
                  <a:lnTo>
                    <a:pt x="400" y="150"/>
                  </a:lnTo>
                  <a:lnTo>
                    <a:pt x="403" y="147"/>
                  </a:lnTo>
                  <a:lnTo>
                    <a:pt x="395" y="139"/>
                  </a:lnTo>
                  <a:lnTo>
                    <a:pt x="408" y="123"/>
                  </a:lnTo>
                  <a:lnTo>
                    <a:pt x="398" y="110"/>
                  </a:lnTo>
                  <a:lnTo>
                    <a:pt x="395" y="115"/>
                  </a:lnTo>
                  <a:lnTo>
                    <a:pt x="392" y="112"/>
                  </a:lnTo>
                  <a:lnTo>
                    <a:pt x="392" y="115"/>
                  </a:lnTo>
                  <a:lnTo>
                    <a:pt x="390" y="112"/>
                  </a:lnTo>
                  <a:lnTo>
                    <a:pt x="390" y="110"/>
                  </a:lnTo>
                  <a:lnTo>
                    <a:pt x="379" y="104"/>
                  </a:lnTo>
                  <a:lnTo>
                    <a:pt x="371" y="112"/>
                  </a:lnTo>
                  <a:lnTo>
                    <a:pt x="374" y="115"/>
                  </a:lnTo>
                  <a:lnTo>
                    <a:pt x="363" y="126"/>
                  </a:lnTo>
                  <a:lnTo>
                    <a:pt x="355" y="120"/>
                  </a:lnTo>
                  <a:lnTo>
                    <a:pt x="355" y="123"/>
                  </a:lnTo>
                  <a:lnTo>
                    <a:pt x="350" y="120"/>
                  </a:lnTo>
                  <a:lnTo>
                    <a:pt x="339" y="128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6" y="120"/>
                  </a:lnTo>
                  <a:lnTo>
                    <a:pt x="323" y="118"/>
                  </a:lnTo>
                  <a:lnTo>
                    <a:pt x="323" y="118"/>
                  </a:lnTo>
                  <a:lnTo>
                    <a:pt x="320" y="118"/>
                  </a:lnTo>
                  <a:lnTo>
                    <a:pt x="323" y="118"/>
                  </a:lnTo>
                  <a:lnTo>
                    <a:pt x="312" y="110"/>
                  </a:lnTo>
                  <a:lnTo>
                    <a:pt x="310" y="112"/>
                  </a:lnTo>
                  <a:lnTo>
                    <a:pt x="299" y="104"/>
                  </a:lnTo>
                  <a:lnTo>
                    <a:pt x="296" y="110"/>
                  </a:lnTo>
                  <a:lnTo>
                    <a:pt x="270" y="88"/>
                  </a:lnTo>
                  <a:lnTo>
                    <a:pt x="267" y="88"/>
                  </a:lnTo>
                  <a:lnTo>
                    <a:pt x="267" y="86"/>
                  </a:lnTo>
                  <a:lnTo>
                    <a:pt x="267" y="86"/>
                  </a:lnTo>
                  <a:lnTo>
                    <a:pt x="262" y="80"/>
                  </a:lnTo>
                  <a:lnTo>
                    <a:pt x="264" y="78"/>
                  </a:lnTo>
                  <a:lnTo>
                    <a:pt x="264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59" y="75"/>
                  </a:lnTo>
                  <a:lnTo>
                    <a:pt x="256" y="75"/>
                  </a:lnTo>
                  <a:lnTo>
                    <a:pt x="256" y="72"/>
                  </a:lnTo>
                  <a:lnTo>
                    <a:pt x="254" y="70"/>
                  </a:lnTo>
                  <a:lnTo>
                    <a:pt x="254" y="70"/>
                  </a:lnTo>
                  <a:lnTo>
                    <a:pt x="251" y="67"/>
                  </a:lnTo>
                  <a:lnTo>
                    <a:pt x="251" y="67"/>
                  </a:lnTo>
                  <a:lnTo>
                    <a:pt x="248" y="67"/>
                  </a:lnTo>
                  <a:lnTo>
                    <a:pt x="251" y="62"/>
                  </a:lnTo>
                  <a:lnTo>
                    <a:pt x="243" y="59"/>
                  </a:lnTo>
                  <a:lnTo>
                    <a:pt x="243" y="59"/>
                  </a:lnTo>
                  <a:lnTo>
                    <a:pt x="240" y="59"/>
                  </a:lnTo>
                  <a:lnTo>
                    <a:pt x="240" y="62"/>
                  </a:lnTo>
                  <a:lnTo>
                    <a:pt x="237" y="62"/>
                  </a:lnTo>
                  <a:lnTo>
                    <a:pt x="237" y="62"/>
                  </a:lnTo>
                  <a:lnTo>
                    <a:pt x="235" y="62"/>
                  </a:lnTo>
                  <a:lnTo>
                    <a:pt x="235" y="62"/>
                  </a:lnTo>
                  <a:lnTo>
                    <a:pt x="235" y="59"/>
                  </a:lnTo>
                  <a:lnTo>
                    <a:pt x="237" y="59"/>
                  </a:lnTo>
                  <a:lnTo>
                    <a:pt x="237" y="59"/>
                  </a:lnTo>
                  <a:lnTo>
                    <a:pt x="240" y="56"/>
                  </a:lnTo>
                  <a:lnTo>
                    <a:pt x="237" y="54"/>
                  </a:lnTo>
                  <a:lnTo>
                    <a:pt x="240" y="54"/>
                  </a:lnTo>
                  <a:lnTo>
                    <a:pt x="240" y="51"/>
                  </a:lnTo>
                  <a:lnTo>
                    <a:pt x="240" y="51"/>
                  </a:lnTo>
                  <a:lnTo>
                    <a:pt x="240" y="51"/>
                  </a:lnTo>
                  <a:lnTo>
                    <a:pt x="237" y="51"/>
                  </a:lnTo>
                  <a:lnTo>
                    <a:pt x="235" y="51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32" y="48"/>
                  </a:lnTo>
                  <a:lnTo>
                    <a:pt x="229" y="51"/>
                  </a:lnTo>
                  <a:lnTo>
                    <a:pt x="229" y="54"/>
                  </a:lnTo>
                  <a:lnTo>
                    <a:pt x="229" y="54"/>
                  </a:lnTo>
                  <a:lnTo>
                    <a:pt x="227" y="54"/>
                  </a:lnTo>
                  <a:lnTo>
                    <a:pt x="227" y="51"/>
                  </a:lnTo>
                  <a:lnTo>
                    <a:pt x="227" y="48"/>
                  </a:lnTo>
                  <a:lnTo>
                    <a:pt x="227" y="48"/>
                  </a:lnTo>
                  <a:lnTo>
                    <a:pt x="224" y="48"/>
                  </a:lnTo>
                  <a:lnTo>
                    <a:pt x="224" y="46"/>
                  </a:lnTo>
                  <a:lnTo>
                    <a:pt x="224" y="46"/>
                  </a:lnTo>
                  <a:lnTo>
                    <a:pt x="224" y="43"/>
                  </a:lnTo>
                  <a:lnTo>
                    <a:pt x="224" y="43"/>
                  </a:lnTo>
                  <a:lnTo>
                    <a:pt x="221" y="46"/>
                  </a:lnTo>
                  <a:lnTo>
                    <a:pt x="221" y="43"/>
                  </a:lnTo>
                  <a:lnTo>
                    <a:pt x="219" y="43"/>
                  </a:lnTo>
                  <a:lnTo>
                    <a:pt x="219" y="46"/>
                  </a:lnTo>
                  <a:lnTo>
                    <a:pt x="216" y="46"/>
                  </a:lnTo>
                  <a:lnTo>
                    <a:pt x="213" y="46"/>
                  </a:lnTo>
                  <a:lnTo>
                    <a:pt x="213" y="46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8" y="43"/>
                  </a:lnTo>
                  <a:lnTo>
                    <a:pt x="208" y="43"/>
                  </a:lnTo>
                  <a:lnTo>
                    <a:pt x="208" y="46"/>
                  </a:lnTo>
                  <a:lnTo>
                    <a:pt x="208" y="46"/>
                  </a:lnTo>
                  <a:lnTo>
                    <a:pt x="205" y="46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5" y="43"/>
                  </a:lnTo>
                  <a:lnTo>
                    <a:pt x="203" y="43"/>
                  </a:lnTo>
                  <a:lnTo>
                    <a:pt x="203" y="40"/>
                  </a:lnTo>
                  <a:lnTo>
                    <a:pt x="203" y="40"/>
                  </a:lnTo>
                  <a:lnTo>
                    <a:pt x="203" y="38"/>
                  </a:lnTo>
                  <a:lnTo>
                    <a:pt x="203" y="35"/>
                  </a:lnTo>
                  <a:lnTo>
                    <a:pt x="203" y="35"/>
                  </a:lnTo>
                  <a:lnTo>
                    <a:pt x="203" y="32"/>
                  </a:lnTo>
                  <a:lnTo>
                    <a:pt x="203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27"/>
                  </a:lnTo>
                  <a:lnTo>
                    <a:pt x="205" y="24"/>
                  </a:lnTo>
                  <a:lnTo>
                    <a:pt x="203" y="21"/>
                  </a:lnTo>
                  <a:lnTo>
                    <a:pt x="203" y="24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89" y="19"/>
                  </a:lnTo>
                  <a:lnTo>
                    <a:pt x="189" y="21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7" y="16"/>
                  </a:lnTo>
                  <a:lnTo>
                    <a:pt x="187" y="13"/>
                  </a:lnTo>
                  <a:lnTo>
                    <a:pt x="187" y="13"/>
                  </a:lnTo>
                  <a:lnTo>
                    <a:pt x="189" y="11"/>
                  </a:lnTo>
                  <a:lnTo>
                    <a:pt x="192" y="5"/>
                  </a:lnTo>
                  <a:lnTo>
                    <a:pt x="189" y="3"/>
                  </a:lnTo>
                  <a:lnTo>
                    <a:pt x="189" y="0"/>
                  </a:lnTo>
                  <a:lnTo>
                    <a:pt x="187" y="0"/>
                  </a:lnTo>
                  <a:lnTo>
                    <a:pt x="184" y="3"/>
                  </a:lnTo>
                  <a:lnTo>
                    <a:pt x="181" y="3"/>
                  </a:lnTo>
                  <a:lnTo>
                    <a:pt x="179" y="5"/>
                  </a:lnTo>
                  <a:lnTo>
                    <a:pt x="176" y="8"/>
                  </a:lnTo>
                  <a:lnTo>
                    <a:pt x="173" y="8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6" y="13"/>
                  </a:lnTo>
                  <a:lnTo>
                    <a:pt x="179" y="16"/>
                  </a:lnTo>
                  <a:lnTo>
                    <a:pt x="173" y="24"/>
                  </a:lnTo>
                  <a:lnTo>
                    <a:pt x="171" y="21"/>
                  </a:lnTo>
                  <a:lnTo>
                    <a:pt x="171" y="24"/>
                  </a:lnTo>
                  <a:lnTo>
                    <a:pt x="168" y="24"/>
                  </a:lnTo>
                  <a:lnTo>
                    <a:pt x="165" y="24"/>
                  </a:lnTo>
                  <a:lnTo>
                    <a:pt x="165" y="21"/>
                  </a:lnTo>
                  <a:lnTo>
                    <a:pt x="163" y="21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57" y="21"/>
                  </a:lnTo>
                  <a:lnTo>
                    <a:pt x="157" y="19"/>
                  </a:lnTo>
                  <a:lnTo>
                    <a:pt x="155" y="16"/>
                  </a:lnTo>
                  <a:lnTo>
                    <a:pt x="152" y="19"/>
                  </a:lnTo>
                  <a:lnTo>
                    <a:pt x="152" y="16"/>
                  </a:lnTo>
                  <a:lnTo>
                    <a:pt x="149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4" y="16"/>
                  </a:lnTo>
                  <a:lnTo>
                    <a:pt x="141" y="19"/>
                  </a:lnTo>
                  <a:lnTo>
                    <a:pt x="133" y="16"/>
                  </a:lnTo>
                  <a:lnTo>
                    <a:pt x="131" y="19"/>
                  </a:lnTo>
                  <a:lnTo>
                    <a:pt x="131" y="16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28" y="13"/>
                  </a:lnTo>
                  <a:lnTo>
                    <a:pt x="125" y="13"/>
                  </a:lnTo>
                  <a:lnTo>
                    <a:pt x="123" y="16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3" y="21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7" y="24"/>
                  </a:lnTo>
                  <a:lnTo>
                    <a:pt x="115" y="24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09" y="35"/>
                  </a:lnTo>
                  <a:lnTo>
                    <a:pt x="109" y="35"/>
                  </a:lnTo>
                  <a:lnTo>
                    <a:pt x="107" y="38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3" y="40"/>
                  </a:lnTo>
                  <a:lnTo>
                    <a:pt x="93" y="38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51"/>
                  </a:lnTo>
                  <a:lnTo>
                    <a:pt x="91" y="51"/>
                  </a:lnTo>
                  <a:lnTo>
                    <a:pt x="91" y="54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9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91" y="62"/>
                  </a:lnTo>
                  <a:lnTo>
                    <a:pt x="88" y="64"/>
                  </a:lnTo>
                  <a:lnTo>
                    <a:pt x="85" y="64"/>
                  </a:lnTo>
                  <a:lnTo>
                    <a:pt x="83" y="64"/>
                  </a:lnTo>
                  <a:lnTo>
                    <a:pt x="83" y="62"/>
                  </a:lnTo>
                  <a:lnTo>
                    <a:pt x="80" y="64"/>
                  </a:lnTo>
                  <a:lnTo>
                    <a:pt x="77" y="64"/>
                  </a:lnTo>
                  <a:lnTo>
                    <a:pt x="75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7" y="67"/>
                  </a:lnTo>
                  <a:lnTo>
                    <a:pt x="67" y="70"/>
                  </a:lnTo>
                  <a:lnTo>
                    <a:pt x="67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6" y="72"/>
                  </a:lnTo>
                  <a:lnTo>
                    <a:pt x="56" y="75"/>
                  </a:lnTo>
                  <a:lnTo>
                    <a:pt x="56" y="75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3" y="80"/>
                  </a:lnTo>
                  <a:lnTo>
                    <a:pt x="51" y="80"/>
                  </a:lnTo>
                  <a:lnTo>
                    <a:pt x="51" y="80"/>
                  </a:lnTo>
                  <a:lnTo>
                    <a:pt x="48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7" y="80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7" y="91"/>
                  </a:lnTo>
                  <a:lnTo>
                    <a:pt x="37" y="94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6"/>
                  </a:lnTo>
                  <a:lnTo>
                    <a:pt x="29" y="96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4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3" y="110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8" y="107"/>
                  </a:lnTo>
                  <a:lnTo>
                    <a:pt x="8" y="110"/>
                  </a:lnTo>
                  <a:lnTo>
                    <a:pt x="8" y="112"/>
                  </a:lnTo>
                  <a:lnTo>
                    <a:pt x="8" y="115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3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2" y="128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11" y="131"/>
                  </a:lnTo>
                  <a:lnTo>
                    <a:pt x="11" y="131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39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29" y="136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2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5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1" y="142"/>
                  </a:lnTo>
                  <a:lnTo>
                    <a:pt x="51" y="139"/>
                  </a:lnTo>
                  <a:lnTo>
                    <a:pt x="56" y="144"/>
                  </a:lnTo>
                  <a:lnTo>
                    <a:pt x="61" y="144"/>
                  </a:lnTo>
                  <a:lnTo>
                    <a:pt x="61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39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7" y="134"/>
                  </a:lnTo>
                  <a:lnTo>
                    <a:pt x="67" y="131"/>
                  </a:lnTo>
                  <a:lnTo>
                    <a:pt x="69" y="128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72" y="126"/>
                  </a:lnTo>
                  <a:lnTo>
                    <a:pt x="75" y="123"/>
                  </a:lnTo>
                  <a:lnTo>
                    <a:pt x="75" y="123"/>
                  </a:lnTo>
                  <a:lnTo>
                    <a:pt x="75" y="126"/>
                  </a:lnTo>
                  <a:lnTo>
                    <a:pt x="77" y="128"/>
                  </a:lnTo>
                  <a:lnTo>
                    <a:pt x="80" y="128"/>
                  </a:lnTo>
                  <a:lnTo>
                    <a:pt x="80" y="131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39"/>
                  </a:lnTo>
                  <a:lnTo>
                    <a:pt x="83" y="142"/>
                  </a:lnTo>
                  <a:lnTo>
                    <a:pt x="83" y="142"/>
                  </a:lnTo>
                  <a:lnTo>
                    <a:pt x="85" y="144"/>
                  </a:lnTo>
                  <a:lnTo>
                    <a:pt x="83" y="147"/>
                  </a:lnTo>
                  <a:lnTo>
                    <a:pt x="85" y="150"/>
                  </a:lnTo>
                  <a:lnTo>
                    <a:pt x="85" y="152"/>
                  </a:lnTo>
                  <a:lnTo>
                    <a:pt x="88" y="152"/>
                  </a:lnTo>
                  <a:lnTo>
                    <a:pt x="88" y="155"/>
                  </a:lnTo>
                  <a:lnTo>
                    <a:pt x="88" y="152"/>
                  </a:lnTo>
                  <a:lnTo>
                    <a:pt x="93" y="155"/>
                  </a:lnTo>
                  <a:lnTo>
                    <a:pt x="93" y="158"/>
                  </a:lnTo>
                  <a:lnTo>
                    <a:pt x="96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101" y="155"/>
                  </a:lnTo>
                  <a:lnTo>
                    <a:pt x="104" y="158"/>
                  </a:lnTo>
                  <a:lnTo>
                    <a:pt x="107" y="160"/>
                  </a:lnTo>
                  <a:lnTo>
                    <a:pt x="115" y="166"/>
                  </a:lnTo>
                  <a:lnTo>
                    <a:pt x="120" y="160"/>
                  </a:lnTo>
                  <a:lnTo>
                    <a:pt x="123" y="160"/>
                  </a:lnTo>
                  <a:lnTo>
                    <a:pt x="123" y="163"/>
                  </a:lnTo>
                  <a:lnTo>
                    <a:pt x="123" y="163"/>
                  </a:lnTo>
                  <a:lnTo>
                    <a:pt x="123" y="166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3" y="171"/>
                  </a:lnTo>
                  <a:lnTo>
                    <a:pt x="120" y="171"/>
                  </a:lnTo>
                  <a:lnTo>
                    <a:pt x="120" y="174"/>
                  </a:lnTo>
                  <a:lnTo>
                    <a:pt x="120" y="174"/>
                  </a:lnTo>
                  <a:lnTo>
                    <a:pt x="117" y="174"/>
                  </a:lnTo>
                  <a:lnTo>
                    <a:pt x="117" y="176"/>
                  </a:lnTo>
                  <a:lnTo>
                    <a:pt x="115" y="176"/>
                  </a:lnTo>
                  <a:lnTo>
                    <a:pt x="115" y="176"/>
                  </a:lnTo>
                  <a:lnTo>
                    <a:pt x="115" y="179"/>
                  </a:lnTo>
                  <a:lnTo>
                    <a:pt x="115" y="179"/>
                  </a:lnTo>
                  <a:lnTo>
                    <a:pt x="115" y="182"/>
                  </a:lnTo>
                  <a:lnTo>
                    <a:pt x="115" y="182"/>
                  </a:lnTo>
                  <a:lnTo>
                    <a:pt x="112" y="182"/>
                  </a:lnTo>
                  <a:lnTo>
                    <a:pt x="112" y="182"/>
                  </a:lnTo>
                  <a:lnTo>
                    <a:pt x="109" y="184"/>
                  </a:lnTo>
                  <a:lnTo>
                    <a:pt x="107" y="184"/>
                  </a:lnTo>
                  <a:lnTo>
                    <a:pt x="109" y="190"/>
                  </a:lnTo>
                  <a:lnTo>
                    <a:pt x="107" y="190"/>
                  </a:lnTo>
                  <a:lnTo>
                    <a:pt x="109" y="193"/>
                  </a:lnTo>
                  <a:lnTo>
                    <a:pt x="115" y="195"/>
                  </a:lnTo>
                  <a:lnTo>
                    <a:pt x="115" y="198"/>
                  </a:lnTo>
                  <a:lnTo>
                    <a:pt x="120" y="198"/>
                  </a:lnTo>
                  <a:lnTo>
                    <a:pt x="120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5" y="195"/>
                  </a:lnTo>
                  <a:lnTo>
                    <a:pt x="125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0"/>
                  </a:lnTo>
                  <a:lnTo>
                    <a:pt x="128" y="190"/>
                  </a:lnTo>
                  <a:lnTo>
                    <a:pt x="128" y="187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6" y="184"/>
                  </a:lnTo>
                  <a:lnTo>
                    <a:pt x="133" y="184"/>
                  </a:lnTo>
                  <a:lnTo>
                    <a:pt x="133" y="184"/>
                  </a:lnTo>
                  <a:lnTo>
                    <a:pt x="133" y="187"/>
                  </a:lnTo>
                  <a:lnTo>
                    <a:pt x="131" y="190"/>
                  </a:lnTo>
                  <a:lnTo>
                    <a:pt x="131" y="190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28" y="195"/>
                  </a:lnTo>
                  <a:lnTo>
                    <a:pt x="128" y="195"/>
                  </a:lnTo>
                  <a:lnTo>
                    <a:pt x="125" y="195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8" y="201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31" y="198"/>
                  </a:lnTo>
                  <a:lnTo>
                    <a:pt x="131" y="195"/>
                  </a:lnTo>
                  <a:lnTo>
                    <a:pt x="133" y="195"/>
                  </a:lnTo>
                  <a:lnTo>
                    <a:pt x="136" y="195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41" y="193"/>
                  </a:lnTo>
                  <a:lnTo>
                    <a:pt x="144" y="193"/>
                  </a:lnTo>
                  <a:lnTo>
                    <a:pt x="144" y="190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7" y="195"/>
                  </a:lnTo>
                  <a:lnTo>
                    <a:pt x="149" y="198"/>
                  </a:lnTo>
                  <a:lnTo>
                    <a:pt x="149" y="201"/>
                  </a:lnTo>
                  <a:lnTo>
                    <a:pt x="149" y="201"/>
                  </a:lnTo>
                  <a:lnTo>
                    <a:pt x="149" y="203"/>
                  </a:lnTo>
                  <a:lnTo>
                    <a:pt x="149" y="206"/>
                  </a:lnTo>
                  <a:lnTo>
                    <a:pt x="152" y="209"/>
                  </a:lnTo>
                  <a:lnTo>
                    <a:pt x="149" y="20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2" name="Freeform 8940">
              <a:extLst>
                <a:ext uri="{FF2B5EF4-FFF2-40B4-BE49-F238E27FC236}">
                  <a16:creationId xmlns:a16="http://schemas.microsoft.com/office/drawing/2014/main" id="{7F0D6C7E-1E2E-B242-BC13-86FF32046422}"/>
                </a:ext>
              </a:extLst>
            </p:cNvPr>
            <p:cNvSpPr/>
            <p:nvPr/>
          </p:nvSpPr>
          <p:spPr bwMode="auto">
            <a:xfrm>
              <a:off x="1904204" y="2898776"/>
              <a:ext cx="952500" cy="725488"/>
            </a:xfrm>
            <a:custGeom>
              <a:avLst/>
              <a:gdLst>
                <a:gd name="T0" fmla="*/ 120 w 600"/>
                <a:gd name="T1" fmla="*/ 22 h 457"/>
                <a:gd name="T2" fmla="*/ 90 w 600"/>
                <a:gd name="T3" fmla="*/ 57 h 457"/>
                <a:gd name="T4" fmla="*/ 80 w 600"/>
                <a:gd name="T5" fmla="*/ 89 h 457"/>
                <a:gd name="T6" fmla="*/ 64 w 600"/>
                <a:gd name="T7" fmla="*/ 118 h 457"/>
                <a:gd name="T8" fmla="*/ 50 w 600"/>
                <a:gd name="T9" fmla="*/ 131 h 457"/>
                <a:gd name="T10" fmla="*/ 32 w 600"/>
                <a:gd name="T11" fmla="*/ 134 h 457"/>
                <a:gd name="T12" fmla="*/ 5 w 600"/>
                <a:gd name="T13" fmla="*/ 134 h 457"/>
                <a:gd name="T14" fmla="*/ 0 w 600"/>
                <a:gd name="T15" fmla="*/ 153 h 457"/>
                <a:gd name="T16" fmla="*/ 2 w 600"/>
                <a:gd name="T17" fmla="*/ 169 h 457"/>
                <a:gd name="T18" fmla="*/ 18 w 600"/>
                <a:gd name="T19" fmla="*/ 185 h 457"/>
                <a:gd name="T20" fmla="*/ 24 w 600"/>
                <a:gd name="T21" fmla="*/ 196 h 457"/>
                <a:gd name="T22" fmla="*/ 32 w 600"/>
                <a:gd name="T23" fmla="*/ 206 h 457"/>
                <a:gd name="T24" fmla="*/ 24 w 600"/>
                <a:gd name="T25" fmla="*/ 228 h 457"/>
                <a:gd name="T26" fmla="*/ 56 w 600"/>
                <a:gd name="T27" fmla="*/ 225 h 457"/>
                <a:gd name="T28" fmla="*/ 74 w 600"/>
                <a:gd name="T29" fmla="*/ 228 h 457"/>
                <a:gd name="T30" fmla="*/ 128 w 600"/>
                <a:gd name="T31" fmla="*/ 281 h 457"/>
                <a:gd name="T32" fmla="*/ 147 w 600"/>
                <a:gd name="T33" fmla="*/ 292 h 457"/>
                <a:gd name="T34" fmla="*/ 157 w 600"/>
                <a:gd name="T35" fmla="*/ 278 h 457"/>
                <a:gd name="T36" fmla="*/ 179 w 600"/>
                <a:gd name="T37" fmla="*/ 294 h 457"/>
                <a:gd name="T38" fmla="*/ 189 w 600"/>
                <a:gd name="T39" fmla="*/ 313 h 457"/>
                <a:gd name="T40" fmla="*/ 189 w 600"/>
                <a:gd name="T41" fmla="*/ 337 h 457"/>
                <a:gd name="T42" fmla="*/ 195 w 600"/>
                <a:gd name="T43" fmla="*/ 350 h 457"/>
                <a:gd name="T44" fmla="*/ 216 w 600"/>
                <a:gd name="T45" fmla="*/ 367 h 457"/>
                <a:gd name="T46" fmla="*/ 240 w 600"/>
                <a:gd name="T47" fmla="*/ 364 h 457"/>
                <a:gd name="T48" fmla="*/ 259 w 600"/>
                <a:gd name="T49" fmla="*/ 345 h 457"/>
                <a:gd name="T50" fmla="*/ 291 w 600"/>
                <a:gd name="T51" fmla="*/ 350 h 457"/>
                <a:gd name="T52" fmla="*/ 317 w 600"/>
                <a:gd name="T53" fmla="*/ 329 h 457"/>
                <a:gd name="T54" fmla="*/ 331 w 600"/>
                <a:gd name="T55" fmla="*/ 350 h 457"/>
                <a:gd name="T56" fmla="*/ 336 w 600"/>
                <a:gd name="T57" fmla="*/ 375 h 457"/>
                <a:gd name="T58" fmla="*/ 352 w 600"/>
                <a:gd name="T59" fmla="*/ 377 h 457"/>
                <a:gd name="T60" fmla="*/ 365 w 600"/>
                <a:gd name="T61" fmla="*/ 383 h 457"/>
                <a:gd name="T62" fmla="*/ 382 w 600"/>
                <a:gd name="T63" fmla="*/ 399 h 457"/>
                <a:gd name="T64" fmla="*/ 440 w 600"/>
                <a:gd name="T65" fmla="*/ 439 h 457"/>
                <a:gd name="T66" fmla="*/ 518 w 600"/>
                <a:gd name="T67" fmla="*/ 439 h 457"/>
                <a:gd name="T68" fmla="*/ 547 w 600"/>
                <a:gd name="T69" fmla="*/ 404 h 457"/>
                <a:gd name="T70" fmla="*/ 534 w 600"/>
                <a:gd name="T71" fmla="*/ 385 h 457"/>
                <a:gd name="T72" fmla="*/ 542 w 600"/>
                <a:gd name="T73" fmla="*/ 375 h 457"/>
                <a:gd name="T74" fmla="*/ 560 w 600"/>
                <a:gd name="T75" fmla="*/ 383 h 457"/>
                <a:gd name="T76" fmla="*/ 574 w 600"/>
                <a:gd name="T77" fmla="*/ 369 h 457"/>
                <a:gd name="T78" fmla="*/ 587 w 600"/>
                <a:gd name="T79" fmla="*/ 359 h 457"/>
                <a:gd name="T80" fmla="*/ 595 w 600"/>
                <a:gd name="T81" fmla="*/ 348 h 457"/>
                <a:gd name="T82" fmla="*/ 587 w 600"/>
                <a:gd name="T83" fmla="*/ 318 h 457"/>
                <a:gd name="T84" fmla="*/ 494 w 600"/>
                <a:gd name="T85" fmla="*/ 249 h 457"/>
                <a:gd name="T86" fmla="*/ 472 w 600"/>
                <a:gd name="T87" fmla="*/ 244 h 457"/>
                <a:gd name="T88" fmla="*/ 448 w 600"/>
                <a:gd name="T89" fmla="*/ 257 h 457"/>
                <a:gd name="T90" fmla="*/ 427 w 600"/>
                <a:gd name="T91" fmla="*/ 244 h 457"/>
                <a:gd name="T92" fmla="*/ 414 w 600"/>
                <a:gd name="T93" fmla="*/ 233 h 457"/>
                <a:gd name="T94" fmla="*/ 398 w 600"/>
                <a:gd name="T95" fmla="*/ 209 h 457"/>
                <a:gd name="T96" fmla="*/ 392 w 600"/>
                <a:gd name="T97" fmla="*/ 204 h 457"/>
                <a:gd name="T98" fmla="*/ 376 w 600"/>
                <a:gd name="T99" fmla="*/ 193 h 457"/>
                <a:gd name="T100" fmla="*/ 347 w 600"/>
                <a:gd name="T101" fmla="*/ 204 h 457"/>
                <a:gd name="T102" fmla="*/ 339 w 600"/>
                <a:gd name="T103" fmla="*/ 182 h 457"/>
                <a:gd name="T104" fmla="*/ 320 w 600"/>
                <a:gd name="T105" fmla="*/ 174 h 457"/>
                <a:gd name="T106" fmla="*/ 299 w 600"/>
                <a:gd name="T107" fmla="*/ 166 h 457"/>
                <a:gd name="T108" fmla="*/ 285 w 600"/>
                <a:gd name="T109" fmla="*/ 150 h 457"/>
                <a:gd name="T110" fmla="*/ 269 w 600"/>
                <a:gd name="T111" fmla="*/ 145 h 457"/>
                <a:gd name="T112" fmla="*/ 251 w 600"/>
                <a:gd name="T113" fmla="*/ 110 h 457"/>
                <a:gd name="T114" fmla="*/ 248 w 600"/>
                <a:gd name="T115" fmla="*/ 97 h 457"/>
                <a:gd name="T116" fmla="*/ 256 w 600"/>
                <a:gd name="T117" fmla="*/ 75 h 457"/>
                <a:gd name="T118" fmla="*/ 259 w 600"/>
                <a:gd name="T119" fmla="*/ 49 h 457"/>
                <a:gd name="T120" fmla="*/ 248 w 600"/>
                <a:gd name="T121" fmla="*/ 24 h 457"/>
                <a:gd name="T122" fmla="*/ 240 w 600"/>
                <a:gd name="T123" fmla="*/ 6 h 457"/>
                <a:gd name="T124" fmla="*/ 213 w 600"/>
                <a:gd name="T125" fmla="*/ 6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00" h="457" extrusionOk="0">
                  <a:moveTo>
                    <a:pt x="147" y="16"/>
                  </a:moveTo>
                  <a:lnTo>
                    <a:pt x="141" y="19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6" y="19"/>
                  </a:lnTo>
                  <a:lnTo>
                    <a:pt x="136" y="16"/>
                  </a:lnTo>
                  <a:lnTo>
                    <a:pt x="133" y="16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5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9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7" y="35"/>
                  </a:lnTo>
                  <a:lnTo>
                    <a:pt x="114" y="35"/>
                  </a:lnTo>
                  <a:lnTo>
                    <a:pt x="112" y="38"/>
                  </a:lnTo>
                  <a:lnTo>
                    <a:pt x="106" y="43"/>
                  </a:lnTo>
                  <a:lnTo>
                    <a:pt x="104" y="49"/>
                  </a:lnTo>
                  <a:lnTo>
                    <a:pt x="101" y="51"/>
                  </a:lnTo>
                  <a:lnTo>
                    <a:pt x="98" y="54"/>
                  </a:lnTo>
                  <a:lnTo>
                    <a:pt x="96" y="54"/>
                  </a:lnTo>
                  <a:lnTo>
                    <a:pt x="93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9"/>
                  </a:lnTo>
                  <a:lnTo>
                    <a:pt x="88" y="59"/>
                  </a:lnTo>
                  <a:lnTo>
                    <a:pt x="88" y="62"/>
                  </a:lnTo>
                  <a:lnTo>
                    <a:pt x="85" y="65"/>
                  </a:lnTo>
                  <a:lnTo>
                    <a:pt x="82" y="65"/>
                  </a:lnTo>
                  <a:lnTo>
                    <a:pt x="82" y="67"/>
                  </a:lnTo>
                  <a:lnTo>
                    <a:pt x="82" y="70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7" y="73"/>
                  </a:lnTo>
                  <a:lnTo>
                    <a:pt x="74" y="73"/>
                  </a:lnTo>
                  <a:lnTo>
                    <a:pt x="72" y="73"/>
                  </a:lnTo>
                  <a:lnTo>
                    <a:pt x="72" y="75"/>
                  </a:lnTo>
                  <a:lnTo>
                    <a:pt x="80" y="81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80" y="89"/>
                  </a:lnTo>
                  <a:lnTo>
                    <a:pt x="82" y="91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1"/>
                  </a:lnTo>
                  <a:lnTo>
                    <a:pt x="74" y="94"/>
                  </a:lnTo>
                  <a:lnTo>
                    <a:pt x="69" y="99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6" y="110"/>
                  </a:lnTo>
                  <a:lnTo>
                    <a:pt x="69" y="113"/>
                  </a:lnTo>
                  <a:lnTo>
                    <a:pt x="72" y="115"/>
                  </a:lnTo>
                  <a:lnTo>
                    <a:pt x="74" y="115"/>
                  </a:lnTo>
                  <a:lnTo>
                    <a:pt x="74" y="118"/>
                  </a:lnTo>
                  <a:lnTo>
                    <a:pt x="72" y="121"/>
                  </a:lnTo>
                  <a:lnTo>
                    <a:pt x="66" y="123"/>
                  </a:lnTo>
                  <a:lnTo>
                    <a:pt x="66" y="115"/>
                  </a:lnTo>
                  <a:lnTo>
                    <a:pt x="64" y="118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58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0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48" y="131"/>
                  </a:lnTo>
                  <a:lnTo>
                    <a:pt x="48" y="134"/>
                  </a:lnTo>
                  <a:lnTo>
                    <a:pt x="45" y="134"/>
                  </a:lnTo>
                  <a:lnTo>
                    <a:pt x="42" y="131"/>
                  </a:lnTo>
                  <a:lnTo>
                    <a:pt x="40" y="134"/>
                  </a:lnTo>
                  <a:lnTo>
                    <a:pt x="40" y="131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37" y="137"/>
                  </a:lnTo>
                  <a:lnTo>
                    <a:pt x="34" y="137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2" y="137"/>
                  </a:lnTo>
                  <a:lnTo>
                    <a:pt x="29" y="137"/>
                  </a:lnTo>
                  <a:lnTo>
                    <a:pt x="26" y="137"/>
                  </a:lnTo>
                  <a:lnTo>
                    <a:pt x="26" y="134"/>
                  </a:lnTo>
                  <a:lnTo>
                    <a:pt x="24" y="134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18" y="131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0" y="129"/>
                  </a:lnTo>
                  <a:lnTo>
                    <a:pt x="10" y="131"/>
                  </a:lnTo>
                  <a:lnTo>
                    <a:pt x="8" y="134"/>
                  </a:lnTo>
                  <a:lnTo>
                    <a:pt x="5" y="134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2" y="134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9"/>
                  </a:lnTo>
                  <a:lnTo>
                    <a:pt x="2" y="139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5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0"/>
                  </a:lnTo>
                  <a:lnTo>
                    <a:pt x="2" y="153"/>
                  </a:lnTo>
                  <a:lnTo>
                    <a:pt x="0" y="153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0" y="155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61"/>
                  </a:lnTo>
                  <a:lnTo>
                    <a:pt x="8" y="161"/>
                  </a:lnTo>
                  <a:lnTo>
                    <a:pt x="8" y="163"/>
                  </a:lnTo>
                  <a:lnTo>
                    <a:pt x="5" y="163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74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5" y="177"/>
                  </a:lnTo>
                  <a:lnTo>
                    <a:pt x="10" y="174"/>
                  </a:lnTo>
                  <a:lnTo>
                    <a:pt x="13" y="174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8" y="182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21" y="185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5"/>
                  </a:lnTo>
                  <a:lnTo>
                    <a:pt x="24" y="185"/>
                  </a:lnTo>
                  <a:lnTo>
                    <a:pt x="24" y="187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1" y="193"/>
                  </a:lnTo>
                  <a:lnTo>
                    <a:pt x="21" y="196"/>
                  </a:lnTo>
                  <a:lnTo>
                    <a:pt x="24" y="196"/>
                  </a:lnTo>
                  <a:lnTo>
                    <a:pt x="26" y="196"/>
                  </a:lnTo>
                  <a:lnTo>
                    <a:pt x="29" y="198"/>
                  </a:lnTo>
                  <a:lnTo>
                    <a:pt x="29" y="201"/>
                  </a:lnTo>
                  <a:lnTo>
                    <a:pt x="29" y="201"/>
                  </a:lnTo>
                  <a:lnTo>
                    <a:pt x="29" y="201"/>
                  </a:lnTo>
                  <a:lnTo>
                    <a:pt x="26" y="201"/>
                  </a:lnTo>
                  <a:lnTo>
                    <a:pt x="26" y="201"/>
                  </a:lnTo>
                  <a:lnTo>
                    <a:pt x="26" y="201"/>
                  </a:lnTo>
                  <a:lnTo>
                    <a:pt x="24" y="201"/>
                  </a:lnTo>
                  <a:lnTo>
                    <a:pt x="26" y="204"/>
                  </a:lnTo>
                  <a:lnTo>
                    <a:pt x="26" y="204"/>
                  </a:lnTo>
                  <a:lnTo>
                    <a:pt x="29" y="204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32" y="206"/>
                  </a:lnTo>
                  <a:lnTo>
                    <a:pt x="32" y="206"/>
                  </a:lnTo>
                  <a:lnTo>
                    <a:pt x="32" y="209"/>
                  </a:lnTo>
                  <a:lnTo>
                    <a:pt x="29" y="212"/>
                  </a:lnTo>
                  <a:lnTo>
                    <a:pt x="29" y="214"/>
                  </a:lnTo>
                  <a:lnTo>
                    <a:pt x="29" y="214"/>
                  </a:lnTo>
                  <a:lnTo>
                    <a:pt x="26" y="217"/>
                  </a:lnTo>
                  <a:lnTo>
                    <a:pt x="26" y="217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6" y="222"/>
                  </a:lnTo>
                  <a:lnTo>
                    <a:pt x="24" y="225"/>
                  </a:lnTo>
                  <a:lnTo>
                    <a:pt x="24" y="222"/>
                  </a:lnTo>
                  <a:lnTo>
                    <a:pt x="24" y="225"/>
                  </a:lnTo>
                  <a:lnTo>
                    <a:pt x="24" y="228"/>
                  </a:lnTo>
                  <a:lnTo>
                    <a:pt x="24" y="225"/>
                  </a:lnTo>
                  <a:lnTo>
                    <a:pt x="24" y="228"/>
                  </a:lnTo>
                  <a:lnTo>
                    <a:pt x="26" y="230"/>
                  </a:lnTo>
                  <a:lnTo>
                    <a:pt x="26" y="233"/>
                  </a:lnTo>
                  <a:lnTo>
                    <a:pt x="29" y="233"/>
                  </a:lnTo>
                  <a:lnTo>
                    <a:pt x="32" y="233"/>
                  </a:lnTo>
                  <a:lnTo>
                    <a:pt x="34" y="233"/>
                  </a:lnTo>
                  <a:lnTo>
                    <a:pt x="34" y="236"/>
                  </a:lnTo>
                  <a:lnTo>
                    <a:pt x="40" y="233"/>
                  </a:lnTo>
                  <a:lnTo>
                    <a:pt x="40" y="230"/>
                  </a:lnTo>
                  <a:lnTo>
                    <a:pt x="42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28"/>
                  </a:lnTo>
                  <a:lnTo>
                    <a:pt x="53" y="225"/>
                  </a:lnTo>
                  <a:lnTo>
                    <a:pt x="56" y="228"/>
                  </a:lnTo>
                  <a:lnTo>
                    <a:pt x="56" y="225"/>
                  </a:lnTo>
                  <a:lnTo>
                    <a:pt x="58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4" y="228"/>
                  </a:lnTo>
                  <a:lnTo>
                    <a:pt x="64" y="228"/>
                  </a:lnTo>
                  <a:lnTo>
                    <a:pt x="64" y="225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7" y="228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2" y="225"/>
                  </a:lnTo>
                  <a:lnTo>
                    <a:pt x="80" y="228"/>
                  </a:lnTo>
                  <a:lnTo>
                    <a:pt x="80" y="233"/>
                  </a:lnTo>
                  <a:lnTo>
                    <a:pt x="77" y="244"/>
                  </a:lnTo>
                  <a:lnTo>
                    <a:pt x="77" y="257"/>
                  </a:lnTo>
                  <a:lnTo>
                    <a:pt x="77" y="265"/>
                  </a:lnTo>
                  <a:lnTo>
                    <a:pt x="80" y="273"/>
                  </a:lnTo>
                  <a:lnTo>
                    <a:pt x="77" y="276"/>
                  </a:lnTo>
                  <a:lnTo>
                    <a:pt x="88" y="270"/>
                  </a:lnTo>
                  <a:lnTo>
                    <a:pt x="90" y="270"/>
                  </a:lnTo>
                  <a:lnTo>
                    <a:pt x="101" y="268"/>
                  </a:lnTo>
                  <a:lnTo>
                    <a:pt x="114" y="273"/>
                  </a:lnTo>
                  <a:lnTo>
                    <a:pt x="125" y="278"/>
                  </a:lnTo>
                  <a:lnTo>
                    <a:pt x="128" y="281"/>
                  </a:lnTo>
                  <a:lnTo>
                    <a:pt x="128" y="281"/>
                  </a:lnTo>
                  <a:lnTo>
                    <a:pt x="130" y="281"/>
                  </a:lnTo>
                  <a:lnTo>
                    <a:pt x="130" y="281"/>
                  </a:lnTo>
                  <a:lnTo>
                    <a:pt x="130" y="278"/>
                  </a:lnTo>
                  <a:lnTo>
                    <a:pt x="133" y="281"/>
                  </a:lnTo>
                  <a:lnTo>
                    <a:pt x="133" y="278"/>
                  </a:lnTo>
                  <a:lnTo>
                    <a:pt x="136" y="278"/>
                  </a:lnTo>
                  <a:lnTo>
                    <a:pt x="136" y="281"/>
                  </a:lnTo>
                  <a:lnTo>
                    <a:pt x="139" y="281"/>
                  </a:lnTo>
                  <a:lnTo>
                    <a:pt x="136" y="284"/>
                  </a:lnTo>
                  <a:lnTo>
                    <a:pt x="139" y="284"/>
                  </a:lnTo>
                  <a:lnTo>
                    <a:pt x="139" y="284"/>
                  </a:lnTo>
                  <a:lnTo>
                    <a:pt x="141" y="286"/>
                  </a:lnTo>
                  <a:lnTo>
                    <a:pt x="141" y="286"/>
                  </a:lnTo>
                  <a:lnTo>
                    <a:pt x="144" y="289"/>
                  </a:lnTo>
                  <a:lnTo>
                    <a:pt x="144" y="289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49" y="289"/>
                  </a:lnTo>
                  <a:lnTo>
                    <a:pt x="149" y="289"/>
                  </a:lnTo>
                  <a:lnTo>
                    <a:pt x="152" y="286"/>
                  </a:lnTo>
                  <a:lnTo>
                    <a:pt x="155" y="286"/>
                  </a:lnTo>
                  <a:lnTo>
                    <a:pt x="155" y="286"/>
                  </a:lnTo>
                  <a:lnTo>
                    <a:pt x="157" y="286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4"/>
                  </a:lnTo>
                  <a:lnTo>
                    <a:pt x="157" y="284"/>
                  </a:lnTo>
                  <a:lnTo>
                    <a:pt x="157" y="281"/>
                  </a:lnTo>
                  <a:lnTo>
                    <a:pt x="157" y="281"/>
                  </a:lnTo>
                  <a:lnTo>
                    <a:pt x="157" y="278"/>
                  </a:lnTo>
                  <a:lnTo>
                    <a:pt x="157" y="278"/>
                  </a:lnTo>
                  <a:lnTo>
                    <a:pt x="157" y="278"/>
                  </a:lnTo>
                  <a:lnTo>
                    <a:pt x="160" y="276"/>
                  </a:lnTo>
                  <a:lnTo>
                    <a:pt x="163" y="276"/>
                  </a:lnTo>
                  <a:lnTo>
                    <a:pt x="163" y="278"/>
                  </a:lnTo>
                  <a:lnTo>
                    <a:pt x="163" y="278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8" y="281"/>
                  </a:lnTo>
                  <a:lnTo>
                    <a:pt x="168" y="284"/>
                  </a:lnTo>
                  <a:lnTo>
                    <a:pt x="168" y="284"/>
                  </a:lnTo>
                  <a:lnTo>
                    <a:pt x="171" y="286"/>
                  </a:lnTo>
                  <a:lnTo>
                    <a:pt x="171" y="289"/>
                  </a:lnTo>
                  <a:lnTo>
                    <a:pt x="173" y="289"/>
                  </a:lnTo>
                  <a:lnTo>
                    <a:pt x="173" y="292"/>
                  </a:lnTo>
                  <a:lnTo>
                    <a:pt x="173" y="292"/>
                  </a:lnTo>
                  <a:lnTo>
                    <a:pt x="176" y="294"/>
                  </a:lnTo>
                  <a:lnTo>
                    <a:pt x="179" y="294"/>
                  </a:lnTo>
                  <a:lnTo>
                    <a:pt x="179" y="294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300"/>
                  </a:lnTo>
                  <a:lnTo>
                    <a:pt x="181" y="300"/>
                  </a:lnTo>
                  <a:lnTo>
                    <a:pt x="181" y="300"/>
                  </a:lnTo>
                  <a:lnTo>
                    <a:pt x="184" y="300"/>
                  </a:lnTo>
                  <a:lnTo>
                    <a:pt x="184" y="302"/>
                  </a:lnTo>
                  <a:lnTo>
                    <a:pt x="184" y="302"/>
                  </a:lnTo>
                  <a:lnTo>
                    <a:pt x="187" y="305"/>
                  </a:lnTo>
                  <a:lnTo>
                    <a:pt x="184" y="305"/>
                  </a:lnTo>
                  <a:lnTo>
                    <a:pt x="184" y="308"/>
                  </a:lnTo>
                  <a:lnTo>
                    <a:pt x="184" y="308"/>
                  </a:lnTo>
                  <a:lnTo>
                    <a:pt x="187" y="310"/>
                  </a:lnTo>
                  <a:lnTo>
                    <a:pt x="187" y="310"/>
                  </a:lnTo>
                  <a:lnTo>
                    <a:pt x="189" y="310"/>
                  </a:lnTo>
                  <a:lnTo>
                    <a:pt x="189" y="313"/>
                  </a:lnTo>
                  <a:lnTo>
                    <a:pt x="187" y="313"/>
                  </a:lnTo>
                  <a:lnTo>
                    <a:pt x="187" y="316"/>
                  </a:lnTo>
                  <a:lnTo>
                    <a:pt x="187" y="318"/>
                  </a:lnTo>
                  <a:lnTo>
                    <a:pt x="187" y="318"/>
                  </a:lnTo>
                  <a:lnTo>
                    <a:pt x="187" y="321"/>
                  </a:lnTo>
                  <a:lnTo>
                    <a:pt x="189" y="321"/>
                  </a:lnTo>
                  <a:lnTo>
                    <a:pt x="189" y="324"/>
                  </a:lnTo>
                  <a:lnTo>
                    <a:pt x="192" y="324"/>
                  </a:lnTo>
                  <a:lnTo>
                    <a:pt x="189" y="326"/>
                  </a:lnTo>
                  <a:lnTo>
                    <a:pt x="189" y="329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92" y="334"/>
                  </a:lnTo>
                  <a:lnTo>
                    <a:pt x="192" y="334"/>
                  </a:lnTo>
                  <a:lnTo>
                    <a:pt x="189" y="337"/>
                  </a:lnTo>
                  <a:lnTo>
                    <a:pt x="189" y="337"/>
                  </a:lnTo>
                  <a:lnTo>
                    <a:pt x="189" y="337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7" y="337"/>
                  </a:lnTo>
                  <a:lnTo>
                    <a:pt x="187" y="340"/>
                  </a:lnTo>
                  <a:lnTo>
                    <a:pt x="187" y="340"/>
                  </a:lnTo>
                  <a:lnTo>
                    <a:pt x="187" y="342"/>
                  </a:lnTo>
                  <a:lnTo>
                    <a:pt x="189" y="342"/>
                  </a:lnTo>
                  <a:lnTo>
                    <a:pt x="187" y="345"/>
                  </a:lnTo>
                  <a:lnTo>
                    <a:pt x="189" y="345"/>
                  </a:lnTo>
                  <a:lnTo>
                    <a:pt x="189" y="348"/>
                  </a:lnTo>
                  <a:lnTo>
                    <a:pt x="192" y="348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2" y="350"/>
                  </a:lnTo>
                  <a:lnTo>
                    <a:pt x="195" y="350"/>
                  </a:lnTo>
                  <a:lnTo>
                    <a:pt x="197" y="350"/>
                  </a:lnTo>
                  <a:lnTo>
                    <a:pt x="197" y="353"/>
                  </a:lnTo>
                  <a:lnTo>
                    <a:pt x="200" y="353"/>
                  </a:lnTo>
                  <a:lnTo>
                    <a:pt x="200" y="353"/>
                  </a:lnTo>
                  <a:lnTo>
                    <a:pt x="203" y="356"/>
                  </a:lnTo>
                  <a:lnTo>
                    <a:pt x="203" y="356"/>
                  </a:lnTo>
                  <a:lnTo>
                    <a:pt x="205" y="356"/>
                  </a:lnTo>
                  <a:lnTo>
                    <a:pt x="205" y="356"/>
                  </a:lnTo>
                  <a:lnTo>
                    <a:pt x="208" y="359"/>
                  </a:lnTo>
                  <a:lnTo>
                    <a:pt x="211" y="359"/>
                  </a:lnTo>
                  <a:lnTo>
                    <a:pt x="211" y="359"/>
                  </a:lnTo>
                  <a:lnTo>
                    <a:pt x="213" y="359"/>
                  </a:lnTo>
                  <a:lnTo>
                    <a:pt x="213" y="361"/>
                  </a:lnTo>
                  <a:lnTo>
                    <a:pt x="213" y="361"/>
                  </a:lnTo>
                  <a:lnTo>
                    <a:pt x="216" y="364"/>
                  </a:lnTo>
                  <a:lnTo>
                    <a:pt x="213" y="367"/>
                  </a:lnTo>
                  <a:lnTo>
                    <a:pt x="216" y="367"/>
                  </a:lnTo>
                  <a:lnTo>
                    <a:pt x="216" y="367"/>
                  </a:lnTo>
                  <a:lnTo>
                    <a:pt x="219" y="367"/>
                  </a:lnTo>
                  <a:lnTo>
                    <a:pt x="219" y="367"/>
                  </a:lnTo>
                  <a:lnTo>
                    <a:pt x="219" y="367"/>
                  </a:lnTo>
                  <a:lnTo>
                    <a:pt x="221" y="369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24" y="369"/>
                  </a:lnTo>
                  <a:lnTo>
                    <a:pt x="224" y="367"/>
                  </a:lnTo>
                  <a:lnTo>
                    <a:pt x="227" y="367"/>
                  </a:lnTo>
                  <a:lnTo>
                    <a:pt x="227" y="367"/>
                  </a:lnTo>
                  <a:lnTo>
                    <a:pt x="229" y="364"/>
                  </a:lnTo>
                  <a:lnTo>
                    <a:pt x="229" y="364"/>
                  </a:lnTo>
                  <a:lnTo>
                    <a:pt x="235" y="367"/>
                  </a:lnTo>
                  <a:lnTo>
                    <a:pt x="237" y="364"/>
                  </a:lnTo>
                  <a:lnTo>
                    <a:pt x="237" y="364"/>
                  </a:lnTo>
                  <a:lnTo>
                    <a:pt x="240" y="364"/>
                  </a:lnTo>
                  <a:lnTo>
                    <a:pt x="240" y="364"/>
                  </a:lnTo>
                  <a:lnTo>
                    <a:pt x="243" y="353"/>
                  </a:lnTo>
                  <a:lnTo>
                    <a:pt x="245" y="353"/>
                  </a:lnTo>
                  <a:lnTo>
                    <a:pt x="248" y="350"/>
                  </a:lnTo>
                  <a:lnTo>
                    <a:pt x="248" y="350"/>
                  </a:lnTo>
                  <a:lnTo>
                    <a:pt x="248" y="353"/>
                  </a:lnTo>
                  <a:lnTo>
                    <a:pt x="251" y="353"/>
                  </a:lnTo>
                  <a:lnTo>
                    <a:pt x="251" y="350"/>
                  </a:lnTo>
                  <a:lnTo>
                    <a:pt x="253" y="350"/>
                  </a:lnTo>
                  <a:lnTo>
                    <a:pt x="253" y="348"/>
                  </a:lnTo>
                  <a:lnTo>
                    <a:pt x="251" y="348"/>
                  </a:lnTo>
                  <a:lnTo>
                    <a:pt x="251" y="345"/>
                  </a:lnTo>
                  <a:lnTo>
                    <a:pt x="253" y="342"/>
                  </a:lnTo>
                  <a:lnTo>
                    <a:pt x="256" y="342"/>
                  </a:lnTo>
                  <a:lnTo>
                    <a:pt x="259" y="342"/>
                  </a:lnTo>
                  <a:lnTo>
                    <a:pt x="261" y="342"/>
                  </a:lnTo>
                  <a:lnTo>
                    <a:pt x="259" y="345"/>
                  </a:lnTo>
                  <a:lnTo>
                    <a:pt x="259" y="348"/>
                  </a:lnTo>
                  <a:lnTo>
                    <a:pt x="261" y="345"/>
                  </a:lnTo>
                  <a:lnTo>
                    <a:pt x="269" y="348"/>
                  </a:lnTo>
                  <a:lnTo>
                    <a:pt x="272" y="345"/>
                  </a:lnTo>
                  <a:lnTo>
                    <a:pt x="275" y="345"/>
                  </a:lnTo>
                  <a:lnTo>
                    <a:pt x="275" y="345"/>
                  </a:lnTo>
                  <a:lnTo>
                    <a:pt x="277" y="345"/>
                  </a:lnTo>
                  <a:lnTo>
                    <a:pt x="280" y="345"/>
                  </a:lnTo>
                  <a:lnTo>
                    <a:pt x="280" y="348"/>
                  </a:lnTo>
                  <a:lnTo>
                    <a:pt x="283" y="345"/>
                  </a:lnTo>
                  <a:lnTo>
                    <a:pt x="285" y="348"/>
                  </a:lnTo>
                  <a:lnTo>
                    <a:pt x="285" y="350"/>
                  </a:lnTo>
                  <a:lnTo>
                    <a:pt x="288" y="353"/>
                  </a:lnTo>
                  <a:lnTo>
                    <a:pt x="288" y="353"/>
                  </a:lnTo>
                  <a:lnTo>
                    <a:pt x="291" y="353"/>
                  </a:lnTo>
                  <a:lnTo>
                    <a:pt x="291" y="353"/>
                  </a:lnTo>
                  <a:lnTo>
                    <a:pt x="291" y="350"/>
                  </a:lnTo>
                  <a:lnTo>
                    <a:pt x="293" y="350"/>
                  </a:lnTo>
                  <a:lnTo>
                    <a:pt x="293" y="353"/>
                  </a:lnTo>
                  <a:lnTo>
                    <a:pt x="296" y="353"/>
                  </a:lnTo>
                  <a:lnTo>
                    <a:pt x="299" y="353"/>
                  </a:lnTo>
                  <a:lnTo>
                    <a:pt x="299" y="350"/>
                  </a:lnTo>
                  <a:lnTo>
                    <a:pt x="301" y="353"/>
                  </a:lnTo>
                  <a:lnTo>
                    <a:pt x="307" y="345"/>
                  </a:lnTo>
                  <a:lnTo>
                    <a:pt x="304" y="342"/>
                  </a:lnTo>
                  <a:lnTo>
                    <a:pt x="301" y="340"/>
                  </a:lnTo>
                  <a:lnTo>
                    <a:pt x="301" y="340"/>
                  </a:lnTo>
                  <a:lnTo>
                    <a:pt x="301" y="337"/>
                  </a:lnTo>
                  <a:lnTo>
                    <a:pt x="304" y="337"/>
                  </a:lnTo>
                  <a:lnTo>
                    <a:pt x="307" y="334"/>
                  </a:lnTo>
                  <a:lnTo>
                    <a:pt x="309" y="332"/>
                  </a:lnTo>
                  <a:lnTo>
                    <a:pt x="312" y="332"/>
                  </a:lnTo>
                  <a:lnTo>
                    <a:pt x="315" y="329"/>
                  </a:lnTo>
                  <a:lnTo>
                    <a:pt x="317" y="329"/>
                  </a:lnTo>
                  <a:lnTo>
                    <a:pt x="317" y="332"/>
                  </a:lnTo>
                  <a:lnTo>
                    <a:pt x="320" y="334"/>
                  </a:lnTo>
                  <a:lnTo>
                    <a:pt x="317" y="340"/>
                  </a:lnTo>
                  <a:lnTo>
                    <a:pt x="315" y="342"/>
                  </a:lnTo>
                  <a:lnTo>
                    <a:pt x="315" y="342"/>
                  </a:lnTo>
                  <a:lnTo>
                    <a:pt x="315" y="345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7" y="350"/>
                  </a:lnTo>
                  <a:lnTo>
                    <a:pt x="317" y="348"/>
                  </a:lnTo>
                  <a:lnTo>
                    <a:pt x="320" y="348"/>
                  </a:lnTo>
                  <a:lnTo>
                    <a:pt x="320" y="348"/>
                  </a:lnTo>
                  <a:lnTo>
                    <a:pt x="320" y="348"/>
                  </a:lnTo>
                  <a:lnTo>
                    <a:pt x="331" y="353"/>
                  </a:lnTo>
                  <a:lnTo>
                    <a:pt x="331" y="350"/>
                  </a:lnTo>
                  <a:lnTo>
                    <a:pt x="333" y="353"/>
                  </a:lnTo>
                  <a:lnTo>
                    <a:pt x="333" y="356"/>
                  </a:lnTo>
                  <a:lnTo>
                    <a:pt x="333" y="359"/>
                  </a:lnTo>
                  <a:lnTo>
                    <a:pt x="333" y="359"/>
                  </a:lnTo>
                  <a:lnTo>
                    <a:pt x="331" y="359"/>
                  </a:lnTo>
                  <a:lnTo>
                    <a:pt x="331" y="361"/>
                  </a:lnTo>
                  <a:lnTo>
                    <a:pt x="331" y="364"/>
                  </a:lnTo>
                  <a:lnTo>
                    <a:pt x="331" y="364"/>
                  </a:lnTo>
                  <a:lnTo>
                    <a:pt x="331" y="367"/>
                  </a:lnTo>
                  <a:lnTo>
                    <a:pt x="331" y="369"/>
                  </a:lnTo>
                  <a:lnTo>
                    <a:pt x="331" y="369"/>
                  </a:lnTo>
                  <a:lnTo>
                    <a:pt x="331" y="372"/>
                  </a:lnTo>
                  <a:lnTo>
                    <a:pt x="333" y="372"/>
                  </a:lnTo>
                  <a:lnTo>
                    <a:pt x="333" y="372"/>
                  </a:lnTo>
                  <a:lnTo>
                    <a:pt x="333" y="372"/>
                  </a:lnTo>
                  <a:lnTo>
                    <a:pt x="333" y="375"/>
                  </a:lnTo>
                  <a:lnTo>
                    <a:pt x="336" y="375"/>
                  </a:lnTo>
                  <a:lnTo>
                    <a:pt x="336" y="375"/>
                  </a:lnTo>
                  <a:lnTo>
                    <a:pt x="336" y="372"/>
                  </a:lnTo>
                  <a:lnTo>
                    <a:pt x="336" y="372"/>
                  </a:lnTo>
                  <a:lnTo>
                    <a:pt x="339" y="375"/>
                  </a:lnTo>
                  <a:lnTo>
                    <a:pt x="339" y="375"/>
                  </a:lnTo>
                  <a:lnTo>
                    <a:pt x="341" y="375"/>
                  </a:lnTo>
                  <a:lnTo>
                    <a:pt x="341" y="375"/>
                  </a:lnTo>
                  <a:lnTo>
                    <a:pt x="344" y="375"/>
                  </a:lnTo>
                  <a:lnTo>
                    <a:pt x="347" y="375"/>
                  </a:lnTo>
                  <a:lnTo>
                    <a:pt x="347" y="372"/>
                  </a:lnTo>
                  <a:lnTo>
                    <a:pt x="349" y="372"/>
                  </a:lnTo>
                  <a:lnTo>
                    <a:pt x="349" y="375"/>
                  </a:lnTo>
                  <a:lnTo>
                    <a:pt x="352" y="372"/>
                  </a:lnTo>
                  <a:lnTo>
                    <a:pt x="352" y="372"/>
                  </a:lnTo>
                  <a:lnTo>
                    <a:pt x="352" y="375"/>
                  </a:lnTo>
                  <a:lnTo>
                    <a:pt x="352" y="375"/>
                  </a:lnTo>
                  <a:lnTo>
                    <a:pt x="352" y="377"/>
                  </a:lnTo>
                  <a:lnTo>
                    <a:pt x="355" y="377"/>
                  </a:lnTo>
                  <a:lnTo>
                    <a:pt x="355" y="377"/>
                  </a:lnTo>
                  <a:lnTo>
                    <a:pt x="355" y="380"/>
                  </a:lnTo>
                  <a:lnTo>
                    <a:pt x="355" y="383"/>
                  </a:lnTo>
                  <a:lnTo>
                    <a:pt x="357" y="383"/>
                  </a:lnTo>
                  <a:lnTo>
                    <a:pt x="357" y="383"/>
                  </a:lnTo>
                  <a:lnTo>
                    <a:pt x="357" y="380"/>
                  </a:lnTo>
                  <a:lnTo>
                    <a:pt x="360" y="377"/>
                  </a:lnTo>
                  <a:lnTo>
                    <a:pt x="360" y="377"/>
                  </a:lnTo>
                  <a:lnTo>
                    <a:pt x="360" y="377"/>
                  </a:lnTo>
                  <a:lnTo>
                    <a:pt x="363" y="380"/>
                  </a:lnTo>
                  <a:lnTo>
                    <a:pt x="365" y="380"/>
                  </a:lnTo>
                  <a:lnTo>
                    <a:pt x="368" y="380"/>
                  </a:lnTo>
                  <a:lnTo>
                    <a:pt x="368" y="380"/>
                  </a:lnTo>
                  <a:lnTo>
                    <a:pt x="368" y="380"/>
                  </a:lnTo>
                  <a:lnTo>
                    <a:pt x="368" y="383"/>
                  </a:lnTo>
                  <a:lnTo>
                    <a:pt x="365" y="383"/>
                  </a:lnTo>
                  <a:lnTo>
                    <a:pt x="368" y="385"/>
                  </a:lnTo>
                  <a:lnTo>
                    <a:pt x="365" y="388"/>
                  </a:lnTo>
                  <a:lnTo>
                    <a:pt x="365" y="388"/>
                  </a:lnTo>
                  <a:lnTo>
                    <a:pt x="363" y="388"/>
                  </a:lnTo>
                  <a:lnTo>
                    <a:pt x="363" y="391"/>
                  </a:lnTo>
                  <a:lnTo>
                    <a:pt x="363" y="391"/>
                  </a:lnTo>
                  <a:lnTo>
                    <a:pt x="365" y="391"/>
                  </a:lnTo>
                  <a:lnTo>
                    <a:pt x="365" y="391"/>
                  </a:lnTo>
                  <a:lnTo>
                    <a:pt x="368" y="391"/>
                  </a:lnTo>
                  <a:lnTo>
                    <a:pt x="368" y="388"/>
                  </a:lnTo>
                  <a:lnTo>
                    <a:pt x="371" y="388"/>
                  </a:lnTo>
                  <a:lnTo>
                    <a:pt x="371" y="388"/>
                  </a:lnTo>
                  <a:lnTo>
                    <a:pt x="379" y="391"/>
                  </a:lnTo>
                  <a:lnTo>
                    <a:pt x="376" y="396"/>
                  </a:lnTo>
                  <a:lnTo>
                    <a:pt x="379" y="396"/>
                  </a:lnTo>
                  <a:lnTo>
                    <a:pt x="379" y="396"/>
                  </a:lnTo>
                  <a:lnTo>
                    <a:pt x="382" y="399"/>
                  </a:lnTo>
                  <a:lnTo>
                    <a:pt x="382" y="399"/>
                  </a:lnTo>
                  <a:lnTo>
                    <a:pt x="384" y="401"/>
                  </a:lnTo>
                  <a:lnTo>
                    <a:pt x="384" y="404"/>
                  </a:lnTo>
                  <a:lnTo>
                    <a:pt x="387" y="404"/>
                  </a:lnTo>
                  <a:lnTo>
                    <a:pt x="390" y="404"/>
                  </a:lnTo>
                  <a:lnTo>
                    <a:pt x="390" y="404"/>
                  </a:lnTo>
                  <a:lnTo>
                    <a:pt x="392" y="404"/>
                  </a:lnTo>
                  <a:lnTo>
                    <a:pt x="392" y="407"/>
                  </a:lnTo>
                  <a:lnTo>
                    <a:pt x="390" y="409"/>
                  </a:lnTo>
                  <a:lnTo>
                    <a:pt x="395" y="415"/>
                  </a:lnTo>
                  <a:lnTo>
                    <a:pt x="395" y="415"/>
                  </a:lnTo>
                  <a:lnTo>
                    <a:pt x="395" y="417"/>
                  </a:lnTo>
                  <a:lnTo>
                    <a:pt x="398" y="417"/>
                  </a:lnTo>
                  <a:lnTo>
                    <a:pt x="424" y="439"/>
                  </a:lnTo>
                  <a:lnTo>
                    <a:pt x="427" y="433"/>
                  </a:lnTo>
                  <a:lnTo>
                    <a:pt x="438" y="441"/>
                  </a:lnTo>
                  <a:lnTo>
                    <a:pt x="440" y="439"/>
                  </a:lnTo>
                  <a:lnTo>
                    <a:pt x="451" y="447"/>
                  </a:lnTo>
                  <a:lnTo>
                    <a:pt x="448" y="447"/>
                  </a:lnTo>
                  <a:lnTo>
                    <a:pt x="451" y="447"/>
                  </a:lnTo>
                  <a:lnTo>
                    <a:pt x="451" y="447"/>
                  </a:lnTo>
                  <a:lnTo>
                    <a:pt x="454" y="449"/>
                  </a:lnTo>
                  <a:lnTo>
                    <a:pt x="456" y="449"/>
                  </a:lnTo>
                  <a:lnTo>
                    <a:pt x="456" y="449"/>
                  </a:lnTo>
                  <a:lnTo>
                    <a:pt x="456" y="449"/>
                  </a:lnTo>
                  <a:lnTo>
                    <a:pt x="467" y="457"/>
                  </a:lnTo>
                  <a:lnTo>
                    <a:pt x="478" y="449"/>
                  </a:lnTo>
                  <a:lnTo>
                    <a:pt x="483" y="452"/>
                  </a:lnTo>
                  <a:lnTo>
                    <a:pt x="483" y="449"/>
                  </a:lnTo>
                  <a:lnTo>
                    <a:pt x="491" y="455"/>
                  </a:lnTo>
                  <a:lnTo>
                    <a:pt x="502" y="444"/>
                  </a:lnTo>
                  <a:lnTo>
                    <a:pt x="499" y="441"/>
                  </a:lnTo>
                  <a:lnTo>
                    <a:pt x="507" y="433"/>
                  </a:lnTo>
                  <a:lnTo>
                    <a:pt x="518" y="439"/>
                  </a:lnTo>
                  <a:lnTo>
                    <a:pt x="518" y="441"/>
                  </a:lnTo>
                  <a:lnTo>
                    <a:pt x="520" y="444"/>
                  </a:lnTo>
                  <a:lnTo>
                    <a:pt x="520" y="441"/>
                  </a:lnTo>
                  <a:lnTo>
                    <a:pt x="523" y="444"/>
                  </a:lnTo>
                  <a:lnTo>
                    <a:pt x="526" y="439"/>
                  </a:lnTo>
                  <a:lnTo>
                    <a:pt x="536" y="452"/>
                  </a:lnTo>
                  <a:lnTo>
                    <a:pt x="547" y="439"/>
                  </a:lnTo>
                  <a:lnTo>
                    <a:pt x="539" y="431"/>
                  </a:lnTo>
                  <a:lnTo>
                    <a:pt x="558" y="409"/>
                  </a:lnTo>
                  <a:lnTo>
                    <a:pt x="560" y="404"/>
                  </a:lnTo>
                  <a:lnTo>
                    <a:pt x="560" y="404"/>
                  </a:lnTo>
                  <a:lnTo>
                    <a:pt x="563" y="401"/>
                  </a:lnTo>
                  <a:lnTo>
                    <a:pt x="560" y="401"/>
                  </a:lnTo>
                  <a:lnTo>
                    <a:pt x="558" y="401"/>
                  </a:lnTo>
                  <a:lnTo>
                    <a:pt x="555" y="401"/>
                  </a:lnTo>
                  <a:lnTo>
                    <a:pt x="552" y="404"/>
                  </a:lnTo>
                  <a:lnTo>
                    <a:pt x="547" y="404"/>
                  </a:lnTo>
                  <a:lnTo>
                    <a:pt x="547" y="404"/>
                  </a:lnTo>
                  <a:lnTo>
                    <a:pt x="547" y="401"/>
                  </a:lnTo>
                  <a:lnTo>
                    <a:pt x="547" y="401"/>
                  </a:lnTo>
                  <a:lnTo>
                    <a:pt x="542" y="399"/>
                  </a:lnTo>
                  <a:lnTo>
                    <a:pt x="542" y="399"/>
                  </a:lnTo>
                  <a:lnTo>
                    <a:pt x="539" y="399"/>
                  </a:lnTo>
                  <a:lnTo>
                    <a:pt x="539" y="396"/>
                  </a:lnTo>
                  <a:lnTo>
                    <a:pt x="539" y="393"/>
                  </a:lnTo>
                  <a:lnTo>
                    <a:pt x="539" y="393"/>
                  </a:lnTo>
                  <a:lnTo>
                    <a:pt x="539" y="391"/>
                  </a:lnTo>
                  <a:lnTo>
                    <a:pt x="536" y="391"/>
                  </a:lnTo>
                  <a:lnTo>
                    <a:pt x="534" y="391"/>
                  </a:lnTo>
                  <a:lnTo>
                    <a:pt x="534" y="391"/>
                  </a:lnTo>
                  <a:lnTo>
                    <a:pt x="534" y="391"/>
                  </a:lnTo>
                  <a:lnTo>
                    <a:pt x="534" y="388"/>
                  </a:lnTo>
                  <a:lnTo>
                    <a:pt x="534" y="388"/>
                  </a:lnTo>
                  <a:lnTo>
                    <a:pt x="534" y="385"/>
                  </a:lnTo>
                  <a:lnTo>
                    <a:pt x="534" y="385"/>
                  </a:lnTo>
                  <a:lnTo>
                    <a:pt x="536" y="385"/>
                  </a:lnTo>
                  <a:lnTo>
                    <a:pt x="536" y="383"/>
                  </a:lnTo>
                  <a:lnTo>
                    <a:pt x="536" y="383"/>
                  </a:lnTo>
                  <a:lnTo>
                    <a:pt x="536" y="380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7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6" y="375"/>
                  </a:lnTo>
                  <a:lnTo>
                    <a:pt x="539" y="375"/>
                  </a:lnTo>
                  <a:lnTo>
                    <a:pt x="539" y="375"/>
                  </a:lnTo>
                  <a:lnTo>
                    <a:pt x="539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2" y="375"/>
                  </a:lnTo>
                  <a:lnTo>
                    <a:pt x="544" y="375"/>
                  </a:lnTo>
                  <a:lnTo>
                    <a:pt x="544" y="377"/>
                  </a:lnTo>
                  <a:lnTo>
                    <a:pt x="547" y="380"/>
                  </a:lnTo>
                  <a:lnTo>
                    <a:pt x="547" y="380"/>
                  </a:lnTo>
                  <a:lnTo>
                    <a:pt x="547" y="380"/>
                  </a:lnTo>
                  <a:lnTo>
                    <a:pt x="550" y="380"/>
                  </a:lnTo>
                  <a:lnTo>
                    <a:pt x="552" y="380"/>
                  </a:lnTo>
                  <a:lnTo>
                    <a:pt x="552" y="380"/>
                  </a:lnTo>
                  <a:lnTo>
                    <a:pt x="552" y="383"/>
                  </a:lnTo>
                  <a:lnTo>
                    <a:pt x="555" y="383"/>
                  </a:lnTo>
                  <a:lnTo>
                    <a:pt x="555" y="385"/>
                  </a:lnTo>
                  <a:lnTo>
                    <a:pt x="555" y="385"/>
                  </a:lnTo>
                  <a:lnTo>
                    <a:pt x="558" y="385"/>
                  </a:lnTo>
                  <a:lnTo>
                    <a:pt x="558" y="383"/>
                  </a:lnTo>
                  <a:lnTo>
                    <a:pt x="560" y="383"/>
                  </a:lnTo>
                  <a:lnTo>
                    <a:pt x="560" y="380"/>
                  </a:lnTo>
                  <a:lnTo>
                    <a:pt x="563" y="380"/>
                  </a:lnTo>
                  <a:lnTo>
                    <a:pt x="566" y="377"/>
                  </a:lnTo>
                  <a:lnTo>
                    <a:pt x="566" y="377"/>
                  </a:lnTo>
                  <a:lnTo>
                    <a:pt x="568" y="377"/>
                  </a:lnTo>
                  <a:lnTo>
                    <a:pt x="568" y="377"/>
                  </a:lnTo>
                  <a:lnTo>
                    <a:pt x="566" y="375"/>
                  </a:lnTo>
                  <a:lnTo>
                    <a:pt x="566" y="375"/>
                  </a:lnTo>
                  <a:lnTo>
                    <a:pt x="568" y="375"/>
                  </a:lnTo>
                  <a:lnTo>
                    <a:pt x="568" y="375"/>
                  </a:lnTo>
                  <a:lnTo>
                    <a:pt x="568" y="375"/>
                  </a:lnTo>
                  <a:lnTo>
                    <a:pt x="568" y="372"/>
                  </a:lnTo>
                  <a:lnTo>
                    <a:pt x="571" y="372"/>
                  </a:lnTo>
                  <a:lnTo>
                    <a:pt x="571" y="369"/>
                  </a:lnTo>
                  <a:lnTo>
                    <a:pt x="571" y="369"/>
                  </a:lnTo>
                  <a:lnTo>
                    <a:pt x="571" y="369"/>
                  </a:lnTo>
                  <a:lnTo>
                    <a:pt x="574" y="369"/>
                  </a:lnTo>
                  <a:lnTo>
                    <a:pt x="574" y="367"/>
                  </a:lnTo>
                  <a:lnTo>
                    <a:pt x="574" y="367"/>
                  </a:lnTo>
                  <a:lnTo>
                    <a:pt x="576" y="367"/>
                  </a:lnTo>
                  <a:lnTo>
                    <a:pt x="576" y="367"/>
                  </a:lnTo>
                  <a:lnTo>
                    <a:pt x="576" y="367"/>
                  </a:lnTo>
                  <a:lnTo>
                    <a:pt x="579" y="367"/>
                  </a:lnTo>
                  <a:lnTo>
                    <a:pt x="579" y="367"/>
                  </a:lnTo>
                  <a:lnTo>
                    <a:pt x="582" y="364"/>
                  </a:lnTo>
                  <a:lnTo>
                    <a:pt x="582" y="364"/>
                  </a:lnTo>
                  <a:lnTo>
                    <a:pt x="584" y="367"/>
                  </a:lnTo>
                  <a:lnTo>
                    <a:pt x="584" y="367"/>
                  </a:lnTo>
                  <a:lnTo>
                    <a:pt x="587" y="367"/>
                  </a:lnTo>
                  <a:lnTo>
                    <a:pt x="584" y="364"/>
                  </a:lnTo>
                  <a:lnTo>
                    <a:pt x="584" y="364"/>
                  </a:lnTo>
                  <a:lnTo>
                    <a:pt x="584" y="361"/>
                  </a:lnTo>
                  <a:lnTo>
                    <a:pt x="584" y="361"/>
                  </a:lnTo>
                  <a:lnTo>
                    <a:pt x="587" y="359"/>
                  </a:lnTo>
                  <a:lnTo>
                    <a:pt x="587" y="359"/>
                  </a:lnTo>
                  <a:lnTo>
                    <a:pt x="587" y="359"/>
                  </a:lnTo>
                  <a:lnTo>
                    <a:pt x="587" y="356"/>
                  </a:lnTo>
                  <a:lnTo>
                    <a:pt x="587" y="356"/>
                  </a:lnTo>
                  <a:lnTo>
                    <a:pt x="590" y="356"/>
                  </a:lnTo>
                  <a:lnTo>
                    <a:pt x="590" y="356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3"/>
                  </a:lnTo>
                  <a:lnTo>
                    <a:pt x="590" y="350"/>
                  </a:lnTo>
                  <a:lnTo>
                    <a:pt x="590" y="350"/>
                  </a:lnTo>
                  <a:lnTo>
                    <a:pt x="592" y="350"/>
                  </a:lnTo>
                  <a:lnTo>
                    <a:pt x="592" y="350"/>
                  </a:lnTo>
                  <a:lnTo>
                    <a:pt x="595" y="350"/>
                  </a:lnTo>
                  <a:lnTo>
                    <a:pt x="595" y="348"/>
                  </a:lnTo>
                  <a:lnTo>
                    <a:pt x="595" y="348"/>
                  </a:lnTo>
                  <a:lnTo>
                    <a:pt x="598" y="348"/>
                  </a:lnTo>
                  <a:lnTo>
                    <a:pt x="598" y="345"/>
                  </a:lnTo>
                  <a:lnTo>
                    <a:pt x="600" y="345"/>
                  </a:lnTo>
                  <a:lnTo>
                    <a:pt x="600" y="342"/>
                  </a:lnTo>
                  <a:lnTo>
                    <a:pt x="600" y="342"/>
                  </a:lnTo>
                  <a:lnTo>
                    <a:pt x="598" y="340"/>
                  </a:lnTo>
                  <a:lnTo>
                    <a:pt x="595" y="337"/>
                  </a:lnTo>
                  <a:lnTo>
                    <a:pt x="595" y="337"/>
                  </a:lnTo>
                  <a:lnTo>
                    <a:pt x="595" y="334"/>
                  </a:lnTo>
                  <a:lnTo>
                    <a:pt x="592" y="332"/>
                  </a:lnTo>
                  <a:lnTo>
                    <a:pt x="592" y="329"/>
                  </a:lnTo>
                  <a:lnTo>
                    <a:pt x="595" y="329"/>
                  </a:lnTo>
                  <a:lnTo>
                    <a:pt x="598" y="326"/>
                  </a:lnTo>
                  <a:lnTo>
                    <a:pt x="595" y="324"/>
                  </a:lnTo>
                  <a:lnTo>
                    <a:pt x="592" y="324"/>
                  </a:lnTo>
                  <a:lnTo>
                    <a:pt x="590" y="321"/>
                  </a:lnTo>
                  <a:lnTo>
                    <a:pt x="587" y="318"/>
                  </a:lnTo>
                  <a:lnTo>
                    <a:pt x="587" y="316"/>
                  </a:lnTo>
                  <a:lnTo>
                    <a:pt x="587" y="316"/>
                  </a:lnTo>
                  <a:lnTo>
                    <a:pt x="587" y="313"/>
                  </a:lnTo>
                  <a:lnTo>
                    <a:pt x="587" y="313"/>
                  </a:lnTo>
                  <a:lnTo>
                    <a:pt x="587" y="310"/>
                  </a:lnTo>
                  <a:lnTo>
                    <a:pt x="587" y="310"/>
                  </a:lnTo>
                  <a:lnTo>
                    <a:pt x="584" y="313"/>
                  </a:lnTo>
                  <a:lnTo>
                    <a:pt x="582" y="310"/>
                  </a:lnTo>
                  <a:lnTo>
                    <a:pt x="579" y="313"/>
                  </a:lnTo>
                  <a:lnTo>
                    <a:pt x="576" y="310"/>
                  </a:lnTo>
                  <a:lnTo>
                    <a:pt x="574" y="313"/>
                  </a:lnTo>
                  <a:lnTo>
                    <a:pt x="555" y="294"/>
                  </a:lnTo>
                  <a:lnTo>
                    <a:pt x="566" y="284"/>
                  </a:lnTo>
                  <a:lnTo>
                    <a:pt x="547" y="268"/>
                  </a:lnTo>
                  <a:lnTo>
                    <a:pt x="526" y="292"/>
                  </a:lnTo>
                  <a:lnTo>
                    <a:pt x="488" y="257"/>
                  </a:lnTo>
                  <a:lnTo>
                    <a:pt x="494" y="249"/>
                  </a:lnTo>
                  <a:lnTo>
                    <a:pt x="491" y="249"/>
                  </a:lnTo>
                  <a:lnTo>
                    <a:pt x="491" y="249"/>
                  </a:lnTo>
                  <a:lnTo>
                    <a:pt x="488" y="249"/>
                  </a:lnTo>
                  <a:lnTo>
                    <a:pt x="488" y="249"/>
                  </a:lnTo>
                  <a:lnTo>
                    <a:pt x="486" y="246"/>
                  </a:lnTo>
                  <a:lnTo>
                    <a:pt x="483" y="246"/>
                  </a:lnTo>
                  <a:lnTo>
                    <a:pt x="480" y="244"/>
                  </a:lnTo>
                  <a:lnTo>
                    <a:pt x="480" y="244"/>
                  </a:lnTo>
                  <a:lnTo>
                    <a:pt x="480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8" y="244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2" y="244"/>
                  </a:lnTo>
                  <a:lnTo>
                    <a:pt x="472" y="246"/>
                  </a:lnTo>
                  <a:lnTo>
                    <a:pt x="470" y="246"/>
                  </a:lnTo>
                  <a:lnTo>
                    <a:pt x="467" y="249"/>
                  </a:lnTo>
                  <a:lnTo>
                    <a:pt x="467" y="249"/>
                  </a:lnTo>
                  <a:lnTo>
                    <a:pt x="467" y="252"/>
                  </a:lnTo>
                  <a:lnTo>
                    <a:pt x="464" y="252"/>
                  </a:lnTo>
                  <a:lnTo>
                    <a:pt x="464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62" y="252"/>
                  </a:lnTo>
                  <a:lnTo>
                    <a:pt x="459" y="254"/>
                  </a:lnTo>
                  <a:lnTo>
                    <a:pt x="456" y="252"/>
                  </a:lnTo>
                  <a:lnTo>
                    <a:pt x="451" y="260"/>
                  </a:lnTo>
                  <a:lnTo>
                    <a:pt x="448" y="257"/>
                  </a:lnTo>
                  <a:lnTo>
                    <a:pt x="448" y="257"/>
                  </a:lnTo>
                  <a:lnTo>
                    <a:pt x="448" y="257"/>
                  </a:lnTo>
                  <a:lnTo>
                    <a:pt x="446" y="254"/>
                  </a:lnTo>
                  <a:lnTo>
                    <a:pt x="443" y="252"/>
                  </a:lnTo>
                  <a:lnTo>
                    <a:pt x="440" y="252"/>
                  </a:lnTo>
                  <a:lnTo>
                    <a:pt x="440" y="249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8" y="246"/>
                  </a:lnTo>
                  <a:lnTo>
                    <a:pt x="438" y="246"/>
                  </a:lnTo>
                  <a:lnTo>
                    <a:pt x="438" y="244"/>
                  </a:lnTo>
                  <a:lnTo>
                    <a:pt x="435" y="246"/>
                  </a:lnTo>
                  <a:lnTo>
                    <a:pt x="435" y="246"/>
                  </a:lnTo>
                  <a:lnTo>
                    <a:pt x="432" y="249"/>
                  </a:lnTo>
                  <a:lnTo>
                    <a:pt x="430" y="249"/>
                  </a:lnTo>
                  <a:lnTo>
                    <a:pt x="427" y="246"/>
                  </a:lnTo>
                  <a:lnTo>
                    <a:pt x="427" y="246"/>
                  </a:lnTo>
                  <a:lnTo>
                    <a:pt x="427" y="244"/>
                  </a:lnTo>
                  <a:lnTo>
                    <a:pt x="430" y="241"/>
                  </a:lnTo>
                  <a:lnTo>
                    <a:pt x="430" y="241"/>
                  </a:lnTo>
                  <a:lnTo>
                    <a:pt x="430" y="238"/>
                  </a:lnTo>
                  <a:lnTo>
                    <a:pt x="430" y="238"/>
                  </a:lnTo>
                  <a:lnTo>
                    <a:pt x="427" y="233"/>
                  </a:lnTo>
                  <a:lnTo>
                    <a:pt x="427" y="233"/>
                  </a:lnTo>
                  <a:lnTo>
                    <a:pt x="424" y="233"/>
                  </a:lnTo>
                  <a:lnTo>
                    <a:pt x="424" y="230"/>
                  </a:lnTo>
                  <a:lnTo>
                    <a:pt x="424" y="228"/>
                  </a:lnTo>
                  <a:lnTo>
                    <a:pt x="424" y="228"/>
                  </a:lnTo>
                  <a:lnTo>
                    <a:pt x="419" y="225"/>
                  </a:lnTo>
                  <a:lnTo>
                    <a:pt x="419" y="228"/>
                  </a:lnTo>
                  <a:lnTo>
                    <a:pt x="416" y="228"/>
                  </a:lnTo>
                  <a:lnTo>
                    <a:pt x="416" y="228"/>
                  </a:lnTo>
                  <a:lnTo>
                    <a:pt x="416" y="228"/>
                  </a:lnTo>
                  <a:lnTo>
                    <a:pt x="414" y="230"/>
                  </a:lnTo>
                  <a:lnTo>
                    <a:pt x="414" y="233"/>
                  </a:lnTo>
                  <a:lnTo>
                    <a:pt x="411" y="230"/>
                  </a:lnTo>
                  <a:lnTo>
                    <a:pt x="411" y="228"/>
                  </a:lnTo>
                  <a:lnTo>
                    <a:pt x="411" y="228"/>
                  </a:lnTo>
                  <a:lnTo>
                    <a:pt x="408" y="228"/>
                  </a:lnTo>
                  <a:lnTo>
                    <a:pt x="408" y="228"/>
                  </a:lnTo>
                  <a:lnTo>
                    <a:pt x="406" y="230"/>
                  </a:lnTo>
                  <a:lnTo>
                    <a:pt x="403" y="228"/>
                  </a:lnTo>
                  <a:lnTo>
                    <a:pt x="403" y="225"/>
                  </a:lnTo>
                  <a:lnTo>
                    <a:pt x="400" y="222"/>
                  </a:lnTo>
                  <a:lnTo>
                    <a:pt x="398" y="220"/>
                  </a:lnTo>
                  <a:lnTo>
                    <a:pt x="398" y="220"/>
                  </a:lnTo>
                  <a:lnTo>
                    <a:pt x="398" y="217"/>
                  </a:lnTo>
                  <a:lnTo>
                    <a:pt x="398" y="217"/>
                  </a:lnTo>
                  <a:lnTo>
                    <a:pt x="398" y="214"/>
                  </a:lnTo>
                  <a:lnTo>
                    <a:pt x="400" y="212"/>
                  </a:lnTo>
                  <a:lnTo>
                    <a:pt x="400" y="212"/>
                  </a:lnTo>
                  <a:lnTo>
                    <a:pt x="398" y="209"/>
                  </a:lnTo>
                  <a:lnTo>
                    <a:pt x="398" y="209"/>
                  </a:lnTo>
                  <a:lnTo>
                    <a:pt x="395" y="212"/>
                  </a:lnTo>
                  <a:lnTo>
                    <a:pt x="395" y="212"/>
                  </a:lnTo>
                  <a:lnTo>
                    <a:pt x="392" y="212"/>
                  </a:lnTo>
                  <a:lnTo>
                    <a:pt x="392" y="212"/>
                  </a:lnTo>
                  <a:lnTo>
                    <a:pt x="390" y="209"/>
                  </a:lnTo>
                  <a:lnTo>
                    <a:pt x="390" y="209"/>
                  </a:lnTo>
                  <a:lnTo>
                    <a:pt x="390" y="206"/>
                  </a:lnTo>
                  <a:lnTo>
                    <a:pt x="392" y="206"/>
                  </a:lnTo>
                  <a:lnTo>
                    <a:pt x="392" y="206"/>
                  </a:lnTo>
                  <a:lnTo>
                    <a:pt x="392" y="206"/>
                  </a:lnTo>
                  <a:lnTo>
                    <a:pt x="395" y="206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5" y="204"/>
                  </a:lnTo>
                  <a:lnTo>
                    <a:pt x="392" y="204"/>
                  </a:lnTo>
                  <a:lnTo>
                    <a:pt x="392" y="204"/>
                  </a:lnTo>
                  <a:lnTo>
                    <a:pt x="392" y="201"/>
                  </a:lnTo>
                  <a:lnTo>
                    <a:pt x="392" y="201"/>
                  </a:lnTo>
                  <a:lnTo>
                    <a:pt x="390" y="201"/>
                  </a:lnTo>
                  <a:lnTo>
                    <a:pt x="390" y="201"/>
                  </a:lnTo>
                  <a:lnTo>
                    <a:pt x="387" y="201"/>
                  </a:lnTo>
                  <a:lnTo>
                    <a:pt x="387" y="201"/>
                  </a:lnTo>
                  <a:lnTo>
                    <a:pt x="384" y="204"/>
                  </a:lnTo>
                  <a:lnTo>
                    <a:pt x="382" y="204"/>
                  </a:lnTo>
                  <a:lnTo>
                    <a:pt x="382" y="201"/>
                  </a:lnTo>
                  <a:lnTo>
                    <a:pt x="379" y="201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6"/>
                  </a:lnTo>
                  <a:lnTo>
                    <a:pt x="379" y="196"/>
                  </a:lnTo>
                  <a:lnTo>
                    <a:pt x="376" y="193"/>
                  </a:lnTo>
                  <a:lnTo>
                    <a:pt x="376" y="193"/>
                  </a:lnTo>
                  <a:lnTo>
                    <a:pt x="373" y="193"/>
                  </a:lnTo>
                  <a:lnTo>
                    <a:pt x="371" y="193"/>
                  </a:lnTo>
                  <a:lnTo>
                    <a:pt x="368" y="196"/>
                  </a:lnTo>
                  <a:lnTo>
                    <a:pt x="368" y="198"/>
                  </a:lnTo>
                  <a:lnTo>
                    <a:pt x="365" y="198"/>
                  </a:lnTo>
                  <a:lnTo>
                    <a:pt x="365" y="201"/>
                  </a:lnTo>
                  <a:lnTo>
                    <a:pt x="363" y="201"/>
                  </a:lnTo>
                  <a:lnTo>
                    <a:pt x="360" y="204"/>
                  </a:lnTo>
                  <a:lnTo>
                    <a:pt x="357" y="206"/>
                  </a:lnTo>
                  <a:lnTo>
                    <a:pt x="357" y="206"/>
                  </a:lnTo>
                  <a:lnTo>
                    <a:pt x="355" y="209"/>
                  </a:lnTo>
                  <a:lnTo>
                    <a:pt x="355" y="206"/>
                  </a:lnTo>
                  <a:lnTo>
                    <a:pt x="355" y="204"/>
                  </a:lnTo>
                  <a:lnTo>
                    <a:pt x="352" y="204"/>
                  </a:lnTo>
                  <a:lnTo>
                    <a:pt x="349" y="204"/>
                  </a:lnTo>
                  <a:lnTo>
                    <a:pt x="349" y="204"/>
                  </a:lnTo>
                  <a:lnTo>
                    <a:pt x="347" y="204"/>
                  </a:lnTo>
                  <a:lnTo>
                    <a:pt x="347" y="204"/>
                  </a:lnTo>
                  <a:lnTo>
                    <a:pt x="344" y="204"/>
                  </a:lnTo>
                  <a:lnTo>
                    <a:pt x="344" y="201"/>
                  </a:lnTo>
                  <a:lnTo>
                    <a:pt x="344" y="198"/>
                  </a:lnTo>
                  <a:lnTo>
                    <a:pt x="344" y="198"/>
                  </a:lnTo>
                  <a:lnTo>
                    <a:pt x="344" y="196"/>
                  </a:lnTo>
                  <a:lnTo>
                    <a:pt x="341" y="196"/>
                  </a:lnTo>
                  <a:lnTo>
                    <a:pt x="341" y="193"/>
                  </a:lnTo>
                  <a:lnTo>
                    <a:pt x="339" y="193"/>
                  </a:lnTo>
                  <a:lnTo>
                    <a:pt x="339" y="190"/>
                  </a:lnTo>
                  <a:lnTo>
                    <a:pt x="339" y="190"/>
                  </a:lnTo>
                  <a:lnTo>
                    <a:pt x="339" y="187"/>
                  </a:lnTo>
                  <a:lnTo>
                    <a:pt x="336" y="187"/>
                  </a:lnTo>
                  <a:lnTo>
                    <a:pt x="336" y="185"/>
                  </a:lnTo>
                  <a:lnTo>
                    <a:pt x="336" y="185"/>
                  </a:lnTo>
                  <a:lnTo>
                    <a:pt x="339" y="185"/>
                  </a:lnTo>
                  <a:lnTo>
                    <a:pt x="339" y="182"/>
                  </a:lnTo>
                  <a:lnTo>
                    <a:pt x="339" y="182"/>
                  </a:lnTo>
                  <a:lnTo>
                    <a:pt x="336" y="182"/>
                  </a:lnTo>
                  <a:lnTo>
                    <a:pt x="333" y="179"/>
                  </a:lnTo>
                  <a:lnTo>
                    <a:pt x="331" y="182"/>
                  </a:lnTo>
                  <a:lnTo>
                    <a:pt x="331" y="182"/>
                  </a:lnTo>
                  <a:lnTo>
                    <a:pt x="328" y="182"/>
                  </a:lnTo>
                  <a:lnTo>
                    <a:pt x="328" y="179"/>
                  </a:lnTo>
                  <a:lnTo>
                    <a:pt x="328" y="179"/>
                  </a:lnTo>
                  <a:lnTo>
                    <a:pt x="328" y="177"/>
                  </a:lnTo>
                  <a:lnTo>
                    <a:pt x="328" y="177"/>
                  </a:lnTo>
                  <a:lnTo>
                    <a:pt x="328" y="174"/>
                  </a:lnTo>
                  <a:lnTo>
                    <a:pt x="328" y="171"/>
                  </a:lnTo>
                  <a:lnTo>
                    <a:pt x="325" y="171"/>
                  </a:lnTo>
                  <a:lnTo>
                    <a:pt x="325" y="171"/>
                  </a:lnTo>
                  <a:lnTo>
                    <a:pt x="323" y="171"/>
                  </a:lnTo>
                  <a:lnTo>
                    <a:pt x="323" y="174"/>
                  </a:lnTo>
                  <a:lnTo>
                    <a:pt x="320" y="174"/>
                  </a:lnTo>
                  <a:lnTo>
                    <a:pt x="320" y="174"/>
                  </a:lnTo>
                  <a:lnTo>
                    <a:pt x="320" y="174"/>
                  </a:lnTo>
                  <a:lnTo>
                    <a:pt x="317" y="174"/>
                  </a:lnTo>
                  <a:lnTo>
                    <a:pt x="317" y="177"/>
                  </a:lnTo>
                  <a:lnTo>
                    <a:pt x="315" y="174"/>
                  </a:lnTo>
                  <a:lnTo>
                    <a:pt x="315" y="171"/>
                  </a:lnTo>
                  <a:lnTo>
                    <a:pt x="315" y="171"/>
                  </a:lnTo>
                  <a:lnTo>
                    <a:pt x="312" y="171"/>
                  </a:lnTo>
                  <a:lnTo>
                    <a:pt x="309" y="171"/>
                  </a:lnTo>
                  <a:lnTo>
                    <a:pt x="309" y="171"/>
                  </a:lnTo>
                  <a:lnTo>
                    <a:pt x="307" y="169"/>
                  </a:lnTo>
                  <a:lnTo>
                    <a:pt x="307" y="169"/>
                  </a:lnTo>
                  <a:lnTo>
                    <a:pt x="304" y="171"/>
                  </a:lnTo>
                  <a:lnTo>
                    <a:pt x="304" y="171"/>
                  </a:lnTo>
                  <a:lnTo>
                    <a:pt x="301" y="169"/>
                  </a:lnTo>
                  <a:lnTo>
                    <a:pt x="299" y="169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1"/>
                  </a:lnTo>
                  <a:lnTo>
                    <a:pt x="299" y="158"/>
                  </a:lnTo>
                  <a:lnTo>
                    <a:pt x="299" y="155"/>
                  </a:lnTo>
                  <a:lnTo>
                    <a:pt x="296" y="155"/>
                  </a:lnTo>
                  <a:lnTo>
                    <a:pt x="293" y="155"/>
                  </a:lnTo>
                  <a:lnTo>
                    <a:pt x="293" y="153"/>
                  </a:lnTo>
                  <a:lnTo>
                    <a:pt x="293" y="153"/>
                  </a:lnTo>
                  <a:lnTo>
                    <a:pt x="293" y="153"/>
                  </a:lnTo>
                  <a:lnTo>
                    <a:pt x="291" y="153"/>
                  </a:lnTo>
                  <a:lnTo>
                    <a:pt x="291" y="153"/>
                  </a:lnTo>
                  <a:lnTo>
                    <a:pt x="288" y="153"/>
                  </a:lnTo>
                  <a:lnTo>
                    <a:pt x="288" y="150"/>
                  </a:lnTo>
                  <a:lnTo>
                    <a:pt x="285" y="150"/>
                  </a:lnTo>
                  <a:lnTo>
                    <a:pt x="285" y="150"/>
                  </a:lnTo>
                  <a:lnTo>
                    <a:pt x="283" y="150"/>
                  </a:lnTo>
                  <a:lnTo>
                    <a:pt x="280" y="150"/>
                  </a:lnTo>
                  <a:lnTo>
                    <a:pt x="280" y="150"/>
                  </a:lnTo>
                  <a:lnTo>
                    <a:pt x="277" y="150"/>
                  </a:lnTo>
                  <a:lnTo>
                    <a:pt x="277" y="147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5" y="145"/>
                  </a:lnTo>
                  <a:lnTo>
                    <a:pt x="275" y="142"/>
                  </a:lnTo>
                  <a:lnTo>
                    <a:pt x="275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5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59" y="131"/>
                  </a:lnTo>
                  <a:lnTo>
                    <a:pt x="256" y="131"/>
                  </a:lnTo>
                  <a:lnTo>
                    <a:pt x="256" y="129"/>
                  </a:lnTo>
                  <a:lnTo>
                    <a:pt x="253" y="129"/>
                  </a:lnTo>
                  <a:lnTo>
                    <a:pt x="251" y="126"/>
                  </a:lnTo>
                  <a:lnTo>
                    <a:pt x="253" y="126"/>
                  </a:lnTo>
                  <a:lnTo>
                    <a:pt x="253" y="123"/>
                  </a:lnTo>
                  <a:lnTo>
                    <a:pt x="256" y="121"/>
                  </a:lnTo>
                  <a:lnTo>
                    <a:pt x="256" y="121"/>
                  </a:lnTo>
                  <a:lnTo>
                    <a:pt x="256" y="118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1" y="113"/>
                  </a:lnTo>
                  <a:lnTo>
                    <a:pt x="251" y="113"/>
                  </a:lnTo>
                  <a:lnTo>
                    <a:pt x="251" y="110"/>
                  </a:lnTo>
                  <a:lnTo>
                    <a:pt x="251" y="110"/>
                  </a:lnTo>
                  <a:lnTo>
                    <a:pt x="253" y="107"/>
                  </a:lnTo>
                  <a:lnTo>
                    <a:pt x="251" y="107"/>
                  </a:lnTo>
                  <a:lnTo>
                    <a:pt x="253" y="105"/>
                  </a:lnTo>
                  <a:lnTo>
                    <a:pt x="253" y="102"/>
                  </a:lnTo>
                  <a:lnTo>
                    <a:pt x="253" y="102"/>
                  </a:lnTo>
                  <a:lnTo>
                    <a:pt x="256" y="102"/>
                  </a:lnTo>
                  <a:lnTo>
                    <a:pt x="259" y="99"/>
                  </a:lnTo>
                  <a:lnTo>
                    <a:pt x="256" y="99"/>
                  </a:lnTo>
                  <a:lnTo>
                    <a:pt x="256" y="97"/>
                  </a:lnTo>
                  <a:lnTo>
                    <a:pt x="256" y="99"/>
                  </a:lnTo>
                  <a:lnTo>
                    <a:pt x="253" y="99"/>
                  </a:lnTo>
                  <a:lnTo>
                    <a:pt x="253" y="99"/>
                  </a:lnTo>
                  <a:lnTo>
                    <a:pt x="251" y="102"/>
                  </a:lnTo>
                  <a:lnTo>
                    <a:pt x="251" y="99"/>
                  </a:lnTo>
                  <a:lnTo>
                    <a:pt x="248" y="99"/>
                  </a:lnTo>
                  <a:lnTo>
                    <a:pt x="248" y="97"/>
                  </a:lnTo>
                  <a:lnTo>
                    <a:pt x="248" y="97"/>
                  </a:lnTo>
                  <a:lnTo>
                    <a:pt x="248" y="94"/>
                  </a:lnTo>
                  <a:lnTo>
                    <a:pt x="251" y="91"/>
                  </a:lnTo>
                  <a:lnTo>
                    <a:pt x="251" y="91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3" y="89"/>
                  </a:lnTo>
                  <a:lnTo>
                    <a:pt x="256" y="89"/>
                  </a:lnTo>
                  <a:lnTo>
                    <a:pt x="259" y="89"/>
                  </a:lnTo>
                  <a:lnTo>
                    <a:pt x="259" y="86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6" y="81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6" y="75"/>
                  </a:lnTo>
                  <a:lnTo>
                    <a:pt x="253" y="73"/>
                  </a:lnTo>
                  <a:lnTo>
                    <a:pt x="253" y="73"/>
                  </a:lnTo>
                  <a:lnTo>
                    <a:pt x="253" y="70"/>
                  </a:lnTo>
                  <a:lnTo>
                    <a:pt x="256" y="70"/>
                  </a:lnTo>
                  <a:lnTo>
                    <a:pt x="256" y="70"/>
                  </a:lnTo>
                  <a:lnTo>
                    <a:pt x="256" y="67"/>
                  </a:lnTo>
                  <a:lnTo>
                    <a:pt x="256" y="65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59"/>
                  </a:lnTo>
                  <a:lnTo>
                    <a:pt x="256" y="57"/>
                  </a:lnTo>
                  <a:lnTo>
                    <a:pt x="256" y="57"/>
                  </a:lnTo>
                  <a:lnTo>
                    <a:pt x="259" y="54"/>
                  </a:lnTo>
                  <a:lnTo>
                    <a:pt x="261" y="51"/>
                  </a:lnTo>
                  <a:lnTo>
                    <a:pt x="261" y="51"/>
                  </a:lnTo>
                  <a:lnTo>
                    <a:pt x="259" y="49"/>
                  </a:lnTo>
                  <a:lnTo>
                    <a:pt x="261" y="46"/>
                  </a:lnTo>
                  <a:lnTo>
                    <a:pt x="261" y="46"/>
                  </a:lnTo>
                  <a:lnTo>
                    <a:pt x="261" y="43"/>
                  </a:lnTo>
                  <a:lnTo>
                    <a:pt x="264" y="43"/>
                  </a:lnTo>
                  <a:lnTo>
                    <a:pt x="267" y="41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38"/>
                  </a:lnTo>
                  <a:lnTo>
                    <a:pt x="267" y="35"/>
                  </a:lnTo>
                  <a:lnTo>
                    <a:pt x="264" y="32"/>
                  </a:lnTo>
                  <a:lnTo>
                    <a:pt x="259" y="30"/>
                  </a:lnTo>
                  <a:lnTo>
                    <a:pt x="256" y="30"/>
                  </a:lnTo>
                  <a:lnTo>
                    <a:pt x="256" y="27"/>
                  </a:lnTo>
                  <a:lnTo>
                    <a:pt x="253" y="27"/>
                  </a:lnTo>
                  <a:lnTo>
                    <a:pt x="253" y="27"/>
                  </a:lnTo>
                  <a:lnTo>
                    <a:pt x="251" y="24"/>
                  </a:lnTo>
                  <a:lnTo>
                    <a:pt x="248" y="24"/>
                  </a:lnTo>
                  <a:lnTo>
                    <a:pt x="248" y="24"/>
                  </a:lnTo>
                  <a:lnTo>
                    <a:pt x="248" y="22"/>
                  </a:lnTo>
                  <a:lnTo>
                    <a:pt x="248" y="22"/>
                  </a:lnTo>
                  <a:lnTo>
                    <a:pt x="251" y="22"/>
                  </a:lnTo>
                  <a:lnTo>
                    <a:pt x="251" y="19"/>
                  </a:lnTo>
                  <a:lnTo>
                    <a:pt x="251" y="19"/>
                  </a:lnTo>
                  <a:lnTo>
                    <a:pt x="248" y="19"/>
                  </a:lnTo>
                  <a:lnTo>
                    <a:pt x="248" y="16"/>
                  </a:lnTo>
                  <a:lnTo>
                    <a:pt x="245" y="16"/>
                  </a:lnTo>
                  <a:lnTo>
                    <a:pt x="245" y="14"/>
                  </a:lnTo>
                  <a:lnTo>
                    <a:pt x="245" y="11"/>
                  </a:lnTo>
                  <a:lnTo>
                    <a:pt x="245" y="11"/>
                  </a:lnTo>
                  <a:lnTo>
                    <a:pt x="245" y="8"/>
                  </a:lnTo>
                  <a:lnTo>
                    <a:pt x="245" y="6"/>
                  </a:lnTo>
                  <a:lnTo>
                    <a:pt x="243" y="6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37" y="6"/>
                  </a:lnTo>
                  <a:lnTo>
                    <a:pt x="235" y="6"/>
                  </a:lnTo>
                  <a:lnTo>
                    <a:pt x="235" y="6"/>
                  </a:lnTo>
                  <a:lnTo>
                    <a:pt x="235" y="8"/>
                  </a:lnTo>
                  <a:lnTo>
                    <a:pt x="235" y="8"/>
                  </a:lnTo>
                  <a:lnTo>
                    <a:pt x="232" y="6"/>
                  </a:lnTo>
                  <a:lnTo>
                    <a:pt x="232" y="6"/>
                  </a:lnTo>
                  <a:lnTo>
                    <a:pt x="229" y="3"/>
                  </a:lnTo>
                  <a:lnTo>
                    <a:pt x="229" y="0"/>
                  </a:lnTo>
                  <a:lnTo>
                    <a:pt x="227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1" y="0"/>
                  </a:lnTo>
                  <a:lnTo>
                    <a:pt x="219" y="0"/>
                  </a:lnTo>
                  <a:lnTo>
                    <a:pt x="219" y="3"/>
                  </a:lnTo>
                  <a:lnTo>
                    <a:pt x="216" y="3"/>
                  </a:lnTo>
                  <a:lnTo>
                    <a:pt x="213" y="6"/>
                  </a:lnTo>
                  <a:lnTo>
                    <a:pt x="213" y="6"/>
                  </a:lnTo>
                  <a:lnTo>
                    <a:pt x="213" y="8"/>
                  </a:lnTo>
                  <a:lnTo>
                    <a:pt x="213" y="8"/>
                  </a:lnTo>
                  <a:lnTo>
                    <a:pt x="211" y="8"/>
                  </a:lnTo>
                  <a:lnTo>
                    <a:pt x="211" y="6"/>
                  </a:lnTo>
                  <a:lnTo>
                    <a:pt x="211" y="6"/>
                  </a:lnTo>
                  <a:lnTo>
                    <a:pt x="147" y="1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3" name="Freeform 8941">
              <a:extLst>
                <a:ext uri="{FF2B5EF4-FFF2-40B4-BE49-F238E27FC236}">
                  <a16:creationId xmlns:a16="http://schemas.microsoft.com/office/drawing/2014/main" id="{8539CFEF-C473-9549-85D5-9F69EB6CD2BD}"/>
                </a:ext>
              </a:extLst>
            </p:cNvPr>
            <p:cNvSpPr/>
            <p:nvPr/>
          </p:nvSpPr>
          <p:spPr bwMode="auto">
            <a:xfrm>
              <a:off x="2407443" y="1576390"/>
              <a:ext cx="704850" cy="847725"/>
            </a:xfrm>
            <a:custGeom>
              <a:avLst/>
              <a:gdLst>
                <a:gd name="T0" fmla="*/ 59 w 444"/>
                <a:gd name="T1" fmla="*/ 312 h 534"/>
                <a:gd name="T2" fmla="*/ 11 w 444"/>
                <a:gd name="T3" fmla="*/ 189 h 534"/>
                <a:gd name="T4" fmla="*/ 91 w 444"/>
                <a:gd name="T5" fmla="*/ 157 h 534"/>
                <a:gd name="T6" fmla="*/ 97 w 444"/>
                <a:gd name="T7" fmla="*/ 69 h 534"/>
                <a:gd name="T8" fmla="*/ 137 w 444"/>
                <a:gd name="T9" fmla="*/ 18 h 534"/>
                <a:gd name="T10" fmla="*/ 206 w 444"/>
                <a:gd name="T11" fmla="*/ 16 h 534"/>
                <a:gd name="T12" fmla="*/ 243 w 444"/>
                <a:gd name="T13" fmla="*/ 10 h 534"/>
                <a:gd name="T14" fmla="*/ 273 w 444"/>
                <a:gd name="T15" fmla="*/ 16 h 534"/>
                <a:gd name="T16" fmla="*/ 270 w 444"/>
                <a:gd name="T17" fmla="*/ 37 h 534"/>
                <a:gd name="T18" fmla="*/ 281 w 444"/>
                <a:gd name="T19" fmla="*/ 37 h 534"/>
                <a:gd name="T20" fmla="*/ 302 w 444"/>
                <a:gd name="T21" fmla="*/ 42 h 534"/>
                <a:gd name="T22" fmla="*/ 318 w 444"/>
                <a:gd name="T23" fmla="*/ 40 h 534"/>
                <a:gd name="T24" fmla="*/ 332 w 444"/>
                <a:gd name="T25" fmla="*/ 69 h 534"/>
                <a:gd name="T26" fmla="*/ 305 w 444"/>
                <a:gd name="T27" fmla="*/ 64 h 534"/>
                <a:gd name="T28" fmla="*/ 289 w 444"/>
                <a:gd name="T29" fmla="*/ 53 h 534"/>
                <a:gd name="T30" fmla="*/ 291 w 444"/>
                <a:gd name="T31" fmla="*/ 77 h 534"/>
                <a:gd name="T32" fmla="*/ 297 w 444"/>
                <a:gd name="T33" fmla="*/ 77 h 534"/>
                <a:gd name="T34" fmla="*/ 302 w 444"/>
                <a:gd name="T35" fmla="*/ 91 h 534"/>
                <a:gd name="T36" fmla="*/ 297 w 444"/>
                <a:gd name="T37" fmla="*/ 101 h 534"/>
                <a:gd name="T38" fmla="*/ 316 w 444"/>
                <a:gd name="T39" fmla="*/ 112 h 534"/>
                <a:gd name="T40" fmla="*/ 305 w 444"/>
                <a:gd name="T41" fmla="*/ 120 h 534"/>
                <a:gd name="T42" fmla="*/ 289 w 444"/>
                <a:gd name="T43" fmla="*/ 128 h 534"/>
                <a:gd name="T44" fmla="*/ 286 w 444"/>
                <a:gd name="T45" fmla="*/ 128 h 534"/>
                <a:gd name="T46" fmla="*/ 310 w 444"/>
                <a:gd name="T47" fmla="*/ 125 h 534"/>
                <a:gd name="T48" fmla="*/ 329 w 444"/>
                <a:gd name="T49" fmla="*/ 128 h 534"/>
                <a:gd name="T50" fmla="*/ 350 w 444"/>
                <a:gd name="T51" fmla="*/ 160 h 534"/>
                <a:gd name="T52" fmla="*/ 361 w 444"/>
                <a:gd name="T53" fmla="*/ 168 h 534"/>
                <a:gd name="T54" fmla="*/ 374 w 444"/>
                <a:gd name="T55" fmla="*/ 184 h 534"/>
                <a:gd name="T56" fmla="*/ 380 w 444"/>
                <a:gd name="T57" fmla="*/ 208 h 534"/>
                <a:gd name="T58" fmla="*/ 390 w 444"/>
                <a:gd name="T59" fmla="*/ 238 h 534"/>
                <a:gd name="T60" fmla="*/ 398 w 444"/>
                <a:gd name="T61" fmla="*/ 280 h 534"/>
                <a:gd name="T62" fmla="*/ 398 w 444"/>
                <a:gd name="T63" fmla="*/ 320 h 534"/>
                <a:gd name="T64" fmla="*/ 404 w 444"/>
                <a:gd name="T65" fmla="*/ 320 h 534"/>
                <a:gd name="T66" fmla="*/ 414 w 444"/>
                <a:gd name="T67" fmla="*/ 350 h 534"/>
                <a:gd name="T68" fmla="*/ 430 w 444"/>
                <a:gd name="T69" fmla="*/ 366 h 534"/>
                <a:gd name="T70" fmla="*/ 433 w 444"/>
                <a:gd name="T71" fmla="*/ 403 h 534"/>
                <a:gd name="T72" fmla="*/ 438 w 444"/>
                <a:gd name="T73" fmla="*/ 419 h 534"/>
                <a:gd name="T74" fmla="*/ 433 w 444"/>
                <a:gd name="T75" fmla="*/ 451 h 534"/>
                <a:gd name="T76" fmla="*/ 425 w 444"/>
                <a:gd name="T77" fmla="*/ 486 h 534"/>
                <a:gd name="T78" fmla="*/ 409 w 444"/>
                <a:gd name="T79" fmla="*/ 502 h 534"/>
                <a:gd name="T80" fmla="*/ 382 w 444"/>
                <a:gd name="T81" fmla="*/ 518 h 534"/>
                <a:gd name="T82" fmla="*/ 350 w 444"/>
                <a:gd name="T83" fmla="*/ 531 h 534"/>
                <a:gd name="T84" fmla="*/ 310 w 444"/>
                <a:gd name="T85" fmla="*/ 531 h 534"/>
                <a:gd name="T86" fmla="*/ 265 w 444"/>
                <a:gd name="T87" fmla="*/ 518 h 534"/>
                <a:gd name="T88" fmla="*/ 225 w 444"/>
                <a:gd name="T89" fmla="*/ 467 h 534"/>
                <a:gd name="T90" fmla="*/ 179 w 444"/>
                <a:gd name="T91" fmla="*/ 411 h 534"/>
                <a:gd name="T92" fmla="*/ 163 w 444"/>
                <a:gd name="T93" fmla="*/ 374 h 534"/>
                <a:gd name="T94" fmla="*/ 158 w 444"/>
                <a:gd name="T95" fmla="*/ 350 h 534"/>
                <a:gd name="T96" fmla="*/ 161 w 444"/>
                <a:gd name="T97" fmla="*/ 342 h 534"/>
                <a:gd name="T98" fmla="*/ 150 w 444"/>
                <a:gd name="T99" fmla="*/ 344 h 534"/>
                <a:gd name="T100" fmla="*/ 147 w 444"/>
                <a:gd name="T101" fmla="*/ 323 h 534"/>
                <a:gd name="T102" fmla="*/ 142 w 444"/>
                <a:gd name="T103" fmla="*/ 331 h 534"/>
                <a:gd name="T104" fmla="*/ 137 w 444"/>
                <a:gd name="T105" fmla="*/ 328 h 534"/>
                <a:gd name="T106" fmla="*/ 142 w 444"/>
                <a:gd name="T107" fmla="*/ 283 h 534"/>
                <a:gd name="T108" fmla="*/ 123 w 444"/>
                <a:gd name="T109" fmla="*/ 264 h 534"/>
                <a:gd name="T110" fmla="*/ 115 w 444"/>
                <a:gd name="T111" fmla="*/ 259 h 534"/>
                <a:gd name="T112" fmla="*/ 121 w 444"/>
                <a:gd name="T113" fmla="*/ 286 h 534"/>
                <a:gd name="T114" fmla="*/ 115 w 444"/>
                <a:gd name="T115" fmla="*/ 291 h 534"/>
                <a:gd name="T116" fmla="*/ 118 w 444"/>
                <a:gd name="T117" fmla="*/ 312 h 534"/>
                <a:gd name="T118" fmla="*/ 118 w 444"/>
                <a:gd name="T119" fmla="*/ 320 h 534"/>
                <a:gd name="T120" fmla="*/ 118 w 444"/>
                <a:gd name="T121" fmla="*/ 326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534" extrusionOk="0">
                  <a:moveTo>
                    <a:pt x="105" y="323"/>
                  </a:moveTo>
                  <a:lnTo>
                    <a:pt x="105" y="320"/>
                  </a:lnTo>
                  <a:lnTo>
                    <a:pt x="102" y="320"/>
                  </a:lnTo>
                  <a:lnTo>
                    <a:pt x="102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4" y="318"/>
                  </a:lnTo>
                  <a:lnTo>
                    <a:pt x="94" y="318"/>
                  </a:lnTo>
                  <a:lnTo>
                    <a:pt x="91" y="320"/>
                  </a:lnTo>
                  <a:lnTo>
                    <a:pt x="91" y="323"/>
                  </a:lnTo>
                  <a:lnTo>
                    <a:pt x="89" y="323"/>
                  </a:lnTo>
                  <a:lnTo>
                    <a:pt x="89" y="323"/>
                  </a:lnTo>
                  <a:lnTo>
                    <a:pt x="86" y="320"/>
                  </a:lnTo>
                  <a:lnTo>
                    <a:pt x="86" y="320"/>
                  </a:lnTo>
                  <a:lnTo>
                    <a:pt x="83" y="318"/>
                  </a:lnTo>
                  <a:lnTo>
                    <a:pt x="81" y="320"/>
                  </a:lnTo>
                  <a:lnTo>
                    <a:pt x="81" y="320"/>
                  </a:lnTo>
                  <a:lnTo>
                    <a:pt x="73" y="328"/>
                  </a:lnTo>
                  <a:lnTo>
                    <a:pt x="70" y="323"/>
                  </a:lnTo>
                  <a:lnTo>
                    <a:pt x="67" y="323"/>
                  </a:lnTo>
                  <a:lnTo>
                    <a:pt x="65" y="320"/>
                  </a:lnTo>
                  <a:lnTo>
                    <a:pt x="62" y="318"/>
                  </a:lnTo>
                  <a:lnTo>
                    <a:pt x="59" y="315"/>
                  </a:lnTo>
                  <a:lnTo>
                    <a:pt x="59" y="312"/>
                  </a:lnTo>
                  <a:lnTo>
                    <a:pt x="59" y="310"/>
                  </a:lnTo>
                  <a:lnTo>
                    <a:pt x="59" y="310"/>
                  </a:lnTo>
                  <a:lnTo>
                    <a:pt x="62" y="307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7" y="299"/>
                  </a:lnTo>
                  <a:lnTo>
                    <a:pt x="62" y="296"/>
                  </a:lnTo>
                  <a:lnTo>
                    <a:pt x="70" y="280"/>
                  </a:lnTo>
                  <a:lnTo>
                    <a:pt x="56" y="270"/>
                  </a:lnTo>
                  <a:lnTo>
                    <a:pt x="56" y="270"/>
                  </a:lnTo>
                  <a:lnTo>
                    <a:pt x="0" y="224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0" y="216"/>
                  </a:lnTo>
                  <a:lnTo>
                    <a:pt x="0" y="213"/>
                  </a:lnTo>
                  <a:lnTo>
                    <a:pt x="3" y="208"/>
                  </a:lnTo>
                  <a:lnTo>
                    <a:pt x="0" y="205"/>
                  </a:lnTo>
                  <a:lnTo>
                    <a:pt x="0" y="203"/>
                  </a:lnTo>
                  <a:lnTo>
                    <a:pt x="3" y="200"/>
                  </a:lnTo>
                  <a:lnTo>
                    <a:pt x="6" y="200"/>
                  </a:lnTo>
                  <a:lnTo>
                    <a:pt x="6" y="197"/>
                  </a:lnTo>
                  <a:lnTo>
                    <a:pt x="6" y="195"/>
                  </a:lnTo>
                  <a:lnTo>
                    <a:pt x="8" y="192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4" y="187"/>
                  </a:lnTo>
                  <a:lnTo>
                    <a:pt x="16" y="187"/>
                  </a:lnTo>
                  <a:lnTo>
                    <a:pt x="19" y="184"/>
                  </a:lnTo>
                  <a:lnTo>
                    <a:pt x="22" y="184"/>
                  </a:lnTo>
                  <a:lnTo>
                    <a:pt x="27" y="181"/>
                  </a:lnTo>
                  <a:lnTo>
                    <a:pt x="32" y="181"/>
                  </a:lnTo>
                  <a:lnTo>
                    <a:pt x="38" y="181"/>
                  </a:lnTo>
                  <a:lnTo>
                    <a:pt x="43" y="179"/>
                  </a:lnTo>
                  <a:lnTo>
                    <a:pt x="46" y="176"/>
                  </a:lnTo>
                  <a:lnTo>
                    <a:pt x="48" y="176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6" y="173"/>
                  </a:lnTo>
                  <a:lnTo>
                    <a:pt x="59" y="173"/>
                  </a:lnTo>
                  <a:lnTo>
                    <a:pt x="65" y="173"/>
                  </a:lnTo>
                  <a:lnTo>
                    <a:pt x="67" y="173"/>
                  </a:lnTo>
                  <a:lnTo>
                    <a:pt x="70" y="171"/>
                  </a:lnTo>
                  <a:lnTo>
                    <a:pt x="73" y="171"/>
                  </a:lnTo>
                  <a:lnTo>
                    <a:pt x="78" y="168"/>
                  </a:lnTo>
                  <a:lnTo>
                    <a:pt x="81" y="168"/>
                  </a:lnTo>
                  <a:lnTo>
                    <a:pt x="83" y="165"/>
                  </a:lnTo>
                  <a:lnTo>
                    <a:pt x="86" y="165"/>
                  </a:lnTo>
                  <a:lnTo>
                    <a:pt x="89" y="163"/>
                  </a:lnTo>
                  <a:lnTo>
                    <a:pt x="91" y="160"/>
                  </a:lnTo>
                  <a:lnTo>
                    <a:pt x="91" y="160"/>
                  </a:lnTo>
                  <a:lnTo>
                    <a:pt x="91" y="157"/>
                  </a:lnTo>
                  <a:lnTo>
                    <a:pt x="91" y="155"/>
                  </a:lnTo>
                  <a:lnTo>
                    <a:pt x="91" y="152"/>
                  </a:lnTo>
                  <a:lnTo>
                    <a:pt x="94" y="149"/>
                  </a:lnTo>
                  <a:lnTo>
                    <a:pt x="91" y="144"/>
                  </a:lnTo>
                  <a:lnTo>
                    <a:pt x="91" y="139"/>
                  </a:lnTo>
                  <a:lnTo>
                    <a:pt x="94" y="136"/>
                  </a:lnTo>
                  <a:lnTo>
                    <a:pt x="94" y="133"/>
                  </a:lnTo>
                  <a:lnTo>
                    <a:pt x="97" y="128"/>
                  </a:lnTo>
                  <a:lnTo>
                    <a:pt x="97" y="123"/>
                  </a:lnTo>
                  <a:lnTo>
                    <a:pt x="99" y="120"/>
                  </a:lnTo>
                  <a:lnTo>
                    <a:pt x="99" y="112"/>
                  </a:lnTo>
                  <a:lnTo>
                    <a:pt x="102" y="109"/>
                  </a:lnTo>
                  <a:lnTo>
                    <a:pt x="102" y="107"/>
                  </a:lnTo>
                  <a:lnTo>
                    <a:pt x="99" y="107"/>
                  </a:lnTo>
                  <a:lnTo>
                    <a:pt x="99" y="104"/>
                  </a:lnTo>
                  <a:lnTo>
                    <a:pt x="99" y="101"/>
                  </a:lnTo>
                  <a:lnTo>
                    <a:pt x="97" y="99"/>
                  </a:lnTo>
                  <a:lnTo>
                    <a:pt x="97" y="93"/>
                  </a:lnTo>
                  <a:lnTo>
                    <a:pt x="94" y="91"/>
                  </a:lnTo>
                  <a:lnTo>
                    <a:pt x="94" y="85"/>
                  </a:lnTo>
                  <a:lnTo>
                    <a:pt x="91" y="83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4" y="77"/>
                  </a:lnTo>
                  <a:lnTo>
                    <a:pt x="94" y="72"/>
                  </a:lnTo>
                  <a:lnTo>
                    <a:pt x="97" y="69"/>
                  </a:lnTo>
                  <a:lnTo>
                    <a:pt x="99" y="66"/>
                  </a:lnTo>
                  <a:lnTo>
                    <a:pt x="102" y="61"/>
                  </a:lnTo>
                  <a:lnTo>
                    <a:pt x="105" y="58"/>
                  </a:lnTo>
                  <a:lnTo>
                    <a:pt x="105" y="56"/>
                  </a:lnTo>
                  <a:lnTo>
                    <a:pt x="107" y="50"/>
                  </a:lnTo>
                  <a:lnTo>
                    <a:pt x="110" y="48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8" y="42"/>
                  </a:lnTo>
                  <a:lnTo>
                    <a:pt x="121" y="42"/>
                  </a:lnTo>
                  <a:lnTo>
                    <a:pt x="126" y="42"/>
                  </a:lnTo>
                  <a:lnTo>
                    <a:pt x="129" y="40"/>
                  </a:lnTo>
                  <a:lnTo>
                    <a:pt x="131" y="40"/>
                  </a:lnTo>
                  <a:lnTo>
                    <a:pt x="134" y="37"/>
                  </a:lnTo>
                  <a:lnTo>
                    <a:pt x="137" y="37"/>
                  </a:lnTo>
                  <a:lnTo>
                    <a:pt x="139" y="34"/>
                  </a:lnTo>
                  <a:lnTo>
                    <a:pt x="145" y="32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2" y="26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7" y="21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50" y="18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3" y="24"/>
                  </a:lnTo>
                  <a:lnTo>
                    <a:pt x="163" y="26"/>
                  </a:lnTo>
                  <a:lnTo>
                    <a:pt x="166" y="24"/>
                  </a:lnTo>
                  <a:lnTo>
                    <a:pt x="169" y="24"/>
                  </a:lnTo>
                  <a:lnTo>
                    <a:pt x="171" y="24"/>
                  </a:lnTo>
                  <a:lnTo>
                    <a:pt x="174" y="21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79" y="21"/>
                  </a:lnTo>
                  <a:lnTo>
                    <a:pt x="182" y="18"/>
                  </a:lnTo>
                  <a:lnTo>
                    <a:pt x="185" y="18"/>
                  </a:lnTo>
                  <a:lnTo>
                    <a:pt x="185" y="16"/>
                  </a:lnTo>
                  <a:lnTo>
                    <a:pt x="185" y="16"/>
                  </a:lnTo>
                  <a:lnTo>
                    <a:pt x="187" y="13"/>
                  </a:lnTo>
                  <a:lnTo>
                    <a:pt x="187" y="10"/>
                  </a:lnTo>
                  <a:lnTo>
                    <a:pt x="190" y="10"/>
                  </a:lnTo>
                  <a:lnTo>
                    <a:pt x="193" y="10"/>
                  </a:lnTo>
                  <a:lnTo>
                    <a:pt x="193" y="10"/>
                  </a:lnTo>
                  <a:lnTo>
                    <a:pt x="198" y="10"/>
                  </a:lnTo>
                  <a:lnTo>
                    <a:pt x="198" y="13"/>
                  </a:lnTo>
                  <a:lnTo>
                    <a:pt x="201" y="13"/>
                  </a:lnTo>
                  <a:lnTo>
                    <a:pt x="203" y="16"/>
                  </a:lnTo>
                  <a:lnTo>
                    <a:pt x="206" y="16"/>
                  </a:lnTo>
                  <a:lnTo>
                    <a:pt x="206" y="16"/>
                  </a:lnTo>
                  <a:lnTo>
                    <a:pt x="209" y="16"/>
                  </a:lnTo>
                  <a:lnTo>
                    <a:pt x="211" y="16"/>
                  </a:lnTo>
                  <a:lnTo>
                    <a:pt x="214" y="16"/>
                  </a:lnTo>
                  <a:lnTo>
                    <a:pt x="214" y="16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9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5" y="16"/>
                  </a:lnTo>
                  <a:lnTo>
                    <a:pt x="227" y="16"/>
                  </a:lnTo>
                  <a:lnTo>
                    <a:pt x="227" y="13"/>
                  </a:lnTo>
                  <a:lnTo>
                    <a:pt x="230" y="13"/>
                  </a:lnTo>
                  <a:lnTo>
                    <a:pt x="233" y="10"/>
                  </a:lnTo>
                  <a:lnTo>
                    <a:pt x="235" y="10"/>
                  </a:lnTo>
                  <a:lnTo>
                    <a:pt x="238" y="8"/>
                  </a:lnTo>
                  <a:lnTo>
                    <a:pt x="238" y="5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43" y="0"/>
                  </a:lnTo>
                  <a:lnTo>
                    <a:pt x="243" y="2"/>
                  </a:lnTo>
                  <a:lnTo>
                    <a:pt x="243" y="2"/>
                  </a:lnTo>
                  <a:lnTo>
                    <a:pt x="243" y="8"/>
                  </a:lnTo>
                  <a:lnTo>
                    <a:pt x="243" y="10"/>
                  </a:lnTo>
                  <a:lnTo>
                    <a:pt x="243" y="13"/>
                  </a:lnTo>
                  <a:lnTo>
                    <a:pt x="243" y="18"/>
                  </a:lnTo>
                  <a:lnTo>
                    <a:pt x="243" y="21"/>
                  </a:lnTo>
                  <a:lnTo>
                    <a:pt x="249" y="26"/>
                  </a:lnTo>
                  <a:lnTo>
                    <a:pt x="251" y="29"/>
                  </a:lnTo>
                  <a:lnTo>
                    <a:pt x="251" y="29"/>
                  </a:lnTo>
                  <a:lnTo>
                    <a:pt x="254" y="29"/>
                  </a:lnTo>
                  <a:lnTo>
                    <a:pt x="257" y="29"/>
                  </a:lnTo>
                  <a:lnTo>
                    <a:pt x="257" y="29"/>
                  </a:lnTo>
                  <a:lnTo>
                    <a:pt x="259" y="29"/>
                  </a:lnTo>
                  <a:lnTo>
                    <a:pt x="262" y="26"/>
                  </a:lnTo>
                  <a:lnTo>
                    <a:pt x="262" y="24"/>
                  </a:lnTo>
                  <a:lnTo>
                    <a:pt x="265" y="24"/>
                  </a:lnTo>
                  <a:lnTo>
                    <a:pt x="265" y="21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6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0" y="10"/>
                  </a:lnTo>
                  <a:lnTo>
                    <a:pt x="273" y="13"/>
                  </a:lnTo>
                  <a:lnTo>
                    <a:pt x="273" y="13"/>
                  </a:lnTo>
                  <a:lnTo>
                    <a:pt x="273" y="13"/>
                  </a:lnTo>
                  <a:lnTo>
                    <a:pt x="273" y="16"/>
                  </a:lnTo>
                  <a:lnTo>
                    <a:pt x="273" y="16"/>
                  </a:lnTo>
                  <a:lnTo>
                    <a:pt x="273" y="16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8" y="24"/>
                  </a:lnTo>
                  <a:lnTo>
                    <a:pt x="278" y="24"/>
                  </a:lnTo>
                  <a:lnTo>
                    <a:pt x="278" y="26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8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81" y="32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75" y="37"/>
                  </a:lnTo>
                  <a:lnTo>
                    <a:pt x="275" y="37"/>
                  </a:lnTo>
                  <a:lnTo>
                    <a:pt x="273" y="37"/>
                  </a:lnTo>
                  <a:lnTo>
                    <a:pt x="273" y="37"/>
                  </a:lnTo>
                  <a:lnTo>
                    <a:pt x="270" y="37"/>
                  </a:lnTo>
                  <a:lnTo>
                    <a:pt x="270" y="37"/>
                  </a:lnTo>
                  <a:lnTo>
                    <a:pt x="267" y="37"/>
                  </a:lnTo>
                  <a:lnTo>
                    <a:pt x="267" y="37"/>
                  </a:lnTo>
                  <a:lnTo>
                    <a:pt x="267" y="37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5" y="37"/>
                  </a:lnTo>
                  <a:lnTo>
                    <a:pt x="265" y="40"/>
                  </a:lnTo>
                  <a:lnTo>
                    <a:pt x="265" y="40"/>
                  </a:lnTo>
                  <a:lnTo>
                    <a:pt x="267" y="40"/>
                  </a:lnTo>
                  <a:lnTo>
                    <a:pt x="267" y="40"/>
                  </a:lnTo>
                  <a:lnTo>
                    <a:pt x="270" y="40"/>
                  </a:lnTo>
                  <a:lnTo>
                    <a:pt x="273" y="37"/>
                  </a:lnTo>
                  <a:lnTo>
                    <a:pt x="273" y="37"/>
                  </a:lnTo>
                  <a:lnTo>
                    <a:pt x="275" y="37"/>
                  </a:lnTo>
                  <a:lnTo>
                    <a:pt x="275" y="37"/>
                  </a:lnTo>
                  <a:lnTo>
                    <a:pt x="278" y="37"/>
                  </a:lnTo>
                  <a:lnTo>
                    <a:pt x="278" y="37"/>
                  </a:lnTo>
                  <a:lnTo>
                    <a:pt x="278" y="37"/>
                  </a:lnTo>
                  <a:lnTo>
                    <a:pt x="281" y="34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78" y="40"/>
                  </a:lnTo>
                  <a:lnTo>
                    <a:pt x="281" y="40"/>
                  </a:lnTo>
                  <a:lnTo>
                    <a:pt x="281" y="40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1" y="37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6" y="42"/>
                  </a:lnTo>
                  <a:lnTo>
                    <a:pt x="286" y="45"/>
                  </a:lnTo>
                  <a:lnTo>
                    <a:pt x="289" y="45"/>
                  </a:lnTo>
                  <a:lnTo>
                    <a:pt x="289" y="42"/>
                  </a:lnTo>
                  <a:lnTo>
                    <a:pt x="289" y="40"/>
                  </a:lnTo>
                  <a:lnTo>
                    <a:pt x="289" y="40"/>
                  </a:lnTo>
                  <a:lnTo>
                    <a:pt x="289" y="37"/>
                  </a:lnTo>
                  <a:lnTo>
                    <a:pt x="289" y="37"/>
                  </a:lnTo>
                  <a:lnTo>
                    <a:pt x="291" y="37"/>
                  </a:lnTo>
                  <a:lnTo>
                    <a:pt x="291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2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302" y="37"/>
                  </a:lnTo>
                  <a:lnTo>
                    <a:pt x="302" y="37"/>
                  </a:lnTo>
                  <a:lnTo>
                    <a:pt x="302" y="40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2" y="42"/>
                  </a:lnTo>
                  <a:lnTo>
                    <a:pt x="305" y="42"/>
                  </a:lnTo>
                  <a:lnTo>
                    <a:pt x="305" y="37"/>
                  </a:lnTo>
                  <a:lnTo>
                    <a:pt x="305" y="34"/>
                  </a:lnTo>
                  <a:lnTo>
                    <a:pt x="308" y="34"/>
                  </a:lnTo>
                  <a:lnTo>
                    <a:pt x="308" y="32"/>
                  </a:lnTo>
                  <a:lnTo>
                    <a:pt x="308" y="32"/>
                  </a:lnTo>
                  <a:lnTo>
                    <a:pt x="308" y="32"/>
                  </a:lnTo>
                  <a:lnTo>
                    <a:pt x="310" y="32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6"/>
                  </a:lnTo>
                  <a:lnTo>
                    <a:pt x="310" y="26"/>
                  </a:lnTo>
                  <a:lnTo>
                    <a:pt x="310" y="24"/>
                  </a:lnTo>
                  <a:lnTo>
                    <a:pt x="313" y="24"/>
                  </a:lnTo>
                  <a:lnTo>
                    <a:pt x="313" y="24"/>
                  </a:lnTo>
                  <a:lnTo>
                    <a:pt x="313" y="26"/>
                  </a:lnTo>
                  <a:lnTo>
                    <a:pt x="313" y="26"/>
                  </a:lnTo>
                  <a:lnTo>
                    <a:pt x="313" y="29"/>
                  </a:lnTo>
                  <a:lnTo>
                    <a:pt x="316" y="29"/>
                  </a:lnTo>
                  <a:lnTo>
                    <a:pt x="316" y="29"/>
                  </a:lnTo>
                  <a:lnTo>
                    <a:pt x="316" y="32"/>
                  </a:lnTo>
                  <a:lnTo>
                    <a:pt x="316" y="34"/>
                  </a:lnTo>
                  <a:lnTo>
                    <a:pt x="316" y="37"/>
                  </a:lnTo>
                  <a:lnTo>
                    <a:pt x="318" y="40"/>
                  </a:lnTo>
                  <a:lnTo>
                    <a:pt x="318" y="42"/>
                  </a:lnTo>
                  <a:lnTo>
                    <a:pt x="318" y="42"/>
                  </a:lnTo>
                  <a:lnTo>
                    <a:pt x="318" y="45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18" y="50"/>
                  </a:lnTo>
                  <a:lnTo>
                    <a:pt x="318" y="50"/>
                  </a:lnTo>
                  <a:lnTo>
                    <a:pt x="318" y="53"/>
                  </a:lnTo>
                  <a:lnTo>
                    <a:pt x="318" y="56"/>
                  </a:lnTo>
                  <a:lnTo>
                    <a:pt x="318" y="56"/>
                  </a:lnTo>
                  <a:lnTo>
                    <a:pt x="321" y="58"/>
                  </a:lnTo>
                  <a:lnTo>
                    <a:pt x="321" y="56"/>
                  </a:lnTo>
                  <a:lnTo>
                    <a:pt x="324" y="56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6" y="61"/>
                  </a:lnTo>
                  <a:lnTo>
                    <a:pt x="326" y="64"/>
                  </a:lnTo>
                  <a:lnTo>
                    <a:pt x="329" y="64"/>
                  </a:lnTo>
                  <a:lnTo>
                    <a:pt x="329" y="64"/>
                  </a:lnTo>
                  <a:lnTo>
                    <a:pt x="329" y="66"/>
                  </a:lnTo>
                  <a:lnTo>
                    <a:pt x="329" y="66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29" y="69"/>
                  </a:lnTo>
                  <a:lnTo>
                    <a:pt x="332" y="69"/>
                  </a:lnTo>
                  <a:lnTo>
                    <a:pt x="332" y="69"/>
                  </a:lnTo>
                  <a:lnTo>
                    <a:pt x="332" y="72"/>
                  </a:lnTo>
                  <a:lnTo>
                    <a:pt x="332" y="72"/>
                  </a:lnTo>
                  <a:lnTo>
                    <a:pt x="329" y="75"/>
                  </a:lnTo>
                  <a:lnTo>
                    <a:pt x="329" y="75"/>
                  </a:lnTo>
                  <a:lnTo>
                    <a:pt x="329" y="75"/>
                  </a:lnTo>
                  <a:lnTo>
                    <a:pt x="326" y="75"/>
                  </a:lnTo>
                  <a:lnTo>
                    <a:pt x="326" y="77"/>
                  </a:lnTo>
                  <a:lnTo>
                    <a:pt x="326" y="77"/>
                  </a:lnTo>
                  <a:lnTo>
                    <a:pt x="321" y="80"/>
                  </a:lnTo>
                  <a:lnTo>
                    <a:pt x="318" y="80"/>
                  </a:lnTo>
                  <a:lnTo>
                    <a:pt x="316" y="80"/>
                  </a:lnTo>
                  <a:lnTo>
                    <a:pt x="316" y="80"/>
                  </a:lnTo>
                  <a:lnTo>
                    <a:pt x="316" y="80"/>
                  </a:lnTo>
                  <a:lnTo>
                    <a:pt x="313" y="80"/>
                  </a:lnTo>
                  <a:lnTo>
                    <a:pt x="313" y="80"/>
                  </a:lnTo>
                  <a:lnTo>
                    <a:pt x="310" y="80"/>
                  </a:lnTo>
                  <a:lnTo>
                    <a:pt x="310" y="77"/>
                  </a:lnTo>
                  <a:lnTo>
                    <a:pt x="310" y="75"/>
                  </a:lnTo>
                  <a:lnTo>
                    <a:pt x="308" y="75"/>
                  </a:lnTo>
                  <a:lnTo>
                    <a:pt x="308" y="72"/>
                  </a:lnTo>
                  <a:lnTo>
                    <a:pt x="308" y="69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4"/>
                  </a:lnTo>
                  <a:lnTo>
                    <a:pt x="305" y="61"/>
                  </a:lnTo>
                  <a:lnTo>
                    <a:pt x="302" y="61"/>
                  </a:lnTo>
                  <a:lnTo>
                    <a:pt x="302" y="64"/>
                  </a:lnTo>
                  <a:lnTo>
                    <a:pt x="299" y="61"/>
                  </a:lnTo>
                  <a:lnTo>
                    <a:pt x="299" y="58"/>
                  </a:lnTo>
                  <a:lnTo>
                    <a:pt x="299" y="58"/>
                  </a:lnTo>
                  <a:lnTo>
                    <a:pt x="297" y="56"/>
                  </a:lnTo>
                  <a:lnTo>
                    <a:pt x="297" y="56"/>
                  </a:lnTo>
                  <a:lnTo>
                    <a:pt x="299" y="53"/>
                  </a:lnTo>
                  <a:lnTo>
                    <a:pt x="299" y="53"/>
                  </a:lnTo>
                  <a:lnTo>
                    <a:pt x="299" y="53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2" y="50"/>
                  </a:lnTo>
                  <a:lnTo>
                    <a:pt x="302" y="48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8"/>
                  </a:lnTo>
                  <a:lnTo>
                    <a:pt x="299" y="48"/>
                  </a:lnTo>
                  <a:lnTo>
                    <a:pt x="299" y="50"/>
                  </a:lnTo>
                  <a:lnTo>
                    <a:pt x="297" y="50"/>
                  </a:lnTo>
                  <a:lnTo>
                    <a:pt x="297" y="53"/>
                  </a:lnTo>
                  <a:lnTo>
                    <a:pt x="294" y="53"/>
                  </a:lnTo>
                  <a:lnTo>
                    <a:pt x="294" y="53"/>
                  </a:lnTo>
                  <a:lnTo>
                    <a:pt x="291" y="50"/>
                  </a:lnTo>
                  <a:lnTo>
                    <a:pt x="289" y="53"/>
                  </a:lnTo>
                  <a:lnTo>
                    <a:pt x="291" y="53"/>
                  </a:lnTo>
                  <a:lnTo>
                    <a:pt x="291" y="56"/>
                  </a:lnTo>
                  <a:lnTo>
                    <a:pt x="289" y="58"/>
                  </a:lnTo>
                  <a:lnTo>
                    <a:pt x="289" y="58"/>
                  </a:lnTo>
                  <a:lnTo>
                    <a:pt x="291" y="58"/>
                  </a:lnTo>
                  <a:lnTo>
                    <a:pt x="291" y="58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4" y="64"/>
                  </a:lnTo>
                  <a:lnTo>
                    <a:pt x="297" y="64"/>
                  </a:lnTo>
                  <a:lnTo>
                    <a:pt x="297" y="66"/>
                  </a:lnTo>
                  <a:lnTo>
                    <a:pt x="299" y="66"/>
                  </a:lnTo>
                  <a:lnTo>
                    <a:pt x="297" y="69"/>
                  </a:lnTo>
                  <a:lnTo>
                    <a:pt x="297" y="69"/>
                  </a:lnTo>
                  <a:lnTo>
                    <a:pt x="297" y="72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7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4" y="75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89" y="75"/>
                  </a:lnTo>
                  <a:lnTo>
                    <a:pt x="289" y="75"/>
                  </a:lnTo>
                  <a:lnTo>
                    <a:pt x="289" y="75"/>
                  </a:lnTo>
                  <a:lnTo>
                    <a:pt x="286" y="75"/>
                  </a:lnTo>
                  <a:lnTo>
                    <a:pt x="286" y="75"/>
                  </a:lnTo>
                  <a:lnTo>
                    <a:pt x="286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1" y="75"/>
                  </a:lnTo>
                  <a:lnTo>
                    <a:pt x="283" y="75"/>
                  </a:lnTo>
                  <a:lnTo>
                    <a:pt x="283" y="75"/>
                  </a:lnTo>
                  <a:lnTo>
                    <a:pt x="283" y="77"/>
                  </a:lnTo>
                  <a:lnTo>
                    <a:pt x="283" y="77"/>
                  </a:lnTo>
                  <a:lnTo>
                    <a:pt x="286" y="77"/>
                  </a:lnTo>
                  <a:lnTo>
                    <a:pt x="286" y="77"/>
                  </a:lnTo>
                  <a:lnTo>
                    <a:pt x="289" y="77"/>
                  </a:lnTo>
                  <a:lnTo>
                    <a:pt x="289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1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77"/>
                  </a:lnTo>
                  <a:lnTo>
                    <a:pt x="297" y="80"/>
                  </a:lnTo>
                  <a:lnTo>
                    <a:pt x="297" y="80"/>
                  </a:lnTo>
                  <a:lnTo>
                    <a:pt x="297" y="80"/>
                  </a:lnTo>
                  <a:lnTo>
                    <a:pt x="299" y="80"/>
                  </a:lnTo>
                  <a:lnTo>
                    <a:pt x="299" y="83"/>
                  </a:lnTo>
                  <a:lnTo>
                    <a:pt x="299" y="83"/>
                  </a:lnTo>
                  <a:lnTo>
                    <a:pt x="302" y="83"/>
                  </a:lnTo>
                  <a:lnTo>
                    <a:pt x="302" y="83"/>
                  </a:lnTo>
                  <a:lnTo>
                    <a:pt x="305" y="85"/>
                  </a:lnTo>
                  <a:lnTo>
                    <a:pt x="305" y="85"/>
                  </a:lnTo>
                  <a:lnTo>
                    <a:pt x="305" y="88"/>
                  </a:lnTo>
                  <a:lnTo>
                    <a:pt x="305" y="88"/>
                  </a:lnTo>
                  <a:lnTo>
                    <a:pt x="305" y="88"/>
                  </a:lnTo>
                  <a:lnTo>
                    <a:pt x="302" y="88"/>
                  </a:lnTo>
                  <a:lnTo>
                    <a:pt x="302" y="88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297" y="91"/>
                  </a:lnTo>
                  <a:lnTo>
                    <a:pt x="299" y="91"/>
                  </a:lnTo>
                  <a:lnTo>
                    <a:pt x="299" y="91"/>
                  </a:lnTo>
                  <a:lnTo>
                    <a:pt x="302" y="91"/>
                  </a:lnTo>
                  <a:lnTo>
                    <a:pt x="302" y="91"/>
                  </a:lnTo>
                  <a:lnTo>
                    <a:pt x="305" y="91"/>
                  </a:lnTo>
                  <a:lnTo>
                    <a:pt x="305" y="91"/>
                  </a:lnTo>
                  <a:lnTo>
                    <a:pt x="308" y="91"/>
                  </a:lnTo>
                  <a:lnTo>
                    <a:pt x="310" y="91"/>
                  </a:lnTo>
                  <a:lnTo>
                    <a:pt x="310" y="91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08" y="93"/>
                  </a:lnTo>
                  <a:lnTo>
                    <a:pt x="308" y="96"/>
                  </a:lnTo>
                  <a:lnTo>
                    <a:pt x="305" y="96"/>
                  </a:lnTo>
                  <a:lnTo>
                    <a:pt x="302" y="96"/>
                  </a:lnTo>
                  <a:lnTo>
                    <a:pt x="302" y="96"/>
                  </a:lnTo>
                  <a:lnTo>
                    <a:pt x="302" y="96"/>
                  </a:lnTo>
                  <a:lnTo>
                    <a:pt x="299" y="96"/>
                  </a:lnTo>
                  <a:lnTo>
                    <a:pt x="299" y="96"/>
                  </a:lnTo>
                  <a:lnTo>
                    <a:pt x="297" y="99"/>
                  </a:lnTo>
                  <a:lnTo>
                    <a:pt x="297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1" y="99"/>
                  </a:lnTo>
                  <a:lnTo>
                    <a:pt x="291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7" y="101"/>
                  </a:lnTo>
                  <a:lnTo>
                    <a:pt x="299" y="101"/>
                  </a:lnTo>
                  <a:lnTo>
                    <a:pt x="299" y="99"/>
                  </a:lnTo>
                  <a:lnTo>
                    <a:pt x="302" y="99"/>
                  </a:lnTo>
                  <a:lnTo>
                    <a:pt x="305" y="99"/>
                  </a:lnTo>
                  <a:lnTo>
                    <a:pt x="305" y="99"/>
                  </a:lnTo>
                  <a:lnTo>
                    <a:pt x="305" y="101"/>
                  </a:lnTo>
                  <a:lnTo>
                    <a:pt x="308" y="99"/>
                  </a:lnTo>
                  <a:lnTo>
                    <a:pt x="310" y="101"/>
                  </a:lnTo>
                  <a:lnTo>
                    <a:pt x="313" y="101"/>
                  </a:lnTo>
                  <a:lnTo>
                    <a:pt x="313" y="101"/>
                  </a:lnTo>
                  <a:lnTo>
                    <a:pt x="316" y="101"/>
                  </a:lnTo>
                  <a:lnTo>
                    <a:pt x="316" y="101"/>
                  </a:lnTo>
                  <a:lnTo>
                    <a:pt x="318" y="101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18" y="104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18" y="109"/>
                  </a:lnTo>
                  <a:lnTo>
                    <a:pt x="318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09"/>
                  </a:lnTo>
                  <a:lnTo>
                    <a:pt x="316" y="112"/>
                  </a:lnTo>
                  <a:lnTo>
                    <a:pt x="316" y="112"/>
                  </a:lnTo>
                  <a:lnTo>
                    <a:pt x="313" y="115"/>
                  </a:lnTo>
                  <a:lnTo>
                    <a:pt x="310" y="115"/>
                  </a:lnTo>
                  <a:lnTo>
                    <a:pt x="310" y="115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8" y="115"/>
                  </a:lnTo>
                  <a:lnTo>
                    <a:pt x="308" y="112"/>
                  </a:lnTo>
                  <a:lnTo>
                    <a:pt x="305" y="112"/>
                  </a:lnTo>
                  <a:lnTo>
                    <a:pt x="305" y="112"/>
                  </a:lnTo>
                  <a:lnTo>
                    <a:pt x="305" y="115"/>
                  </a:lnTo>
                  <a:lnTo>
                    <a:pt x="305" y="115"/>
                  </a:lnTo>
                  <a:lnTo>
                    <a:pt x="305" y="115"/>
                  </a:lnTo>
                  <a:lnTo>
                    <a:pt x="302" y="112"/>
                  </a:lnTo>
                  <a:lnTo>
                    <a:pt x="299" y="115"/>
                  </a:lnTo>
                  <a:lnTo>
                    <a:pt x="302" y="115"/>
                  </a:lnTo>
                  <a:lnTo>
                    <a:pt x="302" y="115"/>
                  </a:lnTo>
                  <a:lnTo>
                    <a:pt x="305" y="115"/>
                  </a:lnTo>
                  <a:lnTo>
                    <a:pt x="308" y="115"/>
                  </a:lnTo>
                  <a:lnTo>
                    <a:pt x="308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08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5" y="120"/>
                  </a:lnTo>
                  <a:lnTo>
                    <a:pt x="302" y="117"/>
                  </a:lnTo>
                  <a:lnTo>
                    <a:pt x="302" y="117"/>
                  </a:lnTo>
                  <a:lnTo>
                    <a:pt x="302" y="117"/>
                  </a:lnTo>
                  <a:lnTo>
                    <a:pt x="299" y="120"/>
                  </a:lnTo>
                  <a:lnTo>
                    <a:pt x="302" y="120"/>
                  </a:lnTo>
                  <a:lnTo>
                    <a:pt x="302" y="120"/>
                  </a:lnTo>
                  <a:lnTo>
                    <a:pt x="305" y="120"/>
                  </a:lnTo>
                  <a:lnTo>
                    <a:pt x="305" y="123"/>
                  </a:lnTo>
                  <a:lnTo>
                    <a:pt x="302" y="123"/>
                  </a:lnTo>
                  <a:lnTo>
                    <a:pt x="302" y="123"/>
                  </a:lnTo>
                  <a:lnTo>
                    <a:pt x="302" y="125"/>
                  </a:lnTo>
                  <a:lnTo>
                    <a:pt x="302" y="125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2" y="125"/>
                  </a:lnTo>
                  <a:lnTo>
                    <a:pt x="302" y="125"/>
                  </a:lnTo>
                  <a:lnTo>
                    <a:pt x="302" y="128"/>
                  </a:lnTo>
                  <a:lnTo>
                    <a:pt x="299" y="128"/>
                  </a:lnTo>
                  <a:lnTo>
                    <a:pt x="297" y="128"/>
                  </a:lnTo>
                  <a:lnTo>
                    <a:pt x="297" y="128"/>
                  </a:lnTo>
                  <a:lnTo>
                    <a:pt x="294" y="128"/>
                  </a:lnTo>
                  <a:lnTo>
                    <a:pt x="291" y="128"/>
                  </a:lnTo>
                  <a:lnTo>
                    <a:pt x="289" y="128"/>
                  </a:lnTo>
                  <a:lnTo>
                    <a:pt x="286" y="128"/>
                  </a:lnTo>
                  <a:lnTo>
                    <a:pt x="286" y="125"/>
                  </a:lnTo>
                  <a:lnTo>
                    <a:pt x="283" y="125"/>
                  </a:lnTo>
                  <a:lnTo>
                    <a:pt x="283" y="125"/>
                  </a:lnTo>
                  <a:lnTo>
                    <a:pt x="281" y="125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3" y="133"/>
                  </a:lnTo>
                  <a:lnTo>
                    <a:pt x="273" y="136"/>
                  </a:lnTo>
                  <a:lnTo>
                    <a:pt x="270" y="136"/>
                  </a:lnTo>
                  <a:lnTo>
                    <a:pt x="270" y="139"/>
                  </a:lnTo>
                  <a:lnTo>
                    <a:pt x="270" y="139"/>
                  </a:lnTo>
                  <a:lnTo>
                    <a:pt x="270" y="141"/>
                  </a:lnTo>
                  <a:lnTo>
                    <a:pt x="270" y="139"/>
                  </a:lnTo>
                  <a:lnTo>
                    <a:pt x="273" y="139"/>
                  </a:lnTo>
                  <a:lnTo>
                    <a:pt x="273" y="136"/>
                  </a:lnTo>
                  <a:lnTo>
                    <a:pt x="275" y="136"/>
                  </a:lnTo>
                  <a:lnTo>
                    <a:pt x="275" y="133"/>
                  </a:lnTo>
                  <a:lnTo>
                    <a:pt x="278" y="131"/>
                  </a:lnTo>
                  <a:lnTo>
                    <a:pt x="281" y="131"/>
                  </a:lnTo>
                  <a:lnTo>
                    <a:pt x="281" y="128"/>
                  </a:lnTo>
                  <a:lnTo>
                    <a:pt x="283" y="128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9" y="131"/>
                  </a:lnTo>
                  <a:lnTo>
                    <a:pt x="289" y="131"/>
                  </a:lnTo>
                  <a:lnTo>
                    <a:pt x="291" y="131"/>
                  </a:lnTo>
                  <a:lnTo>
                    <a:pt x="291" y="131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4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3"/>
                  </a:lnTo>
                  <a:lnTo>
                    <a:pt x="297" y="131"/>
                  </a:lnTo>
                  <a:lnTo>
                    <a:pt x="299" y="131"/>
                  </a:lnTo>
                  <a:lnTo>
                    <a:pt x="299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5" y="133"/>
                  </a:lnTo>
                  <a:lnTo>
                    <a:pt x="305" y="131"/>
                  </a:lnTo>
                  <a:lnTo>
                    <a:pt x="305" y="128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10" y="125"/>
                  </a:lnTo>
                  <a:lnTo>
                    <a:pt x="310" y="125"/>
                  </a:lnTo>
                  <a:lnTo>
                    <a:pt x="310" y="123"/>
                  </a:lnTo>
                  <a:lnTo>
                    <a:pt x="313" y="123"/>
                  </a:lnTo>
                  <a:lnTo>
                    <a:pt x="313" y="123"/>
                  </a:lnTo>
                  <a:lnTo>
                    <a:pt x="313" y="123"/>
                  </a:lnTo>
                  <a:lnTo>
                    <a:pt x="313" y="120"/>
                  </a:lnTo>
                  <a:lnTo>
                    <a:pt x="313" y="120"/>
                  </a:lnTo>
                  <a:lnTo>
                    <a:pt x="316" y="117"/>
                  </a:lnTo>
                  <a:lnTo>
                    <a:pt x="316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21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18" y="123"/>
                  </a:lnTo>
                  <a:lnTo>
                    <a:pt x="321" y="123"/>
                  </a:lnTo>
                  <a:lnTo>
                    <a:pt x="321" y="125"/>
                  </a:lnTo>
                  <a:lnTo>
                    <a:pt x="321" y="125"/>
                  </a:lnTo>
                  <a:lnTo>
                    <a:pt x="321" y="128"/>
                  </a:lnTo>
                  <a:lnTo>
                    <a:pt x="324" y="128"/>
                  </a:lnTo>
                  <a:lnTo>
                    <a:pt x="324" y="125"/>
                  </a:lnTo>
                  <a:lnTo>
                    <a:pt x="324" y="125"/>
                  </a:lnTo>
                  <a:lnTo>
                    <a:pt x="324" y="125"/>
                  </a:lnTo>
                  <a:lnTo>
                    <a:pt x="326" y="125"/>
                  </a:lnTo>
                  <a:lnTo>
                    <a:pt x="326" y="128"/>
                  </a:lnTo>
                  <a:lnTo>
                    <a:pt x="329" y="128"/>
                  </a:lnTo>
                  <a:lnTo>
                    <a:pt x="329" y="128"/>
                  </a:lnTo>
                  <a:lnTo>
                    <a:pt x="332" y="131"/>
                  </a:lnTo>
                  <a:lnTo>
                    <a:pt x="332" y="133"/>
                  </a:lnTo>
                  <a:lnTo>
                    <a:pt x="334" y="136"/>
                  </a:lnTo>
                  <a:lnTo>
                    <a:pt x="337" y="136"/>
                  </a:lnTo>
                  <a:lnTo>
                    <a:pt x="337" y="136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37" y="141"/>
                  </a:lnTo>
                  <a:lnTo>
                    <a:pt x="340" y="141"/>
                  </a:lnTo>
                  <a:lnTo>
                    <a:pt x="340" y="144"/>
                  </a:lnTo>
                  <a:lnTo>
                    <a:pt x="340" y="144"/>
                  </a:lnTo>
                  <a:lnTo>
                    <a:pt x="342" y="147"/>
                  </a:lnTo>
                  <a:lnTo>
                    <a:pt x="342" y="147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5" y="149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8" y="155"/>
                  </a:lnTo>
                  <a:lnTo>
                    <a:pt x="348" y="157"/>
                  </a:lnTo>
                  <a:lnTo>
                    <a:pt x="348" y="157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50" y="160"/>
                  </a:lnTo>
                  <a:lnTo>
                    <a:pt x="350" y="160"/>
                  </a:lnTo>
                  <a:lnTo>
                    <a:pt x="353" y="160"/>
                  </a:lnTo>
                  <a:lnTo>
                    <a:pt x="353" y="163"/>
                  </a:lnTo>
                  <a:lnTo>
                    <a:pt x="353" y="163"/>
                  </a:lnTo>
                  <a:lnTo>
                    <a:pt x="356" y="163"/>
                  </a:lnTo>
                  <a:lnTo>
                    <a:pt x="356" y="165"/>
                  </a:lnTo>
                  <a:lnTo>
                    <a:pt x="353" y="165"/>
                  </a:lnTo>
                  <a:lnTo>
                    <a:pt x="353" y="168"/>
                  </a:lnTo>
                  <a:lnTo>
                    <a:pt x="350" y="171"/>
                  </a:lnTo>
                  <a:lnTo>
                    <a:pt x="350" y="171"/>
                  </a:lnTo>
                  <a:lnTo>
                    <a:pt x="350" y="171"/>
                  </a:lnTo>
                  <a:lnTo>
                    <a:pt x="353" y="171"/>
                  </a:lnTo>
                  <a:lnTo>
                    <a:pt x="353" y="171"/>
                  </a:lnTo>
                  <a:lnTo>
                    <a:pt x="353" y="168"/>
                  </a:lnTo>
                  <a:lnTo>
                    <a:pt x="356" y="168"/>
                  </a:lnTo>
                  <a:lnTo>
                    <a:pt x="356" y="168"/>
                  </a:lnTo>
                  <a:lnTo>
                    <a:pt x="356" y="165"/>
                  </a:lnTo>
                  <a:lnTo>
                    <a:pt x="356" y="168"/>
                  </a:lnTo>
                  <a:lnTo>
                    <a:pt x="358" y="168"/>
                  </a:lnTo>
                  <a:lnTo>
                    <a:pt x="358" y="168"/>
                  </a:lnTo>
                  <a:lnTo>
                    <a:pt x="361" y="168"/>
                  </a:lnTo>
                  <a:lnTo>
                    <a:pt x="361" y="168"/>
                  </a:lnTo>
                  <a:lnTo>
                    <a:pt x="358" y="165"/>
                  </a:lnTo>
                  <a:lnTo>
                    <a:pt x="358" y="163"/>
                  </a:lnTo>
                  <a:lnTo>
                    <a:pt x="358" y="160"/>
                  </a:lnTo>
                  <a:lnTo>
                    <a:pt x="361" y="160"/>
                  </a:lnTo>
                  <a:lnTo>
                    <a:pt x="361" y="163"/>
                  </a:lnTo>
                  <a:lnTo>
                    <a:pt x="364" y="165"/>
                  </a:lnTo>
                  <a:lnTo>
                    <a:pt x="364" y="165"/>
                  </a:lnTo>
                  <a:lnTo>
                    <a:pt x="364" y="168"/>
                  </a:lnTo>
                  <a:lnTo>
                    <a:pt x="366" y="168"/>
                  </a:lnTo>
                  <a:lnTo>
                    <a:pt x="366" y="171"/>
                  </a:lnTo>
                  <a:lnTo>
                    <a:pt x="369" y="173"/>
                  </a:lnTo>
                  <a:lnTo>
                    <a:pt x="369" y="176"/>
                  </a:lnTo>
                  <a:lnTo>
                    <a:pt x="369" y="176"/>
                  </a:lnTo>
                  <a:lnTo>
                    <a:pt x="372" y="176"/>
                  </a:lnTo>
                  <a:lnTo>
                    <a:pt x="372" y="179"/>
                  </a:lnTo>
                  <a:lnTo>
                    <a:pt x="372" y="179"/>
                  </a:lnTo>
                  <a:lnTo>
                    <a:pt x="374" y="181"/>
                  </a:lnTo>
                  <a:lnTo>
                    <a:pt x="374" y="181"/>
                  </a:lnTo>
                  <a:lnTo>
                    <a:pt x="374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4" y="184"/>
                  </a:lnTo>
                  <a:lnTo>
                    <a:pt x="374" y="184"/>
                  </a:lnTo>
                  <a:lnTo>
                    <a:pt x="374" y="184"/>
                  </a:lnTo>
                  <a:lnTo>
                    <a:pt x="377" y="184"/>
                  </a:lnTo>
                  <a:lnTo>
                    <a:pt x="377" y="187"/>
                  </a:lnTo>
                  <a:lnTo>
                    <a:pt x="377" y="189"/>
                  </a:lnTo>
                  <a:lnTo>
                    <a:pt x="377" y="192"/>
                  </a:lnTo>
                  <a:lnTo>
                    <a:pt x="377" y="192"/>
                  </a:lnTo>
                  <a:lnTo>
                    <a:pt x="377" y="195"/>
                  </a:lnTo>
                  <a:lnTo>
                    <a:pt x="377" y="195"/>
                  </a:lnTo>
                  <a:lnTo>
                    <a:pt x="377" y="195"/>
                  </a:lnTo>
                  <a:lnTo>
                    <a:pt x="380" y="197"/>
                  </a:lnTo>
                  <a:lnTo>
                    <a:pt x="380" y="197"/>
                  </a:lnTo>
                  <a:lnTo>
                    <a:pt x="380" y="197"/>
                  </a:lnTo>
                  <a:lnTo>
                    <a:pt x="380" y="200"/>
                  </a:lnTo>
                  <a:lnTo>
                    <a:pt x="380" y="200"/>
                  </a:lnTo>
                  <a:lnTo>
                    <a:pt x="382" y="200"/>
                  </a:lnTo>
                  <a:lnTo>
                    <a:pt x="382" y="200"/>
                  </a:lnTo>
                  <a:lnTo>
                    <a:pt x="382" y="203"/>
                  </a:lnTo>
                  <a:lnTo>
                    <a:pt x="382" y="203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5"/>
                  </a:lnTo>
                  <a:lnTo>
                    <a:pt x="382" y="208"/>
                  </a:lnTo>
                  <a:lnTo>
                    <a:pt x="380" y="208"/>
                  </a:lnTo>
                  <a:lnTo>
                    <a:pt x="382" y="208"/>
                  </a:lnTo>
                  <a:lnTo>
                    <a:pt x="382" y="208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2" y="213"/>
                  </a:lnTo>
                  <a:lnTo>
                    <a:pt x="385" y="213"/>
                  </a:lnTo>
                  <a:lnTo>
                    <a:pt x="385" y="216"/>
                  </a:lnTo>
                  <a:lnTo>
                    <a:pt x="385" y="216"/>
                  </a:lnTo>
                  <a:lnTo>
                    <a:pt x="385" y="219"/>
                  </a:lnTo>
                  <a:lnTo>
                    <a:pt x="385" y="219"/>
                  </a:lnTo>
                  <a:lnTo>
                    <a:pt x="388" y="219"/>
                  </a:lnTo>
                  <a:lnTo>
                    <a:pt x="385" y="219"/>
                  </a:lnTo>
                  <a:lnTo>
                    <a:pt x="385" y="221"/>
                  </a:lnTo>
                  <a:lnTo>
                    <a:pt x="388" y="221"/>
                  </a:lnTo>
                  <a:lnTo>
                    <a:pt x="388" y="224"/>
                  </a:lnTo>
                  <a:lnTo>
                    <a:pt x="388" y="224"/>
                  </a:lnTo>
                  <a:lnTo>
                    <a:pt x="388" y="227"/>
                  </a:lnTo>
                  <a:lnTo>
                    <a:pt x="388" y="227"/>
                  </a:lnTo>
                  <a:lnTo>
                    <a:pt x="388" y="230"/>
                  </a:lnTo>
                  <a:lnTo>
                    <a:pt x="388" y="232"/>
                  </a:lnTo>
                  <a:lnTo>
                    <a:pt x="388" y="232"/>
                  </a:lnTo>
                  <a:lnTo>
                    <a:pt x="390" y="232"/>
                  </a:lnTo>
                  <a:lnTo>
                    <a:pt x="390" y="235"/>
                  </a:lnTo>
                  <a:lnTo>
                    <a:pt x="390" y="238"/>
                  </a:lnTo>
                  <a:lnTo>
                    <a:pt x="390" y="238"/>
                  </a:lnTo>
                  <a:lnTo>
                    <a:pt x="390" y="238"/>
                  </a:lnTo>
                  <a:lnTo>
                    <a:pt x="390" y="240"/>
                  </a:lnTo>
                  <a:lnTo>
                    <a:pt x="390" y="240"/>
                  </a:lnTo>
                  <a:lnTo>
                    <a:pt x="390" y="240"/>
                  </a:lnTo>
                  <a:lnTo>
                    <a:pt x="390" y="243"/>
                  </a:lnTo>
                  <a:lnTo>
                    <a:pt x="390" y="246"/>
                  </a:lnTo>
                  <a:lnTo>
                    <a:pt x="393" y="246"/>
                  </a:lnTo>
                  <a:lnTo>
                    <a:pt x="393" y="248"/>
                  </a:lnTo>
                  <a:lnTo>
                    <a:pt x="393" y="251"/>
                  </a:lnTo>
                  <a:lnTo>
                    <a:pt x="393" y="254"/>
                  </a:lnTo>
                  <a:lnTo>
                    <a:pt x="396" y="256"/>
                  </a:lnTo>
                  <a:lnTo>
                    <a:pt x="396" y="259"/>
                  </a:lnTo>
                  <a:lnTo>
                    <a:pt x="396" y="262"/>
                  </a:lnTo>
                  <a:lnTo>
                    <a:pt x="396" y="262"/>
                  </a:lnTo>
                  <a:lnTo>
                    <a:pt x="396" y="264"/>
                  </a:lnTo>
                  <a:lnTo>
                    <a:pt x="398" y="264"/>
                  </a:lnTo>
                  <a:lnTo>
                    <a:pt x="398" y="264"/>
                  </a:lnTo>
                  <a:lnTo>
                    <a:pt x="396" y="267"/>
                  </a:lnTo>
                  <a:lnTo>
                    <a:pt x="398" y="267"/>
                  </a:lnTo>
                  <a:lnTo>
                    <a:pt x="398" y="270"/>
                  </a:lnTo>
                  <a:lnTo>
                    <a:pt x="398" y="272"/>
                  </a:lnTo>
                  <a:lnTo>
                    <a:pt x="401" y="275"/>
                  </a:lnTo>
                  <a:lnTo>
                    <a:pt x="401" y="278"/>
                  </a:lnTo>
                  <a:lnTo>
                    <a:pt x="398" y="278"/>
                  </a:lnTo>
                  <a:lnTo>
                    <a:pt x="398" y="280"/>
                  </a:lnTo>
                  <a:lnTo>
                    <a:pt x="401" y="280"/>
                  </a:lnTo>
                  <a:lnTo>
                    <a:pt x="398" y="280"/>
                  </a:lnTo>
                  <a:lnTo>
                    <a:pt x="401" y="283"/>
                  </a:lnTo>
                  <a:lnTo>
                    <a:pt x="398" y="283"/>
                  </a:lnTo>
                  <a:lnTo>
                    <a:pt x="401" y="286"/>
                  </a:lnTo>
                  <a:lnTo>
                    <a:pt x="401" y="288"/>
                  </a:lnTo>
                  <a:lnTo>
                    <a:pt x="401" y="291"/>
                  </a:lnTo>
                  <a:lnTo>
                    <a:pt x="398" y="291"/>
                  </a:lnTo>
                  <a:lnTo>
                    <a:pt x="401" y="294"/>
                  </a:lnTo>
                  <a:lnTo>
                    <a:pt x="401" y="294"/>
                  </a:lnTo>
                  <a:lnTo>
                    <a:pt x="398" y="294"/>
                  </a:lnTo>
                  <a:lnTo>
                    <a:pt x="401" y="296"/>
                  </a:lnTo>
                  <a:lnTo>
                    <a:pt x="398" y="299"/>
                  </a:lnTo>
                  <a:lnTo>
                    <a:pt x="401" y="299"/>
                  </a:lnTo>
                  <a:lnTo>
                    <a:pt x="401" y="302"/>
                  </a:lnTo>
                  <a:lnTo>
                    <a:pt x="401" y="304"/>
                  </a:lnTo>
                  <a:lnTo>
                    <a:pt x="401" y="304"/>
                  </a:lnTo>
                  <a:lnTo>
                    <a:pt x="404" y="307"/>
                  </a:lnTo>
                  <a:lnTo>
                    <a:pt x="404" y="310"/>
                  </a:lnTo>
                  <a:lnTo>
                    <a:pt x="401" y="312"/>
                  </a:lnTo>
                  <a:lnTo>
                    <a:pt x="401" y="312"/>
                  </a:lnTo>
                  <a:lnTo>
                    <a:pt x="401" y="315"/>
                  </a:lnTo>
                  <a:lnTo>
                    <a:pt x="401" y="315"/>
                  </a:lnTo>
                  <a:lnTo>
                    <a:pt x="404" y="315"/>
                  </a:lnTo>
                  <a:lnTo>
                    <a:pt x="404" y="315"/>
                  </a:lnTo>
                  <a:lnTo>
                    <a:pt x="401" y="318"/>
                  </a:lnTo>
                  <a:lnTo>
                    <a:pt x="401" y="318"/>
                  </a:lnTo>
                  <a:lnTo>
                    <a:pt x="398" y="320"/>
                  </a:lnTo>
                  <a:lnTo>
                    <a:pt x="398" y="320"/>
                  </a:lnTo>
                  <a:lnTo>
                    <a:pt x="398" y="323"/>
                  </a:lnTo>
                  <a:lnTo>
                    <a:pt x="398" y="323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1" y="320"/>
                  </a:lnTo>
                  <a:lnTo>
                    <a:pt x="404" y="323"/>
                  </a:lnTo>
                  <a:lnTo>
                    <a:pt x="404" y="326"/>
                  </a:lnTo>
                  <a:lnTo>
                    <a:pt x="404" y="328"/>
                  </a:lnTo>
                  <a:lnTo>
                    <a:pt x="404" y="328"/>
                  </a:lnTo>
                  <a:lnTo>
                    <a:pt x="406" y="331"/>
                  </a:lnTo>
                  <a:lnTo>
                    <a:pt x="404" y="331"/>
                  </a:lnTo>
                  <a:lnTo>
                    <a:pt x="406" y="334"/>
                  </a:lnTo>
                  <a:lnTo>
                    <a:pt x="406" y="334"/>
                  </a:lnTo>
                  <a:lnTo>
                    <a:pt x="406" y="334"/>
                  </a:lnTo>
                  <a:lnTo>
                    <a:pt x="406" y="331"/>
                  </a:lnTo>
                  <a:lnTo>
                    <a:pt x="406" y="328"/>
                  </a:lnTo>
                  <a:lnTo>
                    <a:pt x="406" y="328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4" y="323"/>
                  </a:lnTo>
                  <a:lnTo>
                    <a:pt x="404" y="323"/>
                  </a:lnTo>
                  <a:lnTo>
                    <a:pt x="404" y="320"/>
                  </a:lnTo>
                  <a:lnTo>
                    <a:pt x="404" y="320"/>
                  </a:lnTo>
                  <a:lnTo>
                    <a:pt x="406" y="320"/>
                  </a:lnTo>
                  <a:lnTo>
                    <a:pt x="406" y="323"/>
                  </a:lnTo>
                  <a:lnTo>
                    <a:pt x="406" y="323"/>
                  </a:lnTo>
                  <a:lnTo>
                    <a:pt x="406" y="323"/>
                  </a:lnTo>
                  <a:lnTo>
                    <a:pt x="406" y="320"/>
                  </a:lnTo>
                  <a:lnTo>
                    <a:pt x="409" y="320"/>
                  </a:lnTo>
                  <a:lnTo>
                    <a:pt x="409" y="323"/>
                  </a:lnTo>
                  <a:lnTo>
                    <a:pt x="409" y="326"/>
                  </a:lnTo>
                  <a:lnTo>
                    <a:pt x="409" y="328"/>
                  </a:lnTo>
                  <a:lnTo>
                    <a:pt x="409" y="328"/>
                  </a:lnTo>
                  <a:lnTo>
                    <a:pt x="412" y="331"/>
                  </a:lnTo>
                  <a:lnTo>
                    <a:pt x="412" y="334"/>
                  </a:lnTo>
                  <a:lnTo>
                    <a:pt x="412" y="334"/>
                  </a:lnTo>
                  <a:lnTo>
                    <a:pt x="414" y="336"/>
                  </a:lnTo>
                  <a:lnTo>
                    <a:pt x="414" y="336"/>
                  </a:lnTo>
                  <a:lnTo>
                    <a:pt x="412" y="336"/>
                  </a:lnTo>
                  <a:lnTo>
                    <a:pt x="412" y="339"/>
                  </a:lnTo>
                  <a:lnTo>
                    <a:pt x="412" y="342"/>
                  </a:lnTo>
                  <a:lnTo>
                    <a:pt x="412" y="342"/>
                  </a:lnTo>
                  <a:lnTo>
                    <a:pt x="412" y="344"/>
                  </a:lnTo>
                  <a:lnTo>
                    <a:pt x="412" y="347"/>
                  </a:lnTo>
                  <a:lnTo>
                    <a:pt x="412" y="347"/>
                  </a:lnTo>
                  <a:lnTo>
                    <a:pt x="412" y="347"/>
                  </a:lnTo>
                  <a:lnTo>
                    <a:pt x="414" y="347"/>
                  </a:lnTo>
                  <a:lnTo>
                    <a:pt x="414" y="350"/>
                  </a:lnTo>
                  <a:lnTo>
                    <a:pt x="414" y="350"/>
                  </a:lnTo>
                  <a:lnTo>
                    <a:pt x="414" y="350"/>
                  </a:lnTo>
                  <a:lnTo>
                    <a:pt x="414" y="352"/>
                  </a:lnTo>
                  <a:lnTo>
                    <a:pt x="414" y="355"/>
                  </a:lnTo>
                  <a:lnTo>
                    <a:pt x="417" y="358"/>
                  </a:lnTo>
                  <a:lnTo>
                    <a:pt x="417" y="360"/>
                  </a:lnTo>
                  <a:lnTo>
                    <a:pt x="417" y="363"/>
                  </a:lnTo>
                  <a:lnTo>
                    <a:pt x="417" y="366"/>
                  </a:lnTo>
                  <a:lnTo>
                    <a:pt x="417" y="366"/>
                  </a:lnTo>
                  <a:lnTo>
                    <a:pt x="417" y="368"/>
                  </a:lnTo>
                  <a:lnTo>
                    <a:pt x="417" y="371"/>
                  </a:lnTo>
                  <a:lnTo>
                    <a:pt x="417" y="371"/>
                  </a:lnTo>
                  <a:lnTo>
                    <a:pt x="420" y="374"/>
                  </a:lnTo>
                  <a:lnTo>
                    <a:pt x="420" y="376"/>
                  </a:lnTo>
                  <a:lnTo>
                    <a:pt x="420" y="376"/>
                  </a:lnTo>
                  <a:lnTo>
                    <a:pt x="420" y="371"/>
                  </a:lnTo>
                  <a:lnTo>
                    <a:pt x="420" y="374"/>
                  </a:lnTo>
                  <a:lnTo>
                    <a:pt x="422" y="374"/>
                  </a:lnTo>
                  <a:lnTo>
                    <a:pt x="422" y="376"/>
                  </a:lnTo>
                  <a:lnTo>
                    <a:pt x="422" y="376"/>
                  </a:lnTo>
                  <a:lnTo>
                    <a:pt x="425" y="379"/>
                  </a:lnTo>
                  <a:lnTo>
                    <a:pt x="428" y="379"/>
                  </a:lnTo>
                  <a:lnTo>
                    <a:pt x="428" y="376"/>
                  </a:lnTo>
                  <a:lnTo>
                    <a:pt x="428" y="374"/>
                  </a:lnTo>
                  <a:lnTo>
                    <a:pt x="428" y="371"/>
                  </a:lnTo>
                  <a:lnTo>
                    <a:pt x="430" y="368"/>
                  </a:lnTo>
                  <a:lnTo>
                    <a:pt x="430" y="366"/>
                  </a:lnTo>
                  <a:lnTo>
                    <a:pt x="430" y="366"/>
                  </a:lnTo>
                  <a:lnTo>
                    <a:pt x="430" y="368"/>
                  </a:lnTo>
                  <a:lnTo>
                    <a:pt x="433" y="374"/>
                  </a:lnTo>
                  <a:lnTo>
                    <a:pt x="433" y="374"/>
                  </a:lnTo>
                  <a:lnTo>
                    <a:pt x="433" y="376"/>
                  </a:lnTo>
                  <a:lnTo>
                    <a:pt x="430" y="379"/>
                  </a:lnTo>
                  <a:lnTo>
                    <a:pt x="430" y="382"/>
                  </a:lnTo>
                  <a:lnTo>
                    <a:pt x="430" y="384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30" y="390"/>
                  </a:lnTo>
                  <a:lnTo>
                    <a:pt x="430" y="393"/>
                  </a:lnTo>
                  <a:lnTo>
                    <a:pt x="430" y="395"/>
                  </a:lnTo>
                  <a:lnTo>
                    <a:pt x="430" y="395"/>
                  </a:lnTo>
                  <a:lnTo>
                    <a:pt x="430" y="395"/>
                  </a:lnTo>
                  <a:lnTo>
                    <a:pt x="430" y="398"/>
                  </a:lnTo>
                  <a:lnTo>
                    <a:pt x="433" y="398"/>
                  </a:lnTo>
                  <a:lnTo>
                    <a:pt x="433" y="398"/>
                  </a:lnTo>
                  <a:lnTo>
                    <a:pt x="433" y="401"/>
                  </a:lnTo>
                  <a:lnTo>
                    <a:pt x="430" y="401"/>
                  </a:lnTo>
                  <a:lnTo>
                    <a:pt x="430" y="401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3"/>
                  </a:lnTo>
                  <a:lnTo>
                    <a:pt x="433" y="406"/>
                  </a:lnTo>
                  <a:lnTo>
                    <a:pt x="433" y="406"/>
                  </a:lnTo>
                  <a:lnTo>
                    <a:pt x="433" y="409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28" y="409"/>
                  </a:lnTo>
                  <a:lnTo>
                    <a:pt x="428" y="409"/>
                  </a:lnTo>
                  <a:lnTo>
                    <a:pt x="428" y="411"/>
                  </a:lnTo>
                  <a:lnTo>
                    <a:pt x="428" y="414"/>
                  </a:lnTo>
                  <a:lnTo>
                    <a:pt x="428" y="414"/>
                  </a:lnTo>
                  <a:lnTo>
                    <a:pt x="428" y="417"/>
                  </a:lnTo>
                  <a:lnTo>
                    <a:pt x="428" y="417"/>
                  </a:lnTo>
                  <a:lnTo>
                    <a:pt x="430" y="417"/>
                  </a:lnTo>
                  <a:lnTo>
                    <a:pt x="430" y="419"/>
                  </a:lnTo>
                  <a:lnTo>
                    <a:pt x="430" y="419"/>
                  </a:lnTo>
                  <a:lnTo>
                    <a:pt x="430" y="422"/>
                  </a:lnTo>
                  <a:lnTo>
                    <a:pt x="433" y="419"/>
                  </a:lnTo>
                  <a:lnTo>
                    <a:pt x="433" y="419"/>
                  </a:lnTo>
                  <a:lnTo>
                    <a:pt x="433" y="417"/>
                  </a:lnTo>
                  <a:lnTo>
                    <a:pt x="436" y="417"/>
                  </a:lnTo>
                  <a:lnTo>
                    <a:pt x="436" y="417"/>
                  </a:lnTo>
                  <a:lnTo>
                    <a:pt x="436" y="417"/>
                  </a:lnTo>
                  <a:lnTo>
                    <a:pt x="438" y="419"/>
                  </a:lnTo>
                  <a:lnTo>
                    <a:pt x="438" y="419"/>
                  </a:lnTo>
                  <a:lnTo>
                    <a:pt x="438" y="419"/>
                  </a:lnTo>
                  <a:lnTo>
                    <a:pt x="438" y="422"/>
                  </a:lnTo>
                  <a:lnTo>
                    <a:pt x="438" y="422"/>
                  </a:lnTo>
                  <a:lnTo>
                    <a:pt x="438" y="425"/>
                  </a:lnTo>
                  <a:lnTo>
                    <a:pt x="438" y="425"/>
                  </a:lnTo>
                  <a:lnTo>
                    <a:pt x="438" y="427"/>
                  </a:lnTo>
                  <a:lnTo>
                    <a:pt x="438" y="427"/>
                  </a:lnTo>
                  <a:lnTo>
                    <a:pt x="438" y="430"/>
                  </a:lnTo>
                  <a:lnTo>
                    <a:pt x="441" y="430"/>
                  </a:lnTo>
                  <a:lnTo>
                    <a:pt x="441" y="430"/>
                  </a:lnTo>
                  <a:lnTo>
                    <a:pt x="444" y="430"/>
                  </a:lnTo>
                  <a:lnTo>
                    <a:pt x="441" y="430"/>
                  </a:lnTo>
                  <a:lnTo>
                    <a:pt x="444" y="433"/>
                  </a:lnTo>
                  <a:lnTo>
                    <a:pt x="444" y="433"/>
                  </a:lnTo>
                  <a:lnTo>
                    <a:pt x="441" y="435"/>
                  </a:lnTo>
                  <a:lnTo>
                    <a:pt x="441" y="438"/>
                  </a:lnTo>
                  <a:lnTo>
                    <a:pt x="441" y="441"/>
                  </a:lnTo>
                  <a:lnTo>
                    <a:pt x="441" y="441"/>
                  </a:lnTo>
                  <a:lnTo>
                    <a:pt x="438" y="443"/>
                  </a:lnTo>
                  <a:lnTo>
                    <a:pt x="438" y="446"/>
                  </a:lnTo>
                  <a:lnTo>
                    <a:pt x="436" y="446"/>
                  </a:lnTo>
                  <a:lnTo>
                    <a:pt x="436" y="446"/>
                  </a:lnTo>
                  <a:lnTo>
                    <a:pt x="433" y="446"/>
                  </a:lnTo>
                  <a:lnTo>
                    <a:pt x="433" y="446"/>
                  </a:lnTo>
                  <a:lnTo>
                    <a:pt x="433" y="449"/>
                  </a:lnTo>
                  <a:lnTo>
                    <a:pt x="433" y="451"/>
                  </a:lnTo>
                  <a:lnTo>
                    <a:pt x="430" y="451"/>
                  </a:lnTo>
                  <a:lnTo>
                    <a:pt x="430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7"/>
                  </a:lnTo>
                  <a:lnTo>
                    <a:pt x="430" y="457"/>
                  </a:lnTo>
                  <a:lnTo>
                    <a:pt x="430" y="457"/>
                  </a:lnTo>
                  <a:lnTo>
                    <a:pt x="430" y="459"/>
                  </a:lnTo>
                  <a:lnTo>
                    <a:pt x="430" y="462"/>
                  </a:lnTo>
                  <a:lnTo>
                    <a:pt x="430" y="465"/>
                  </a:lnTo>
                  <a:lnTo>
                    <a:pt x="428" y="467"/>
                  </a:lnTo>
                  <a:lnTo>
                    <a:pt x="428" y="470"/>
                  </a:lnTo>
                  <a:lnTo>
                    <a:pt x="425" y="470"/>
                  </a:lnTo>
                  <a:lnTo>
                    <a:pt x="425" y="473"/>
                  </a:lnTo>
                  <a:lnTo>
                    <a:pt x="422" y="473"/>
                  </a:lnTo>
                  <a:lnTo>
                    <a:pt x="422" y="475"/>
                  </a:lnTo>
                  <a:lnTo>
                    <a:pt x="420" y="475"/>
                  </a:lnTo>
                  <a:lnTo>
                    <a:pt x="420" y="478"/>
                  </a:lnTo>
                  <a:lnTo>
                    <a:pt x="420" y="478"/>
                  </a:lnTo>
                  <a:lnTo>
                    <a:pt x="420" y="481"/>
                  </a:lnTo>
                  <a:lnTo>
                    <a:pt x="420" y="481"/>
                  </a:lnTo>
                  <a:lnTo>
                    <a:pt x="422" y="483"/>
                  </a:lnTo>
                  <a:lnTo>
                    <a:pt x="422" y="483"/>
                  </a:lnTo>
                  <a:lnTo>
                    <a:pt x="422" y="483"/>
                  </a:lnTo>
                  <a:lnTo>
                    <a:pt x="425" y="483"/>
                  </a:lnTo>
                  <a:lnTo>
                    <a:pt x="425" y="486"/>
                  </a:lnTo>
                  <a:lnTo>
                    <a:pt x="425" y="486"/>
                  </a:lnTo>
                  <a:lnTo>
                    <a:pt x="425" y="489"/>
                  </a:lnTo>
                  <a:lnTo>
                    <a:pt x="422" y="489"/>
                  </a:lnTo>
                  <a:lnTo>
                    <a:pt x="420" y="489"/>
                  </a:lnTo>
                  <a:lnTo>
                    <a:pt x="420" y="491"/>
                  </a:lnTo>
                  <a:lnTo>
                    <a:pt x="420" y="491"/>
                  </a:lnTo>
                  <a:lnTo>
                    <a:pt x="420" y="494"/>
                  </a:lnTo>
                  <a:lnTo>
                    <a:pt x="420" y="494"/>
                  </a:lnTo>
                  <a:lnTo>
                    <a:pt x="420" y="497"/>
                  </a:lnTo>
                  <a:lnTo>
                    <a:pt x="420" y="497"/>
                  </a:lnTo>
                  <a:lnTo>
                    <a:pt x="417" y="497"/>
                  </a:lnTo>
                  <a:lnTo>
                    <a:pt x="417" y="497"/>
                  </a:lnTo>
                  <a:lnTo>
                    <a:pt x="417" y="499"/>
                  </a:lnTo>
                  <a:lnTo>
                    <a:pt x="414" y="499"/>
                  </a:lnTo>
                  <a:lnTo>
                    <a:pt x="414" y="499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4" y="505"/>
                  </a:lnTo>
                  <a:lnTo>
                    <a:pt x="412" y="505"/>
                  </a:lnTo>
                  <a:lnTo>
                    <a:pt x="412" y="505"/>
                  </a:lnTo>
                  <a:lnTo>
                    <a:pt x="412" y="505"/>
                  </a:lnTo>
                  <a:lnTo>
                    <a:pt x="412" y="502"/>
                  </a:lnTo>
                  <a:lnTo>
                    <a:pt x="412" y="502"/>
                  </a:lnTo>
                  <a:lnTo>
                    <a:pt x="409" y="502"/>
                  </a:lnTo>
                  <a:lnTo>
                    <a:pt x="409" y="499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2"/>
                  </a:lnTo>
                  <a:lnTo>
                    <a:pt x="409" y="505"/>
                  </a:lnTo>
                  <a:lnTo>
                    <a:pt x="409" y="505"/>
                  </a:lnTo>
                  <a:lnTo>
                    <a:pt x="409" y="505"/>
                  </a:lnTo>
                  <a:lnTo>
                    <a:pt x="406" y="507"/>
                  </a:lnTo>
                  <a:lnTo>
                    <a:pt x="406" y="507"/>
                  </a:lnTo>
                  <a:lnTo>
                    <a:pt x="406" y="507"/>
                  </a:lnTo>
                  <a:lnTo>
                    <a:pt x="406" y="510"/>
                  </a:lnTo>
                  <a:lnTo>
                    <a:pt x="404" y="510"/>
                  </a:lnTo>
                  <a:lnTo>
                    <a:pt x="404" y="510"/>
                  </a:lnTo>
                  <a:lnTo>
                    <a:pt x="404" y="513"/>
                  </a:lnTo>
                  <a:lnTo>
                    <a:pt x="401" y="513"/>
                  </a:lnTo>
                  <a:lnTo>
                    <a:pt x="401" y="513"/>
                  </a:lnTo>
                  <a:lnTo>
                    <a:pt x="398" y="515"/>
                  </a:lnTo>
                  <a:lnTo>
                    <a:pt x="398" y="515"/>
                  </a:lnTo>
                  <a:lnTo>
                    <a:pt x="396" y="515"/>
                  </a:lnTo>
                  <a:lnTo>
                    <a:pt x="393" y="518"/>
                  </a:lnTo>
                  <a:lnTo>
                    <a:pt x="393" y="518"/>
                  </a:lnTo>
                  <a:lnTo>
                    <a:pt x="390" y="518"/>
                  </a:lnTo>
                  <a:lnTo>
                    <a:pt x="388" y="518"/>
                  </a:lnTo>
                  <a:lnTo>
                    <a:pt x="385" y="521"/>
                  </a:lnTo>
                  <a:lnTo>
                    <a:pt x="382" y="518"/>
                  </a:lnTo>
                  <a:lnTo>
                    <a:pt x="382" y="521"/>
                  </a:lnTo>
                  <a:lnTo>
                    <a:pt x="380" y="521"/>
                  </a:lnTo>
                  <a:lnTo>
                    <a:pt x="380" y="521"/>
                  </a:lnTo>
                  <a:lnTo>
                    <a:pt x="377" y="521"/>
                  </a:lnTo>
                  <a:lnTo>
                    <a:pt x="374" y="523"/>
                  </a:lnTo>
                  <a:lnTo>
                    <a:pt x="374" y="523"/>
                  </a:lnTo>
                  <a:lnTo>
                    <a:pt x="372" y="523"/>
                  </a:lnTo>
                  <a:lnTo>
                    <a:pt x="372" y="523"/>
                  </a:lnTo>
                  <a:lnTo>
                    <a:pt x="369" y="523"/>
                  </a:lnTo>
                  <a:lnTo>
                    <a:pt x="366" y="523"/>
                  </a:lnTo>
                  <a:lnTo>
                    <a:pt x="366" y="523"/>
                  </a:lnTo>
                  <a:lnTo>
                    <a:pt x="364" y="526"/>
                  </a:lnTo>
                  <a:lnTo>
                    <a:pt x="364" y="526"/>
                  </a:lnTo>
                  <a:lnTo>
                    <a:pt x="364" y="526"/>
                  </a:lnTo>
                  <a:lnTo>
                    <a:pt x="361" y="529"/>
                  </a:lnTo>
                  <a:lnTo>
                    <a:pt x="361" y="529"/>
                  </a:lnTo>
                  <a:lnTo>
                    <a:pt x="358" y="529"/>
                  </a:lnTo>
                  <a:lnTo>
                    <a:pt x="358" y="529"/>
                  </a:lnTo>
                  <a:lnTo>
                    <a:pt x="356" y="529"/>
                  </a:lnTo>
                  <a:lnTo>
                    <a:pt x="356" y="529"/>
                  </a:lnTo>
                  <a:lnTo>
                    <a:pt x="356" y="529"/>
                  </a:lnTo>
                  <a:lnTo>
                    <a:pt x="356" y="531"/>
                  </a:lnTo>
                  <a:lnTo>
                    <a:pt x="353" y="531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50" y="531"/>
                  </a:lnTo>
                  <a:lnTo>
                    <a:pt x="348" y="531"/>
                  </a:lnTo>
                  <a:lnTo>
                    <a:pt x="348" y="531"/>
                  </a:lnTo>
                  <a:lnTo>
                    <a:pt x="348" y="534"/>
                  </a:lnTo>
                  <a:lnTo>
                    <a:pt x="345" y="534"/>
                  </a:lnTo>
                  <a:lnTo>
                    <a:pt x="342" y="531"/>
                  </a:lnTo>
                  <a:lnTo>
                    <a:pt x="342" y="531"/>
                  </a:lnTo>
                  <a:lnTo>
                    <a:pt x="340" y="531"/>
                  </a:lnTo>
                  <a:lnTo>
                    <a:pt x="337" y="531"/>
                  </a:lnTo>
                  <a:lnTo>
                    <a:pt x="337" y="531"/>
                  </a:lnTo>
                  <a:lnTo>
                    <a:pt x="334" y="531"/>
                  </a:lnTo>
                  <a:lnTo>
                    <a:pt x="332" y="534"/>
                  </a:lnTo>
                  <a:lnTo>
                    <a:pt x="329" y="534"/>
                  </a:lnTo>
                  <a:lnTo>
                    <a:pt x="329" y="534"/>
                  </a:lnTo>
                  <a:lnTo>
                    <a:pt x="326" y="534"/>
                  </a:lnTo>
                  <a:lnTo>
                    <a:pt x="326" y="534"/>
                  </a:lnTo>
                  <a:lnTo>
                    <a:pt x="324" y="534"/>
                  </a:lnTo>
                  <a:lnTo>
                    <a:pt x="321" y="534"/>
                  </a:lnTo>
                  <a:lnTo>
                    <a:pt x="318" y="531"/>
                  </a:lnTo>
                  <a:lnTo>
                    <a:pt x="318" y="534"/>
                  </a:lnTo>
                  <a:lnTo>
                    <a:pt x="316" y="534"/>
                  </a:lnTo>
                  <a:lnTo>
                    <a:pt x="316" y="534"/>
                  </a:lnTo>
                  <a:lnTo>
                    <a:pt x="313" y="534"/>
                  </a:lnTo>
                  <a:lnTo>
                    <a:pt x="313" y="531"/>
                  </a:lnTo>
                  <a:lnTo>
                    <a:pt x="310" y="531"/>
                  </a:lnTo>
                  <a:lnTo>
                    <a:pt x="310" y="531"/>
                  </a:lnTo>
                  <a:lnTo>
                    <a:pt x="310" y="531"/>
                  </a:lnTo>
                  <a:lnTo>
                    <a:pt x="308" y="534"/>
                  </a:lnTo>
                  <a:lnTo>
                    <a:pt x="308" y="531"/>
                  </a:lnTo>
                  <a:lnTo>
                    <a:pt x="308" y="531"/>
                  </a:lnTo>
                  <a:lnTo>
                    <a:pt x="305" y="531"/>
                  </a:lnTo>
                  <a:lnTo>
                    <a:pt x="302" y="531"/>
                  </a:lnTo>
                  <a:lnTo>
                    <a:pt x="302" y="529"/>
                  </a:lnTo>
                  <a:lnTo>
                    <a:pt x="302" y="529"/>
                  </a:lnTo>
                  <a:lnTo>
                    <a:pt x="299" y="529"/>
                  </a:lnTo>
                  <a:lnTo>
                    <a:pt x="299" y="529"/>
                  </a:lnTo>
                  <a:lnTo>
                    <a:pt x="297" y="529"/>
                  </a:lnTo>
                  <a:lnTo>
                    <a:pt x="297" y="529"/>
                  </a:lnTo>
                  <a:lnTo>
                    <a:pt x="294" y="529"/>
                  </a:lnTo>
                  <a:lnTo>
                    <a:pt x="291" y="529"/>
                  </a:lnTo>
                  <a:lnTo>
                    <a:pt x="289" y="529"/>
                  </a:lnTo>
                  <a:lnTo>
                    <a:pt x="286" y="529"/>
                  </a:lnTo>
                  <a:lnTo>
                    <a:pt x="286" y="529"/>
                  </a:lnTo>
                  <a:lnTo>
                    <a:pt x="283" y="526"/>
                  </a:lnTo>
                  <a:lnTo>
                    <a:pt x="281" y="526"/>
                  </a:lnTo>
                  <a:lnTo>
                    <a:pt x="281" y="526"/>
                  </a:lnTo>
                  <a:lnTo>
                    <a:pt x="278" y="523"/>
                  </a:lnTo>
                  <a:lnTo>
                    <a:pt x="275" y="523"/>
                  </a:lnTo>
                  <a:lnTo>
                    <a:pt x="273" y="521"/>
                  </a:lnTo>
                  <a:lnTo>
                    <a:pt x="270" y="521"/>
                  </a:lnTo>
                  <a:lnTo>
                    <a:pt x="270" y="521"/>
                  </a:lnTo>
                  <a:lnTo>
                    <a:pt x="267" y="521"/>
                  </a:lnTo>
                  <a:lnTo>
                    <a:pt x="265" y="518"/>
                  </a:lnTo>
                  <a:lnTo>
                    <a:pt x="262" y="518"/>
                  </a:lnTo>
                  <a:lnTo>
                    <a:pt x="259" y="515"/>
                  </a:lnTo>
                  <a:lnTo>
                    <a:pt x="259" y="513"/>
                  </a:lnTo>
                  <a:lnTo>
                    <a:pt x="257" y="513"/>
                  </a:lnTo>
                  <a:lnTo>
                    <a:pt x="257" y="513"/>
                  </a:lnTo>
                  <a:lnTo>
                    <a:pt x="254" y="510"/>
                  </a:lnTo>
                  <a:lnTo>
                    <a:pt x="251" y="510"/>
                  </a:lnTo>
                  <a:lnTo>
                    <a:pt x="251" y="507"/>
                  </a:lnTo>
                  <a:lnTo>
                    <a:pt x="249" y="505"/>
                  </a:lnTo>
                  <a:lnTo>
                    <a:pt x="249" y="505"/>
                  </a:lnTo>
                  <a:lnTo>
                    <a:pt x="246" y="502"/>
                  </a:lnTo>
                  <a:lnTo>
                    <a:pt x="243" y="499"/>
                  </a:lnTo>
                  <a:lnTo>
                    <a:pt x="243" y="499"/>
                  </a:lnTo>
                  <a:lnTo>
                    <a:pt x="241" y="497"/>
                  </a:lnTo>
                  <a:lnTo>
                    <a:pt x="238" y="494"/>
                  </a:lnTo>
                  <a:lnTo>
                    <a:pt x="238" y="494"/>
                  </a:lnTo>
                  <a:lnTo>
                    <a:pt x="238" y="491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3" y="489"/>
                  </a:lnTo>
                  <a:lnTo>
                    <a:pt x="233" y="483"/>
                  </a:lnTo>
                  <a:lnTo>
                    <a:pt x="233" y="481"/>
                  </a:lnTo>
                  <a:lnTo>
                    <a:pt x="230" y="478"/>
                  </a:lnTo>
                  <a:lnTo>
                    <a:pt x="230" y="475"/>
                  </a:lnTo>
                  <a:lnTo>
                    <a:pt x="227" y="470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2"/>
                  </a:lnTo>
                  <a:lnTo>
                    <a:pt x="222" y="462"/>
                  </a:lnTo>
                  <a:lnTo>
                    <a:pt x="222" y="459"/>
                  </a:lnTo>
                  <a:lnTo>
                    <a:pt x="219" y="459"/>
                  </a:lnTo>
                  <a:lnTo>
                    <a:pt x="217" y="454"/>
                  </a:lnTo>
                  <a:lnTo>
                    <a:pt x="217" y="451"/>
                  </a:lnTo>
                  <a:lnTo>
                    <a:pt x="214" y="451"/>
                  </a:lnTo>
                  <a:lnTo>
                    <a:pt x="211" y="449"/>
                  </a:lnTo>
                  <a:lnTo>
                    <a:pt x="209" y="446"/>
                  </a:lnTo>
                  <a:lnTo>
                    <a:pt x="206" y="446"/>
                  </a:lnTo>
                  <a:lnTo>
                    <a:pt x="203" y="441"/>
                  </a:lnTo>
                  <a:lnTo>
                    <a:pt x="201" y="438"/>
                  </a:lnTo>
                  <a:lnTo>
                    <a:pt x="201" y="438"/>
                  </a:lnTo>
                  <a:lnTo>
                    <a:pt x="198" y="433"/>
                  </a:lnTo>
                  <a:lnTo>
                    <a:pt x="195" y="430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0" y="425"/>
                  </a:lnTo>
                  <a:lnTo>
                    <a:pt x="190" y="425"/>
                  </a:lnTo>
                  <a:lnTo>
                    <a:pt x="187" y="422"/>
                  </a:lnTo>
                  <a:lnTo>
                    <a:pt x="187" y="419"/>
                  </a:lnTo>
                  <a:lnTo>
                    <a:pt x="185" y="417"/>
                  </a:lnTo>
                  <a:lnTo>
                    <a:pt x="185" y="414"/>
                  </a:lnTo>
                  <a:lnTo>
                    <a:pt x="182" y="414"/>
                  </a:lnTo>
                  <a:lnTo>
                    <a:pt x="179" y="411"/>
                  </a:lnTo>
                  <a:lnTo>
                    <a:pt x="179" y="409"/>
                  </a:lnTo>
                  <a:lnTo>
                    <a:pt x="179" y="406"/>
                  </a:lnTo>
                  <a:lnTo>
                    <a:pt x="177" y="403"/>
                  </a:lnTo>
                  <a:lnTo>
                    <a:pt x="177" y="403"/>
                  </a:lnTo>
                  <a:lnTo>
                    <a:pt x="177" y="403"/>
                  </a:lnTo>
                  <a:lnTo>
                    <a:pt x="177" y="401"/>
                  </a:lnTo>
                  <a:lnTo>
                    <a:pt x="177" y="401"/>
                  </a:lnTo>
                  <a:lnTo>
                    <a:pt x="179" y="398"/>
                  </a:lnTo>
                  <a:lnTo>
                    <a:pt x="177" y="398"/>
                  </a:lnTo>
                  <a:lnTo>
                    <a:pt x="177" y="398"/>
                  </a:lnTo>
                  <a:lnTo>
                    <a:pt x="177" y="398"/>
                  </a:lnTo>
                  <a:lnTo>
                    <a:pt x="174" y="395"/>
                  </a:lnTo>
                  <a:lnTo>
                    <a:pt x="174" y="393"/>
                  </a:lnTo>
                  <a:lnTo>
                    <a:pt x="174" y="393"/>
                  </a:lnTo>
                  <a:lnTo>
                    <a:pt x="174" y="390"/>
                  </a:lnTo>
                  <a:lnTo>
                    <a:pt x="174" y="387"/>
                  </a:lnTo>
                  <a:lnTo>
                    <a:pt x="174" y="384"/>
                  </a:lnTo>
                  <a:lnTo>
                    <a:pt x="174" y="379"/>
                  </a:lnTo>
                  <a:lnTo>
                    <a:pt x="174" y="376"/>
                  </a:lnTo>
                  <a:lnTo>
                    <a:pt x="171" y="374"/>
                  </a:lnTo>
                  <a:lnTo>
                    <a:pt x="169" y="374"/>
                  </a:lnTo>
                  <a:lnTo>
                    <a:pt x="169" y="371"/>
                  </a:lnTo>
                  <a:lnTo>
                    <a:pt x="166" y="371"/>
                  </a:lnTo>
                  <a:lnTo>
                    <a:pt x="166" y="374"/>
                  </a:lnTo>
                  <a:lnTo>
                    <a:pt x="163" y="374"/>
                  </a:lnTo>
                  <a:lnTo>
                    <a:pt x="163" y="374"/>
                  </a:lnTo>
                  <a:lnTo>
                    <a:pt x="161" y="371"/>
                  </a:lnTo>
                  <a:lnTo>
                    <a:pt x="158" y="371"/>
                  </a:lnTo>
                  <a:lnTo>
                    <a:pt x="155" y="371"/>
                  </a:lnTo>
                  <a:lnTo>
                    <a:pt x="155" y="368"/>
                  </a:lnTo>
                  <a:lnTo>
                    <a:pt x="155" y="366"/>
                  </a:lnTo>
                  <a:lnTo>
                    <a:pt x="155" y="363"/>
                  </a:lnTo>
                  <a:lnTo>
                    <a:pt x="158" y="360"/>
                  </a:lnTo>
                  <a:lnTo>
                    <a:pt x="158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58"/>
                  </a:lnTo>
                  <a:lnTo>
                    <a:pt x="158" y="355"/>
                  </a:lnTo>
                  <a:lnTo>
                    <a:pt x="158" y="355"/>
                  </a:lnTo>
                  <a:lnTo>
                    <a:pt x="158" y="355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8" y="352"/>
                  </a:lnTo>
                  <a:lnTo>
                    <a:pt x="158" y="352"/>
                  </a:lnTo>
                  <a:lnTo>
                    <a:pt x="158" y="350"/>
                  </a:lnTo>
                  <a:lnTo>
                    <a:pt x="161" y="350"/>
                  </a:lnTo>
                  <a:lnTo>
                    <a:pt x="158" y="350"/>
                  </a:lnTo>
                  <a:lnTo>
                    <a:pt x="158" y="350"/>
                  </a:lnTo>
                  <a:lnTo>
                    <a:pt x="158" y="350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5" y="352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8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3" y="350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8" y="347"/>
                  </a:lnTo>
                  <a:lnTo>
                    <a:pt x="158" y="347"/>
                  </a:lnTo>
                  <a:lnTo>
                    <a:pt x="158" y="344"/>
                  </a:lnTo>
                  <a:lnTo>
                    <a:pt x="161" y="344"/>
                  </a:lnTo>
                  <a:lnTo>
                    <a:pt x="161" y="344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61" y="342"/>
                  </a:lnTo>
                  <a:lnTo>
                    <a:pt x="158" y="344"/>
                  </a:lnTo>
                  <a:lnTo>
                    <a:pt x="158" y="344"/>
                  </a:lnTo>
                  <a:lnTo>
                    <a:pt x="158" y="344"/>
                  </a:lnTo>
                  <a:lnTo>
                    <a:pt x="155" y="344"/>
                  </a:lnTo>
                  <a:lnTo>
                    <a:pt x="155" y="347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4"/>
                  </a:lnTo>
                  <a:lnTo>
                    <a:pt x="153" y="344"/>
                  </a:lnTo>
                  <a:lnTo>
                    <a:pt x="155" y="344"/>
                  </a:lnTo>
                  <a:lnTo>
                    <a:pt x="155" y="344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3" y="342"/>
                  </a:lnTo>
                  <a:lnTo>
                    <a:pt x="153" y="342"/>
                  </a:lnTo>
                  <a:lnTo>
                    <a:pt x="153" y="344"/>
                  </a:lnTo>
                  <a:lnTo>
                    <a:pt x="153" y="344"/>
                  </a:lnTo>
                  <a:lnTo>
                    <a:pt x="150" y="344"/>
                  </a:lnTo>
                  <a:lnTo>
                    <a:pt x="150" y="347"/>
                  </a:lnTo>
                  <a:lnTo>
                    <a:pt x="150" y="344"/>
                  </a:lnTo>
                  <a:lnTo>
                    <a:pt x="150" y="344"/>
                  </a:lnTo>
                  <a:lnTo>
                    <a:pt x="147" y="344"/>
                  </a:lnTo>
                  <a:lnTo>
                    <a:pt x="147" y="342"/>
                  </a:lnTo>
                  <a:lnTo>
                    <a:pt x="147" y="342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42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39"/>
                  </a:lnTo>
                  <a:lnTo>
                    <a:pt x="147" y="336"/>
                  </a:lnTo>
                  <a:lnTo>
                    <a:pt x="147" y="334"/>
                  </a:lnTo>
                  <a:lnTo>
                    <a:pt x="147" y="331"/>
                  </a:lnTo>
                  <a:lnTo>
                    <a:pt x="147" y="331"/>
                  </a:lnTo>
                  <a:lnTo>
                    <a:pt x="147" y="331"/>
                  </a:lnTo>
                  <a:lnTo>
                    <a:pt x="147" y="328"/>
                  </a:lnTo>
                  <a:lnTo>
                    <a:pt x="147" y="328"/>
                  </a:lnTo>
                  <a:lnTo>
                    <a:pt x="147" y="328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6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7" y="323"/>
                  </a:lnTo>
                  <a:lnTo>
                    <a:pt x="145" y="323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6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3"/>
                  </a:lnTo>
                  <a:lnTo>
                    <a:pt x="145" y="320"/>
                  </a:lnTo>
                  <a:lnTo>
                    <a:pt x="145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31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39" y="326"/>
                  </a:lnTo>
                  <a:lnTo>
                    <a:pt x="139" y="326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26"/>
                  </a:lnTo>
                  <a:lnTo>
                    <a:pt x="139" y="326"/>
                  </a:lnTo>
                  <a:lnTo>
                    <a:pt x="139" y="328"/>
                  </a:lnTo>
                  <a:lnTo>
                    <a:pt x="139" y="328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9" y="334"/>
                  </a:lnTo>
                  <a:lnTo>
                    <a:pt x="137" y="331"/>
                  </a:lnTo>
                  <a:lnTo>
                    <a:pt x="137" y="331"/>
                  </a:lnTo>
                  <a:lnTo>
                    <a:pt x="137" y="331"/>
                  </a:lnTo>
                  <a:lnTo>
                    <a:pt x="137" y="328"/>
                  </a:lnTo>
                  <a:lnTo>
                    <a:pt x="137" y="328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3"/>
                  </a:lnTo>
                  <a:lnTo>
                    <a:pt x="134" y="326"/>
                  </a:lnTo>
                  <a:lnTo>
                    <a:pt x="134" y="323"/>
                  </a:lnTo>
                  <a:lnTo>
                    <a:pt x="134" y="320"/>
                  </a:lnTo>
                  <a:lnTo>
                    <a:pt x="134" y="318"/>
                  </a:lnTo>
                  <a:lnTo>
                    <a:pt x="134" y="315"/>
                  </a:lnTo>
                  <a:lnTo>
                    <a:pt x="134" y="315"/>
                  </a:lnTo>
                  <a:lnTo>
                    <a:pt x="134" y="312"/>
                  </a:lnTo>
                  <a:lnTo>
                    <a:pt x="131" y="307"/>
                  </a:lnTo>
                  <a:lnTo>
                    <a:pt x="131" y="304"/>
                  </a:lnTo>
                  <a:lnTo>
                    <a:pt x="131" y="299"/>
                  </a:lnTo>
                  <a:lnTo>
                    <a:pt x="131" y="296"/>
                  </a:lnTo>
                  <a:lnTo>
                    <a:pt x="131" y="294"/>
                  </a:lnTo>
                  <a:lnTo>
                    <a:pt x="131" y="291"/>
                  </a:lnTo>
                  <a:lnTo>
                    <a:pt x="131" y="288"/>
                  </a:lnTo>
                  <a:lnTo>
                    <a:pt x="134" y="283"/>
                  </a:lnTo>
                  <a:lnTo>
                    <a:pt x="137" y="283"/>
                  </a:lnTo>
                  <a:lnTo>
                    <a:pt x="137" y="283"/>
                  </a:lnTo>
                  <a:lnTo>
                    <a:pt x="139" y="286"/>
                  </a:lnTo>
                  <a:lnTo>
                    <a:pt x="142" y="286"/>
                  </a:lnTo>
                  <a:lnTo>
                    <a:pt x="142" y="286"/>
                  </a:lnTo>
                  <a:lnTo>
                    <a:pt x="145" y="286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39" y="283"/>
                  </a:lnTo>
                  <a:lnTo>
                    <a:pt x="139" y="283"/>
                  </a:lnTo>
                  <a:lnTo>
                    <a:pt x="137" y="280"/>
                  </a:lnTo>
                  <a:lnTo>
                    <a:pt x="137" y="280"/>
                  </a:lnTo>
                  <a:lnTo>
                    <a:pt x="137" y="278"/>
                  </a:lnTo>
                  <a:lnTo>
                    <a:pt x="137" y="275"/>
                  </a:lnTo>
                  <a:lnTo>
                    <a:pt x="137" y="272"/>
                  </a:lnTo>
                  <a:lnTo>
                    <a:pt x="134" y="272"/>
                  </a:lnTo>
                  <a:lnTo>
                    <a:pt x="131" y="272"/>
                  </a:lnTo>
                  <a:lnTo>
                    <a:pt x="131" y="270"/>
                  </a:lnTo>
                  <a:lnTo>
                    <a:pt x="131" y="270"/>
                  </a:lnTo>
                  <a:lnTo>
                    <a:pt x="131" y="270"/>
                  </a:lnTo>
                  <a:lnTo>
                    <a:pt x="129" y="270"/>
                  </a:lnTo>
                  <a:lnTo>
                    <a:pt x="129" y="270"/>
                  </a:lnTo>
                  <a:lnTo>
                    <a:pt x="129" y="267"/>
                  </a:lnTo>
                  <a:lnTo>
                    <a:pt x="129" y="267"/>
                  </a:lnTo>
                  <a:lnTo>
                    <a:pt x="129" y="264"/>
                  </a:lnTo>
                  <a:lnTo>
                    <a:pt x="129" y="264"/>
                  </a:lnTo>
                  <a:lnTo>
                    <a:pt x="129" y="262"/>
                  </a:lnTo>
                  <a:lnTo>
                    <a:pt x="129" y="262"/>
                  </a:lnTo>
                  <a:lnTo>
                    <a:pt x="129" y="262"/>
                  </a:lnTo>
                  <a:lnTo>
                    <a:pt x="126" y="264"/>
                  </a:lnTo>
                  <a:lnTo>
                    <a:pt x="126" y="264"/>
                  </a:lnTo>
                  <a:lnTo>
                    <a:pt x="126" y="262"/>
                  </a:lnTo>
                  <a:lnTo>
                    <a:pt x="126" y="262"/>
                  </a:lnTo>
                  <a:lnTo>
                    <a:pt x="123" y="264"/>
                  </a:lnTo>
                  <a:lnTo>
                    <a:pt x="123" y="262"/>
                  </a:lnTo>
                  <a:lnTo>
                    <a:pt x="123" y="262"/>
                  </a:lnTo>
                  <a:lnTo>
                    <a:pt x="121" y="259"/>
                  </a:lnTo>
                  <a:lnTo>
                    <a:pt x="121" y="259"/>
                  </a:lnTo>
                  <a:lnTo>
                    <a:pt x="118" y="259"/>
                  </a:lnTo>
                  <a:lnTo>
                    <a:pt x="118" y="259"/>
                  </a:lnTo>
                  <a:lnTo>
                    <a:pt x="118" y="259"/>
                  </a:lnTo>
                  <a:lnTo>
                    <a:pt x="115" y="259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5" y="254"/>
                  </a:lnTo>
                  <a:lnTo>
                    <a:pt x="113" y="251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4"/>
                  </a:lnTo>
                  <a:lnTo>
                    <a:pt x="113" y="256"/>
                  </a:lnTo>
                  <a:lnTo>
                    <a:pt x="113" y="256"/>
                  </a:lnTo>
                  <a:lnTo>
                    <a:pt x="113" y="256"/>
                  </a:lnTo>
                  <a:lnTo>
                    <a:pt x="115" y="256"/>
                  </a:lnTo>
                  <a:lnTo>
                    <a:pt x="115" y="259"/>
                  </a:lnTo>
                  <a:lnTo>
                    <a:pt x="115" y="259"/>
                  </a:lnTo>
                  <a:lnTo>
                    <a:pt x="115" y="259"/>
                  </a:lnTo>
                  <a:lnTo>
                    <a:pt x="118" y="262"/>
                  </a:lnTo>
                  <a:lnTo>
                    <a:pt x="118" y="262"/>
                  </a:lnTo>
                  <a:lnTo>
                    <a:pt x="121" y="262"/>
                  </a:lnTo>
                  <a:lnTo>
                    <a:pt x="121" y="262"/>
                  </a:lnTo>
                  <a:lnTo>
                    <a:pt x="121" y="262"/>
                  </a:lnTo>
                  <a:lnTo>
                    <a:pt x="123" y="264"/>
                  </a:lnTo>
                  <a:lnTo>
                    <a:pt x="123" y="264"/>
                  </a:lnTo>
                  <a:lnTo>
                    <a:pt x="123" y="267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21" y="272"/>
                  </a:lnTo>
                  <a:lnTo>
                    <a:pt x="121" y="272"/>
                  </a:lnTo>
                  <a:lnTo>
                    <a:pt x="123" y="275"/>
                  </a:lnTo>
                  <a:lnTo>
                    <a:pt x="123" y="278"/>
                  </a:lnTo>
                  <a:lnTo>
                    <a:pt x="123" y="280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1" y="283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18" y="286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8" y="280"/>
                  </a:lnTo>
                  <a:lnTo>
                    <a:pt x="115" y="280"/>
                  </a:lnTo>
                  <a:lnTo>
                    <a:pt x="115" y="280"/>
                  </a:lnTo>
                  <a:lnTo>
                    <a:pt x="115" y="283"/>
                  </a:lnTo>
                  <a:lnTo>
                    <a:pt x="115" y="283"/>
                  </a:lnTo>
                  <a:lnTo>
                    <a:pt x="118" y="283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5" y="286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5" y="291"/>
                  </a:lnTo>
                  <a:lnTo>
                    <a:pt x="115" y="291"/>
                  </a:lnTo>
                  <a:lnTo>
                    <a:pt x="115" y="294"/>
                  </a:lnTo>
                  <a:lnTo>
                    <a:pt x="115" y="296"/>
                  </a:lnTo>
                  <a:lnTo>
                    <a:pt x="115" y="296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07"/>
                  </a:lnTo>
                  <a:lnTo>
                    <a:pt x="118" y="310"/>
                  </a:lnTo>
                  <a:lnTo>
                    <a:pt x="121" y="310"/>
                  </a:lnTo>
                  <a:lnTo>
                    <a:pt x="121" y="312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8" y="315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8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2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07"/>
                  </a:lnTo>
                  <a:lnTo>
                    <a:pt x="115" y="310"/>
                  </a:lnTo>
                  <a:lnTo>
                    <a:pt x="115" y="310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5" y="307"/>
                  </a:lnTo>
                  <a:lnTo>
                    <a:pt x="113" y="307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3" y="307"/>
                  </a:lnTo>
                  <a:lnTo>
                    <a:pt x="113" y="307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3" y="312"/>
                  </a:lnTo>
                  <a:lnTo>
                    <a:pt x="115" y="315"/>
                  </a:lnTo>
                  <a:lnTo>
                    <a:pt x="115" y="318"/>
                  </a:lnTo>
                  <a:lnTo>
                    <a:pt x="115" y="320"/>
                  </a:lnTo>
                  <a:lnTo>
                    <a:pt x="118" y="320"/>
                  </a:lnTo>
                  <a:lnTo>
                    <a:pt x="118" y="320"/>
                  </a:lnTo>
                  <a:lnTo>
                    <a:pt x="121" y="323"/>
                  </a:lnTo>
                  <a:lnTo>
                    <a:pt x="121" y="323"/>
                  </a:lnTo>
                  <a:lnTo>
                    <a:pt x="123" y="323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6"/>
                  </a:lnTo>
                  <a:lnTo>
                    <a:pt x="123" y="328"/>
                  </a:lnTo>
                  <a:lnTo>
                    <a:pt x="123" y="328"/>
                  </a:lnTo>
                  <a:lnTo>
                    <a:pt x="123" y="328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1"/>
                  </a:lnTo>
                  <a:lnTo>
                    <a:pt x="123" y="334"/>
                  </a:lnTo>
                  <a:lnTo>
                    <a:pt x="121" y="334"/>
                  </a:lnTo>
                  <a:lnTo>
                    <a:pt x="121" y="331"/>
                  </a:lnTo>
                  <a:lnTo>
                    <a:pt x="121" y="331"/>
                  </a:lnTo>
                  <a:lnTo>
                    <a:pt x="123" y="331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8"/>
                  </a:lnTo>
                  <a:lnTo>
                    <a:pt x="121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6"/>
                  </a:lnTo>
                  <a:lnTo>
                    <a:pt x="118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5" y="328"/>
                  </a:lnTo>
                  <a:lnTo>
                    <a:pt x="113" y="328"/>
                  </a:lnTo>
                  <a:lnTo>
                    <a:pt x="113" y="328"/>
                  </a:lnTo>
                  <a:lnTo>
                    <a:pt x="110" y="328"/>
                  </a:lnTo>
                  <a:lnTo>
                    <a:pt x="110" y="328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3"/>
                  </a:lnTo>
                  <a:lnTo>
                    <a:pt x="107" y="323"/>
                  </a:lnTo>
                  <a:lnTo>
                    <a:pt x="107" y="323"/>
                  </a:lnTo>
                  <a:lnTo>
                    <a:pt x="107" y="323"/>
                  </a:lnTo>
                  <a:lnTo>
                    <a:pt x="105" y="32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4" name="Freeform 8942">
              <a:extLst>
                <a:ext uri="{FF2B5EF4-FFF2-40B4-BE49-F238E27FC236}">
                  <a16:creationId xmlns:a16="http://schemas.microsoft.com/office/drawing/2014/main" id="{19D38E1E-F364-CD40-9B2B-F55B40170A08}"/>
                </a:ext>
              </a:extLst>
            </p:cNvPr>
            <p:cNvSpPr/>
            <p:nvPr/>
          </p:nvSpPr>
          <p:spPr bwMode="auto">
            <a:xfrm>
              <a:off x="1810543" y="1931989"/>
              <a:ext cx="796925" cy="1027113"/>
            </a:xfrm>
            <a:custGeom>
              <a:avLst/>
              <a:gdLst>
                <a:gd name="T0" fmla="*/ 19 w 502"/>
                <a:gd name="T1" fmla="*/ 396 h 647"/>
                <a:gd name="T2" fmla="*/ 69 w 502"/>
                <a:gd name="T3" fmla="*/ 385 h 647"/>
                <a:gd name="T4" fmla="*/ 131 w 502"/>
                <a:gd name="T5" fmla="*/ 377 h 647"/>
                <a:gd name="T6" fmla="*/ 192 w 502"/>
                <a:gd name="T7" fmla="*/ 342 h 647"/>
                <a:gd name="T8" fmla="*/ 198 w 502"/>
                <a:gd name="T9" fmla="*/ 297 h 647"/>
                <a:gd name="T10" fmla="*/ 195 w 502"/>
                <a:gd name="T11" fmla="*/ 238 h 647"/>
                <a:gd name="T12" fmla="*/ 243 w 502"/>
                <a:gd name="T13" fmla="*/ 219 h 647"/>
                <a:gd name="T14" fmla="*/ 246 w 502"/>
                <a:gd name="T15" fmla="*/ 185 h 647"/>
                <a:gd name="T16" fmla="*/ 264 w 502"/>
                <a:gd name="T17" fmla="*/ 163 h 647"/>
                <a:gd name="T18" fmla="*/ 267 w 502"/>
                <a:gd name="T19" fmla="*/ 134 h 647"/>
                <a:gd name="T20" fmla="*/ 291 w 502"/>
                <a:gd name="T21" fmla="*/ 118 h 647"/>
                <a:gd name="T22" fmla="*/ 304 w 502"/>
                <a:gd name="T23" fmla="*/ 99 h 647"/>
                <a:gd name="T24" fmla="*/ 326 w 502"/>
                <a:gd name="T25" fmla="*/ 88 h 647"/>
                <a:gd name="T26" fmla="*/ 347 w 502"/>
                <a:gd name="T27" fmla="*/ 70 h 647"/>
                <a:gd name="T28" fmla="*/ 371 w 502"/>
                <a:gd name="T29" fmla="*/ 16 h 647"/>
                <a:gd name="T30" fmla="*/ 438 w 502"/>
                <a:gd name="T31" fmla="*/ 94 h 647"/>
                <a:gd name="T32" fmla="*/ 475 w 502"/>
                <a:gd name="T33" fmla="*/ 94 h 647"/>
                <a:gd name="T34" fmla="*/ 489 w 502"/>
                <a:gd name="T35" fmla="*/ 110 h 647"/>
                <a:gd name="T36" fmla="*/ 489 w 502"/>
                <a:gd name="T37" fmla="*/ 112 h 647"/>
                <a:gd name="T38" fmla="*/ 494 w 502"/>
                <a:gd name="T39" fmla="*/ 128 h 647"/>
                <a:gd name="T40" fmla="*/ 489 w 502"/>
                <a:gd name="T41" fmla="*/ 131 h 647"/>
                <a:gd name="T42" fmla="*/ 481 w 502"/>
                <a:gd name="T43" fmla="*/ 134 h 647"/>
                <a:gd name="T44" fmla="*/ 467 w 502"/>
                <a:gd name="T45" fmla="*/ 131 h 647"/>
                <a:gd name="T46" fmla="*/ 486 w 502"/>
                <a:gd name="T47" fmla="*/ 144 h 647"/>
                <a:gd name="T48" fmla="*/ 497 w 502"/>
                <a:gd name="T49" fmla="*/ 160 h 647"/>
                <a:gd name="T50" fmla="*/ 502 w 502"/>
                <a:gd name="T51" fmla="*/ 187 h 647"/>
                <a:gd name="T52" fmla="*/ 497 w 502"/>
                <a:gd name="T53" fmla="*/ 206 h 647"/>
                <a:gd name="T54" fmla="*/ 494 w 502"/>
                <a:gd name="T55" fmla="*/ 219 h 647"/>
                <a:gd name="T56" fmla="*/ 489 w 502"/>
                <a:gd name="T57" fmla="*/ 214 h 647"/>
                <a:gd name="T58" fmla="*/ 483 w 502"/>
                <a:gd name="T59" fmla="*/ 219 h 647"/>
                <a:gd name="T60" fmla="*/ 478 w 502"/>
                <a:gd name="T61" fmla="*/ 230 h 647"/>
                <a:gd name="T62" fmla="*/ 462 w 502"/>
                <a:gd name="T63" fmla="*/ 241 h 647"/>
                <a:gd name="T64" fmla="*/ 451 w 502"/>
                <a:gd name="T65" fmla="*/ 235 h 647"/>
                <a:gd name="T66" fmla="*/ 446 w 502"/>
                <a:gd name="T67" fmla="*/ 249 h 647"/>
                <a:gd name="T68" fmla="*/ 441 w 502"/>
                <a:gd name="T69" fmla="*/ 267 h 647"/>
                <a:gd name="T70" fmla="*/ 435 w 502"/>
                <a:gd name="T71" fmla="*/ 283 h 647"/>
                <a:gd name="T72" fmla="*/ 424 w 502"/>
                <a:gd name="T73" fmla="*/ 299 h 647"/>
                <a:gd name="T74" fmla="*/ 414 w 502"/>
                <a:gd name="T75" fmla="*/ 315 h 647"/>
                <a:gd name="T76" fmla="*/ 408 w 502"/>
                <a:gd name="T77" fmla="*/ 332 h 647"/>
                <a:gd name="T78" fmla="*/ 414 w 502"/>
                <a:gd name="T79" fmla="*/ 353 h 647"/>
                <a:gd name="T80" fmla="*/ 430 w 502"/>
                <a:gd name="T81" fmla="*/ 358 h 647"/>
                <a:gd name="T82" fmla="*/ 430 w 502"/>
                <a:gd name="T83" fmla="*/ 380 h 647"/>
                <a:gd name="T84" fmla="*/ 430 w 502"/>
                <a:gd name="T85" fmla="*/ 390 h 647"/>
                <a:gd name="T86" fmla="*/ 432 w 502"/>
                <a:gd name="T87" fmla="*/ 409 h 647"/>
                <a:gd name="T88" fmla="*/ 416 w 502"/>
                <a:gd name="T89" fmla="*/ 430 h 647"/>
                <a:gd name="T90" fmla="*/ 392 w 502"/>
                <a:gd name="T91" fmla="*/ 425 h 647"/>
                <a:gd name="T92" fmla="*/ 387 w 502"/>
                <a:gd name="T93" fmla="*/ 446 h 647"/>
                <a:gd name="T94" fmla="*/ 382 w 502"/>
                <a:gd name="T95" fmla="*/ 468 h 647"/>
                <a:gd name="T96" fmla="*/ 360 w 502"/>
                <a:gd name="T97" fmla="*/ 487 h 647"/>
                <a:gd name="T98" fmla="*/ 366 w 502"/>
                <a:gd name="T99" fmla="*/ 527 h 647"/>
                <a:gd name="T100" fmla="*/ 358 w 502"/>
                <a:gd name="T101" fmla="*/ 580 h 647"/>
                <a:gd name="T102" fmla="*/ 358 w 502"/>
                <a:gd name="T103" fmla="*/ 615 h 647"/>
                <a:gd name="T104" fmla="*/ 331 w 502"/>
                <a:gd name="T105" fmla="*/ 639 h 647"/>
                <a:gd name="T106" fmla="*/ 310 w 502"/>
                <a:gd name="T107" fmla="*/ 628 h 647"/>
                <a:gd name="T108" fmla="*/ 291 w 502"/>
                <a:gd name="T109" fmla="*/ 615 h 647"/>
                <a:gd name="T110" fmla="*/ 232 w 502"/>
                <a:gd name="T111" fmla="*/ 620 h 647"/>
                <a:gd name="T112" fmla="*/ 214 w 502"/>
                <a:gd name="T113" fmla="*/ 591 h 647"/>
                <a:gd name="T114" fmla="*/ 192 w 502"/>
                <a:gd name="T115" fmla="*/ 569 h 647"/>
                <a:gd name="T116" fmla="*/ 173 w 502"/>
                <a:gd name="T117" fmla="*/ 559 h 647"/>
                <a:gd name="T118" fmla="*/ 141 w 502"/>
                <a:gd name="T119" fmla="*/ 556 h 647"/>
                <a:gd name="T120" fmla="*/ 133 w 502"/>
                <a:gd name="T121" fmla="*/ 556 h 647"/>
                <a:gd name="T122" fmla="*/ 99 w 502"/>
                <a:gd name="T123" fmla="*/ 564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2" h="647" extrusionOk="0">
                  <a:moveTo>
                    <a:pt x="13" y="428"/>
                  </a:moveTo>
                  <a:lnTo>
                    <a:pt x="3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3" y="409"/>
                  </a:lnTo>
                  <a:lnTo>
                    <a:pt x="3" y="409"/>
                  </a:lnTo>
                  <a:lnTo>
                    <a:pt x="0" y="406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3" y="401"/>
                  </a:lnTo>
                  <a:lnTo>
                    <a:pt x="3" y="398"/>
                  </a:lnTo>
                  <a:lnTo>
                    <a:pt x="3" y="398"/>
                  </a:lnTo>
                  <a:lnTo>
                    <a:pt x="8" y="398"/>
                  </a:lnTo>
                  <a:lnTo>
                    <a:pt x="11" y="396"/>
                  </a:lnTo>
                  <a:lnTo>
                    <a:pt x="13" y="396"/>
                  </a:lnTo>
                  <a:lnTo>
                    <a:pt x="16" y="396"/>
                  </a:lnTo>
                  <a:lnTo>
                    <a:pt x="19" y="396"/>
                  </a:lnTo>
                  <a:lnTo>
                    <a:pt x="19" y="396"/>
                  </a:lnTo>
                  <a:lnTo>
                    <a:pt x="21" y="396"/>
                  </a:lnTo>
                  <a:lnTo>
                    <a:pt x="21" y="393"/>
                  </a:lnTo>
                  <a:lnTo>
                    <a:pt x="24" y="396"/>
                  </a:lnTo>
                  <a:lnTo>
                    <a:pt x="27" y="396"/>
                  </a:lnTo>
                  <a:lnTo>
                    <a:pt x="29" y="396"/>
                  </a:lnTo>
                  <a:lnTo>
                    <a:pt x="29" y="396"/>
                  </a:lnTo>
                  <a:lnTo>
                    <a:pt x="32" y="393"/>
                  </a:lnTo>
                  <a:lnTo>
                    <a:pt x="35" y="393"/>
                  </a:lnTo>
                  <a:lnTo>
                    <a:pt x="37" y="393"/>
                  </a:lnTo>
                  <a:lnTo>
                    <a:pt x="37" y="393"/>
                  </a:lnTo>
                  <a:lnTo>
                    <a:pt x="43" y="390"/>
                  </a:lnTo>
                  <a:lnTo>
                    <a:pt x="45" y="390"/>
                  </a:lnTo>
                  <a:lnTo>
                    <a:pt x="51" y="390"/>
                  </a:lnTo>
                  <a:lnTo>
                    <a:pt x="56" y="390"/>
                  </a:lnTo>
                  <a:lnTo>
                    <a:pt x="59" y="390"/>
                  </a:lnTo>
                  <a:lnTo>
                    <a:pt x="61" y="388"/>
                  </a:lnTo>
                  <a:lnTo>
                    <a:pt x="64" y="388"/>
                  </a:lnTo>
                  <a:lnTo>
                    <a:pt x="69" y="385"/>
                  </a:lnTo>
                  <a:lnTo>
                    <a:pt x="72" y="385"/>
                  </a:lnTo>
                  <a:lnTo>
                    <a:pt x="75" y="385"/>
                  </a:lnTo>
                  <a:lnTo>
                    <a:pt x="77" y="385"/>
                  </a:lnTo>
                  <a:lnTo>
                    <a:pt x="77" y="385"/>
                  </a:lnTo>
                  <a:lnTo>
                    <a:pt x="83" y="382"/>
                  </a:lnTo>
                  <a:lnTo>
                    <a:pt x="85" y="382"/>
                  </a:lnTo>
                  <a:lnTo>
                    <a:pt x="88" y="382"/>
                  </a:lnTo>
                  <a:lnTo>
                    <a:pt x="96" y="382"/>
                  </a:lnTo>
                  <a:lnTo>
                    <a:pt x="104" y="380"/>
                  </a:lnTo>
                  <a:lnTo>
                    <a:pt x="107" y="380"/>
                  </a:lnTo>
                  <a:lnTo>
                    <a:pt x="109" y="377"/>
                  </a:lnTo>
                  <a:lnTo>
                    <a:pt x="112" y="380"/>
                  </a:lnTo>
                  <a:lnTo>
                    <a:pt x="117" y="377"/>
                  </a:lnTo>
                  <a:lnTo>
                    <a:pt x="125" y="377"/>
                  </a:lnTo>
                  <a:lnTo>
                    <a:pt x="125" y="377"/>
                  </a:lnTo>
                  <a:lnTo>
                    <a:pt x="128" y="377"/>
                  </a:lnTo>
                  <a:lnTo>
                    <a:pt x="128" y="377"/>
                  </a:lnTo>
                  <a:lnTo>
                    <a:pt x="131" y="377"/>
                  </a:lnTo>
                  <a:lnTo>
                    <a:pt x="131" y="374"/>
                  </a:lnTo>
                  <a:lnTo>
                    <a:pt x="136" y="374"/>
                  </a:lnTo>
                  <a:lnTo>
                    <a:pt x="141" y="374"/>
                  </a:lnTo>
                  <a:lnTo>
                    <a:pt x="144" y="374"/>
                  </a:lnTo>
                  <a:lnTo>
                    <a:pt x="147" y="372"/>
                  </a:lnTo>
                  <a:lnTo>
                    <a:pt x="149" y="372"/>
                  </a:lnTo>
                  <a:lnTo>
                    <a:pt x="152" y="372"/>
                  </a:lnTo>
                  <a:lnTo>
                    <a:pt x="157" y="369"/>
                  </a:lnTo>
                  <a:lnTo>
                    <a:pt x="160" y="366"/>
                  </a:lnTo>
                  <a:lnTo>
                    <a:pt x="163" y="366"/>
                  </a:lnTo>
                  <a:lnTo>
                    <a:pt x="165" y="364"/>
                  </a:lnTo>
                  <a:lnTo>
                    <a:pt x="165" y="364"/>
                  </a:lnTo>
                  <a:lnTo>
                    <a:pt x="168" y="364"/>
                  </a:lnTo>
                  <a:lnTo>
                    <a:pt x="171" y="361"/>
                  </a:lnTo>
                  <a:lnTo>
                    <a:pt x="173" y="358"/>
                  </a:lnTo>
                  <a:lnTo>
                    <a:pt x="179" y="356"/>
                  </a:lnTo>
                  <a:lnTo>
                    <a:pt x="192" y="353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5" y="340"/>
                  </a:lnTo>
                  <a:lnTo>
                    <a:pt x="195" y="337"/>
                  </a:lnTo>
                  <a:lnTo>
                    <a:pt x="195" y="337"/>
                  </a:lnTo>
                  <a:lnTo>
                    <a:pt x="195" y="334"/>
                  </a:lnTo>
                  <a:lnTo>
                    <a:pt x="192" y="334"/>
                  </a:lnTo>
                  <a:lnTo>
                    <a:pt x="192" y="323"/>
                  </a:lnTo>
                  <a:lnTo>
                    <a:pt x="195" y="323"/>
                  </a:lnTo>
                  <a:lnTo>
                    <a:pt x="198" y="318"/>
                  </a:lnTo>
                  <a:lnTo>
                    <a:pt x="198" y="318"/>
                  </a:lnTo>
                  <a:lnTo>
                    <a:pt x="198" y="315"/>
                  </a:lnTo>
                  <a:lnTo>
                    <a:pt x="198" y="313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8" y="302"/>
                  </a:lnTo>
                  <a:lnTo>
                    <a:pt x="198" y="299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198" y="294"/>
                  </a:lnTo>
                  <a:lnTo>
                    <a:pt x="198" y="291"/>
                  </a:lnTo>
                  <a:lnTo>
                    <a:pt x="198" y="289"/>
                  </a:lnTo>
                  <a:lnTo>
                    <a:pt x="195" y="286"/>
                  </a:lnTo>
                  <a:lnTo>
                    <a:pt x="195" y="283"/>
                  </a:lnTo>
                  <a:lnTo>
                    <a:pt x="192" y="281"/>
                  </a:lnTo>
                  <a:lnTo>
                    <a:pt x="192" y="278"/>
                  </a:lnTo>
                  <a:lnTo>
                    <a:pt x="192" y="275"/>
                  </a:lnTo>
                  <a:lnTo>
                    <a:pt x="192" y="273"/>
                  </a:lnTo>
                  <a:lnTo>
                    <a:pt x="192" y="270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2" y="262"/>
                  </a:lnTo>
                  <a:lnTo>
                    <a:pt x="192" y="259"/>
                  </a:lnTo>
                  <a:lnTo>
                    <a:pt x="192" y="257"/>
                  </a:lnTo>
                  <a:lnTo>
                    <a:pt x="192" y="251"/>
                  </a:lnTo>
                  <a:lnTo>
                    <a:pt x="192" y="249"/>
                  </a:lnTo>
                  <a:lnTo>
                    <a:pt x="195" y="238"/>
                  </a:lnTo>
                  <a:lnTo>
                    <a:pt x="208" y="241"/>
                  </a:lnTo>
                  <a:lnTo>
                    <a:pt x="211" y="241"/>
                  </a:lnTo>
                  <a:lnTo>
                    <a:pt x="214" y="238"/>
                  </a:lnTo>
                  <a:lnTo>
                    <a:pt x="216" y="235"/>
                  </a:lnTo>
                  <a:lnTo>
                    <a:pt x="216" y="235"/>
                  </a:lnTo>
                  <a:lnTo>
                    <a:pt x="222" y="235"/>
                  </a:lnTo>
                  <a:lnTo>
                    <a:pt x="224" y="235"/>
                  </a:lnTo>
                  <a:lnTo>
                    <a:pt x="227" y="235"/>
                  </a:lnTo>
                  <a:lnTo>
                    <a:pt x="232" y="233"/>
                  </a:lnTo>
                  <a:lnTo>
                    <a:pt x="235" y="233"/>
                  </a:lnTo>
                  <a:lnTo>
                    <a:pt x="238" y="230"/>
                  </a:lnTo>
                  <a:lnTo>
                    <a:pt x="238" y="227"/>
                  </a:lnTo>
                  <a:lnTo>
                    <a:pt x="240" y="227"/>
                  </a:lnTo>
                  <a:lnTo>
                    <a:pt x="240" y="225"/>
                  </a:lnTo>
                  <a:lnTo>
                    <a:pt x="240" y="222"/>
                  </a:lnTo>
                  <a:lnTo>
                    <a:pt x="240" y="219"/>
                  </a:lnTo>
                  <a:lnTo>
                    <a:pt x="240" y="219"/>
                  </a:lnTo>
                  <a:lnTo>
                    <a:pt x="243" y="219"/>
                  </a:lnTo>
                  <a:lnTo>
                    <a:pt x="243" y="219"/>
                  </a:lnTo>
                  <a:lnTo>
                    <a:pt x="246" y="217"/>
                  </a:lnTo>
                  <a:lnTo>
                    <a:pt x="246" y="217"/>
                  </a:lnTo>
                  <a:lnTo>
                    <a:pt x="246" y="214"/>
                  </a:lnTo>
                  <a:lnTo>
                    <a:pt x="246" y="214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6" y="209"/>
                  </a:lnTo>
                  <a:lnTo>
                    <a:pt x="243" y="203"/>
                  </a:lnTo>
                  <a:lnTo>
                    <a:pt x="243" y="201"/>
                  </a:lnTo>
                  <a:lnTo>
                    <a:pt x="243" y="198"/>
                  </a:lnTo>
                  <a:lnTo>
                    <a:pt x="243" y="198"/>
                  </a:lnTo>
                  <a:lnTo>
                    <a:pt x="240" y="195"/>
                  </a:lnTo>
                  <a:lnTo>
                    <a:pt x="240" y="193"/>
                  </a:lnTo>
                  <a:lnTo>
                    <a:pt x="243" y="190"/>
                  </a:lnTo>
                  <a:lnTo>
                    <a:pt x="246" y="187"/>
                  </a:lnTo>
                  <a:lnTo>
                    <a:pt x="246" y="185"/>
                  </a:lnTo>
                  <a:lnTo>
                    <a:pt x="251" y="174"/>
                  </a:lnTo>
                  <a:lnTo>
                    <a:pt x="251" y="174"/>
                  </a:lnTo>
                  <a:lnTo>
                    <a:pt x="254" y="174"/>
                  </a:lnTo>
                  <a:lnTo>
                    <a:pt x="254" y="174"/>
                  </a:lnTo>
                  <a:lnTo>
                    <a:pt x="256" y="174"/>
                  </a:lnTo>
                  <a:lnTo>
                    <a:pt x="256" y="174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62" y="177"/>
                  </a:lnTo>
                  <a:lnTo>
                    <a:pt x="262" y="177"/>
                  </a:lnTo>
                  <a:lnTo>
                    <a:pt x="262" y="174"/>
                  </a:lnTo>
                  <a:lnTo>
                    <a:pt x="262" y="174"/>
                  </a:lnTo>
                  <a:lnTo>
                    <a:pt x="262" y="171"/>
                  </a:lnTo>
                  <a:lnTo>
                    <a:pt x="262" y="169"/>
                  </a:lnTo>
                  <a:lnTo>
                    <a:pt x="262" y="169"/>
                  </a:lnTo>
                  <a:lnTo>
                    <a:pt x="264" y="166"/>
                  </a:lnTo>
                  <a:lnTo>
                    <a:pt x="264" y="166"/>
                  </a:lnTo>
                  <a:lnTo>
                    <a:pt x="264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0"/>
                  </a:lnTo>
                  <a:lnTo>
                    <a:pt x="267" y="160"/>
                  </a:lnTo>
                  <a:lnTo>
                    <a:pt x="264" y="158"/>
                  </a:lnTo>
                  <a:lnTo>
                    <a:pt x="264" y="155"/>
                  </a:lnTo>
                  <a:lnTo>
                    <a:pt x="262" y="152"/>
                  </a:lnTo>
                  <a:lnTo>
                    <a:pt x="259" y="152"/>
                  </a:lnTo>
                  <a:lnTo>
                    <a:pt x="259" y="150"/>
                  </a:lnTo>
                  <a:lnTo>
                    <a:pt x="259" y="150"/>
                  </a:lnTo>
                  <a:lnTo>
                    <a:pt x="259" y="147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2"/>
                  </a:lnTo>
                  <a:lnTo>
                    <a:pt x="262" y="139"/>
                  </a:lnTo>
                  <a:lnTo>
                    <a:pt x="264" y="136"/>
                  </a:lnTo>
                  <a:lnTo>
                    <a:pt x="267" y="134"/>
                  </a:lnTo>
                  <a:lnTo>
                    <a:pt x="267" y="134"/>
                  </a:lnTo>
                  <a:lnTo>
                    <a:pt x="270" y="131"/>
                  </a:lnTo>
                  <a:lnTo>
                    <a:pt x="272" y="128"/>
                  </a:lnTo>
                  <a:lnTo>
                    <a:pt x="275" y="128"/>
                  </a:lnTo>
                  <a:lnTo>
                    <a:pt x="275" y="126"/>
                  </a:lnTo>
                  <a:lnTo>
                    <a:pt x="278" y="128"/>
                  </a:lnTo>
                  <a:lnTo>
                    <a:pt x="283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6" y="126"/>
                  </a:lnTo>
                  <a:lnTo>
                    <a:pt x="288" y="126"/>
                  </a:lnTo>
                  <a:lnTo>
                    <a:pt x="291" y="126"/>
                  </a:lnTo>
                  <a:lnTo>
                    <a:pt x="294" y="126"/>
                  </a:lnTo>
                  <a:lnTo>
                    <a:pt x="294" y="123"/>
                  </a:lnTo>
                  <a:lnTo>
                    <a:pt x="294" y="123"/>
                  </a:lnTo>
                  <a:lnTo>
                    <a:pt x="294" y="120"/>
                  </a:lnTo>
                  <a:lnTo>
                    <a:pt x="294" y="120"/>
                  </a:lnTo>
                  <a:lnTo>
                    <a:pt x="291" y="120"/>
                  </a:lnTo>
                  <a:lnTo>
                    <a:pt x="291" y="118"/>
                  </a:lnTo>
                  <a:lnTo>
                    <a:pt x="288" y="115"/>
                  </a:lnTo>
                  <a:lnTo>
                    <a:pt x="288" y="115"/>
                  </a:lnTo>
                  <a:lnTo>
                    <a:pt x="286" y="115"/>
                  </a:lnTo>
                  <a:lnTo>
                    <a:pt x="286" y="112"/>
                  </a:lnTo>
                  <a:lnTo>
                    <a:pt x="288" y="112"/>
                  </a:lnTo>
                  <a:lnTo>
                    <a:pt x="288" y="110"/>
                  </a:lnTo>
                  <a:lnTo>
                    <a:pt x="291" y="110"/>
                  </a:lnTo>
                  <a:lnTo>
                    <a:pt x="291" y="110"/>
                  </a:lnTo>
                  <a:lnTo>
                    <a:pt x="294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9" y="110"/>
                  </a:lnTo>
                  <a:lnTo>
                    <a:pt x="299" y="104"/>
                  </a:lnTo>
                  <a:lnTo>
                    <a:pt x="299" y="104"/>
                  </a:lnTo>
                  <a:lnTo>
                    <a:pt x="302" y="102"/>
                  </a:lnTo>
                  <a:lnTo>
                    <a:pt x="302" y="102"/>
                  </a:lnTo>
                  <a:lnTo>
                    <a:pt x="302" y="99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7" y="96"/>
                  </a:lnTo>
                  <a:lnTo>
                    <a:pt x="310" y="96"/>
                  </a:lnTo>
                  <a:lnTo>
                    <a:pt x="312" y="96"/>
                  </a:lnTo>
                  <a:lnTo>
                    <a:pt x="312" y="96"/>
                  </a:lnTo>
                  <a:lnTo>
                    <a:pt x="315" y="96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4"/>
                  </a:lnTo>
                  <a:lnTo>
                    <a:pt x="315" y="91"/>
                  </a:lnTo>
                  <a:lnTo>
                    <a:pt x="315" y="88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8" y="86"/>
                  </a:lnTo>
                  <a:lnTo>
                    <a:pt x="320" y="86"/>
                  </a:lnTo>
                  <a:lnTo>
                    <a:pt x="320" y="88"/>
                  </a:lnTo>
                  <a:lnTo>
                    <a:pt x="323" y="88"/>
                  </a:lnTo>
                  <a:lnTo>
                    <a:pt x="326" y="88"/>
                  </a:lnTo>
                  <a:lnTo>
                    <a:pt x="328" y="88"/>
                  </a:lnTo>
                  <a:lnTo>
                    <a:pt x="328" y="91"/>
                  </a:lnTo>
                  <a:lnTo>
                    <a:pt x="331" y="94"/>
                  </a:lnTo>
                  <a:lnTo>
                    <a:pt x="331" y="94"/>
                  </a:lnTo>
                  <a:lnTo>
                    <a:pt x="331" y="94"/>
                  </a:lnTo>
                  <a:lnTo>
                    <a:pt x="331" y="96"/>
                  </a:lnTo>
                  <a:lnTo>
                    <a:pt x="334" y="94"/>
                  </a:lnTo>
                  <a:lnTo>
                    <a:pt x="334" y="94"/>
                  </a:lnTo>
                  <a:lnTo>
                    <a:pt x="334" y="91"/>
                  </a:lnTo>
                  <a:lnTo>
                    <a:pt x="336" y="91"/>
                  </a:lnTo>
                  <a:lnTo>
                    <a:pt x="336" y="88"/>
                  </a:lnTo>
                  <a:lnTo>
                    <a:pt x="339" y="86"/>
                  </a:lnTo>
                  <a:lnTo>
                    <a:pt x="342" y="83"/>
                  </a:lnTo>
                  <a:lnTo>
                    <a:pt x="342" y="80"/>
                  </a:lnTo>
                  <a:lnTo>
                    <a:pt x="344" y="78"/>
                  </a:lnTo>
                  <a:lnTo>
                    <a:pt x="344" y="75"/>
                  </a:lnTo>
                  <a:lnTo>
                    <a:pt x="344" y="75"/>
                  </a:lnTo>
                  <a:lnTo>
                    <a:pt x="347" y="70"/>
                  </a:lnTo>
                  <a:lnTo>
                    <a:pt x="347" y="67"/>
                  </a:lnTo>
                  <a:lnTo>
                    <a:pt x="350" y="64"/>
                  </a:lnTo>
                  <a:lnTo>
                    <a:pt x="350" y="64"/>
                  </a:lnTo>
                  <a:lnTo>
                    <a:pt x="352" y="62"/>
                  </a:lnTo>
                  <a:lnTo>
                    <a:pt x="355" y="59"/>
                  </a:lnTo>
                  <a:lnTo>
                    <a:pt x="355" y="56"/>
                  </a:lnTo>
                  <a:lnTo>
                    <a:pt x="358" y="54"/>
                  </a:lnTo>
                  <a:lnTo>
                    <a:pt x="358" y="51"/>
                  </a:lnTo>
                  <a:lnTo>
                    <a:pt x="358" y="46"/>
                  </a:lnTo>
                  <a:lnTo>
                    <a:pt x="360" y="43"/>
                  </a:lnTo>
                  <a:lnTo>
                    <a:pt x="360" y="38"/>
                  </a:lnTo>
                  <a:lnTo>
                    <a:pt x="360" y="35"/>
                  </a:lnTo>
                  <a:lnTo>
                    <a:pt x="363" y="32"/>
                  </a:lnTo>
                  <a:lnTo>
                    <a:pt x="363" y="27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8" y="19"/>
                  </a:lnTo>
                  <a:lnTo>
                    <a:pt x="371" y="16"/>
                  </a:lnTo>
                  <a:lnTo>
                    <a:pt x="374" y="8"/>
                  </a:lnTo>
                  <a:lnTo>
                    <a:pt x="374" y="6"/>
                  </a:lnTo>
                  <a:lnTo>
                    <a:pt x="376" y="3"/>
                  </a:lnTo>
                  <a:lnTo>
                    <a:pt x="376" y="3"/>
                  </a:lnTo>
                  <a:lnTo>
                    <a:pt x="376" y="0"/>
                  </a:lnTo>
                  <a:lnTo>
                    <a:pt x="432" y="46"/>
                  </a:lnTo>
                  <a:lnTo>
                    <a:pt x="432" y="46"/>
                  </a:lnTo>
                  <a:lnTo>
                    <a:pt x="446" y="56"/>
                  </a:lnTo>
                  <a:lnTo>
                    <a:pt x="438" y="72"/>
                  </a:lnTo>
                  <a:lnTo>
                    <a:pt x="443" y="75"/>
                  </a:lnTo>
                  <a:lnTo>
                    <a:pt x="441" y="78"/>
                  </a:lnTo>
                  <a:lnTo>
                    <a:pt x="441" y="80"/>
                  </a:lnTo>
                  <a:lnTo>
                    <a:pt x="438" y="83"/>
                  </a:lnTo>
                  <a:lnTo>
                    <a:pt x="435" y="86"/>
                  </a:lnTo>
                  <a:lnTo>
                    <a:pt x="435" y="86"/>
                  </a:lnTo>
                  <a:lnTo>
                    <a:pt x="435" y="88"/>
                  </a:lnTo>
                  <a:lnTo>
                    <a:pt x="435" y="91"/>
                  </a:lnTo>
                  <a:lnTo>
                    <a:pt x="438" y="94"/>
                  </a:lnTo>
                  <a:lnTo>
                    <a:pt x="441" y="96"/>
                  </a:lnTo>
                  <a:lnTo>
                    <a:pt x="443" y="99"/>
                  </a:lnTo>
                  <a:lnTo>
                    <a:pt x="446" y="99"/>
                  </a:lnTo>
                  <a:lnTo>
                    <a:pt x="449" y="104"/>
                  </a:lnTo>
                  <a:lnTo>
                    <a:pt x="457" y="96"/>
                  </a:lnTo>
                  <a:lnTo>
                    <a:pt x="457" y="96"/>
                  </a:lnTo>
                  <a:lnTo>
                    <a:pt x="459" y="94"/>
                  </a:lnTo>
                  <a:lnTo>
                    <a:pt x="462" y="96"/>
                  </a:lnTo>
                  <a:lnTo>
                    <a:pt x="462" y="96"/>
                  </a:lnTo>
                  <a:lnTo>
                    <a:pt x="465" y="99"/>
                  </a:lnTo>
                  <a:lnTo>
                    <a:pt x="465" y="99"/>
                  </a:lnTo>
                  <a:lnTo>
                    <a:pt x="467" y="99"/>
                  </a:lnTo>
                  <a:lnTo>
                    <a:pt x="467" y="96"/>
                  </a:lnTo>
                  <a:lnTo>
                    <a:pt x="470" y="94"/>
                  </a:lnTo>
                  <a:lnTo>
                    <a:pt x="470" y="94"/>
                  </a:lnTo>
                  <a:lnTo>
                    <a:pt x="473" y="91"/>
                  </a:lnTo>
                  <a:lnTo>
                    <a:pt x="473" y="91"/>
                  </a:lnTo>
                  <a:lnTo>
                    <a:pt x="475" y="94"/>
                  </a:lnTo>
                  <a:lnTo>
                    <a:pt x="475" y="94"/>
                  </a:lnTo>
                  <a:lnTo>
                    <a:pt x="478" y="94"/>
                  </a:lnTo>
                  <a:lnTo>
                    <a:pt x="478" y="96"/>
                  </a:lnTo>
                  <a:lnTo>
                    <a:pt x="481" y="96"/>
                  </a:lnTo>
                  <a:lnTo>
                    <a:pt x="481" y="99"/>
                  </a:lnTo>
                  <a:lnTo>
                    <a:pt x="481" y="99"/>
                  </a:lnTo>
                  <a:lnTo>
                    <a:pt x="483" y="102"/>
                  </a:lnTo>
                  <a:lnTo>
                    <a:pt x="483" y="102"/>
                  </a:lnTo>
                  <a:lnTo>
                    <a:pt x="483" y="104"/>
                  </a:lnTo>
                  <a:lnTo>
                    <a:pt x="486" y="104"/>
                  </a:lnTo>
                  <a:lnTo>
                    <a:pt x="486" y="107"/>
                  </a:lnTo>
                  <a:lnTo>
                    <a:pt x="486" y="107"/>
                  </a:lnTo>
                  <a:lnTo>
                    <a:pt x="489" y="107"/>
                  </a:lnTo>
                  <a:lnTo>
                    <a:pt x="489" y="110"/>
                  </a:lnTo>
                  <a:lnTo>
                    <a:pt x="489" y="110"/>
                  </a:lnTo>
                  <a:lnTo>
                    <a:pt x="489" y="112"/>
                  </a:lnTo>
                  <a:lnTo>
                    <a:pt x="489" y="110"/>
                  </a:lnTo>
                  <a:lnTo>
                    <a:pt x="489" y="110"/>
                  </a:lnTo>
                  <a:lnTo>
                    <a:pt x="486" y="110"/>
                  </a:lnTo>
                  <a:lnTo>
                    <a:pt x="486" y="110"/>
                  </a:lnTo>
                  <a:lnTo>
                    <a:pt x="486" y="107"/>
                  </a:lnTo>
                  <a:lnTo>
                    <a:pt x="486" y="107"/>
                  </a:lnTo>
                  <a:lnTo>
                    <a:pt x="483" y="107"/>
                  </a:lnTo>
                  <a:lnTo>
                    <a:pt x="483" y="107"/>
                  </a:lnTo>
                  <a:lnTo>
                    <a:pt x="481" y="107"/>
                  </a:lnTo>
                  <a:lnTo>
                    <a:pt x="481" y="107"/>
                  </a:lnTo>
                  <a:lnTo>
                    <a:pt x="481" y="107"/>
                  </a:lnTo>
                  <a:lnTo>
                    <a:pt x="481" y="110"/>
                  </a:lnTo>
                  <a:lnTo>
                    <a:pt x="483" y="110"/>
                  </a:lnTo>
                  <a:lnTo>
                    <a:pt x="483" y="112"/>
                  </a:lnTo>
                  <a:lnTo>
                    <a:pt x="483" y="112"/>
                  </a:lnTo>
                  <a:lnTo>
                    <a:pt x="486" y="112"/>
                  </a:lnTo>
                  <a:lnTo>
                    <a:pt x="486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89" y="112"/>
                  </a:lnTo>
                  <a:lnTo>
                    <a:pt x="491" y="115"/>
                  </a:lnTo>
                  <a:lnTo>
                    <a:pt x="491" y="115"/>
                  </a:lnTo>
                  <a:lnTo>
                    <a:pt x="491" y="115"/>
                  </a:lnTo>
                  <a:lnTo>
                    <a:pt x="489" y="115"/>
                  </a:lnTo>
                  <a:lnTo>
                    <a:pt x="491" y="118"/>
                  </a:lnTo>
                  <a:lnTo>
                    <a:pt x="491" y="118"/>
                  </a:lnTo>
                  <a:lnTo>
                    <a:pt x="489" y="118"/>
                  </a:lnTo>
                  <a:lnTo>
                    <a:pt x="489" y="118"/>
                  </a:lnTo>
                  <a:lnTo>
                    <a:pt x="489" y="120"/>
                  </a:lnTo>
                  <a:lnTo>
                    <a:pt x="491" y="120"/>
                  </a:lnTo>
                  <a:lnTo>
                    <a:pt x="491" y="123"/>
                  </a:lnTo>
                  <a:lnTo>
                    <a:pt x="489" y="123"/>
                  </a:lnTo>
                  <a:lnTo>
                    <a:pt x="491" y="123"/>
                  </a:lnTo>
                  <a:lnTo>
                    <a:pt x="491" y="126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7" y="131"/>
                  </a:lnTo>
                  <a:lnTo>
                    <a:pt x="497" y="131"/>
                  </a:lnTo>
                  <a:lnTo>
                    <a:pt x="497" y="134"/>
                  </a:lnTo>
                  <a:lnTo>
                    <a:pt x="497" y="134"/>
                  </a:lnTo>
                  <a:lnTo>
                    <a:pt x="497" y="134"/>
                  </a:lnTo>
                  <a:lnTo>
                    <a:pt x="499" y="136"/>
                  </a:lnTo>
                  <a:lnTo>
                    <a:pt x="497" y="136"/>
                  </a:lnTo>
                  <a:lnTo>
                    <a:pt x="497" y="136"/>
                  </a:lnTo>
                  <a:lnTo>
                    <a:pt x="497" y="136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4" y="134"/>
                  </a:lnTo>
                  <a:lnTo>
                    <a:pt x="491" y="134"/>
                  </a:lnTo>
                  <a:lnTo>
                    <a:pt x="491" y="131"/>
                  </a:lnTo>
                  <a:lnTo>
                    <a:pt x="491" y="131"/>
                  </a:lnTo>
                  <a:lnTo>
                    <a:pt x="491" y="131"/>
                  </a:lnTo>
                  <a:lnTo>
                    <a:pt x="489" y="131"/>
                  </a:lnTo>
                  <a:lnTo>
                    <a:pt x="489" y="131"/>
                  </a:lnTo>
                  <a:lnTo>
                    <a:pt x="489" y="134"/>
                  </a:lnTo>
                  <a:lnTo>
                    <a:pt x="489" y="134"/>
                  </a:lnTo>
                  <a:lnTo>
                    <a:pt x="491" y="136"/>
                  </a:lnTo>
                  <a:lnTo>
                    <a:pt x="491" y="136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91" y="142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489" y="139"/>
                  </a:lnTo>
                  <a:lnTo>
                    <a:pt x="489" y="139"/>
                  </a:lnTo>
                  <a:lnTo>
                    <a:pt x="486" y="136"/>
                  </a:lnTo>
                  <a:lnTo>
                    <a:pt x="486" y="136"/>
                  </a:lnTo>
                  <a:lnTo>
                    <a:pt x="483" y="134"/>
                  </a:lnTo>
                  <a:lnTo>
                    <a:pt x="483" y="134"/>
                  </a:lnTo>
                  <a:lnTo>
                    <a:pt x="481" y="134"/>
                  </a:lnTo>
                  <a:lnTo>
                    <a:pt x="481" y="134"/>
                  </a:lnTo>
                  <a:lnTo>
                    <a:pt x="478" y="134"/>
                  </a:lnTo>
                  <a:lnTo>
                    <a:pt x="478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3" y="131"/>
                  </a:lnTo>
                  <a:lnTo>
                    <a:pt x="473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67" y="128"/>
                  </a:lnTo>
                  <a:lnTo>
                    <a:pt x="467" y="128"/>
                  </a:lnTo>
                  <a:lnTo>
                    <a:pt x="465" y="128"/>
                  </a:lnTo>
                  <a:lnTo>
                    <a:pt x="465" y="128"/>
                  </a:lnTo>
                  <a:lnTo>
                    <a:pt x="465" y="131"/>
                  </a:lnTo>
                  <a:lnTo>
                    <a:pt x="467" y="131"/>
                  </a:lnTo>
                  <a:lnTo>
                    <a:pt x="467" y="131"/>
                  </a:lnTo>
                  <a:lnTo>
                    <a:pt x="470" y="131"/>
                  </a:lnTo>
                  <a:lnTo>
                    <a:pt x="470" y="131"/>
                  </a:lnTo>
                  <a:lnTo>
                    <a:pt x="473" y="134"/>
                  </a:lnTo>
                  <a:lnTo>
                    <a:pt x="473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8" y="134"/>
                  </a:lnTo>
                  <a:lnTo>
                    <a:pt x="481" y="136"/>
                  </a:lnTo>
                  <a:lnTo>
                    <a:pt x="481" y="136"/>
                  </a:lnTo>
                  <a:lnTo>
                    <a:pt x="481" y="136"/>
                  </a:lnTo>
                  <a:lnTo>
                    <a:pt x="483" y="139"/>
                  </a:lnTo>
                  <a:lnTo>
                    <a:pt x="483" y="139"/>
                  </a:lnTo>
                  <a:lnTo>
                    <a:pt x="486" y="139"/>
                  </a:lnTo>
                  <a:lnTo>
                    <a:pt x="489" y="142"/>
                  </a:lnTo>
                  <a:lnTo>
                    <a:pt x="489" y="142"/>
                  </a:lnTo>
                  <a:lnTo>
                    <a:pt x="486" y="142"/>
                  </a:lnTo>
                  <a:lnTo>
                    <a:pt x="486" y="144"/>
                  </a:lnTo>
                  <a:lnTo>
                    <a:pt x="486" y="144"/>
                  </a:lnTo>
                  <a:lnTo>
                    <a:pt x="489" y="144"/>
                  </a:lnTo>
                  <a:lnTo>
                    <a:pt x="489" y="147"/>
                  </a:lnTo>
                  <a:lnTo>
                    <a:pt x="491" y="147"/>
                  </a:lnTo>
                  <a:lnTo>
                    <a:pt x="491" y="150"/>
                  </a:lnTo>
                  <a:lnTo>
                    <a:pt x="491" y="152"/>
                  </a:lnTo>
                  <a:lnTo>
                    <a:pt x="491" y="152"/>
                  </a:lnTo>
                  <a:lnTo>
                    <a:pt x="491" y="155"/>
                  </a:lnTo>
                  <a:lnTo>
                    <a:pt x="494" y="155"/>
                  </a:lnTo>
                  <a:lnTo>
                    <a:pt x="491" y="155"/>
                  </a:lnTo>
                  <a:lnTo>
                    <a:pt x="491" y="155"/>
                  </a:lnTo>
                  <a:lnTo>
                    <a:pt x="491" y="158"/>
                  </a:lnTo>
                  <a:lnTo>
                    <a:pt x="489" y="158"/>
                  </a:lnTo>
                  <a:lnTo>
                    <a:pt x="491" y="158"/>
                  </a:lnTo>
                  <a:lnTo>
                    <a:pt x="491" y="158"/>
                  </a:lnTo>
                  <a:lnTo>
                    <a:pt x="494" y="158"/>
                  </a:lnTo>
                  <a:lnTo>
                    <a:pt x="494" y="158"/>
                  </a:lnTo>
                  <a:lnTo>
                    <a:pt x="494" y="160"/>
                  </a:lnTo>
                  <a:lnTo>
                    <a:pt x="497" y="160"/>
                  </a:lnTo>
                  <a:lnTo>
                    <a:pt x="497" y="160"/>
                  </a:lnTo>
                  <a:lnTo>
                    <a:pt x="499" y="160"/>
                  </a:lnTo>
                  <a:lnTo>
                    <a:pt x="497" y="163"/>
                  </a:lnTo>
                  <a:lnTo>
                    <a:pt x="499" y="163"/>
                  </a:lnTo>
                  <a:lnTo>
                    <a:pt x="499" y="166"/>
                  </a:lnTo>
                  <a:lnTo>
                    <a:pt x="497" y="166"/>
                  </a:lnTo>
                  <a:lnTo>
                    <a:pt x="497" y="169"/>
                  </a:lnTo>
                  <a:lnTo>
                    <a:pt x="497" y="169"/>
                  </a:lnTo>
                  <a:lnTo>
                    <a:pt x="497" y="169"/>
                  </a:lnTo>
                  <a:lnTo>
                    <a:pt x="497" y="171"/>
                  </a:lnTo>
                  <a:lnTo>
                    <a:pt x="499" y="174"/>
                  </a:lnTo>
                  <a:lnTo>
                    <a:pt x="499" y="177"/>
                  </a:lnTo>
                  <a:lnTo>
                    <a:pt x="499" y="179"/>
                  </a:lnTo>
                  <a:lnTo>
                    <a:pt x="502" y="182"/>
                  </a:lnTo>
                  <a:lnTo>
                    <a:pt x="502" y="182"/>
                  </a:lnTo>
                  <a:lnTo>
                    <a:pt x="502" y="185"/>
                  </a:lnTo>
                  <a:lnTo>
                    <a:pt x="502" y="187"/>
                  </a:lnTo>
                  <a:lnTo>
                    <a:pt x="502" y="187"/>
                  </a:lnTo>
                  <a:lnTo>
                    <a:pt x="502" y="190"/>
                  </a:lnTo>
                  <a:lnTo>
                    <a:pt x="502" y="190"/>
                  </a:lnTo>
                  <a:lnTo>
                    <a:pt x="502" y="193"/>
                  </a:lnTo>
                  <a:lnTo>
                    <a:pt x="502" y="195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502" y="198"/>
                  </a:lnTo>
                  <a:lnTo>
                    <a:pt x="499" y="198"/>
                  </a:lnTo>
                  <a:lnTo>
                    <a:pt x="499" y="198"/>
                  </a:lnTo>
                  <a:lnTo>
                    <a:pt x="499" y="201"/>
                  </a:lnTo>
                  <a:lnTo>
                    <a:pt x="497" y="201"/>
                  </a:lnTo>
                  <a:lnTo>
                    <a:pt x="497" y="201"/>
                  </a:lnTo>
                  <a:lnTo>
                    <a:pt x="497" y="203"/>
                  </a:lnTo>
                  <a:lnTo>
                    <a:pt x="497" y="203"/>
                  </a:lnTo>
                  <a:lnTo>
                    <a:pt x="494" y="203"/>
                  </a:lnTo>
                  <a:lnTo>
                    <a:pt x="494" y="206"/>
                  </a:lnTo>
                  <a:lnTo>
                    <a:pt x="497" y="206"/>
                  </a:lnTo>
                  <a:lnTo>
                    <a:pt x="497" y="206"/>
                  </a:lnTo>
                  <a:lnTo>
                    <a:pt x="499" y="206"/>
                  </a:lnTo>
                  <a:lnTo>
                    <a:pt x="499" y="209"/>
                  </a:lnTo>
                  <a:lnTo>
                    <a:pt x="499" y="209"/>
                  </a:lnTo>
                  <a:lnTo>
                    <a:pt x="499" y="209"/>
                  </a:lnTo>
                  <a:lnTo>
                    <a:pt x="499" y="211"/>
                  </a:lnTo>
                  <a:lnTo>
                    <a:pt x="497" y="211"/>
                  </a:lnTo>
                  <a:lnTo>
                    <a:pt x="497" y="211"/>
                  </a:lnTo>
                  <a:lnTo>
                    <a:pt x="497" y="214"/>
                  </a:lnTo>
                  <a:lnTo>
                    <a:pt x="494" y="214"/>
                  </a:lnTo>
                  <a:lnTo>
                    <a:pt x="497" y="214"/>
                  </a:lnTo>
                  <a:lnTo>
                    <a:pt x="494" y="217"/>
                  </a:lnTo>
                  <a:lnTo>
                    <a:pt x="497" y="217"/>
                  </a:lnTo>
                  <a:lnTo>
                    <a:pt x="497" y="217"/>
                  </a:lnTo>
                  <a:lnTo>
                    <a:pt x="497" y="217"/>
                  </a:lnTo>
                  <a:lnTo>
                    <a:pt x="497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4" y="219"/>
                  </a:lnTo>
                  <a:lnTo>
                    <a:pt x="491" y="219"/>
                  </a:lnTo>
                  <a:lnTo>
                    <a:pt x="491" y="219"/>
                  </a:lnTo>
                  <a:lnTo>
                    <a:pt x="491" y="222"/>
                  </a:lnTo>
                  <a:lnTo>
                    <a:pt x="491" y="222"/>
                  </a:lnTo>
                  <a:lnTo>
                    <a:pt x="491" y="225"/>
                  </a:lnTo>
                  <a:lnTo>
                    <a:pt x="494" y="225"/>
                  </a:lnTo>
                  <a:lnTo>
                    <a:pt x="491" y="227"/>
                  </a:lnTo>
                  <a:lnTo>
                    <a:pt x="489" y="230"/>
                  </a:lnTo>
                  <a:lnTo>
                    <a:pt x="489" y="227"/>
                  </a:lnTo>
                  <a:lnTo>
                    <a:pt x="489" y="227"/>
                  </a:lnTo>
                  <a:lnTo>
                    <a:pt x="489" y="222"/>
                  </a:lnTo>
                  <a:lnTo>
                    <a:pt x="489" y="222"/>
                  </a:lnTo>
                  <a:lnTo>
                    <a:pt x="489" y="219"/>
                  </a:lnTo>
                  <a:lnTo>
                    <a:pt x="489" y="217"/>
                  </a:lnTo>
                  <a:lnTo>
                    <a:pt x="489" y="217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89" y="214"/>
                  </a:lnTo>
                  <a:lnTo>
                    <a:pt x="491" y="214"/>
                  </a:lnTo>
                  <a:lnTo>
                    <a:pt x="491" y="214"/>
                  </a:lnTo>
                  <a:lnTo>
                    <a:pt x="494" y="214"/>
                  </a:lnTo>
                  <a:lnTo>
                    <a:pt x="494" y="214"/>
                  </a:lnTo>
                  <a:lnTo>
                    <a:pt x="494" y="214"/>
                  </a:lnTo>
                  <a:lnTo>
                    <a:pt x="491" y="214"/>
                  </a:lnTo>
                  <a:lnTo>
                    <a:pt x="491" y="211"/>
                  </a:lnTo>
                  <a:lnTo>
                    <a:pt x="489" y="211"/>
                  </a:lnTo>
                  <a:lnTo>
                    <a:pt x="489" y="211"/>
                  </a:lnTo>
                  <a:lnTo>
                    <a:pt x="489" y="211"/>
                  </a:lnTo>
                  <a:lnTo>
                    <a:pt x="486" y="214"/>
                  </a:lnTo>
                  <a:lnTo>
                    <a:pt x="486" y="214"/>
                  </a:lnTo>
                  <a:lnTo>
                    <a:pt x="486" y="217"/>
                  </a:lnTo>
                  <a:lnTo>
                    <a:pt x="483" y="217"/>
                  </a:lnTo>
                  <a:lnTo>
                    <a:pt x="486" y="219"/>
                  </a:lnTo>
                  <a:lnTo>
                    <a:pt x="483" y="219"/>
                  </a:lnTo>
                  <a:lnTo>
                    <a:pt x="483" y="219"/>
                  </a:lnTo>
                  <a:lnTo>
                    <a:pt x="483" y="219"/>
                  </a:lnTo>
                  <a:lnTo>
                    <a:pt x="483" y="222"/>
                  </a:lnTo>
                  <a:lnTo>
                    <a:pt x="486" y="222"/>
                  </a:lnTo>
                  <a:lnTo>
                    <a:pt x="483" y="225"/>
                  </a:lnTo>
                  <a:lnTo>
                    <a:pt x="483" y="222"/>
                  </a:lnTo>
                  <a:lnTo>
                    <a:pt x="481" y="222"/>
                  </a:lnTo>
                  <a:lnTo>
                    <a:pt x="481" y="222"/>
                  </a:lnTo>
                  <a:lnTo>
                    <a:pt x="478" y="222"/>
                  </a:lnTo>
                  <a:lnTo>
                    <a:pt x="481" y="222"/>
                  </a:lnTo>
                  <a:lnTo>
                    <a:pt x="481" y="225"/>
                  </a:lnTo>
                  <a:lnTo>
                    <a:pt x="481" y="225"/>
                  </a:lnTo>
                  <a:lnTo>
                    <a:pt x="481" y="227"/>
                  </a:lnTo>
                  <a:lnTo>
                    <a:pt x="478" y="230"/>
                  </a:lnTo>
                  <a:lnTo>
                    <a:pt x="478" y="230"/>
                  </a:lnTo>
                  <a:lnTo>
                    <a:pt x="478" y="233"/>
                  </a:lnTo>
                  <a:lnTo>
                    <a:pt x="478" y="233"/>
                  </a:lnTo>
                  <a:lnTo>
                    <a:pt x="478" y="230"/>
                  </a:lnTo>
                  <a:lnTo>
                    <a:pt x="475" y="230"/>
                  </a:lnTo>
                  <a:lnTo>
                    <a:pt x="475" y="233"/>
                  </a:lnTo>
                  <a:lnTo>
                    <a:pt x="473" y="233"/>
                  </a:lnTo>
                  <a:lnTo>
                    <a:pt x="475" y="233"/>
                  </a:lnTo>
                  <a:lnTo>
                    <a:pt x="473" y="233"/>
                  </a:lnTo>
                  <a:lnTo>
                    <a:pt x="473" y="235"/>
                  </a:lnTo>
                  <a:lnTo>
                    <a:pt x="473" y="235"/>
                  </a:lnTo>
                  <a:lnTo>
                    <a:pt x="470" y="235"/>
                  </a:lnTo>
                  <a:lnTo>
                    <a:pt x="467" y="235"/>
                  </a:lnTo>
                  <a:lnTo>
                    <a:pt x="467" y="235"/>
                  </a:lnTo>
                  <a:lnTo>
                    <a:pt x="467" y="235"/>
                  </a:lnTo>
                  <a:lnTo>
                    <a:pt x="465" y="238"/>
                  </a:lnTo>
                  <a:lnTo>
                    <a:pt x="467" y="238"/>
                  </a:lnTo>
                  <a:lnTo>
                    <a:pt x="465" y="241"/>
                  </a:lnTo>
                  <a:lnTo>
                    <a:pt x="465" y="241"/>
                  </a:lnTo>
                  <a:lnTo>
                    <a:pt x="465" y="241"/>
                  </a:lnTo>
                  <a:lnTo>
                    <a:pt x="462" y="241"/>
                  </a:lnTo>
                  <a:lnTo>
                    <a:pt x="462" y="241"/>
                  </a:lnTo>
                  <a:lnTo>
                    <a:pt x="462" y="241"/>
                  </a:lnTo>
                  <a:lnTo>
                    <a:pt x="462" y="238"/>
                  </a:lnTo>
                  <a:lnTo>
                    <a:pt x="462" y="238"/>
                  </a:lnTo>
                  <a:lnTo>
                    <a:pt x="459" y="238"/>
                  </a:lnTo>
                  <a:lnTo>
                    <a:pt x="459" y="235"/>
                  </a:lnTo>
                  <a:lnTo>
                    <a:pt x="457" y="235"/>
                  </a:lnTo>
                  <a:lnTo>
                    <a:pt x="457" y="238"/>
                  </a:lnTo>
                  <a:lnTo>
                    <a:pt x="457" y="238"/>
                  </a:lnTo>
                  <a:lnTo>
                    <a:pt x="457" y="241"/>
                  </a:lnTo>
                  <a:lnTo>
                    <a:pt x="457" y="238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38"/>
                  </a:lnTo>
                  <a:lnTo>
                    <a:pt x="454" y="235"/>
                  </a:lnTo>
                  <a:lnTo>
                    <a:pt x="454" y="238"/>
                  </a:lnTo>
                  <a:lnTo>
                    <a:pt x="454" y="238"/>
                  </a:lnTo>
                  <a:lnTo>
                    <a:pt x="454" y="235"/>
                  </a:lnTo>
                  <a:lnTo>
                    <a:pt x="451" y="235"/>
                  </a:lnTo>
                  <a:lnTo>
                    <a:pt x="451" y="235"/>
                  </a:lnTo>
                  <a:lnTo>
                    <a:pt x="451" y="235"/>
                  </a:lnTo>
                  <a:lnTo>
                    <a:pt x="451" y="238"/>
                  </a:lnTo>
                  <a:lnTo>
                    <a:pt x="451" y="238"/>
                  </a:lnTo>
                  <a:lnTo>
                    <a:pt x="449" y="235"/>
                  </a:lnTo>
                  <a:lnTo>
                    <a:pt x="449" y="235"/>
                  </a:lnTo>
                  <a:lnTo>
                    <a:pt x="449" y="238"/>
                  </a:lnTo>
                  <a:lnTo>
                    <a:pt x="449" y="241"/>
                  </a:lnTo>
                  <a:lnTo>
                    <a:pt x="449" y="241"/>
                  </a:lnTo>
                  <a:lnTo>
                    <a:pt x="451" y="243"/>
                  </a:lnTo>
                  <a:lnTo>
                    <a:pt x="451" y="243"/>
                  </a:lnTo>
                  <a:lnTo>
                    <a:pt x="451" y="246"/>
                  </a:lnTo>
                  <a:lnTo>
                    <a:pt x="451" y="246"/>
                  </a:lnTo>
                  <a:lnTo>
                    <a:pt x="451" y="246"/>
                  </a:lnTo>
                  <a:lnTo>
                    <a:pt x="449" y="246"/>
                  </a:lnTo>
                  <a:lnTo>
                    <a:pt x="449" y="246"/>
                  </a:lnTo>
                  <a:lnTo>
                    <a:pt x="449" y="249"/>
                  </a:lnTo>
                  <a:lnTo>
                    <a:pt x="446" y="249"/>
                  </a:lnTo>
                  <a:lnTo>
                    <a:pt x="446" y="251"/>
                  </a:lnTo>
                  <a:lnTo>
                    <a:pt x="449" y="251"/>
                  </a:lnTo>
                  <a:lnTo>
                    <a:pt x="446" y="254"/>
                  </a:lnTo>
                  <a:lnTo>
                    <a:pt x="446" y="254"/>
                  </a:lnTo>
                  <a:lnTo>
                    <a:pt x="449" y="257"/>
                  </a:lnTo>
                  <a:lnTo>
                    <a:pt x="449" y="257"/>
                  </a:lnTo>
                  <a:lnTo>
                    <a:pt x="449" y="259"/>
                  </a:lnTo>
                  <a:lnTo>
                    <a:pt x="449" y="259"/>
                  </a:lnTo>
                  <a:lnTo>
                    <a:pt x="446" y="259"/>
                  </a:lnTo>
                  <a:lnTo>
                    <a:pt x="446" y="259"/>
                  </a:lnTo>
                  <a:lnTo>
                    <a:pt x="446" y="262"/>
                  </a:lnTo>
                  <a:lnTo>
                    <a:pt x="446" y="262"/>
                  </a:lnTo>
                  <a:lnTo>
                    <a:pt x="446" y="265"/>
                  </a:lnTo>
                  <a:lnTo>
                    <a:pt x="446" y="265"/>
                  </a:lnTo>
                  <a:lnTo>
                    <a:pt x="443" y="265"/>
                  </a:lnTo>
                  <a:lnTo>
                    <a:pt x="443" y="265"/>
                  </a:lnTo>
                  <a:lnTo>
                    <a:pt x="443" y="267"/>
                  </a:lnTo>
                  <a:lnTo>
                    <a:pt x="441" y="267"/>
                  </a:lnTo>
                  <a:lnTo>
                    <a:pt x="441" y="270"/>
                  </a:lnTo>
                  <a:lnTo>
                    <a:pt x="441" y="270"/>
                  </a:lnTo>
                  <a:lnTo>
                    <a:pt x="443" y="270"/>
                  </a:lnTo>
                  <a:lnTo>
                    <a:pt x="443" y="273"/>
                  </a:lnTo>
                  <a:lnTo>
                    <a:pt x="443" y="273"/>
                  </a:lnTo>
                  <a:lnTo>
                    <a:pt x="443" y="275"/>
                  </a:lnTo>
                  <a:lnTo>
                    <a:pt x="441" y="275"/>
                  </a:lnTo>
                  <a:lnTo>
                    <a:pt x="441" y="275"/>
                  </a:lnTo>
                  <a:lnTo>
                    <a:pt x="441" y="278"/>
                  </a:lnTo>
                  <a:lnTo>
                    <a:pt x="441" y="278"/>
                  </a:lnTo>
                  <a:lnTo>
                    <a:pt x="441" y="281"/>
                  </a:lnTo>
                  <a:lnTo>
                    <a:pt x="438" y="281"/>
                  </a:lnTo>
                  <a:lnTo>
                    <a:pt x="438" y="281"/>
                  </a:lnTo>
                  <a:lnTo>
                    <a:pt x="435" y="281"/>
                  </a:lnTo>
                  <a:lnTo>
                    <a:pt x="432" y="281"/>
                  </a:lnTo>
                  <a:lnTo>
                    <a:pt x="432" y="281"/>
                  </a:lnTo>
                  <a:lnTo>
                    <a:pt x="432" y="281"/>
                  </a:lnTo>
                  <a:lnTo>
                    <a:pt x="435" y="283"/>
                  </a:lnTo>
                  <a:lnTo>
                    <a:pt x="435" y="283"/>
                  </a:lnTo>
                  <a:lnTo>
                    <a:pt x="435" y="283"/>
                  </a:lnTo>
                  <a:lnTo>
                    <a:pt x="435" y="286"/>
                  </a:lnTo>
                  <a:lnTo>
                    <a:pt x="435" y="289"/>
                  </a:lnTo>
                  <a:lnTo>
                    <a:pt x="435" y="291"/>
                  </a:lnTo>
                  <a:lnTo>
                    <a:pt x="435" y="291"/>
                  </a:lnTo>
                  <a:lnTo>
                    <a:pt x="435" y="294"/>
                  </a:lnTo>
                  <a:lnTo>
                    <a:pt x="432" y="294"/>
                  </a:lnTo>
                  <a:lnTo>
                    <a:pt x="432" y="297"/>
                  </a:lnTo>
                  <a:lnTo>
                    <a:pt x="435" y="297"/>
                  </a:lnTo>
                  <a:lnTo>
                    <a:pt x="432" y="297"/>
                  </a:lnTo>
                  <a:lnTo>
                    <a:pt x="432" y="299"/>
                  </a:lnTo>
                  <a:lnTo>
                    <a:pt x="430" y="299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2" y="299"/>
                  </a:lnTo>
                  <a:lnTo>
                    <a:pt x="422" y="299"/>
                  </a:lnTo>
                  <a:lnTo>
                    <a:pt x="422" y="302"/>
                  </a:lnTo>
                  <a:lnTo>
                    <a:pt x="422" y="302"/>
                  </a:lnTo>
                  <a:lnTo>
                    <a:pt x="422" y="305"/>
                  </a:lnTo>
                  <a:lnTo>
                    <a:pt x="419" y="307"/>
                  </a:lnTo>
                  <a:lnTo>
                    <a:pt x="419" y="310"/>
                  </a:lnTo>
                  <a:lnTo>
                    <a:pt x="419" y="313"/>
                  </a:lnTo>
                  <a:lnTo>
                    <a:pt x="419" y="313"/>
                  </a:lnTo>
                  <a:lnTo>
                    <a:pt x="419" y="313"/>
                  </a:lnTo>
                  <a:lnTo>
                    <a:pt x="422" y="315"/>
                  </a:lnTo>
                  <a:lnTo>
                    <a:pt x="422" y="315"/>
                  </a:lnTo>
                  <a:lnTo>
                    <a:pt x="422" y="318"/>
                  </a:lnTo>
                  <a:lnTo>
                    <a:pt x="419" y="315"/>
                  </a:lnTo>
                  <a:lnTo>
                    <a:pt x="419" y="315"/>
                  </a:lnTo>
                  <a:lnTo>
                    <a:pt x="416" y="318"/>
                  </a:lnTo>
                  <a:lnTo>
                    <a:pt x="416" y="315"/>
                  </a:lnTo>
                  <a:lnTo>
                    <a:pt x="414" y="315"/>
                  </a:lnTo>
                  <a:lnTo>
                    <a:pt x="411" y="315"/>
                  </a:lnTo>
                  <a:lnTo>
                    <a:pt x="411" y="315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11" y="318"/>
                  </a:lnTo>
                  <a:lnTo>
                    <a:pt x="408" y="318"/>
                  </a:lnTo>
                  <a:lnTo>
                    <a:pt x="408" y="315"/>
                  </a:lnTo>
                  <a:lnTo>
                    <a:pt x="408" y="318"/>
                  </a:lnTo>
                  <a:lnTo>
                    <a:pt x="408" y="318"/>
                  </a:lnTo>
                  <a:lnTo>
                    <a:pt x="408" y="321"/>
                  </a:lnTo>
                  <a:lnTo>
                    <a:pt x="408" y="321"/>
                  </a:lnTo>
                  <a:lnTo>
                    <a:pt x="408" y="323"/>
                  </a:lnTo>
                  <a:lnTo>
                    <a:pt x="411" y="323"/>
                  </a:lnTo>
                  <a:lnTo>
                    <a:pt x="411" y="323"/>
                  </a:lnTo>
                  <a:lnTo>
                    <a:pt x="411" y="326"/>
                  </a:lnTo>
                  <a:lnTo>
                    <a:pt x="411" y="329"/>
                  </a:lnTo>
                  <a:lnTo>
                    <a:pt x="408" y="329"/>
                  </a:lnTo>
                  <a:lnTo>
                    <a:pt x="408" y="332"/>
                  </a:lnTo>
                  <a:lnTo>
                    <a:pt x="408" y="332"/>
                  </a:lnTo>
                  <a:lnTo>
                    <a:pt x="408" y="332"/>
                  </a:lnTo>
                  <a:lnTo>
                    <a:pt x="408" y="334"/>
                  </a:lnTo>
                  <a:lnTo>
                    <a:pt x="408" y="334"/>
                  </a:lnTo>
                  <a:lnTo>
                    <a:pt x="411" y="337"/>
                  </a:lnTo>
                  <a:lnTo>
                    <a:pt x="411" y="340"/>
                  </a:lnTo>
                  <a:lnTo>
                    <a:pt x="411" y="340"/>
                  </a:lnTo>
                  <a:lnTo>
                    <a:pt x="408" y="342"/>
                  </a:lnTo>
                  <a:lnTo>
                    <a:pt x="408" y="342"/>
                  </a:lnTo>
                  <a:lnTo>
                    <a:pt x="411" y="342"/>
                  </a:lnTo>
                  <a:lnTo>
                    <a:pt x="408" y="345"/>
                  </a:lnTo>
                  <a:lnTo>
                    <a:pt x="411" y="345"/>
                  </a:lnTo>
                  <a:lnTo>
                    <a:pt x="414" y="345"/>
                  </a:lnTo>
                  <a:lnTo>
                    <a:pt x="414" y="348"/>
                  </a:lnTo>
                  <a:lnTo>
                    <a:pt x="414" y="348"/>
                  </a:lnTo>
                  <a:lnTo>
                    <a:pt x="414" y="350"/>
                  </a:lnTo>
                  <a:lnTo>
                    <a:pt x="411" y="350"/>
                  </a:lnTo>
                  <a:lnTo>
                    <a:pt x="414" y="353"/>
                  </a:lnTo>
                  <a:lnTo>
                    <a:pt x="414" y="353"/>
                  </a:lnTo>
                  <a:lnTo>
                    <a:pt x="414" y="356"/>
                  </a:lnTo>
                  <a:lnTo>
                    <a:pt x="416" y="356"/>
                  </a:lnTo>
                  <a:lnTo>
                    <a:pt x="416" y="353"/>
                  </a:lnTo>
                  <a:lnTo>
                    <a:pt x="419" y="356"/>
                  </a:lnTo>
                  <a:lnTo>
                    <a:pt x="419" y="356"/>
                  </a:lnTo>
                  <a:lnTo>
                    <a:pt x="422" y="356"/>
                  </a:lnTo>
                  <a:lnTo>
                    <a:pt x="422" y="356"/>
                  </a:lnTo>
                  <a:lnTo>
                    <a:pt x="424" y="358"/>
                  </a:lnTo>
                  <a:lnTo>
                    <a:pt x="424" y="356"/>
                  </a:lnTo>
                  <a:lnTo>
                    <a:pt x="424" y="356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3"/>
                  </a:lnTo>
                  <a:lnTo>
                    <a:pt x="427" y="356"/>
                  </a:lnTo>
                  <a:lnTo>
                    <a:pt x="430" y="358"/>
                  </a:lnTo>
                  <a:lnTo>
                    <a:pt x="430" y="358"/>
                  </a:lnTo>
                  <a:lnTo>
                    <a:pt x="430" y="361"/>
                  </a:lnTo>
                  <a:lnTo>
                    <a:pt x="427" y="361"/>
                  </a:lnTo>
                  <a:lnTo>
                    <a:pt x="430" y="361"/>
                  </a:lnTo>
                  <a:lnTo>
                    <a:pt x="430" y="364"/>
                  </a:lnTo>
                  <a:lnTo>
                    <a:pt x="430" y="364"/>
                  </a:lnTo>
                  <a:lnTo>
                    <a:pt x="430" y="366"/>
                  </a:lnTo>
                  <a:lnTo>
                    <a:pt x="430" y="369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30" y="372"/>
                  </a:lnTo>
                  <a:lnTo>
                    <a:pt x="427" y="374"/>
                  </a:lnTo>
                  <a:lnTo>
                    <a:pt x="427" y="374"/>
                  </a:lnTo>
                  <a:lnTo>
                    <a:pt x="427" y="377"/>
                  </a:lnTo>
                  <a:lnTo>
                    <a:pt x="427" y="380"/>
                  </a:lnTo>
                  <a:lnTo>
                    <a:pt x="427" y="380"/>
                  </a:lnTo>
                  <a:lnTo>
                    <a:pt x="427" y="380"/>
                  </a:lnTo>
                  <a:lnTo>
                    <a:pt x="430" y="380"/>
                  </a:lnTo>
                  <a:lnTo>
                    <a:pt x="430" y="380"/>
                  </a:lnTo>
                  <a:lnTo>
                    <a:pt x="430" y="380"/>
                  </a:lnTo>
                  <a:lnTo>
                    <a:pt x="432" y="377"/>
                  </a:lnTo>
                  <a:lnTo>
                    <a:pt x="432" y="380"/>
                  </a:lnTo>
                  <a:lnTo>
                    <a:pt x="432" y="380"/>
                  </a:lnTo>
                  <a:lnTo>
                    <a:pt x="432" y="380"/>
                  </a:lnTo>
                  <a:lnTo>
                    <a:pt x="432" y="382"/>
                  </a:lnTo>
                  <a:lnTo>
                    <a:pt x="432" y="382"/>
                  </a:lnTo>
                  <a:lnTo>
                    <a:pt x="432" y="385"/>
                  </a:lnTo>
                  <a:lnTo>
                    <a:pt x="435" y="385"/>
                  </a:lnTo>
                  <a:lnTo>
                    <a:pt x="435" y="388"/>
                  </a:lnTo>
                  <a:lnTo>
                    <a:pt x="435" y="388"/>
                  </a:lnTo>
                  <a:lnTo>
                    <a:pt x="432" y="388"/>
                  </a:lnTo>
                  <a:lnTo>
                    <a:pt x="432" y="388"/>
                  </a:lnTo>
                  <a:lnTo>
                    <a:pt x="430" y="388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30" y="393"/>
                  </a:lnTo>
                  <a:lnTo>
                    <a:pt x="430" y="393"/>
                  </a:lnTo>
                  <a:lnTo>
                    <a:pt x="430" y="396"/>
                  </a:lnTo>
                  <a:lnTo>
                    <a:pt x="430" y="396"/>
                  </a:lnTo>
                  <a:lnTo>
                    <a:pt x="427" y="396"/>
                  </a:lnTo>
                  <a:lnTo>
                    <a:pt x="427" y="398"/>
                  </a:lnTo>
                  <a:lnTo>
                    <a:pt x="427" y="398"/>
                  </a:lnTo>
                  <a:lnTo>
                    <a:pt x="427" y="398"/>
                  </a:lnTo>
                  <a:lnTo>
                    <a:pt x="427" y="401"/>
                  </a:lnTo>
                  <a:lnTo>
                    <a:pt x="427" y="401"/>
                  </a:lnTo>
                  <a:lnTo>
                    <a:pt x="427" y="401"/>
                  </a:lnTo>
                  <a:lnTo>
                    <a:pt x="430" y="404"/>
                  </a:lnTo>
                  <a:lnTo>
                    <a:pt x="430" y="404"/>
                  </a:lnTo>
                  <a:lnTo>
                    <a:pt x="430" y="406"/>
                  </a:lnTo>
                  <a:lnTo>
                    <a:pt x="430" y="406"/>
                  </a:lnTo>
                  <a:lnTo>
                    <a:pt x="432" y="406"/>
                  </a:lnTo>
                  <a:lnTo>
                    <a:pt x="432" y="406"/>
                  </a:lnTo>
                  <a:lnTo>
                    <a:pt x="432" y="409"/>
                  </a:lnTo>
                  <a:lnTo>
                    <a:pt x="432" y="409"/>
                  </a:lnTo>
                  <a:lnTo>
                    <a:pt x="430" y="412"/>
                  </a:lnTo>
                  <a:lnTo>
                    <a:pt x="430" y="412"/>
                  </a:lnTo>
                  <a:lnTo>
                    <a:pt x="430" y="412"/>
                  </a:lnTo>
                  <a:lnTo>
                    <a:pt x="430" y="414"/>
                  </a:lnTo>
                  <a:lnTo>
                    <a:pt x="430" y="414"/>
                  </a:lnTo>
                  <a:lnTo>
                    <a:pt x="427" y="414"/>
                  </a:lnTo>
                  <a:lnTo>
                    <a:pt x="427" y="417"/>
                  </a:lnTo>
                  <a:lnTo>
                    <a:pt x="427" y="417"/>
                  </a:lnTo>
                  <a:lnTo>
                    <a:pt x="427" y="420"/>
                  </a:lnTo>
                  <a:lnTo>
                    <a:pt x="424" y="420"/>
                  </a:lnTo>
                  <a:lnTo>
                    <a:pt x="424" y="422"/>
                  </a:lnTo>
                  <a:lnTo>
                    <a:pt x="422" y="425"/>
                  </a:lnTo>
                  <a:lnTo>
                    <a:pt x="422" y="425"/>
                  </a:lnTo>
                  <a:lnTo>
                    <a:pt x="422" y="428"/>
                  </a:lnTo>
                  <a:lnTo>
                    <a:pt x="419" y="428"/>
                  </a:lnTo>
                  <a:lnTo>
                    <a:pt x="416" y="430"/>
                  </a:lnTo>
                  <a:lnTo>
                    <a:pt x="416" y="430"/>
                  </a:lnTo>
                  <a:lnTo>
                    <a:pt x="411" y="433"/>
                  </a:lnTo>
                  <a:lnTo>
                    <a:pt x="411" y="430"/>
                  </a:lnTo>
                  <a:lnTo>
                    <a:pt x="408" y="433"/>
                  </a:lnTo>
                  <a:lnTo>
                    <a:pt x="408" y="433"/>
                  </a:lnTo>
                  <a:lnTo>
                    <a:pt x="406" y="433"/>
                  </a:lnTo>
                  <a:lnTo>
                    <a:pt x="406" y="433"/>
                  </a:lnTo>
                  <a:lnTo>
                    <a:pt x="403" y="433"/>
                  </a:lnTo>
                  <a:lnTo>
                    <a:pt x="403" y="433"/>
                  </a:lnTo>
                  <a:lnTo>
                    <a:pt x="403" y="430"/>
                  </a:lnTo>
                  <a:lnTo>
                    <a:pt x="403" y="430"/>
                  </a:lnTo>
                  <a:lnTo>
                    <a:pt x="400" y="430"/>
                  </a:lnTo>
                  <a:lnTo>
                    <a:pt x="400" y="428"/>
                  </a:lnTo>
                  <a:lnTo>
                    <a:pt x="400" y="430"/>
                  </a:lnTo>
                  <a:lnTo>
                    <a:pt x="400" y="430"/>
                  </a:lnTo>
                  <a:lnTo>
                    <a:pt x="398" y="430"/>
                  </a:lnTo>
                  <a:lnTo>
                    <a:pt x="395" y="428"/>
                  </a:lnTo>
                  <a:lnTo>
                    <a:pt x="392" y="425"/>
                  </a:lnTo>
                  <a:lnTo>
                    <a:pt x="392" y="425"/>
                  </a:lnTo>
                  <a:lnTo>
                    <a:pt x="390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7" y="422"/>
                  </a:lnTo>
                  <a:lnTo>
                    <a:pt x="384" y="425"/>
                  </a:lnTo>
                  <a:lnTo>
                    <a:pt x="384" y="425"/>
                  </a:lnTo>
                  <a:lnTo>
                    <a:pt x="384" y="428"/>
                  </a:lnTo>
                  <a:lnTo>
                    <a:pt x="384" y="430"/>
                  </a:lnTo>
                  <a:lnTo>
                    <a:pt x="384" y="433"/>
                  </a:lnTo>
                  <a:lnTo>
                    <a:pt x="384" y="436"/>
                  </a:lnTo>
                  <a:lnTo>
                    <a:pt x="384" y="438"/>
                  </a:lnTo>
                  <a:lnTo>
                    <a:pt x="384" y="438"/>
                  </a:lnTo>
                  <a:lnTo>
                    <a:pt x="384" y="441"/>
                  </a:lnTo>
                  <a:lnTo>
                    <a:pt x="384" y="441"/>
                  </a:lnTo>
                  <a:lnTo>
                    <a:pt x="384" y="444"/>
                  </a:lnTo>
                  <a:lnTo>
                    <a:pt x="384" y="444"/>
                  </a:lnTo>
                  <a:lnTo>
                    <a:pt x="384" y="444"/>
                  </a:lnTo>
                  <a:lnTo>
                    <a:pt x="387" y="446"/>
                  </a:lnTo>
                  <a:lnTo>
                    <a:pt x="387" y="449"/>
                  </a:lnTo>
                  <a:lnTo>
                    <a:pt x="384" y="452"/>
                  </a:lnTo>
                  <a:lnTo>
                    <a:pt x="382" y="452"/>
                  </a:lnTo>
                  <a:lnTo>
                    <a:pt x="382" y="454"/>
                  </a:lnTo>
                  <a:lnTo>
                    <a:pt x="382" y="457"/>
                  </a:lnTo>
                  <a:lnTo>
                    <a:pt x="379" y="460"/>
                  </a:lnTo>
                  <a:lnTo>
                    <a:pt x="379" y="460"/>
                  </a:lnTo>
                  <a:lnTo>
                    <a:pt x="376" y="462"/>
                  </a:lnTo>
                  <a:lnTo>
                    <a:pt x="376" y="462"/>
                  </a:lnTo>
                  <a:lnTo>
                    <a:pt x="376" y="462"/>
                  </a:lnTo>
                  <a:lnTo>
                    <a:pt x="374" y="465"/>
                  </a:lnTo>
                  <a:lnTo>
                    <a:pt x="374" y="462"/>
                  </a:lnTo>
                  <a:lnTo>
                    <a:pt x="376" y="465"/>
                  </a:lnTo>
                  <a:lnTo>
                    <a:pt x="376" y="465"/>
                  </a:lnTo>
                  <a:lnTo>
                    <a:pt x="376" y="465"/>
                  </a:lnTo>
                  <a:lnTo>
                    <a:pt x="379" y="465"/>
                  </a:lnTo>
                  <a:lnTo>
                    <a:pt x="379" y="465"/>
                  </a:lnTo>
                  <a:lnTo>
                    <a:pt x="382" y="468"/>
                  </a:lnTo>
                  <a:lnTo>
                    <a:pt x="382" y="468"/>
                  </a:lnTo>
                  <a:lnTo>
                    <a:pt x="379" y="470"/>
                  </a:lnTo>
                  <a:lnTo>
                    <a:pt x="379" y="470"/>
                  </a:lnTo>
                  <a:lnTo>
                    <a:pt x="379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6" y="473"/>
                  </a:lnTo>
                  <a:lnTo>
                    <a:pt x="374" y="473"/>
                  </a:lnTo>
                  <a:lnTo>
                    <a:pt x="374" y="473"/>
                  </a:lnTo>
                  <a:lnTo>
                    <a:pt x="371" y="473"/>
                  </a:lnTo>
                  <a:lnTo>
                    <a:pt x="371" y="473"/>
                  </a:lnTo>
                  <a:lnTo>
                    <a:pt x="371" y="476"/>
                  </a:lnTo>
                  <a:lnTo>
                    <a:pt x="368" y="476"/>
                  </a:lnTo>
                  <a:lnTo>
                    <a:pt x="366" y="478"/>
                  </a:lnTo>
                  <a:lnTo>
                    <a:pt x="363" y="478"/>
                  </a:lnTo>
                  <a:lnTo>
                    <a:pt x="363" y="481"/>
                  </a:lnTo>
                  <a:lnTo>
                    <a:pt x="363" y="484"/>
                  </a:lnTo>
                  <a:lnTo>
                    <a:pt x="360" y="487"/>
                  </a:lnTo>
                  <a:lnTo>
                    <a:pt x="360" y="489"/>
                  </a:lnTo>
                  <a:lnTo>
                    <a:pt x="360" y="492"/>
                  </a:lnTo>
                  <a:lnTo>
                    <a:pt x="360" y="492"/>
                  </a:lnTo>
                  <a:lnTo>
                    <a:pt x="360" y="495"/>
                  </a:lnTo>
                  <a:lnTo>
                    <a:pt x="360" y="497"/>
                  </a:lnTo>
                  <a:lnTo>
                    <a:pt x="360" y="503"/>
                  </a:lnTo>
                  <a:lnTo>
                    <a:pt x="360" y="505"/>
                  </a:lnTo>
                  <a:lnTo>
                    <a:pt x="358" y="508"/>
                  </a:lnTo>
                  <a:lnTo>
                    <a:pt x="360" y="511"/>
                  </a:lnTo>
                  <a:lnTo>
                    <a:pt x="360" y="511"/>
                  </a:lnTo>
                  <a:lnTo>
                    <a:pt x="360" y="513"/>
                  </a:lnTo>
                  <a:lnTo>
                    <a:pt x="360" y="516"/>
                  </a:lnTo>
                  <a:lnTo>
                    <a:pt x="360" y="516"/>
                  </a:lnTo>
                  <a:lnTo>
                    <a:pt x="360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3" y="524"/>
                  </a:lnTo>
                  <a:lnTo>
                    <a:pt x="366" y="527"/>
                  </a:lnTo>
                  <a:lnTo>
                    <a:pt x="366" y="529"/>
                  </a:lnTo>
                  <a:lnTo>
                    <a:pt x="368" y="529"/>
                  </a:lnTo>
                  <a:lnTo>
                    <a:pt x="368" y="532"/>
                  </a:lnTo>
                  <a:lnTo>
                    <a:pt x="371" y="535"/>
                  </a:lnTo>
                  <a:lnTo>
                    <a:pt x="371" y="535"/>
                  </a:lnTo>
                  <a:lnTo>
                    <a:pt x="374" y="537"/>
                  </a:lnTo>
                  <a:lnTo>
                    <a:pt x="376" y="537"/>
                  </a:lnTo>
                  <a:lnTo>
                    <a:pt x="376" y="537"/>
                  </a:lnTo>
                  <a:lnTo>
                    <a:pt x="379" y="537"/>
                  </a:lnTo>
                  <a:lnTo>
                    <a:pt x="379" y="537"/>
                  </a:lnTo>
                  <a:lnTo>
                    <a:pt x="382" y="540"/>
                  </a:lnTo>
                  <a:lnTo>
                    <a:pt x="382" y="543"/>
                  </a:lnTo>
                  <a:lnTo>
                    <a:pt x="384" y="543"/>
                  </a:lnTo>
                  <a:lnTo>
                    <a:pt x="384" y="545"/>
                  </a:lnTo>
                  <a:lnTo>
                    <a:pt x="384" y="545"/>
                  </a:lnTo>
                  <a:lnTo>
                    <a:pt x="387" y="548"/>
                  </a:lnTo>
                  <a:lnTo>
                    <a:pt x="355" y="580"/>
                  </a:lnTo>
                  <a:lnTo>
                    <a:pt x="358" y="580"/>
                  </a:lnTo>
                  <a:lnTo>
                    <a:pt x="360" y="583"/>
                  </a:lnTo>
                  <a:lnTo>
                    <a:pt x="363" y="583"/>
                  </a:lnTo>
                  <a:lnTo>
                    <a:pt x="363" y="585"/>
                  </a:lnTo>
                  <a:lnTo>
                    <a:pt x="366" y="585"/>
                  </a:lnTo>
                  <a:lnTo>
                    <a:pt x="366" y="588"/>
                  </a:lnTo>
                  <a:lnTo>
                    <a:pt x="366" y="588"/>
                  </a:lnTo>
                  <a:lnTo>
                    <a:pt x="366" y="591"/>
                  </a:lnTo>
                  <a:lnTo>
                    <a:pt x="363" y="593"/>
                  </a:lnTo>
                  <a:lnTo>
                    <a:pt x="363" y="596"/>
                  </a:lnTo>
                  <a:lnTo>
                    <a:pt x="363" y="599"/>
                  </a:lnTo>
                  <a:lnTo>
                    <a:pt x="360" y="601"/>
                  </a:lnTo>
                  <a:lnTo>
                    <a:pt x="358" y="604"/>
                  </a:lnTo>
                  <a:lnTo>
                    <a:pt x="358" y="607"/>
                  </a:lnTo>
                  <a:lnTo>
                    <a:pt x="355" y="607"/>
                  </a:lnTo>
                  <a:lnTo>
                    <a:pt x="358" y="609"/>
                  </a:lnTo>
                  <a:lnTo>
                    <a:pt x="358" y="612"/>
                  </a:lnTo>
                  <a:lnTo>
                    <a:pt x="360" y="612"/>
                  </a:lnTo>
                  <a:lnTo>
                    <a:pt x="358" y="615"/>
                  </a:lnTo>
                  <a:lnTo>
                    <a:pt x="358" y="617"/>
                  </a:lnTo>
                  <a:lnTo>
                    <a:pt x="358" y="617"/>
                  </a:lnTo>
                  <a:lnTo>
                    <a:pt x="355" y="620"/>
                  </a:lnTo>
                  <a:lnTo>
                    <a:pt x="355" y="620"/>
                  </a:lnTo>
                  <a:lnTo>
                    <a:pt x="352" y="623"/>
                  </a:lnTo>
                  <a:lnTo>
                    <a:pt x="350" y="623"/>
                  </a:lnTo>
                  <a:lnTo>
                    <a:pt x="350" y="625"/>
                  </a:lnTo>
                  <a:lnTo>
                    <a:pt x="347" y="628"/>
                  </a:lnTo>
                  <a:lnTo>
                    <a:pt x="344" y="628"/>
                  </a:lnTo>
                  <a:lnTo>
                    <a:pt x="344" y="628"/>
                  </a:lnTo>
                  <a:lnTo>
                    <a:pt x="342" y="631"/>
                  </a:lnTo>
                  <a:lnTo>
                    <a:pt x="342" y="633"/>
                  </a:lnTo>
                  <a:lnTo>
                    <a:pt x="339" y="633"/>
                  </a:lnTo>
                  <a:lnTo>
                    <a:pt x="336" y="633"/>
                  </a:lnTo>
                  <a:lnTo>
                    <a:pt x="336" y="633"/>
                  </a:lnTo>
                  <a:lnTo>
                    <a:pt x="334" y="636"/>
                  </a:lnTo>
                  <a:lnTo>
                    <a:pt x="331" y="639"/>
                  </a:lnTo>
                  <a:lnTo>
                    <a:pt x="331" y="639"/>
                  </a:lnTo>
                  <a:lnTo>
                    <a:pt x="328" y="641"/>
                  </a:lnTo>
                  <a:lnTo>
                    <a:pt x="328" y="644"/>
                  </a:lnTo>
                  <a:lnTo>
                    <a:pt x="328" y="644"/>
                  </a:lnTo>
                  <a:lnTo>
                    <a:pt x="328" y="647"/>
                  </a:lnTo>
                  <a:lnTo>
                    <a:pt x="326" y="644"/>
                  </a:lnTo>
                  <a:lnTo>
                    <a:pt x="323" y="641"/>
                  </a:lnTo>
                  <a:lnTo>
                    <a:pt x="318" y="639"/>
                  </a:lnTo>
                  <a:lnTo>
                    <a:pt x="315" y="639"/>
                  </a:lnTo>
                  <a:lnTo>
                    <a:pt x="315" y="636"/>
                  </a:lnTo>
                  <a:lnTo>
                    <a:pt x="312" y="636"/>
                  </a:lnTo>
                  <a:lnTo>
                    <a:pt x="312" y="636"/>
                  </a:lnTo>
                  <a:lnTo>
                    <a:pt x="310" y="633"/>
                  </a:lnTo>
                  <a:lnTo>
                    <a:pt x="307" y="633"/>
                  </a:lnTo>
                  <a:lnTo>
                    <a:pt x="307" y="633"/>
                  </a:lnTo>
                  <a:lnTo>
                    <a:pt x="307" y="631"/>
                  </a:lnTo>
                  <a:lnTo>
                    <a:pt x="307" y="631"/>
                  </a:lnTo>
                  <a:lnTo>
                    <a:pt x="310" y="631"/>
                  </a:lnTo>
                  <a:lnTo>
                    <a:pt x="310" y="628"/>
                  </a:lnTo>
                  <a:lnTo>
                    <a:pt x="310" y="628"/>
                  </a:lnTo>
                  <a:lnTo>
                    <a:pt x="307" y="628"/>
                  </a:lnTo>
                  <a:lnTo>
                    <a:pt x="307" y="625"/>
                  </a:lnTo>
                  <a:lnTo>
                    <a:pt x="304" y="625"/>
                  </a:lnTo>
                  <a:lnTo>
                    <a:pt x="304" y="623"/>
                  </a:lnTo>
                  <a:lnTo>
                    <a:pt x="304" y="620"/>
                  </a:lnTo>
                  <a:lnTo>
                    <a:pt x="304" y="620"/>
                  </a:lnTo>
                  <a:lnTo>
                    <a:pt x="304" y="617"/>
                  </a:lnTo>
                  <a:lnTo>
                    <a:pt x="304" y="615"/>
                  </a:lnTo>
                  <a:lnTo>
                    <a:pt x="302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6" y="615"/>
                  </a:lnTo>
                  <a:lnTo>
                    <a:pt x="294" y="615"/>
                  </a:lnTo>
                  <a:lnTo>
                    <a:pt x="294" y="615"/>
                  </a:lnTo>
                  <a:lnTo>
                    <a:pt x="294" y="617"/>
                  </a:lnTo>
                  <a:lnTo>
                    <a:pt x="294" y="617"/>
                  </a:lnTo>
                  <a:lnTo>
                    <a:pt x="291" y="615"/>
                  </a:lnTo>
                  <a:lnTo>
                    <a:pt x="291" y="615"/>
                  </a:lnTo>
                  <a:lnTo>
                    <a:pt x="288" y="612"/>
                  </a:lnTo>
                  <a:lnTo>
                    <a:pt x="288" y="609"/>
                  </a:lnTo>
                  <a:lnTo>
                    <a:pt x="286" y="609"/>
                  </a:lnTo>
                  <a:lnTo>
                    <a:pt x="283" y="609"/>
                  </a:lnTo>
                  <a:lnTo>
                    <a:pt x="283" y="609"/>
                  </a:lnTo>
                  <a:lnTo>
                    <a:pt x="280" y="609"/>
                  </a:lnTo>
                  <a:lnTo>
                    <a:pt x="278" y="609"/>
                  </a:lnTo>
                  <a:lnTo>
                    <a:pt x="278" y="612"/>
                  </a:lnTo>
                  <a:lnTo>
                    <a:pt x="275" y="612"/>
                  </a:lnTo>
                  <a:lnTo>
                    <a:pt x="272" y="615"/>
                  </a:lnTo>
                  <a:lnTo>
                    <a:pt x="272" y="615"/>
                  </a:lnTo>
                  <a:lnTo>
                    <a:pt x="272" y="617"/>
                  </a:lnTo>
                  <a:lnTo>
                    <a:pt x="272" y="617"/>
                  </a:lnTo>
                  <a:lnTo>
                    <a:pt x="270" y="617"/>
                  </a:lnTo>
                  <a:lnTo>
                    <a:pt x="270" y="615"/>
                  </a:lnTo>
                  <a:lnTo>
                    <a:pt x="270" y="615"/>
                  </a:lnTo>
                  <a:lnTo>
                    <a:pt x="232" y="620"/>
                  </a:lnTo>
                  <a:lnTo>
                    <a:pt x="224" y="607"/>
                  </a:lnTo>
                  <a:lnTo>
                    <a:pt x="222" y="604"/>
                  </a:lnTo>
                  <a:lnTo>
                    <a:pt x="222" y="607"/>
                  </a:lnTo>
                  <a:lnTo>
                    <a:pt x="222" y="607"/>
                  </a:lnTo>
                  <a:lnTo>
                    <a:pt x="219" y="604"/>
                  </a:lnTo>
                  <a:lnTo>
                    <a:pt x="216" y="604"/>
                  </a:lnTo>
                  <a:lnTo>
                    <a:pt x="214" y="604"/>
                  </a:lnTo>
                  <a:lnTo>
                    <a:pt x="214" y="604"/>
                  </a:lnTo>
                  <a:lnTo>
                    <a:pt x="216" y="601"/>
                  </a:lnTo>
                  <a:lnTo>
                    <a:pt x="214" y="599"/>
                  </a:lnTo>
                  <a:lnTo>
                    <a:pt x="214" y="599"/>
                  </a:lnTo>
                  <a:lnTo>
                    <a:pt x="216" y="596"/>
                  </a:lnTo>
                  <a:lnTo>
                    <a:pt x="219" y="596"/>
                  </a:lnTo>
                  <a:lnTo>
                    <a:pt x="222" y="593"/>
                  </a:lnTo>
                  <a:lnTo>
                    <a:pt x="219" y="591"/>
                  </a:lnTo>
                  <a:lnTo>
                    <a:pt x="219" y="593"/>
                  </a:lnTo>
                  <a:lnTo>
                    <a:pt x="216" y="591"/>
                  </a:lnTo>
                  <a:lnTo>
                    <a:pt x="214" y="591"/>
                  </a:lnTo>
                  <a:lnTo>
                    <a:pt x="214" y="588"/>
                  </a:lnTo>
                  <a:lnTo>
                    <a:pt x="214" y="588"/>
                  </a:lnTo>
                  <a:lnTo>
                    <a:pt x="214" y="591"/>
                  </a:lnTo>
                  <a:lnTo>
                    <a:pt x="211" y="591"/>
                  </a:lnTo>
                  <a:lnTo>
                    <a:pt x="211" y="591"/>
                  </a:lnTo>
                  <a:lnTo>
                    <a:pt x="211" y="588"/>
                  </a:lnTo>
                  <a:lnTo>
                    <a:pt x="211" y="588"/>
                  </a:lnTo>
                  <a:lnTo>
                    <a:pt x="208" y="588"/>
                  </a:lnTo>
                  <a:lnTo>
                    <a:pt x="208" y="588"/>
                  </a:lnTo>
                  <a:lnTo>
                    <a:pt x="208" y="585"/>
                  </a:lnTo>
                  <a:lnTo>
                    <a:pt x="208" y="585"/>
                  </a:lnTo>
                  <a:lnTo>
                    <a:pt x="200" y="577"/>
                  </a:lnTo>
                  <a:lnTo>
                    <a:pt x="203" y="575"/>
                  </a:lnTo>
                  <a:lnTo>
                    <a:pt x="200" y="572"/>
                  </a:lnTo>
                  <a:lnTo>
                    <a:pt x="198" y="572"/>
                  </a:lnTo>
                  <a:lnTo>
                    <a:pt x="198" y="572"/>
                  </a:lnTo>
                  <a:lnTo>
                    <a:pt x="195" y="572"/>
                  </a:lnTo>
                  <a:lnTo>
                    <a:pt x="192" y="569"/>
                  </a:lnTo>
                  <a:lnTo>
                    <a:pt x="189" y="569"/>
                  </a:lnTo>
                  <a:lnTo>
                    <a:pt x="189" y="569"/>
                  </a:lnTo>
                  <a:lnTo>
                    <a:pt x="187" y="569"/>
                  </a:lnTo>
                  <a:lnTo>
                    <a:pt x="184" y="569"/>
                  </a:lnTo>
                  <a:lnTo>
                    <a:pt x="184" y="569"/>
                  </a:lnTo>
                  <a:lnTo>
                    <a:pt x="181" y="572"/>
                  </a:lnTo>
                  <a:lnTo>
                    <a:pt x="179" y="575"/>
                  </a:lnTo>
                  <a:lnTo>
                    <a:pt x="176" y="575"/>
                  </a:lnTo>
                  <a:lnTo>
                    <a:pt x="176" y="572"/>
                  </a:lnTo>
                  <a:lnTo>
                    <a:pt x="179" y="569"/>
                  </a:lnTo>
                  <a:lnTo>
                    <a:pt x="179" y="569"/>
                  </a:lnTo>
                  <a:lnTo>
                    <a:pt x="179" y="567"/>
                  </a:lnTo>
                  <a:lnTo>
                    <a:pt x="176" y="564"/>
                  </a:lnTo>
                  <a:lnTo>
                    <a:pt x="173" y="564"/>
                  </a:lnTo>
                  <a:lnTo>
                    <a:pt x="176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3" y="559"/>
                  </a:lnTo>
                  <a:lnTo>
                    <a:pt x="171" y="556"/>
                  </a:lnTo>
                  <a:lnTo>
                    <a:pt x="168" y="556"/>
                  </a:lnTo>
                  <a:lnTo>
                    <a:pt x="165" y="553"/>
                  </a:lnTo>
                  <a:lnTo>
                    <a:pt x="163" y="551"/>
                  </a:lnTo>
                  <a:lnTo>
                    <a:pt x="160" y="548"/>
                  </a:lnTo>
                  <a:lnTo>
                    <a:pt x="155" y="545"/>
                  </a:lnTo>
                  <a:lnTo>
                    <a:pt x="155" y="545"/>
                  </a:lnTo>
                  <a:lnTo>
                    <a:pt x="149" y="543"/>
                  </a:lnTo>
                  <a:lnTo>
                    <a:pt x="149" y="540"/>
                  </a:lnTo>
                  <a:lnTo>
                    <a:pt x="147" y="543"/>
                  </a:lnTo>
                  <a:lnTo>
                    <a:pt x="141" y="543"/>
                  </a:lnTo>
                  <a:lnTo>
                    <a:pt x="141" y="545"/>
                  </a:lnTo>
                  <a:lnTo>
                    <a:pt x="139" y="545"/>
                  </a:lnTo>
                  <a:lnTo>
                    <a:pt x="141" y="548"/>
                  </a:lnTo>
                  <a:lnTo>
                    <a:pt x="141" y="551"/>
                  </a:lnTo>
                  <a:lnTo>
                    <a:pt x="141" y="553"/>
                  </a:lnTo>
                  <a:lnTo>
                    <a:pt x="141" y="556"/>
                  </a:lnTo>
                  <a:lnTo>
                    <a:pt x="147" y="553"/>
                  </a:lnTo>
                  <a:lnTo>
                    <a:pt x="149" y="553"/>
                  </a:lnTo>
                  <a:lnTo>
                    <a:pt x="149" y="556"/>
                  </a:lnTo>
                  <a:lnTo>
                    <a:pt x="152" y="556"/>
                  </a:lnTo>
                  <a:lnTo>
                    <a:pt x="152" y="556"/>
                  </a:lnTo>
                  <a:lnTo>
                    <a:pt x="155" y="559"/>
                  </a:lnTo>
                  <a:lnTo>
                    <a:pt x="155" y="564"/>
                  </a:lnTo>
                  <a:lnTo>
                    <a:pt x="152" y="564"/>
                  </a:lnTo>
                  <a:lnTo>
                    <a:pt x="147" y="567"/>
                  </a:lnTo>
                  <a:lnTo>
                    <a:pt x="144" y="569"/>
                  </a:lnTo>
                  <a:lnTo>
                    <a:pt x="141" y="569"/>
                  </a:lnTo>
                  <a:lnTo>
                    <a:pt x="139" y="569"/>
                  </a:lnTo>
                  <a:lnTo>
                    <a:pt x="136" y="567"/>
                  </a:lnTo>
                  <a:lnTo>
                    <a:pt x="136" y="567"/>
                  </a:lnTo>
                  <a:lnTo>
                    <a:pt x="133" y="561"/>
                  </a:lnTo>
                  <a:lnTo>
                    <a:pt x="133" y="561"/>
                  </a:lnTo>
                  <a:lnTo>
                    <a:pt x="133" y="559"/>
                  </a:lnTo>
                  <a:lnTo>
                    <a:pt x="133" y="556"/>
                  </a:lnTo>
                  <a:lnTo>
                    <a:pt x="131" y="556"/>
                  </a:lnTo>
                  <a:lnTo>
                    <a:pt x="128" y="556"/>
                  </a:lnTo>
                  <a:lnTo>
                    <a:pt x="128" y="561"/>
                  </a:lnTo>
                  <a:lnTo>
                    <a:pt x="125" y="561"/>
                  </a:lnTo>
                  <a:lnTo>
                    <a:pt x="120" y="559"/>
                  </a:lnTo>
                  <a:lnTo>
                    <a:pt x="117" y="559"/>
                  </a:lnTo>
                  <a:lnTo>
                    <a:pt x="117" y="559"/>
                  </a:lnTo>
                  <a:lnTo>
                    <a:pt x="115" y="559"/>
                  </a:lnTo>
                  <a:lnTo>
                    <a:pt x="112" y="559"/>
                  </a:lnTo>
                  <a:lnTo>
                    <a:pt x="109" y="559"/>
                  </a:lnTo>
                  <a:lnTo>
                    <a:pt x="112" y="561"/>
                  </a:lnTo>
                  <a:lnTo>
                    <a:pt x="112" y="564"/>
                  </a:lnTo>
                  <a:lnTo>
                    <a:pt x="109" y="564"/>
                  </a:lnTo>
                  <a:lnTo>
                    <a:pt x="107" y="564"/>
                  </a:lnTo>
                  <a:lnTo>
                    <a:pt x="107" y="564"/>
                  </a:lnTo>
                  <a:lnTo>
                    <a:pt x="104" y="564"/>
                  </a:lnTo>
                  <a:lnTo>
                    <a:pt x="99" y="564"/>
                  </a:lnTo>
                  <a:lnTo>
                    <a:pt x="99" y="564"/>
                  </a:lnTo>
                  <a:lnTo>
                    <a:pt x="96" y="561"/>
                  </a:lnTo>
                  <a:lnTo>
                    <a:pt x="93" y="561"/>
                  </a:lnTo>
                  <a:lnTo>
                    <a:pt x="91" y="561"/>
                  </a:lnTo>
                  <a:lnTo>
                    <a:pt x="13" y="42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5" name="Freeform 8943">
              <a:extLst>
                <a:ext uri="{FF2B5EF4-FFF2-40B4-BE49-F238E27FC236}">
                  <a16:creationId xmlns:a16="http://schemas.microsoft.com/office/drawing/2014/main" id="{CD9503CD-871D-E447-B23B-97395DE6DB75}"/>
                </a:ext>
              </a:extLst>
            </p:cNvPr>
            <p:cNvSpPr/>
            <p:nvPr/>
          </p:nvSpPr>
          <p:spPr bwMode="auto">
            <a:xfrm>
              <a:off x="1569242" y="3468689"/>
              <a:ext cx="368299" cy="439738"/>
            </a:xfrm>
            <a:custGeom>
              <a:avLst/>
              <a:gdLst>
                <a:gd name="T0" fmla="*/ 224 w 232"/>
                <a:gd name="T1" fmla="*/ 229 h 277"/>
                <a:gd name="T2" fmla="*/ 221 w 232"/>
                <a:gd name="T3" fmla="*/ 219 h 277"/>
                <a:gd name="T4" fmla="*/ 227 w 232"/>
                <a:gd name="T5" fmla="*/ 208 h 277"/>
                <a:gd name="T6" fmla="*/ 221 w 232"/>
                <a:gd name="T7" fmla="*/ 189 h 277"/>
                <a:gd name="T8" fmla="*/ 205 w 232"/>
                <a:gd name="T9" fmla="*/ 181 h 277"/>
                <a:gd name="T10" fmla="*/ 197 w 232"/>
                <a:gd name="T11" fmla="*/ 168 h 277"/>
                <a:gd name="T12" fmla="*/ 195 w 232"/>
                <a:gd name="T13" fmla="*/ 152 h 277"/>
                <a:gd name="T14" fmla="*/ 184 w 232"/>
                <a:gd name="T15" fmla="*/ 138 h 277"/>
                <a:gd name="T16" fmla="*/ 192 w 232"/>
                <a:gd name="T17" fmla="*/ 120 h 277"/>
                <a:gd name="T18" fmla="*/ 197 w 232"/>
                <a:gd name="T19" fmla="*/ 104 h 277"/>
                <a:gd name="T20" fmla="*/ 200 w 232"/>
                <a:gd name="T21" fmla="*/ 90 h 277"/>
                <a:gd name="T22" fmla="*/ 211 w 232"/>
                <a:gd name="T23" fmla="*/ 80 h 277"/>
                <a:gd name="T24" fmla="*/ 205 w 232"/>
                <a:gd name="T25" fmla="*/ 56 h 277"/>
                <a:gd name="T26" fmla="*/ 203 w 232"/>
                <a:gd name="T27" fmla="*/ 40 h 277"/>
                <a:gd name="T28" fmla="*/ 192 w 232"/>
                <a:gd name="T29" fmla="*/ 34 h 277"/>
                <a:gd name="T30" fmla="*/ 176 w 232"/>
                <a:gd name="T31" fmla="*/ 37 h 277"/>
                <a:gd name="T32" fmla="*/ 165 w 232"/>
                <a:gd name="T33" fmla="*/ 32 h 277"/>
                <a:gd name="T34" fmla="*/ 157 w 232"/>
                <a:gd name="T35" fmla="*/ 45 h 277"/>
                <a:gd name="T36" fmla="*/ 149 w 232"/>
                <a:gd name="T37" fmla="*/ 48 h 277"/>
                <a:gd name="T38" fmla="*/ 144 w 232"/>
                <a:gd name="T39" fmla="*/ 37 h 277"/>
                <a:gd name="T40" fmla="*/ 120 w 232"/>
                <a:gd name="T41" fmla="*/ 32 h 277"/>
                <a:gd name="T42" fmla="*/ 101 w 232"/>
                <a:gd name="T43" fmla="*/ 26 h 277"/>
                <a:gd name="T44" fmla="*/ 93 w 232"/>
                <a:gd name="T45" fmla="*/ 21 h 277"/>
                <a:gd name="T46" fmla="*/ 88 w 232"/>
                <a:gd name="T47" fmla="*/ 10 h 277"/>
                <a:gd name="T48" fmla="*/ 80 w 232"/>
                <a:gd name="T49" fmla="*/ 5 h 277"/>
                <a:gd name="T50" fmla="*/ 74 w 232"/>
                <a:gd name="T51" fmla="*/ 8 h 277"/>
                <a:gd name="T52" fmla="*/ 53 w 232"/>
                <a:gd name="T53" fmla="*/ 18 h 277"/>
                <a:gd name="T54" fmla="*/ 37 w 232"/>
                <a:gd name="T55" fmla="*/ 24 h 277"/>
                <a:gd name="T56" fmla="*/ 26 w 232"/>
                <a:gd name="T57" fmla="*/ 50 h 277"/>
                <a:gd name="T58" fmla="*/ 18 w 232"/>
                <a:gd name="T59" fmla="*/ 66 h 277"/>
                <a:gd name="T60" fmla="*/ 8 w 232"/>
                <a:gd name="T61" fmla="*/ 74 h 277"/>
                <a:gd name="T62" fmla="*/ 8 w 232"/>
                <a:gd name="T63" fmla="*/ 93 h 277"/>
                <a:gd name="T64" fmla="*/ 18 w 232"/>
                <a:gd name="T65" fmla="*/ 104 h 277"/>
                <a:gd name="T66" fmla="*/ 29 w 232"/>
                <a:gd name="T67" fmla="*/ 117 h 277"/>
                <a:gd name="T68" fmla="*/ 45 w 232"/>
                <a:gd name="T69" fmla="*/ 120 h 277"/>
                <a:gd name="T70" fmla="*/ 58 w 232"/>
                <a:gd name="T71" fmla="*/ 125 h 277"/>
                <a:gd name="T72" fmla="*/ 61 w 232"/>
                <a:gd name="T73" fmla="*/ 136 h 277"/>
                <a:gd name="T74" fmla="*/ 66 w 232"/>
                <a:gd name="T75" fmla="*/ 152 h 277"/>
                <a:gd name="T76" fmla="*/ 61 w 232"/>
                <a:gd name="T77" fmla="*/ 168 h 277"/>
                <a:gd name="T78" fmla="*/ 58 w 232"/>
                <a:gd name="T79" fmla="*/ 184 h 277"/>
                <a:gd name="T80" fmla="*/ 66 w 232"/>
                <a:gd name="T81" fmla="*/ 192 h 277"/>
                <a:gd name="T82" fmla="*/ 66 w 232"/>
                <a:gd name="T83" fmla="*/ 203 h 277"/>
                <a:gd name="T84" fmla="*/ 80 w 232"/>
                <a:gd name="T85" fmla="*/ 205 h 277"/>
                <a:gd name="T86" fmla="*/ 88 w 232"/>
                <a:gd name="T87" fmla="*/ 219 h 277"/>
                <a:gd name="T88" fmla="*/ 90 w 232"/>
                <a:gd name="T89" fmla="*/ 229 h 277"/>
                <a:gd name="T90" fmla="*/ 101 w 232"/>
                <a:gd name="T91" fmla="*/ 243 h 277"/>
                <a:gd name="T92" fmla="*/ 93 w 232"/>
                <a:gd name="T93" fmla="*/ 248 h 277"/>
                <a:gd name="T94" fmla="*/ 85 w 232"/>
                <a:gd name="T95" fmla="*/ 259 h 277"/>
                <a:gd name="T96" fmla="*/ 82 w 232"/>
                <a:gd name="T97" fmla="*/ 272 h 277"/>
                <a:gd name="T98" fmla="*/ 96 w 232"/>
                <a:gd name="T99" fmla="*/ 275 h 277"/>
                <a:gd name="T100" fmla="*/ 104 w 232"/>
                <a:gd name="T101" fmla="*/ 267 h 277"/>
                <a:gd name="T102" fmla="*/ 112 w 232"/>
                <a:gd name="T103" fmla="*/ 259 h 277"/>
                <a:gd name="T104" fmla="*/ 125 w 232"/>
                <a:gd name="T105" fmla="*/ 259 h 277"/>
                <a:gd name="T106" fmla="*/ 139 w 232"/>
                <a:gd name="T107" fmla="*/ 259 h 277"/>
                <a:gd name="T108" fmla="*/ 149 w 232"/>
                <a:gd name="T109" fmla="*/ 256 h 277"/>
                <a:gd name="T110" fmla="*/ 165 w 232"/>
                <a:gd name="T111" fmla="*/ 248 h 277"/>
                <a:gd name="T112" fmla="*/ 176 w 232"/>
                <a:gd name="T113" fmla="*/ 253 h 277"/>
                <a:gd name="T114" fmla="*/ 184 w 232"/>
                <a:gd name="T115" fmla="*/ 243 h 277"/>
                <a:gd name="T116" fmla="*/ 213 w 232"/>
                <a:gd name="T117" fmla="*/ 24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2" h="277" extrusionOk="0">
                  <a:moveTo>
                    <a:pt x="216" y="243"/>
                  </a:moveTo>
                  <a:lnTo>
                    <a:pt x="219" y="237"/>
                  </a:lnTo>
                  <a:lnTo>
                    <a:pt x="219" y="237"/>
                  </a:lnTo>
                  <a:lnTo>
                    <a:pt x="219" y="235"/>
                  </a:lnTo>
                  <a:lnTo>
                    <a:pt x="219" y="232"/>
                  </a:lnTo>
                  <a:lnTo>
                    <a:pt x="219" y="232"/>
                  </a:lnTo>
                  <a:lnTo>
                    <a:pt x="221" y="235"/>
                  </a:lnTo>
                  <a:lnTo>
                    <a:pt x="221" y="232"/>
                  </a:lnTo>
                  <a:lnTo>
                    <a:pt x="224" y="232"/>
                  </a:lnTo>
                  <a:lnTo>
                    <a:pt x="224" y="229"/>
                  </a:lnTo>
                  <a:lnTo>
                    <a:pt x="224" y="229"/>
                  </a:lnTo>
                  <a:lnTo>
                    <a:pt x="224" y="229"/>
                  </a:lnTo>
                  <a:lnTo>
                    <a:pt x="227" y="227"/>
                  </a:lnTo>
                  <a:lnTo>
                    <a:pt x="224" y="227"/>
                  </a:lnTo>
                  <a:lnTo>
                    <a:pt x="221" y="227"/>
                  </a:lnTo>
                  <a:lnTo>
                    <a:pt x="221" y="224"/>
                  </a:lnTo>
                  <a:lnTo>
                    <a:pt x="221" y="224"/>
                  </a:lnTo>
                  <a:lnTo>
                    <a:pt x="221" y="224"/>
                  </a:lnTo>
                  <a:lnTo>
                    <a:pt x="221" y="221"/>
                  </a:lnTo>
                  <a:lnTo>
                    <a:pt x="221" y="219"/>
                  </a:lnTo>
                  <a:lnTo>
                    <a:pt x="221" y="216"/>
                  </a:lnTo>
                  <a:lnTo>
                    <a:pt x="224" y="216"/>
                  </a:lnTo>
                  <a:lnTo>
                    <a:pt x="224" y="219"/>
                  </a:lnTo>
                  <a:lnTo>
                    <a:pt x="227" y="216"/>
                  </a:lnTo>
                  <a:lnTo>
                    <a:pt x="227" y="213"/>
                  </a:lnTo>
                  <a:lnTo>
                    <a:pt x="229" y="213"/>
                  </a:lnTo>
                  <a:lnTo>
                    <a:pt x="229" y="211"/>
                  </a:lnTo>
                  <a:lnTo>
                    <a:pt x="229" y="211"/>
                  </a:lnTo>
                  <a:lnTo>
                    <a:pt x="227" y="211"/>
                  </a:lnTo>
                  <a:lnTo>
                    <a:pt x="227" y="208"/>
                  </a:lnTo>
                  <a:lnTo>
                    <a:pt x="227" y="205"/>
                  </a:lnTo>
                  <a:lnTo>
                    <a:pt x="227" y="203"/>
                  </a:lnTo>
                  <a:lnTo>
                    <a:pt x="227" y="203"/>
                  </a:lnTo>
                  <a:lnTo>
                    <a:pt x="229" y="200"/>
                  </a:lnTo>
                  <a:lnTo>
                    <a:pt x="229" y="197"/>
                  </a:lnTo>
                  <a:lnTo>
                    <a:pt x="232" y="197"/>
                  </a:lnTo>
                  <a:lnTo>
                    <a:pt x="229" y="192"/>
                  </a:lnTo>
                  <a:lnTo>
                    <a:pt x="227" y="189"/>
                  </a:lnTo>
                  <a:lnTo>
                    <a:pt x="221" y="192"/>
                  </a:lnTo>
                  <a:lnTo>
                    <a:pt x="221" y="189"/>
                  </a:lnTo>
                  <a:lnTo>
                    <a:pt x="219" y="189"/>
                  </a:lnTo>
                  <a:lnTo>
                    <a:pt x="216" y="187"/>
                  </a:lnTo>
                  <a:lnTo>
                    <a:pt x="213" y="187"/>
                  </a:lnTo>
                  <a:lnTo>
                    <a:pt x="208" y="189"/>
                  </a:lnTo>
                  <a:lnTo>
                    <a:pt x="208" y="187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1"/>
                  </a:lnTo>
                  <a:lnTo>
                    <a:pt x="205" y="181"/>
                  </a:lnTo>
                  <a:lnTo>
                    <a:pt x="205" y="181"/>
                  </a:lnTo>
                  <a:lnTo>
                    <a:pt x="205" y="176"/>
                  </a:lnTo>
                  <a:lnTo>
                    <a:pt x="208" y="176"/>
                  </a:lnTo>
                  <a:lnTo>
                    <a:pt x="208" y="173"/>
                  </a:lnTo>
                  <a:lnTo>
                    <a:pt x="205" y="173"/>
                  </a:lnTo>
                  <a:lnTo>
                    <a:pt x="205" y="171"/>
                  </a:lnTo>
                  <a:lnTo>
                    <a:pt x="203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68"/>
                  </a:lnTo>
                  <a:lnTo>
                    <a:pt x="197" y="168"/>
                  </a:lnTo>
                  <a:lnTo>
                    <a:pt x="197" y="168"/>
                  </a:lnTo>
                  <a:lnTo>
                    <a:pt x="197" y="165"/>
                  </a:lnTo>
                  <a:lnTo>
                    <a:pt x="197" y="163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57"/>
                  </a:lnTo>
                  <a:lnTo>
                    <a:pt x="197" y="157"/>
                  </a:lnTo>
                  <a:lnTo>
                    <a:pt x="197" y="154"/>
                  </a:lnTo>
                  <a:lnTo>
                    <a:pt x="195" y="154"/>
                  </a:lnTo>
                  <a:lnTo>
                    <a:pt x="195" y="152"/>
                  </a:lnTo>
                  <a:lnTo>
                    <a:pt x="192" y="152"/>
                  </a:lnTo>
                  <a:lnTo>
                    <a:pt x="192" y="152"/>
                  </a:lnTo>
                  <a:lnTo>
                    <a:pt x="189" y="152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4" y="141"/>
                  </a:lnTo>
                  <a:lnTo>
                    <a:pt x="184" y="138"/>
                  </a:lnTo>
                  <a:lnTo>
                    <a:pt x="187" y="138"/>
                  </a:lnTo>
                  <a:lnTo>
                    <a:pt x="187" y="138"/>
                  </a:lnTo>
                  <a:lnTo>
                    <a:pt x="187" y="136"/>
                  </a:lnTo>
                  <a:lnTo>
                    <a:pt x="187" y="133"/>
                  </a:lnTo>
                  <a:lnTo>
                    <a:pt x="187" y="130"/>
                  </a:lnTo>
                  <a:lnTo>
                    <a:pt x="187" y="128"/>
                  </a:lnTo>
                  <a:lnTo>
                    <a:pt x="189" y="125"/>
                  </a:lnTo>
                  <a:lnTo>
                    <a:pt x="189" y="122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95" y="120"/>
                  </a:lnTo>
                  <a:lnTo>
                    <a:pt x="192" y="117"/>
                  </a:lnTo>
                  <a:lnTo>
                    <a:pt x="192" y="117"/>
                  </a:lnTo>
                  <a:lnTo>
                    <a:pt x="189" y="117"/>
                  </a:lnTo>
                  <a:lnTo>
                    <a:pt x="192" y="114"/>
                  </a:lnTo>
                  <a:lnTo>
                    <a:pt x="192" y="112"/>
                  </a:lnTo>
                  <a:lnTo>
                    <a:pt x="195" y="109"/>
                  </a:lnTo>
                  <a:lnTo>
                    <a:pt x="195" y="106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197" y="104"/>
                  </a:lnTo>
                  <a:lnTo>
                    <a:pt x="200" y="104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98"/>
                  </a:lnTo>
                  <a:lnTo>
                    <a:pt x="200" y="96"/>
                  </a:lnTo>
                  <a:lnTo>
                    <a:pt x="203" y="96"/>
                  </a:lnTo>
                  <a:lnTo>
                    <a:pt x="203" y="93"/>
                  </a:lnTo>
                  <a:lnTo>
                    <a:pt x="200" y="90"/>
                  </a:lnTo>
                  <a:lnTo>
                    <a:pt x="203" y="90"/>
                  </a:lnTo>
                  <a:lnTo>
                    <a:pt x="203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08" y="88"/>
                  </a:lnTo>
                  <a:lnTo>
                    <a:pt x="208" y="85"/>
                  </a:lnTo>
                  <a:lnTo>
                    <a:pt x="208" y="82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1" y="80"/>
                  </a:lnTo>
                  <a:lnTo>
                    <a:pt x="211" y="77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6" y="69"/>
                  </a:lnTo>
                  <a:lnTo>
                    <a:pt x="205" y="61"/>
                  </a:lnTo>
                  <a:lnTo>
                    <a:pt x="205" y="58"/>
                  </a:lnTo>
                  <a:lnTo>
                    <a:pt x="205" y="58"/>
                  </a:lnTo>
                  <a:lnTo>
                    <a:pt x="205" y="56"/>
                  </a:lnTo>
                  <a:lnTo>
                    <a:pt x="205" y="56"/>
                  </a:lnTo>
                  <a:lnTo>
                    <a:pt x="205" y="56"/>
                  </a:lnTo>
                  <a:lnTo>
                    <a:pt x="208" y="53"/>
                  </a:lnTo>
                  <a:lnTo>
                    <a:pt x="208" y="53"/>
                  </a:lnTo>
                  <a:lnTo>
                    <a:pt x="208" y="50"/>
                  </a:lnTo>
                  <a:lnTo>
                    <a:pt x="208" y="48"/>
                  </a:lnTo>
                  <a:lnTo>
                    <a:pt x="205" y="48"/>
                  </a:lnTo>
                  <a:lnTo>
                    <a:pt x="205" y="48"/>
                  </a:lnTo>
                  <a:lnTo>
                    <a:pt x="205" y="45"/>
                  </a:lnTo>
                  <a:lnTo>
                    <a:pt x="205" y="45"/>
                  </a:lnTo>
                  <a:lnTo>
                    <a:pt x="203" y="42"/>
                  </a:lnTo>
                  <a:lnTo>
                    <a:pt x="203" y="40"/>
                  </a:lnTo>
                  <a:lnTo>
                    <a:pt x="203" y="37"/>
                  </a:lnTo>
                  <a:lnTo>
                    <a:pt x="203" y="37"/>
                  </a:lnTo>
                  <a:lnTo>
                    <a:pt x="200" y="37"/>
                  </a:lnTo>
                  <a:lnTo>
                    <a:pt x="200" y="37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7"/>
                  </a:lnTo>
                  <a:lnTo>
                    <a:pt x="195" y="34"/>
                  </a:lnTo>
                  <a:lnTo>
                    <a:pt x="192" y="34"/>
                  </a:lnTo>
                  <a:lnTo>
                    <a:pt x="192" y="34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9" y="40"/>
                  </a:lnTo>
                  <a:lnTo>
                    <a:pt x="187" y="40"/>
                  </a:lnTo>
                  <a:lnTo>
                    <a:pt x="184" y="42"/>
                  </a:lnTo>
                  <a:lnTo>
                    <a:pt x="184" y="42"/>
                  </a:lnTo>
                  <a:lnTo>
                    <a:pt x="181" y="42"/>
                  </a:lnTo>
                  <a:lnTo>
                    <a:pt x="181" y="40"/>
                  </a:lnTo>
                  <a:lnTo>
                    <a:pt x="179" y="37"/>
                  </a:lnTo>
                  <a:lnTo>
                    <a:pt x="176" y="37"/>
                  </a:lnTo>
                  <a:lnTo>
                    <a:pt x="176" y="40"/>
                  </a:lnTo>
                  <a:lnTo>
                    <a:pt x="173" y="37"/>
                  </a:lnTo>
                  <a:lnTo>
                    <a:pt x="173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68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3" y="34"/>
                  </a:lnTo>
                  <a:lnTo>
                    <a:pt x="163" y="37"/>
                  </a:lnTo>
                  <a:lnTo>
                    <a:pt x="163" y="40"/>
                  </a:lnTo>
                  <a:lnTo>
                    <a:pt x="163" y="40"/>
                  </a:lnTo>
                  <a:lnTo>
                    <a:pt x="160" y="40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60" y="42"/>
                  </a:lnTo>
                  <a:lnTo>
                    <a:pt x="157" y="42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7" y="48"/>
                  </a:lnTo>
                  <a:lnTo>
                    <a:pt x="157" y="48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2" y="50"/>
                  </a:lnTo>
                  <a:lnTo>
                    <a:pt x="152" y="48"/>
                  </a:lnTo>
                  <a:lnTo>
                    <a:pt x="152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7" y="48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7" y="45"/>
                  </a:lnTo>
                  <a:lnTo>
                    <a:pt x="149" y="42"/>
                  </a:lnTo>
                  <a:lnTo>
                    <a:pt x="147" y="42"/>
                  </a:lnTo>
                  <a:lnTo>
                    <a:pt x="147" y="40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31" y="34"/>
                  </a:lnTo>
                  <a:lnTo>
                    <a:pt x="131" y="37"/>
                  </a:lnTo>
                  <a:lnTo>
                    <a:pt x="131" y="37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5" y="32"/>
                  </a:lnTo>
                  <a:lnTo>
                    <a:pt x="125" y="34"/>
                  </a:lnTo>
                  <a:lnTo>
                    <a:pt x="123" y="34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7" y="32"/>
                  </a:lnTo>
                  <a:lnTo>
                    <a:pt x="115" y="32"/>
                  </a:lnTo>
                  <a:lnTo>
                    <a:pt x="112" y="32"/>
                  </a:lnTo>
                  <a:lnTo>
                    <a:pt x="109" y="32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06" y="29"/>
                  </a:lnTo>
                  <a:lnTo>
                    <a:pt x="104" y="26"/>
                  </a:lnTo>
                  <a:lnTo>
                    <a:pt x="101" y="26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29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4"/>
                  </a:lnTo>
                  <a:lnTo>
                    <a:pt x="93" y="24"/>
                  </a:lnTo>
                  <a:lnTo>
                    <a:pt x="93" y="21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8" y="13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2"/>
                  </a:lnTo>
                  <a:lnTo>
                    <a:pt x="88" y="5"/>
                  </a:lnTo>
                  <a:lnTo>
                    <a:pt x="85" y="5"/>
                  </a:lnTo>
                  <a:lnTo>
                    <a:pt x="82" y="5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7" y="5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4" y="13"/>
                  </a:lnTo>
                  <a:lnTo>
                    <a:pt x="58" y="13"/>
                  </a:lnTo>
                  <a:lnTo>
                    <a:pt x="58" y="16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3" y="18"/>
                  </a:lnTo>
                  <a:lnTo>
                    <a:pt x="53" y="21"/>
                  </a:lnTo>
                  <a:lnTo>
                    <a:pt x="50" y="21"/>
                  </a:lnTo>
                  <a:lnTo>
                    <a:pt x="50" y="24"/>
                  </a:lnTo>
                  <a:lnTo>
                    <a:pt x="48" y="26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2" y="26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6"/>
                  </a:lnTo>
                  <a:lnTo>
                    <a:pt x="34" y="29"/>
                  </a:lnTo>
                  <a:lnTo>
                    <a:pt x="34" y="37"/>
                  </a:lnTo>
                  <a:lnTo>
                    <a:pt x="32" y="42"/>
                  </a:lnTo>
                  <a:lnTo>
                    <a:pt x="32" y="45"/>
                  </a:lnTo>
                  <a:lnTo>
                    <a:pt x="32" y="48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6" y="50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61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0" y="69"/>
                  </a:lnTo>
                  <a:lnTo>
                    <a:pt x="10" y="72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5" y="77"/>
                  </a:lnTo>
                  <a:lnTo>
                    <a:pt x="2" y="80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0" y="90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5" y="96"/>
                  </a:lnTo>
                  <a:lnTo>
                    <a:pt x="8" y="93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0" y="96"/>
                  </a:lnTo>
                  <a:lnTo>
                    <a:pt x="10" y="93"/>
                  </a:lnTo>
                  <a:lnTo>
                    <a:pt x="10" y="93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104"/>
                  </a:lnTo>
                  <a:lnTo>
                    <a:pt x="18" y="106"/>
                  </a:lnTo>
                  <a:lnTo>
                    <a:pt x="21" y="106"/>
                  </a:lnTo>
                  <a:lnTo>
                    <a:pt x="21" y="109"/>
                  </a:lnTo>
                  <a:lnTo>
                    <a:pt x="24" y="109"/>
                  </a:lnTo>
                  <a:lnTo>
                    <a:pt x="24" y="112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6" y="114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7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2" y="122"/>
                  </a:lnTo>
                  <a:lnTo>
                    <a:pt x="45" y="120"/>
                  </a:lnTo>
                  <a:lnTo>
                    <a:pt x="48" y="120"/>
                  </a:lnTo>
                  <a:lnTo>
                    <a:pt x="50" y="120"/>
                  </a:lnTo>
                  <a:lnTo>
                    <a:pt x="50" y="122"/>
                  </a:lnTo>
                  <a:lnTo>
                    <a:pt x="53" y="122"/>
                  </a:lnTo>
                  <a:lnTo>
                    <a:pt x="53" y="122"/>
                  </a:lnTo>
                  <a:lnTo>
                    <a:pt x="56" y="122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22"/>
                  </a:lnTo>
                  <a:lnTo>
                    <a:pt x="58" y="125"/>
                  </a:lnTo>
                  <a:lnTo>
                    <a:pt x="58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8" y="130"/>
                  </a:lnTo>
                  <a:lnTo>
                    <a:pt x="58" y="133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61" y="136"/>
                  </a:lnTo>
                  <a:lnTo>
                    <a:pt x="58" y="141"/>
                  </a:lnTo>
                  <a:lnTo>
                    <a:pt x="61" y="141"/>
                  </a:lnTo>
                  <a:lnTo>
                    <a:pt x="61" y="144"/>
                  </a:lnTo>
                  <a:lnTo>
                    <a:pt x="64" y="141"/>
                  </a:lnTo>
                  <a:lnTo>
                    <a:pt x="64" y="141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6" y="146"/>
                  </a:lnTo>
                  <a:lnTo>
                    <a:pt x="66" y="149"/>
                  </a:lnTo>
                  <a:lnTo>
                    <a:pt x="66" y="152"/>
                  </a:lnTo>
                  <a:lnTo>
                    <a:pt x="66" y="154"/>
                  </a:lnTo>
                  <a:lnTo>
                    <a:pt x="66" y="157"/>
                  </a:lnTo>
                  <a:lnTo>
                    <a:pt x="66" y="160"/>
                  </a:lnTo>
                  <a:lnTo>
                    <a:pt x="66" y="160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4" y="160"/>
                  </a:lnTo>
                  <a:lnTo>
                    <a:pt x="61" y="163"/>
                  </a:lnTo>
                  <a:lnTo>
                    <a:pt x="61" y="165"/>
                  </a:lnTo>
                  <a:lnTo>
                    <a:pt x="61" y="168"/>
                  </a:lnTo>
                  <a:lnTo>
                    <a:pt x="61" y="171"/>
                  </a:lnTo>
                  <a:lnTo>
                    <a:pt x="61" y="173"/>
                  </a:lnTo>
                  <a:lnTo>
                    <a:pt x="58" y="173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56" y="179"/>
                  </a:lnTo>
                  <a:lnTo>
                    <a:pt x="56" y="181"/>
                  </a:lnTo>
                  <a:lnTo>
                    <a:pt x="56" y="181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61" y="187"/>
                  </a:lnTo>
                  <a:lnTo>
                    <a:pt x="61" y="18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2"/>
                  </a:lnTo>
                  <a:lnTo>
                    <a:pt x="66" y="195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3"/>
                  </a:lnTo>
                  <a:lnTo>
                    <a:pt x="64" y="203"/>
                  </a:lnTo>
                  <a:lnTo>
                    <a:pt x="64" y="203"/>
                  </a:lnTo>
                  <a:lnTo>
                    <a:pt x="66" y="203"/>
                  </a:lnTo>
                  <a:lnTo>
                    <a:pt x="66" y="205"/>
                  </a:lnTo>
                  <a:lnTo>
                    <a:pt x="69" y="208"/>
                  </a:lnTo>
                  <a:lnTo>
                    <a:pt x="69" y="208"/>
                  </a:lnTo>
                  <a:lnTo>
                    <a:pt x="69" y="211"/>
                  </a:lnTo>
                  <a:lnTo>
                    <a:pt x="72" y="211"/>
                  </a:lnTo>
                  <a:lnTo>
                    <a:pt x="74" y="208"/>
                  </a:lnTo>
                  <a:lnTo>
                    <a:pt x="74" y="208"/>
                  </a:lnTo>
                  <a:lnTo>
                    <a:pt x="77" y="208"/>
                  </a:lnTo>
                  <a:lnTo>
                    <a:pt x="77" y="205"/>
                  </a:lnTo>
                  <a:lnTo>
                    <a:pt x="80" y="205"/>
                  </a:lnTo>
                  <a:lnTo>
                    <a:pt x="82" y="203"/>
                  </a:lnTo>
                  <a:lnTo>
                    <a:pt x="82" y="203"/>
                  </a:lnTo>
                  <a:lnTo>
                    <a:pt x="85" y="205"/>
                  </a:lnTo>
                  <a:lnTo>
                    <a:pt x="88" y="205"/>
                  </a:lnTo>
                  <a:lnTo>
                    <a:pt x="88" y="208"/>
                  </a:lnTo>
                  <a:lnTo>
                    <a:pt x="90" y="208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6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8" y="224"/>
                  </a:lnTo>
                  <a:lnTo>
                    <a:pt x="88" y="224"/>
                  </a:lnTo>
                  <a:lnTo>
                    <a:pt x="90" y="224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90" y="229"/>
                  </a:lnTo>
                  <a:lnTo>
                    <a:pt x="90" y="229"/>
                  </a:lnTo>
                  <a:lnTo>
                    <a:pt x="90" y="232"/>
                  </a:lnTo>
                  <a:lnTo>
                    <a:pt x="93" y="235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8" y="240"/>
                  </a:lnTo>
                  <a:lnTo>
                    <a:pt x="98" y="240"/>
                  </a:lnTo>
                  <a:lnTo>
                    <a:pt x="101" y="240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98" y="245"/>
                  </a:lnTo>
                  <a:lnTo>
                    <a:pt x="98" y="245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6" y="248"/>
                  </a:lnTo>
                  <a:lnTo>
                    <a:pt x="93" y="248"/>
                  </a:lnTo>
                  <a:lnTo>
                    <a:pt x="93" y="248"/>
                  </a:lnTo>
                  <a:lnTo>
                    <a:pt x="90" y="245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88" y="251"/>
                  </a:lnTo>
                  <a:lnTo>
                    <a:pt x="88" y="251"/>
                  </a:lnTo>
                  <a:lnTo>
                    <a:pt x="88" y="253"/>
                  </a:lnTo>
                  <a:lnTo>
                    <a:pt x="88" y="256"/>
                  </a:lnTo>
                  <a:lnTo>
                    <a:pt x="88" y="256"/>
                  </a:lnTo>
                  <a:lnTo>
                    <a:pt x="88" y="259"/>
                  </a:lnTo>
                  <a:lnTo>
                    <a:pt x="85" y="259"/>
                  </a:lnTo>
                  <a:lnTo>
                    <a:pt x="85" y="259"/>
                  </a:lnTo>
                  <a:lnTo>
                    <a:pt x="85" y="261"/>
                  </a:lnTo>
                  <a:lnTo>
                    <a:pt x="85" y="261"/>
                  </a:lnTo>
                  <a:lnTo>
                    <a:pt x="85" y="261"/>
                  </a:lnTo>
                  <a:lnTo>
                    <a:pt x="85" y="264"/>
                  </a:lnTo>
                  <a:lnTo>
                    <a:pt x="82" y="267"/>
                  </a:lnTo>
                  <a:lnTo>
                    <a:pt x="82" y="267"/>
                  </a:lnTo>
                  <a:lnTo>
                    <a:pt x="80" y="269"/>
                  </a:lnTo>
                  <a:lnTo>
                    <a:pt x="82" y="269"/>
                  </a:lnTo>
                  <a:lnTo>
                    <a:pt x="82" y="272"/>
                  </a:lnTo>
                  <a:lnTo>
                    <a:pt x="85" y="275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101" y="275"/>
                  </a:lnTo>
                  <a:lnTo>
                    <a:pt x="101" y="275"/>
                  </a:lnTo>
                  <a:lnTo>
                    <a:pt x="101" y="277"/>
                  </a:lnTo>
                  <a:lnTo>
                    <a:pt x="104" y="277"/>
                  </a:lnTo>
                  <a:lnTo>
                    <a:pt x="104" y="275"/>
                  </a:lnTo>
                  <a:lnTo>
                    <a:pt x="106" y="275"/>
                  </a:lnTo>
                  <a:lnTo>
                    <a:pt x="109" y="272"/>
                  </a:lnTo>
                  <a:lnTo>
                    <a:pt x="106" y="269"/>
                  </a:lnTo>
                  <a:lnTo>
                    <a:pt x="104" y="269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4"/>
                  </a:lnTo>
                  <a:lnTo>
                    <a:pt x="106" y="261"/>
                  </a:lnTo>
                  <a:lnTo>
                    <a:pt x="109" y="261"/>
                  </a:lnTo>
                  <a:lnTo>
                    <a:pt x="109" y="261"/>
                  </a:lnTo>
                  <a:lnTo>
                    <a:pt x="112" y="261"/>
                  </a:lnTo>
                  <a:lnTo>
                    <a:pt x="109" y="259"/>
                  </a:lnTo>
                  <a:lnTo>
                    <a:pt x="109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15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23" y="259"/>
                  </a:lnTo>
                  <a:lnTo>
                    <a:pt x="125" y="259"/>
                  </a:lnTo>
                  <a:lnTo>
                    <a:pt x="125" y="261"/>
                  </a:lnTo>
                  <a:lnTo>
                    <a:pt x="128" y="261"/>
                  </a:lnTo>
                  <a:lnTo>
                    <a:pt x="131" y="261"/>
                  </a:lnTo>
                  <a:lnTo>
                    <a:pt x="131" y="261"/>
                  </a:lnTo>
                  <a:lnTo>
                    <a:pt x="133" y="264"/>
                  </a:lnTo>
                  <a:lnTo>
                    <a:pt x="133" y="264"/>
                  </a:lnTo>
                  <a:lnTo>
                    <a:pt x="136" y="264"/>
                  </a:lnTo>
                  <a:lnTo>
                    <a:pt x="136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7" y="256"/>
                  </a:lnTo>
                  <a:lnTo>
                    <a:pt x="149" y="256"/>
                  </a:lnTo>
                  <a:lnTo>
                    <a:pt x="149" y="259"/>
                  </a:lnTo>
                  <a:lnTo>
                    <a:pt x="152" y="256"/>
                  </a:lnTo>
                  <a:lnTo>
                    <a:pt x="152" y="253"/>
                  </a:lnTo>
                  <a:lnTo>
                    <a:pt x="155" y="253"/>
                  </a:lnTo>
                  <a:lnTo>
                    <a:pt x="157" y="253"/>
                  </a:lnTo>
                  <a:lnTo>
                    <a:pt x="160" y="253"/>
                  </a:lnTo>
                  <a:lnTo>
                    <a:pt x="160" y="251"/>
                  </a:lnTo>
                  <a:lnTo>
                    <a:pt x="160" y="251"/>
                  </a:lnTo>
                  <a:lnTo>
                    <a:pt x="163" y="248"/>
                  </a:lnTo>
                  <a:lnTo>
                    <a:pt x="165" y="248"/>
                  </a:lnTo>
                  <a:lnTo>
                    <a:pt x="165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71" y="251"/>
                  </a:lnTo>
                  <a:lnTo>
                    <a:pt x="171" y="248"/>
                  </a:lnTo>
                  <a:lnTo>
                    <a:pt x="171" y="248"/>
                  </a:lnTo>
                  <a:lnTo>
                    <a:pt x="173" y="248"/>
                  </a:lnTo>
                  <a:lnTo>
                    <a:pt x="176" y="248"/>
                  </a:lnTo>
                  <a:lnTo>
                    <a:pt x="173" y="251"/>
                  </a:lnTo>
                  <a:lnTo>
                    <a:pt x="176" y="253"/>
                  </a:lnTo>
                  <a:lnTo>
                    <a:pt x="179" y="253"/>
                  </a:lnTo>
                  <a:lnTo>
                    <a:pt x="179" y="253"/>
                  </a:lnTo>
                  <a:lnTo>
                    <a:pt x="187" y="251"/>
                  </a:lnTo>
                  <a:lnTo>
                    <a:pt x="187" y="251"/>
                  </a:lnTo>
                  <a:lnTo>
                    <a:pt x="189" y="251"/>
                  </a:lnTo>
                  <a:lnTo>
                    <a:pt x="187" y="248"/>
                  </a:lnTo>
                  <a:lnTo>
                    <a:pt x="189" y="248"/>
                  </a:lnTo>
                  <a:lnTo>
                    <a:pt x="187" y="245"/>
                  </a:lnTo>
                  <a:lnTo>
                    <a:pt x="184" y="245"/>
                  </a:lnTo>
                  <a:lnTo>
                    <a:pt x="184" y="243"/>
                  </a:lnTo>
                  <a:lnTo>
                    <a:pt x="189" y="243"/>
                  </a:lnTo>
                  <a:lnTo>
                    <a:pt x="192" y="243"/>
                  </a:lnTo>
                  <a:lnTo>
                    <a:pt x="192" y="243"/>
                  </a:lnTo>
                  <a:lnTo>
                    <a:pt x="195" y="243"/>
                  </a:lnTo>
                  <a:lnTo>
                    <a:pt x="197" y="245"/>
                  </a:lnTo>
                  <a:lnTo>
                    <a:pt x="200" y="245"/>
                  </a:lnTo>
                  <a:lnTo>
                    <a:pt x="208" y="248"/>
                  </a:lnTo>
                  <a:lnTo>
                    <a:pt x="211" y="248"/>
                  </a:lnTo>
                  <a:lnTo>
                    <a:pt x="213" y="245"/>
                  </a:lnTo>
                  <a:lnTo>
                    <a:pt x="213" y="245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6" y="243"/>
                  </a:lnTo>
                  <a:lnTo>
                    <a:pt x="216" y="24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6" name="Freeform 8944">
              <a:extLst>
                <a:ext uri="{FF2B5EF4-FFF2-40B4-BE49-F238E27FC236}">
                  <a16:creationId xmlns:a16="http://schemas.microsoft.com/office/drawing/2014/main" id="{1348816A-30CB-B04F-AF3B-788DCB346394}"/>
                </a:ext>
              </a:extLst>
            </p:cNvPr>
            <p:cNvSpPr/>
            <p:nvPr/>
          </p:nvSpPr>
          <p:spPr bwMode="auto">
            <a:xfrm>
              <a:off x="1437480" y="2911476"/>
              <a:ext cx="517525" cy="344488"/>
            </a:xfrm>
            <a:custGeom>
              <a:avLst/>
              <a:gdLst>
                <a:gd name="T0" fmla="*/ 286 w 326"/>
                <a:gd name="T1" fmla="*/ 110 h 217"/>
                <a:gd name="T2" fmla="*/ 275 w 326"/>
                <a:gd name="T3" fmla="*/ 99 h 217"/>
                <a:gd name="T4" fmla="*/ 267 w 326"/>
                <a:gd name="T5" fmla="*/ 91 h 217"/>
                <a:gd name="T6" fmla="*/ 270 w 326"/>
                <a:gd name="T7" fmla="*/ 67 h 217"/>
                <a:gd name="T8" fmla="*/ 251 w 326"/>
                <a:gd name="T9" fmla="*/ 51 h 217"/>
                <a:gd name="T10" fmla="*/ 227 w 326"/>
                <a:gd name="T11" fmla="*/ 51 h 217"/>
                <a:gd name="T12" fmla="*/ 214 w 326"/>
                <a:gd name="T13" fmla="*/ 57 h 217"/>
                <a:gd name="T14" fmla="*/ 208 w 326"/>
                <a:gd name="T15" fmla="*/ 46 h 217"/>
                <a:gd name="T16" fmla="*/ 214 w 326"/>
                <a:gd name="T17" fmla="*/ 30 h 217"/>
                <a:gd name="T18" fmla="*/ 208 w 326"/>
                <a:gd name="T19" fmla="*/ 14 h 217"/>
                <a:gd name="T20" fmla="*/ 192 w 326"/>
                <a:gd name="T21" fmla="*/ 6 h 217"/>
                <a:gd name="T22" fmla="*/ 179 w 326"/>
                <a:gd name="T23" fmla="*/ 14 h 217"/>
                <a:gd name="T24" fmla="*/ 160 w 326"/>
                <a:gd name="T25" fmla="*/ 19 h 217"/>
                <a:gd name="T26" fmla="*/ 149 w 326"/>
                <a:gd name="T27" fmla="*/ 6 h 217"/>
                <a:gd name="T28" fmla="*/ 128 w 326"/>
                <a:gd name="T29" fmla="*/ 11 h 217"/>
                <a:gd name="T30" fmla="*/ 115 w 326"/>
                <a:gd name="T31" fmla="*/ 19 h 217"/>
                <a:gd name="T32" fmla="*/ 101 w 326"/>
                <a:gd name="T33" fmla="*/ 11 h 217"/>
                <a:gd name="T34" fmla="*/ 93 w 326"/>
                <a:gd name="T35" fmla="*/ 0 h 217"/>
                <a:gd name="T36" fmla="*/ 83 w 326"/>
                <a:gd name="T37" fmla="*/ 14 h 217"/>
                <a:gd name="T38" fmla="*/ 69 w 326"/>
                <a:gd name="T39" fmla="*/ 16 h 217"/>
                <a:gd name="T40" fmla="*/ 64 w 326"/>
                <a:gd name="T41" fmla="*/ 19 h 217"/>
                <a:gd name="T42" fmla="*/ 45 w 326"/>
                <a:gd name="T43" fmla="*/ 19 h 217"/>
                <a:gd name="T44" fmla="*/ 35 w 326"/>
                <a:gd name="T45" fmla="*/ 33 h 217"/>
                <a:gd name="T46" fmla="*/ 43 w 326"/>
                <a:gd name="T47" fmla="*/ 46 h 217"/>
                <a:gd name="T48" fmla="*/ 40 w 326"/>
                <a:gd name="T49" fmla="*/ 57 h 217"/>
                <a:gd name="T50" fmla="*/ 48 w 326"/>
                <a:gd name="T51" fmla="*/ 73 h 217"/>
                <a:gd name="T52" fmla="*/ 43 w 326"/>
                <a:gd name="T53" fmla="*/ 81 h 217"/>
                <a:gd name="T54" fmla="*/ 40 w 326"/>
                <a:gd name="T55" fmla="*/ 99 h 217"/>
                <a:gd name="T56" fmla="*/ 21 w 326"/>
                <a:gd name="T57" fmla="*/ 105 h 217"/>
                <a:gd name="T58" fmla="*/ 19 w 326"/>
                <a:gd name="T59" fmla="*/ 113 h 217"/>
                <a:gd name="T60" fmla="*/ 21 w 326"/>
                <a:gd name="T61" fmla="*/ 129 h 217"/>
                <a:gd name="T62" fmla="*/ 0 w 326"/>
                <a:gd name="T63" fmla="*/ 147 h 217"/>
                <a:gd name="T64" fmla="*/ 16 w 326"/>
                <a:gd name="T65" fmla="*/ 161 h 217"/>
                <a:gd name="T66" fmla="*/ 29 w 326"/>
                <a:gd name="T67" fmla="*/ 179 h 217"/>
                <a:gd name="T68" fmla="*/ 45 w 326"/>
                <a:gd name="T69" fmla="*/ 179 h 217"/>
                <a:gd name="T70" fmla="*/ 56 w 326"/>
                <a:gd name="T71" fmla="*/ 182 h 217"/>
                <a:gd name="T72" fmla="*/ 67 w 326"/>
                <a:gd name="T73" fmla="*/ 182 h 217"/>
                <a:gd name="T74" fmla="*/ 83 w 326"/>
                <a:gd name="T75" fmla="*/ 185 h 217"/>
                <a:gd name="T76" fmla="*/ 99 w 326"/>
                <a:gd name="T77" fmla="*/ 188 h 217"/>
                <a:gd name="T78" fmla="*/ 123 w 326"/>
                <a:gd name="T79" fmla="*/ 193 h 217"/>
                <a:gd name="T80" fmla="*/ 131 w 326"/>
                <a:gd name="T81" fmla="*/ 206 h 217"/>
                <a:gd name="T82" fmla="*/ 144 w 326"/>
                <a:gd name="T83" fmla="*/ 193 h 217"/>
                <a:gd name="T84" fmla="*/ 163 w 326"/>
                <a:gd name="T85" fmla="*/ 193 h 217"/>
                <a:gd name="T86" fmla="*/ 181 w 326"/>
                <a:gd name="T87" fmla="*/ 179 h 217"/>
                <a:gd name="T88" fmla="*/ 184 w 326"/>
                <a:gd name="T89" fmla="*/ 166 h 217"/>
                <a:gd name="T90" fmla="*/ 198 w 326"/>
                <a:gd name="T91" fmla="*/ 169 h 217"/>
                <a:gd name="T92" fmla="*/ 216 w 326"/>
                <a:gd name="T93" fmla="*/ 177 h 217"/>
                <a:gd name="T94" fmla="*/ 224 w 326"/>
                <a:gd name="T95" fmla="*/ 193 h 217"/>
                <a:gd name="T96" fmla="*/ 240 w 326"/>
                <a:gd name="T97" fmla="*/ 193 h 217"/>
                <a:gd name="T98" fmla="*/ 254 w 326"/>
                <a:gd name="T99" fmla="*/ 206 h 217"/>
                <a:gd name="T100" fmla="*/ 278 w 326"/>
                <a:gd name="T101" fmla="*/ 198 h 217"/>
                <a:gd name="T102" fmla="*/ 296 w 326"/>
                <a:gd name="T103" fmla="*/ 214 h 217"/>
                <a:gd name="T104" fmla="*/ 318 w 326"/>
                <a:gd name="T105" fmla="*/ 217 h 217"/>
                <a:gd name="T106" fmla="*/ 323 w 326"/>
                <a:gd name="T107" fmla="*/ 198 h 217"/>
                <a:gd name="T108" fmla="*/ 320 w 326"/>
                <a:gd name="T109" fmla="*/ 188 h 217"/>
                <a:gd name="T110" fmla="*/ 315 w 326"/>
                <a:gd name="T111" fmla="*/ 177 h 217"/>
                <a:gd name="T112" fmla="*/ 296 w 326"/>
                <a:gd name="T113" fmla="*/ 169 h 217"/>
                <a:gd name="T114" fmla="*/ 302 w 326"/>
                <a:gd name="T115" fmla="*/ 150 h 217"/>
                <a:gd name="T116" fmla="*/ 294 w 326"/>
                <a:gd name="T117" fmla="*/ 139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6" h="217" extrusionOk="0">
                  <a:moveTo>
                    <a:pt x="296" y="126"/>
                  </a:moveTo>
                  <a:lnTo>
                    <a:pt x="296" y="126"/>
                  </a:lnTo>
                  <a:lnTo>
                    <a:pt x="294" y="123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1" y="121"/>
                  </a:lnTo>
                  <a:lnTo>
                    <a:pt x="291" y="121"/>
                  </a:lnTo>
                  <a:lnTo>
                    <a:pt x="288" y="121"/>
                  </a:lnTo>
                  <a:lnTo>
                    <a:pt x="288" y="118"/>
                  </a:lnTo>
                  <a:lnTo>
                    <a:pt x="288" y="115"/>
                  </a:lnTo>
                  <a:lnTo>
                    <a:pt x="288" y="115"/>
                  </a:lnTo>
                  <a:lnTo>
                    <a:pt x="288" y="113"/>
                  </a:lnTo>
                  <a:lnTo>
                    <a:pt x="286" y="113"/>
                  </a:lnTo>
                  <a:lnTo>
                    <a:pt x="286" y="110"/>
                  </a:lnTo>
                  <a:lnTo>
                    <a:pt x="286" y="110"/>
                  </a:lnTo>
                  <a:lnTo>
                    <a:pt x="286" y="107"/>
                  </a:lnTo>
                  <a:lnTo>
                    <a:pt x="286" y="107"/>
                  </a:lnTo>
                  <a:lnTo>
                    <a:pt x="286" y="105"/>
                  </a:lnTo>
                  <a:lnTo>
                    <a:pt x="286" y="105"/>
                  </a:lnTo>
                  <a:lnTo>
                    <a:pt x="283" y="107"/>
                  </a:lnTo>
                  <a:lnTo>
                    <a:pt x="283" y="105"/>
                  </a:lnTo>
                  <a:lnTo>
                    <a:pt x="283" y="102"/>
                  </a:lnTo>
                  <a:lnTo>
                    <a:pt x="280" y="102"/>
                  </a:lnTo>
                  <a:lnTo>
                    <a:pt x="280" y="105"/>
                  </a:lnTo>
                  <a:lnTo>
                    <a:pt x="278" y="102"/>
                  </a:lnTo>
                  <a:lnTo>
                    <a:pt x="278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99"/>
                  </a:lnTo>
                  <a:lnTo>
                    <a:pt x="275" y="102"/>
                  </a:lnTo>
                  <a:lnTo>
                    <a:pt x="275" y="102"/>
                  </a:lnTo>
                  <a:lnTo>
                    <a:pt x="275" y="102"/>
                  </a:lnTo>
                  <a:lnTo>
                    <a:pt x="272" y="102"/>
                  </a:lnTo>
                  <a:lnTo>
                    <a:pt x="272" y="102"/>
                  </a:lnTo>
                  <a:lnTo>
                    <a:pt x="272" y="99"/>
                  </a:lnTo>
                  <a:lnTo>
                    <a:pt x="270" y="99"/>
                  </a:lnTo>
                  <a:lnTo>
                    <a:pt x="270" y="97"/>
                  </a:lnTo>
                  <a:lnTo>
                    <a:pt x="270" y="94"/>
                  </a:lnTo>
                  <a:lnTo>
                    <a:pt x="270" y="91"/>
                  </a:lnTo>
                  <a:lnTo>
                    <a:pt x="270" y="89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64" y="89"/>
                  </a:lnTo>
                  <a:lnTo>
                    <a:pt x="267" y="86"/>
                  </a:lnTo>
                  <a:lnTo>
                    <a:pt x="267" y="86"/>
                  </a:lnTo>
                  <a:lnTo>
                    <a:pt x="267" y="83"/>
                  </a:lnTo>
                  <a:lnTo>
                    <a:pt x="267" y="81"/>
                  </a:lnTo>
                  <a:lnTo>
                    <a:pt x="267" y="78"/>
                  </a:lnTo>
                  <a:lnTo>
                    <a:pt x="267" y="75"/>
                  </a:lnTo>
                  <a:lnTo>
                    <a:pt x="264" y="75"/>
                  </a:lnTo>
                  <a:lnTo>
                    <a:pt x="267" y="73"/>
                  </a:lnTo>
                  <a:lnTo>
                    <a:pt x="267" y="73"/>
                  </a:lnTo>
                  <a:lnTo>
                    <a:pt x="267" y="73"/>
                  </a:lnTo>
                  <a:lnTo>
                    <a:pt x="270" y="70"/>
                  </a:lnTo>
                  <a:lnTo>
                    <a:pt x="270" y="70"/>
                  </a:lnTo>
                  <a:lnTo>
                    <a:pt x="270" y="67"/>
                  </a:lnTo>
                  <a:lnTo>
                    <a:pt x="267" y="67"/>
                  </a:lnTo>
                  <a:lnTo>
                    <a:pt x="267" y="65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2" y="65"/>
                  </a:lnTo>
                  <a:lnTo>
                    <a:pt x="262" y="62"/>
                  </a:lnTo>
                  <a:lnTo>
                    <a:pt x="259" y="59"/>
                  </a:lnTo>
                  <a:lnTo>
                    <a:pt x="254" y="65"/>
                  </a:lnTo>
                  <a:lnTo>
                    <a:pt x="251" y="62"/>
                  </a:lnTo>
                  <a:lnTo>
                    <a:pt x="254" y="59"/>
                  </a:lnTo>
                  <a:lnTo>
                    <a:pt x="254" y="57"/>
                  </a:lnTo>
                  <a:lnTo>
                    <a:pt x="254" y="57"/>
                  </a:lnTo>
                  <a:lnTo>
                    <a:pt x="251" y="54"/>
                  </a:lnTo>
                  <a:lnTo>
                    <a:pt x="251" y="51"/>
                  </a:lnTo>
                  <a:lnTo>
                    <a:pt x="248" y="51"/>
                  </a:lnTo>
                  <a:lnTo>
                    <a:pt x="248" y="46"/>
                  </a:lnTo>
                  <a:lnTo>
                    <a:pt x="246" y="46"/>
                  </a:lnTo>
                  <a:lnTo>
                    <a:pt x="243" y="46"/>
                  </a:lnTo>
                  <a:lnTo>
                    <a:pt x="240" y="49"/>
                  </a:lnTo>
                  <a:lnTo>
                    <a:pt x="238" y="49"/>
                  </a:lnTo>
                  <a:lnTo>
                    <a:pt x="238" y="46"/>
                  </a:lnTo>
                  <a:lnTo>
                    <a:pt x="238" y="46"/>
                  </a:lnTo>
                  <a:lnTo>
                    <a:pt x="235" y="49"/>
                  </a:lnTo>
                  <a:lnTo>
                    <a:pt x="232" y="49"/>
                  </a:lnTo>
                  <a:lnTo>
                    <a:pt x="230" y="49"/>
                  </a:lnTo>
                  <a:lnTo>
                    <a:pt x="227" y="49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4"/>
                  </a:lnTo>
                  <a:lnTo>
                    <a:pt x="224" y="54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4" y="54"/>
                  </a:lnTo>
                  <a:lnTo>
                    <a:pt x="224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19" y="57"/>
                  </a:lnTo>
                  <a:lnTo>
                    <a:pt x="219" y="57"/>
                  </a:lnTo>
                  <a:lnTo>
                    <a:pt x="216" y="57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4" y="57"/>
                  </a:lnTo>
                  <a:lnTo>
                    <a:pt x="211" y="57"/>
                  </a:lnTo>
                  <a:lnTo>
                    <a:pt x="211" y="54"/>
                  </a:lnTo>
                  <a:lnTo>
                    <a:pt x="211" y="54"/>
                  </a:lnTo>
                  <a:lnTo>
                    <a:pt x="211" y="54"/>
                  </a:lnTo>
                  <a:lnTo>
                    <a:pt x="208" y="54"/>
                  </a:lnTo>
                  <a:lnTo>
                    <a:pt x="208" y="54"/>
                  </a:lnTo>
                  <a:lnTo>
                    <a:pt x="208" y="51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08" y="49"/>
                  </a:lnTo>
                  <a:lnTo>
                    <a:pt x="211" y="51"/>
                  </a:lnTo>
                  <a:lnTo>
                    <a:pt x="211" y="49"/>
                  </a:lnTo>
                  <a:lnTo>
                    <a:pt x="211" y="46"/>
                  </a:lnTo>
                  <a:lnTo>
                    <a:pt x="208" y="46"/>
                  </a:lnTo>
                  <a:lnTo>
                    <a:pt x="208" y="43"/>
                  </a:lnTo>
                  <a:lnTo>
                    <a:pt x="208" y="41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08" y="38"/>
                  </a:lnTo>
                  <a:lnTo>
                    <a:pt x="211" y="35"/>
                  </a:lnTo>
                  <a:lnTo>
                    <a:pt x="211" y="35"/>
                  </a:lnTo>
                  <a:lnTo>
                    <a:pt x="211" y="33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14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4" y="24"/>
                  </a:lnTo>
                  <a:lnTo>
                    <a:pt x="211" y="24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19"/>
                  </a:lnTo>
                  <a:lnTo>
                    <a:pt x="208" y="19"/>
                  </a:lnTo>
                  <a:lnTo>
                    <a:pt x="211" y="16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08" y="11"/>
                  </a:lnTo>
                  <a:lnTo>
                    <a:pt x="208" y="11"/>
                  </a:lnTo>
                  <a:lnTo>
                    <a:pt x="203" y="11"/>
                  </a:lnTo>
                  <a:lnTo>
                    <a:pt x="203" y="11"/>
                  </a:lnTo>
                  <a:lnTo>
                    <a:pt x="200" y="11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5" y="14"/>
                  </a:lnTo>
                  <a:lnTo>
                    <a:pt x="195" y="11"/>
                  </a:lnTo>
                  <a:lnTo>
                    <a:pt x="195" y="11"/>
                  </a:lnTo>
                  <a:lnTo>
                    <a:pt x="195" y="8"/>
                  </a:lnTo>
                  <a:lnTo>
                    <a:pt x="195" y="8"/>
                  </a:lnTo>
                  <a:lnTo>
                    <a:pt x="192" y="6"/>
                  </a:lnTo>
                  <a:lnTo>
                    <a:pt x="192" y="6"/>
                  </a:lnTo>
                  <a:lnTo>
                    <a:pt x="189" y="3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87" y="3"/>
                  </a:lnTo>
                  <a:lnTo>
                    <a:pt x="187" y="3"/>
                  </a:lnTo>
                  <a:lnTo>
                    <a:pt x="187" y="6"/>
                  </a:lnTo>
                  <a:lnTo>
                    <a:pt x="184" y="6"/>
                  </a:lnTo>
                  <a:lnTo>
                    <a:pt x="181" y="8"/>
                  </a:lnTo>
                  <a:lnTo>
                    <a:pt x="181" y="11"/>
                  </a:lnTo>
                  <a:lnTo>
                    <a:pt x="181" y="11"/>
                  </a:lnTo>
                  <a:lnTo>
                    <a:pt x="181" y="14"/>
                  </a:lnTo>
                  <a:lnTo>
                    <a:pt x="181" y="14"/>
                  </a:lnTo>
                  <a:lnTo>
                    <a:pt x="179" y="14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71" y="19"/>
                  </a:lnTo>
                  <a:lnTo>
                    <a:pt x="168" y="19"/>
                  </a:lnTo>
                  <a:lnTo>
                    <a:pt x="165" y="19"/>
                  </a:lnTo>
                  <a:lnTo>
                    <a:pt x="165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5" y="19"/>
                  </a:lnTo>
                  <a:lnTo>
                    <a:pt x="155" y="19"/>
                  </a:lnTo>
                  <a:lnTo>
                    <a:pt x="155" y="16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5" y="11"/>
                  </a:lnTo>
                  <a:lnTo>
                    <a:pt x="149" y="6"/>
                  </a:lnTo>
                  <a:lnTo>
                    <a:pt x="149" y="6"/>
                  </a:lnTo>
                  <a:lnTo>
                    <a:pt x="147" y="8"/>
                  </a:lnTo>
                  <a:lnTo>
                    <a:pt x="144" y="6"/>
                  </a:lnTo>
                  <a:lnTo>
                    <a:pt x="144" y="8"/>
                  </a:lnTo>
                  <a:lnTo>
                    <a:pt x="147" y="8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1" y="11"/>
                  </a:lnTo>
                  <a:lnTo>
                    <a:pt x="139" y="14"/>
                  </a:lnTo>
                  <a:lnTo>
                    <a:pt x="136" y="14"/>
                  </a:lnTo>
                  <a:lnTo>
                    <a:pt x="133" y="14"/>
                  </a:lnTo>
                  <a:lnTo>
                    <a:pt x="131" y="14"/>
                  </a:lnTo>
                  <a:lnTo>
                    <a:pt x="128" y="14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3" y="14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17" y="19"/>
                  </a:lnTo>
                  <a:lnTo>
                    <a:pt x="117" y="19"/>
                  </a:lnTo>
                  <a:lnTo>
                    <a:pt x="115" y="22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2" y="19"/>
                  </a:lnTo>
                  <a:lnTo>
                    <a:pt x="109" y="19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09" y="14"/>
                  </a:lnTo>
                  <a:lnTo>
                    <a:pt x="107" y="11"/>
                  </a:lnTo>
                  <a:lnTo>
                    <a:pt x="107" y="14"/>
                  </a:lnTo>
                  <a:lnTo>
                    <a:pt x="104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99" y="6"/>
                  </a:lnTo>
                  <a:lnTo>
                    <a:pt x="99" y="3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88" y="3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8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1"/>
                  </a:lnTo>
                  <a:lnTo>
                    <a:pt x="67" y="11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1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1" y="24"/>
                  </a:lnTo>
                  <a:lnTo>
                    <a:pt x="51" y="22"/>
                  </a:lnTo>
                  <a:lnTo>
                    <a:pt x="48" y="22"/>
                  </a:lnTo>
                  <a:lnTo>
                    <a:pt x="48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7" y="30"/>
                  </a:lnTo>
                  <a:lnTo>
                    <a:pt x="37" y="27"/>
                  </a:lnTo>
                  <a:lnTo>
                    <a:pt x="37" y="30"/>
                  </a:lnTo>
                  <a:lnTo>
                    <a:pt x="35" y="3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8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2" y="49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4"/>
                  </a:lnTo>
                  <a:lnTo>
                    <a:pt x="37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3" y="59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8" y="67"/>
                  </a:lnTo>
                  <a:lnTo>
                    <a:pt x="48" y="70"/>
                  </a:lnTo>
                  <a:lnTo>
                    <a:pt x="51" y="70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3" y="75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5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5" y="86"/>
                  </a:lnTo>
                  <a:lnTo>
                    <a:pt x="43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91"/>
                  </a:lnTo>
                  <a:lnTo>
                    <a:pt x="35" y="94"/>
                  </a:lnTo>
                  <a:lnTo>
                    <a:pt x="37" y="94"/>
                  </a:lnTo>
                  <a:lnTo>
                    <a:pt x="37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3" y="102"/>
                  </a:lnTo>
                  <a:lnTo>
                    <a:pt x="40" y="102"/>
                  </a:lnTo>
                  <a:lnTo>
                    <a:pt x="37" y="102"/>
                  </a:lnTo>
                  <a:lnTo>
                    <a:pt x="35" y="102"/>
                  </a:lnTo>
                  <a:lnTo>
                    <a:pt x="32" y="102"/>
                  </a:lnTo>
                  <a:lnTo>
                    <a:pt x="29" y="102"/>
                  </a:lnTo>
                  <a:lnTo>
                    <a:pt x="27" y="102"/>
                  </a:lnTo>
                  <a:lnTo>
                    <a:pt x="27" y="102"/>
                  </a:lnTo>
                  <a:lnTo>
                    <a:pt x="24" y="102"/>
                  </a:lnTo>
                  <a:lnTo>
                    <a:pt x="24" y="105"/>
                  </a:lnTo>
                  <a:lnTo>
                    <a:pt x="27" y="105"/>
                  </a:lnTo>
                  <a:lnTo>
                    <a:pt x="24" y="107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9" y="110"/>
                  </a:lnTo>
                  <a:lnTo>
                    <a:pt x="19" y="110"/>
                  </a:lnTo>
                  <a:lnTo>
                    <a:pt x="21" y="110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21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6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19" y="131"/>
                  </a:lnTo>
                  <a:lnTo>
                    <a:pt x="16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8" y="139"/>
                  </a:lnTo>
                  <a:lnTo>
                    <a:pt x="5" y="139"/>
                  </a:lnTo>
                  <a:lnTo>
                    <a:pt x="3" y="142"/>
                  </a:lnTo>
                  <a:lnTo>
                    <a:pt x="0" y="145"/>
                  </a:lnTo>
                  <a:lnTo>
                    <a:pt x="0" y="145"/>
                  </a:lnTo>
                  <a:lnTo>
                    <a:pt x="0" y="147"/>
                  </a:lnTo>
                  <a:lnTo>
                    <a:pt x="0" y="150"/>
                  </a:lnTo>
                  <a:lnTo>
                    <a:pt x="0" y="153"/>
                  </a:lnTo>
                  <a:lnTo>
                    <a:pt x="0" y="155"/>
                  </a:lnTo>
                  <a:lnTo>
                    <a:pt x="3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3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8" y="158"/>
                  </a:lnTo>
                  <a:lnTo>
                    <a:pt x="11" y="158"/>
                  </a:lnTo>
                  <a:lnTo>
                    <a:pt x="11" y="158"/>
                  </a:lnTo>
                  <a:lnTo>
                    <a:pt x="16" y="161"/>
                  </a:lnTo>
                  <a:lnTo>
                    <a:pt x="13" y="166"/>
                  </a:lnTo>
                  <a:lnTo>
                    <a:pt x="16" y="169"/>
                  </a:lnTo>
                  <a:lnTo>
                    <a:pt x="19" y="169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4"/>
                  </a:lnTo>
                  <a:lnTo>
                    <a:pt x="24" y="177"/>
                  </a:lnTo>
                  <a:lnTo>
                    <a:pt x="27" y="177"/>
                  </a:lnTo>
                  <a:lnTo>
                    <a:pt x="27" y="179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29" y="179"/>
                  </a:lnTo>
                  <a:lnTo>
                    <a:pt x="32" y="179"/>
                  </a:lnTo>
                  <a:lnTo>
                    <a:pt x="32" y="182"/>
                  </a:lnTo>
                  <a:lnTo>
                    <a:pt x="32" y="182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7" y="179"/>
                  </a:lnTo>
                  <a:lnTo>
                    <a:pt x="40" y="179"/>
                  </a:lnTo>
                  <a:lnTo>
                    <a:pt x="40" y="179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5" y="179"/>
                  </a:lnTo>
                  <a:lnTo>
                    <a:pt x="45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3" y="179"/>
                  </a:lnTo>
                  <a:lnTo>
                    <a:pt x="56" y="179"/>
                  </a:lnTo>
                  <a:lnTo>
                    <a:pt x="56" y="179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72" y="182"/>
                  </a:lnTo>
                  <a:lnTo>
                    <a:pt x="72" y="185"/>
                  </a:lnTo>
                  <a:lnTo>
                    <a:pt x="75" y="185"/>
                  </a:lnTo>
                  <a:lnTo>
                    <a:pt x="75" y="188"/>
                  </a:lnTo>
                  <a:lnTo>
                    <a:pt x="77" y="188"/>
                  </a:lnTo>
                  <a:lnTo>
                    <a:pt x="77" y="188"/>
                  </a:lnTo>
                  <a:lnTo>
                    <a:pt x="77" y="185"/>
                  </a:lnTo>
                  <a:lnTo>
                    <a:pt x="77" y="185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3" y="185"/>
                  </a:lnTo>
                  <a:lnTo>
                    <a:pt x="83" y="185"/>
                  </a:lnTo>
                  <a:lnTo>
                    <a:pt x="83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91" y="188"/>
                  </a:lnTo>
                  <a:lnTo>
                    <a:pt x="93" y="190"/>
                  </a:lnTo>
                  <a:lnTo>
                    <a:pt x="93" y="188"/>
                  </a:lnTo>
                  <a:lnTo>
                    <a:pt x="96" y="188"/>
                  </a:lnTo>
                  <a:lnTo>
                    <a:pt x="96" y="185"/>
                  </a:lnTo>
                  <a:lnTo>
                    <a:pt x="96" y="188"/>
                  </a:lnTo>
                  <a:lnTo>
                    <a:pt x="99" y="188"/>
                  </a:lnTo>
                  <a:lnTo>
                    <a:pt x="99" y="190"/>
                  </a:lnTo>
                  <a:lnTo>
                    <a:pt x="101" y="190"/>
                  </a:lnTo>
                  <a:lnTo>
                    <a:pt x="104" y="190"/>
                  </a:lnTo>
                  <a:lnTo>
                    <a:pt x="104" y="190"/>
                  </a:lnTo>
                  <a:lnTo>
                    <a:pt x="107" y="188"/>
                  </a:lnTo>
                  <a:lnTo>
                    <a:pt x="107" y="188"/>
                  </a:lnTo>
                  <a:lnTo>
                    <a:pt x="109" y="188"/>
                  </a:lnTo>
                  <a:lnTo>
                    <a:pt x="112" y="185"/>
                  </a:lnTo>
                  <a:lnTo>
                    <a:pt x="115" y="185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20" y="190"/>
                  </a:lnTo>
                  <a:lnTo>
                    <a:pt x="123" y="190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5" y="196"/>
                  </a:lnTo>
                  <a:lnTo>
                    <a:pt x="128" y="196"/>
                  </a:lnTo>
                  <a:lnTo>
                    <a:pt x="131" y="198"/>
                  </a:lnTo>
                  <a:lnTo>
                    <a:pt x="131" y="201"/>
                  </a:lnTo>
                  <a:lnTo>
                    <a:pt x="131" y="201"/>
                  </a:lnTo>
                  <a:lnTo>
                    <a:pt x="131" y="201"/>
                  </a:lnTo>
                  <a:lnTo>
                    <a:pt x="128" y="204"/>
                  </a:lnTo>
                  <a:lnTo>
                    <a:pt x="131" y="204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1" y="206"/>
                  </a:lnTo>
                  <a:lnTo>
                    <a:pt x="133" y="204"/>
                  </a:lnTo>
                  <a:lnTo>
                    <a:pt x="133" y="204"/>
                  </a:lnTo>
                  <a:lnTo>
                    <a:pt x="133" y="201"/>
                  </a:lnTo>
                  <a:lnTo>
                    <a:pt x="133" y="201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6" y="198"/>
                  </a:lnTo>
                  <a:lnTo>
                    <a:pt x="136" y="196"/>
                  </a:lnTo>
                  <a:lnTo>
                    <a:pt x="139" y="193"/>
                  </a:lnTo>
                  <a:lnTo>
                    <a:pt x="139" y="193"/>
                  </a:lnTo>
                  <a:lnTo>
                    <a:pt x="141" y="196"/>
                  </a:lnTo>
                  <a:lnTo>
                    <a:pt x="144" y="196"/>
                  </a:lnTo>
                  <a:lnTo>
                    <a:pt x="144" y="196"/>
                  </a:lnTo>
                  <a:lnTo>
                    <a:pt x="144" y="193"/>
                  </a:lnTo>
                  <a:lnTo>
                    <a:pt x="147" y="190"/>
                  </a:lnTo>
                  <a:lnTo>
                    <a:pt x="147" y="190"/>
                  </a:lnTo>
                  <a:lnTo>
                    <a:pt x="149" y="190"/>
                  </a:lnTo>
                  <a:lnTo>
                    <a:pt x="149" y="190"/>
                  </a:lnTo>
                  <a:lnTo>
                    <a:pt x="152" y="190"/>
                  </a:lnTo>
                  <a:lnTo>
                    <a:pt x="155" y="190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60" y="193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63" y="193"/>
                  </a:lnTo>
                  <a:lnTo>
                    <a:pt x="163" y="193"/>
                  </a:lnTo>
                  <a:lnTo>
                    <a:pt x="163" y="190"/>
                  </a:lnTo>
                  <a:lnTo>
                    <a:pt x="163" y="190"/>
                  </a:lnTo>
                  <a:lnTo>
                    <a:pt x="165" y="188"/>
                  </a:lnTo>
                  <a:lnTo>
                    <a:pt x="168" y="188"/>
                  </a:lnTo>
                  <a:lnTo>
                    <a:pt x="168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6" y="185"/>
                  </a:lnTo>
                  <a:lnTo>
                    <a:pt x="176" y="185"/>
                  </a:lnTo>
                  <a:lnTo>
                    <a:pt x="179" y="185"/>
                  </a:lnTo>
                  <a:lnTo>
                    <a:pt x="181" y="182"/>
                  </a:lnTo>
                  <a:lnTo>
                    <a:pt x="181" y="182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4" y="177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1" y="171"/>
                  </a:lnTo>
                  <a:lnTo>
                    <a:pt x="181" y="169"/>
                  </a:lnTo>
                  <a:lnTo>
                    <a:pt x="181" y="166"/>
                  </a:lnTo>
                  <a:lnTo>
                    <a:pt x="181" y="166"/>
                  </a:lnTo>
                  <a:lnTo>
                    <a:pt x="184" y="166"/>
                  </a:lnTo>
                  <a:lnTo>
                    <a:pt x="187" y="163"/>
                  </a:lnTo>
                  <a:lnTo>
                    <a:pt x="187" y="163"/>
                  </a:lnTo>
                  <a:lnTo>
                    <a:pt x="189" y="163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3"/>
                  </a:lnTo>
                  <a:lnTo>
                    <a:pt x="195" y="163"/>
                  </a:lnTo>
                  <a:lnTo>
                    <a:pt x="195" y="166"/>
                  </a:lnTo>
                  <a:lnTo>
                    <a:pt x="198" y="166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8" y="169"/>
                  </a:lnTo>
                  <a:lnTo>
                    <a:pt x="211" y="169"/>
                  </a:lnTo>
                  <a:lnTo>
                    <a:pt x="214" y="171"/>
                  </a:lnTo>
                  <a:lnTo>
                    <a:pt x="211" y="171"/>
                  </a:lnTo>
                  <a:lnTo>
                    <a:pt x="211" y="174"/>
                  </a:lnTo>
                  <a:lnTo>
                    <a:pt x="214" y="174"/>
                  </a:lnTo>
                  <a:lnTo>
                    <a:pt x="214" y="174"/>
                  </a:lnTo>
                  <a:lnTo>
                    <a:pt x="216" y="174"/>
                  </a:lnTo>
                  <a:lnTo>
                    <a:pt x="216" y="174"/>
                  </a:lnTo>
                  <a:lnTo>
                    <a:pt x="216" y="174"/>
                  </a:lnTo>
                  <a:lnTo>
                    <a:pt x="216" y="177"/>
                  </a:lnTo>
                  <a:lnTo>
                    <a:pt x="216" y="177"/>
                  </a:lnTo>
                  <a:lnTo>
                    <a:pt x="216" y="177"/>
                  </a:lnTo>
                  <a:lnTo>
                    <a:pt x="216" y="179"/>
                  </a:lnTo>
                  <a:lnTo>
                    <a:pt x="219" y="182"/>
                  </a:lnTo>
                  <a:lnTo>
                    <a:pt x="219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90"/>
                  </a:lnTo>
                  <a:lnTo>
                    <a:pt x="224" y="190"/>
                  </a:lnTo>
                  <a:lnTo>
                    <a:pt x="224" y="190"/>
                  </a:lnTo>
                  <a:lnTo>
                    <a:pt x="224" y="190"/>
                  </a:lnTo>
                  <a:lnTo>
                    <a:pt x="224" y="193"/>
                  </a:lnTo>
                  <a:lnTo>
                    <a:pt x="227" y="196"/>
                  </a:lnTo>
                  <a:lnTo>
                    <a:pt x="227" y="196"/>
                  </a:lnTo>
                  <a:lnTo>
                    <a:pt x="227" y="198"/>
                  </a:lnTo>
                  <a:lnTo>
                    <a:pt x="227" y="201"/>
                  </a:lnTo>
                  <a:lnTo>
                    <a:pt x="230" y="204"/>
                  </a:lnTo>
                  <a:lnTo>
                    <a:pt x="230" y="204"/>
                  </a:lnTo>
                  <a:lnTo>
                    <a:pt x="232" y="204"/>
                  </a:lnTo>
                  <a:lnTo>
                    <a:pt x="235" y="201"/>
                  </a:lnTo>
                  <a:lnTo>
                    <a:pt x="235" y="198"/>
                  </a:lnTo>
                  <a:lnTo>
                    <a:pt x="235" y="198"/>
                  </a:lnTo>
                  <a:lnTo>
                    <a:pt x="235" y="196"/>
                  </a:lnTo>
                  <a:lnTo>
                    <a:pt x="238" y="196"/>
                  </a:lnTo>
                  <a:lnTo>
                    <a:pt x="238" y="193"/>
                  </a:lnTo>
                  <a:lnTo>
                    <a:pt x="240" y="193"/>
                  </a:lnTo>
                  <a:lnTo>
                    <a:pt x="243" y="193"/>
                  </a:lnTo>
                  <a:lnTo>
                    <a:pt x="243" y="196"/>
                  </a:lnTo>
                  <a:lnTo>
                    <a:pt x="243" y="196"/>
                  </a:lnTo>
                  <a:lnTo>
                    <a:pt x="246" y="198"/>
                  </a:lnTo>
                  <a:lnTo>
                    <a:pt x="248" y="198"/>
                  </a:lnTo>
                  <a:lnTo>
                    <a:pt x="248" y="198"/>
                  </a:lnTo>
                  <a:lnTo>
                    <a:pt x="248" y="201"/>
                  </a:lnTo>
                  <a:lnTo>
                    <a:pt x="248" y="201"/>
                  </a:lnTo>
                  <a:lnTo>
                    <a:pt x="251" y="204"/>
                  </a:lnTo>
                  <a:lnTo>
                    <a:pt x="251" y="204"/>
                  </a:lnTo>
                  <a:lnTo>
                    <a:pt x="251" y="204"/>
                  </a:lnTo>
                  <a:lnTo>
                    <a:pt x="248" y="206"/>
                  </a:lnTo>
                  <a:lnTo>
                    <a:pt x="251" y="206"/>
                  </a:lnTo>
                  <a:lnTo>
                    <a:pt x="254" y="206"/>
                  </a:lnTo>
                  <a:lnTo>
                    <a:pt x="256" y="206"/>
                  </a:lnTo>
                  <a:lnTo>
                    <a:pt x="259" y="206"/>
                  </a:lnTo>
                  <a:lnTo>
                    <a:pt x="262" y="206"/>
                  </a:lnTo>
                  <a:lnTo>
                    <a:pt x="264" y="206"/>
                  </a:lnTo>
                  <a:lnTo>
                    <a:pt x="264" y="206"/>
                  </a:lnTo>
                  <a:lnTo>
                    <a:pt x="267" y="204"/>
                  </a:lnTo>
                  <a:lnTo>
                    <a:pt x="270" y="201"/>
                  </a:lnTo>
                  <a:lnTo>
                    <a:pt x="270" y="201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2" y="198"/>
                  </a:lnTo>
                  <a:lnTo>
                    <a:pt x="272" y="198"/>
                  </a:lnTo>
                  <a:lnTo>
                    <a:pt x="275" y="201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80" y="201"/>
                  </a:lnTo>
                  <a:lnTo>
                    <a:pt x="280" y="201"/>
                  </a:lnTo>
                  <a:lnTo>
                    <a:pt x="283" y="201"/>
                  </a:lnTo>
                  <a:lnTo>
                    <a:pt x="286" y="201"/>
                  </a:lnTo>
                  <a:lnTo>
                    <a:pt x="288" y="204"/>
                  </a:lnTo>
                  <a:lnTo>
                    <a:pt x="288" y="204"/>
                  </a:lnTo>
                  <a:lnTo>
                    <a:pt x="291" y="206"/>
                  </a:lnTo>
                  <a:lnTo>
                    <a:pt x="294" y="209"/>
                  </a:lnTo>
                  <a:lnTo>
                    <a:pt x="294" y="209"/>
                  </a:lnTo>
                  <a:lnTo>
                    <a:pt x="296" y="212"/>
                  </a:lnTo>
                  <a:lnTo>
                    <a:pt x="294" y="212"/>
                  </a:lnTo>
                  <a:lnTo>
                    <a:pt x="294" y="212"/>
                  </a:lnTo>
                  <a:lnTo>
                    <a:pt x="296" y="214"/>
                  </a:lnTo>
                  <a:lnTo>
                    <a:pt x="299" y="217"/>
                  </a:lnTo>
                  <a:lnTo>
                    <a:pt x="299" y="217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4"/>
                  </a:lnTo>
                  <a:lnTo>
                    <a:pt x="307" y="214"/>
                  </a:lnTo>
                  <a:lnTo>
                    <a:pt x="310" y="217"/>
                  </a:lnTo>
                  <a:lnTo>
                    <a:pt x="310" y="214"/>
                  </a:lnTo>
                  <a:lnTo>
                    <a:pt x="312" y="217"/>
                  </a:lnTo>
                  <a:lnTo>
                    <a:pt x="315" y="217"/>
                  </a:lnTo>
                  <a:lnTo>
                    <a:pt x="315" y="217"/>
                  </a:lnTo>
                  <a:lnTo>
                    <a:pt x="318" y="217"/>
                  </a:lnTo>
                  <a:lnTo>
                    <a:pt x="318" y="214"/>
                  </a:lnTo>
                  <a:lnTo>
                    <a:pt x="318" y="217"/>
                  </a:lnTo>
                  <a:lnTo>
                    <a:pt x="320" y="214"/>
                  </a:lnTo>
                  <a:lnTo>
                    <a:pt x="323" y="214"/>
                  </a:lnTo>
                  <a:lnTo>
                    <a:pt x="323" y="214"/>
                  </a:lnTo>
                  <a:lnTo>
                    <a:pt x="323" y="212"/>
                  </a:lnTo>
                  <a:lnTo>
                    <a:pt x="323" y="212"/>
                  </a:lnTo>
                  <a:lnTo>
                    <a:pt x="320" y="209"/>
                  </a:lnTo>
                  <a:lnTo>
                    <a:pt x="320" y="209"/>
                  </a:lnTo>
                  <a:lnTo>
                    <a:pt x="323" y="206"/>
                  </a:lnTo>
                  <a:lnTo>
                    <a:pt x="323" y="206"/>
                  </a:lnTo>
                  <a:lnTo>
                    <a:pt x="323" y="204"/>
                  </a:lnTo>
                  <a:lnTo>
                    <a:pt x="326" y="201"/>
                  </a:lnTo>
                  <a:lnTo>
                    <a:pt x="326" y="198"/>
                  </a:lnTo>
                  <a:lnTo>
                    <a:pt x="326" y="198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3" y="198"/>
                  </a:lnTo>
                  <a:lnTo>
                    <a:pt x="323" y="196"/>
                  </a:lnTo>
                  <a:lnTo>
                    <a:pt x="320" y="196"/>
                  </a:lnTo>
                  <a:lnTo>
                    <a:pt x="320" y="196"/>
                  </a:lnTo>
                  <a:lnTo>
                    <a:pt x="318" y="193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0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3"/>
                  </a:lnTo>
                  <a:lnTo>
                    <a:pt x="323" y="190"/>
                  </a:lnTo>
                  <a:lnTo>
                    <a:pt x="320" y="188"/>
                  </a:lnTo>
                  <a:lnTo>
                    <a:pt x="318" y="188"/>
                  </a:lnTo>
                  <a:lnTo>
                    <a:pt x="315" y="188"/>
                  </a:lnTo>
                  <a:lnTo>
                    <a:pt x="315" y="185"/>
                  </a:lnTo>
                  <a:lnTo>
                    <a:pt x="315" y="182"/>
                  </a:lnTo>
                  <a:lnTo>
                    <a:pt x="315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82"/>
                  </a:lnTo>
                  <a:lnTo>
                    <a:pt x="318" y="179"/>
                  </a:lnTo>
                  <a:lnTo>
                    <a:pt x="318" y="177"/>
                  </a:lnTo>
                  <a:lnTo>
                    <a:pt x="315" y="177"/>
                  </a:lnTo>
                  <a:lnTo>
                    <a:pt x="315" y="179"/>
                  </a:lnTo>
                  <a:lnTo>
                    <a:pt x="315" y="179"/>
                  </a:lnTo>
                  <a:lnTo>
                    <a:pt x="315" y="177"/>
                  </a:lnTo>
                  <a:lnTo>
                    <a:pt x="312" y="177"/>
                  </a:lnTo>
                  <a:lnTo>
                    <a:pt x="312" y="177"/>
                  </a:lnTo>
                  <a:lnTo>
                    <a:pt x="312" y="174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07" y="166"/>
                  </a:lnTo>
                  <a:lnTo>
                    <a:pt x="304" y="166"/>
                  </a:lnTo>
                  <a:lnTo>
                    <a:pt x="299" y="169"/>
                  </a:lnTo>
                  <a:lnTo>
                    <a:pt x="296" y="169"/>
                  </a:lnTo>
                  <a:lnTo>
                    <a:pt x="296" y="169"/>
                  </a:lnTo>
                  <a:lnTo>
                    <a:pt x="296" y="166"/>
                  </a:lnTo>
                  <a:lnTo>
                    <a:pt x="294" y="166"/>
                  </a:lnTo>
                  <a:lnTo>
                    <a:pt x="294" y="166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6" y="161"/>
                  </a:lnTo>
                  <a:lnTo>
                    <a:pt x="296" y="161"/>
                  </a:lnTo>
                  <a:lnTo>
                    <a:pt x="294" y="161"/>
                  </a:lnTo>
                  <a:lnTo>
                    <a:pt x="294" y="161"/>
                  </a:lnTo>
                  <a:lnTo>
                    <a:pt x="299" y="155"/>
                  </a:lnTo>
                  <a:lnTo>
                    <a:pt x="302" y="155"/>
                  </a:lnTo>
                  <a:lnTo>
                    <a:pt x="302" y="153"/>
                  </a:lnTo>
                  <a:lnTo>
                    <a:pt x="302" y="153"/>
                  </a:lnTo>
                  <a:lnTo>
                    <a:pt x="302" y="150"/>
                  </a:lnTo>
                  <a:lnTo>
                    <a:pt x="302" y="150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9" y="150"/>
                  </a:lnTo>
                  <a:lnTo>
                    <a:pt x="296" y="150"/>
                  </a:lnTo>
                  <a:lnTo>
                    <a:pt x="296" y="150"/>
                  </a:lnTo>
                  <a:lnTo>
                    <a:pt x="294" y="147"/>
                  </a:lnTo>
                  <a:lnTo>
                    <a:pt x="296" y="147"/>
                  </a:lnTo>
                  <a:lnTo>
                    <a:pt x="296" y="147"/>
                  </a:lnTo>
                  <a:lnTo>
                    <a:pt x="294" y="145"/>
                  </a:lnTo>
                  <a:lnTo>
                    <a:pt x="296" y="145"/>
                  </a:lnTo>
                  <a:lnTo>
                    <a:pt x="294" y="142"/>
                  </a:lnTo>
                  <a:lnTo>
                    <a:pt x="294" y="139"/>
                  </a:lnTo>
                  <a:lnTo>
                    <a:pt x="294" y="139"/>
                  </a:lnTo>
                  <a:lnTo>
                    <a:pt x="294" y="137"/>
                  </a:lnTo>
                  <a:lnTo>
                    <a:pt x="294" y="137"/>
                  </a:lnTo>
                  <a:lnTo>
                    <a:pt x="296" y="137"/>
                  </a:lnTo>
                  <a:lnTo>
                    <a:pt x="296" y="134"/>
                  </a:lnTo>
                  <a:lnTo>
                    <a:pt x="296" y="134"/>
                  </a:lnTo>
                  <a:lnTo>
                    <a:pt x="296" y="131"/>
                  </a:lnTo>
                  <a:lnTo>
                    <a:pt x="294" y="131"/>
                  </a:lnTo>
                  <a:lnTo>
                    <a:pt x="294" y="129"/>
                  </a:lnTo>
                  <a:lnTo>
                    <a:pt x="294" y="129"/>
                  </a:lnTo>
                  <a:lnTo>
                    <a:pt x="296" y="126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7" name="Freeform 8945">
              <a:extLst>
                <a:ext uri="{FF2B5EF4-FFF2-40B4-BE49-F238E27FC236}">
                  <a16:creationId xmlns:a16="http://schemas.microsoft.com/office/drawing/2014/main" id="{D0C51CBD-A67A-AB40-AEEB-E727303FBA1A}"/>
                </a:ext>
              </a:extLst>
            </p:cNvPr>
            <p:cNvSpPr/>
            <p:nvPr/>
          </p:nvSpPr>
          <p:spPr bwMode="auto">
            <a:xfrm>
              <a:off x="1183480" y="3311526"/>
              <a:ext cx="439738" cy="368300"/>
            </a:xfrm>
            <a:custGeom>
              <a:avLst/>
              <a:gdLst>
                <a:gd name="T0" fmla="*/ 74 w 277"/>
                <a:gd name="T1" fmla="*/ 213 h 232"/>
                <a:gd name="T2" fmla="*/ 69 w 277"/>
                <a:gd name="T3" fmla="*/ 221 h 232"/>
                <a:gd name="T4" fmla="*/ 56 w 277"/>
                <a:gd name="T5" fmla="*/ 224 h 232"/>
                <a:gd name="T6" fmla="*/ 37 w 277"/>
                <a:gd name="T7" fmla="*/ 224 h 232"/>
                <a:gd name="T8" fmla="*/ 24 w 277"/>
                <a:gd name="T9" fmla="*/ 232 h 232"/>
                <a:gd name="T10" fmla="*/ 18 w 277"/>
                <a:gd name="T11" fmla="*/ 221 h 232"/>
                <a:gd name="T12" fmla="*/ 18 w 277"/>
                <a:gd name="T13" fmla="*/ 203 h 232"/>
                <a:gd name="T14" fmla="*/ 26 w 277"/>
                <a:gd name="T15" fmla="*/ 195 h 232"/>
                <a:gd name="T16" fmla="*/ 18 w 277"/>
                <a:gd name="T17" fmla="*/ 181 h 232"/>
                <a:gd name="T18" fmla="*/ 0 w 277"/>
                <a:gd name="T19" fmla="*/ 165 h 232"/>
                <a:gd name="T20" fmla="*/ 16 w 277"/>
                <a:gd name="T21" fmla="*/ 155 h 232"/>
                <a:gd name="T22" fmla="*/ 18 w 277"/>
                <a:gd name="T23" fmla="*/ 144 h 232"/>
                <a:gd name="T24" fmla="*/ 13 w 277"/>
                <a:gd name="T25" fmla="*/ 120 h 232"/>
                <a:gd name="T26" fmla="*/ 18 w 277"/>
                <a:gd name="T27" fmla="*/ 101 h 232"/>
                <a:gd name="T28" fmla="*/ 29 w 277"/>
                <a:gd name="T29" fmla="*/ 88 h 232"/>
                <a:gd name="T30" fmla="*/ 26 w 277"/>
                <a:gd name="T31" fmla="*/ 69 h 232"/>
                <a:gd name="T32" fmla="*/ 34 w 277"/>
                <a:gd name="T33" fmla="*/ 50 h 232"/>
                <a:gd name="T34" fmla="*/ 50 w 277"/>
                <a:gd name="T35" fmla="*/ 42 h 232"/>
                <a:gd name="T36" fmla="*/ 56 w 277"/>
                <a:gd name="T37" fmla="*/ 26 h 232"/>
                <a:gd name="T38" fmla="*/ 69 w 277"/>
                <a:gd name="T39" fmla="*/ 18 h 232"/>
                <a:gd name="T40" fmla="*/ 85 w 277"/>
                <a:gd name="T41" fmla="*/ 5 h 232"/>
                <a:gd name="T42" fmla="*/ 96 w 277"/>
                <a:gd name="T43" fmla="*/ 0 h 232"/>
                <a:gd name="T44" fmla="*/ 101 w 277"/>
                <a:gd name="T45" fmla="*/ 8 h 232"/>
                <a:gd name="T46" fmla="*/ 106 w 277"/>
                <a:gd name="T47" fmla="*/ 13 h 232"/>
                <a:gd name="T48" fmla="*/ 112 w 277"/>
                <a:gd name="T49" fmla="*/ 18 h 232"/>
                <a:gd name="T50" fmla="*/ 120 w 277"/>
                <a:gd name="T51" fmla="*/ 24 h 232"/>
                <a:gd name="T52" fmla="*/ 128 w 277"/>
                <a:gd name="T53" fmla="*/ 26 h 232"/>
                <a:gd name="T54" fmla="*/ 136 w 277"/>
                <a:gd name="T55" fmla="*/ 40 h 232"/>
                <a:gd name="T56" fmla="*/ 136 w 277"/>
                <a:gd name="T57" fmla="*/ 45 h 232"/>
                <a:gd name="T58" fmla="*/ 144 w 277"/>
                <a:gd name="T59" fmla="*/ 48 h 232"/>
                <a:gd name="T60" fmla="*/ 149 w 277"/>
                <a:gd name="T61" fmla="*/ 56 h 232"/>
                <a:gd name="T62" fmla="*/ 149 w 277"/>
                <a:gd name="T63" fmla="*/ 58 h 232"/>
                <a:gd name="T64" fmla="*/ 155 w 277"/>
                <a:gd name="T65" fmla="*/ 61 h 232"/>
                <a:gd name="T66" fmla="*/ 163 w 277"/>
                <a:gd name="T67" fmla="*/ 69 h 232"/>
                <a:gd name="T68" fmla="*/ 171 w 277"/>
                <a:gd name="T69" fmla="*/ 77 h 232"/>
                <a:gd name="T70" fmla="*/ 184 w 277"/>
                <a:gd name="T71" fmla="*/ 82 h 232"/>
                <a:gd name="T72" fmla="*/ 192 w 277"/>
                <a:gd name="T73" fmla="*/ 82 h 232"/>
                <a:gd name="T74" fmla="*/ 203 w 277"/>
                <a:gd name="T75" fmla="*/ 82 h 232"/>
                <a:gd name="T76" fmla="*/ 216 w 277"/>
                <a:gd name="T77" fmla="*/ 77 h 232"/>
                <a:gd name="T78" fmla="*/ 221 w 277"/>
                <a:gd name="T79" fmla="*/ 85 h 232"/>
                <a:gd name="T80" fmla="*/ 227 w 277"/>
                <a:gd name="T81" fmla="*/ 77 h 232"/>
                <a:gd name="T82" fmla="*/ 240 w 277"/>
                <a:gd name="T83" fmla="*/ 85 h 232"/>
                <a:gd name="T84" fmla="*/ 248 w 277"/>
                <a:gd name="T85" fmla="*/ 96 h 232"/>
                <a:gd name="T86" fmla="*/ 251 w 277"/>
                <a:gd name="T87" fmla="*/ 109 h 232"/>
                <a:gd name="T88" fmla="*/ 261 w 277"/>
                <a:gd name="T89" fmla="*/ 115 h 232"/>
                <a:gd name="T90" fmla="*/ 275 w 277"/>
                <a:gd name="T91" fmla="*/ 123 h 232"/>
                <a:gd name="T92" fmla="*/ 269 w 277"/>
                <a:gd name="T93" fmla="*/ 149 h 232"/>
                <a:gd name="T94" fmla="*/ 261 w 277"/>
                <a:gd name="T95" fmla="*/ 165 h 232"/>
                <a:gd name="T96" fmla="*/ 251 w 277"/>
                <a:gd name="T97" fmla="*/ 173 h 232"/>
                <a:gd name="T98" fmla="*/ 243 w 277"/>
                <a:gd name="T99" fmla="*/ 189 h 232"/>
                <a:gd name="T100" fmla="*/ 203 w 277"/>
                <a:gd name="T101" fmla="*/ 197 h 232"/>
                <a:gd name="T102" fmla="*/ 197 w 277"/>
                <a:gd name="T103" fmla="*/ 208 h 232"/>
                <a:gd name="T104" fmla="*/ 176 w 277"/>
                <a:gd name="T105" fmla="*/ 203 h 232"/>
                <a:gd name="T106" fmla="*/ 168 w 277"/>
                <a:gd name="T107" fmla="*/ 205 h 232"/>
                <a:gd name="T108" fmla="*/ 152 w 277"/>
                <a:gd name="T109" fmla="*/ 205 h 232"/>
                <a:gd name="T110" fmla="*/ 144 w 277"/>
                <a:gd name="T111" fmla="*/ 195 h 232"/>
                <a:gd name="T112" fmla="*/ 133 w 277"/>
                <a:gd name="T113" fmla="*/ 184 h 232"/>
                <a:gd name="T114" fmla="*/ 123 w 277"/>
                <a:gd name="T115" fmla="*/ 189 h 232"/>
                <a:gd name="T116" fmla="*/ 117 w 277"/>
                <a:gd name="T117" fmla="*/ 197 h 232"/>
                <a:gd name="T118" fmla="*/ 106 w 277"/>
                <a:gd name="T119" fmla="*/ 205 h 232"/>
                <a:gd name="T120" fmla="*/ 93 w 277"/>
                <a:gd name="T121" fmla="*/ 211 h 232"/>
                <a:gd name="T122" fmla="*/ 88 w 277"/>
                <a:gd name="T123" fmla="*/ 21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7" h="232" extrusionOk="0">
                  <a:moveTo>
                    <a:pt x="88" y="213"/>
                  </a:moveTo>
                  <a:lnTo>
                    <a:pt x="88" y="213"/>
                  </a:lnTo>
                  <a:lnTo>
                    <a:pt x="85" y="213"/>
                  </a:lnTo>
                  <a:lnTo>
                    <a:pt x="82" y="211"/>
                  </a:lnTo>
                  <a:lnTo>
                    <a:pt x="82" y="213"/>
                  </a:lnTo>
                  <a:lnTo>
                    <a:pt x="82" y="213"/>
                  </a:lnTo>
                  <a:lnTo>
                    <a:pt x="80" y="216"/>
                  </a:lnTo>
                  <a:lnTo>
                    <a:pt x="77" y="216"/>
                  </a:lnTo>
                  <a:lnTo>
                    <a:pt x="77" y="216"/>
                  </a:lnTo>
                  <a:lnTo>
                    <a:pt x="74" y="213"/>
                  </a:lnTo>
                  <a:lnTo>
                    <a:pt x="77" y="213"/>
                  </a:lnTo>
                  <a:lnTo>
                    <a:pt x="74" y="211"/>
                  </a:lnTo>
                  <a:lnTo>
                    <a:pt x="74" y="211"/>
                  </a:lnTo>
                  <a:lnTo>
                    <a:pt x="72" y="213"/>
                  </a:lnTo>
                  <a:lnTo>
                    <a:pt x="72" y="211"/>
                  </a:lnTo>
                  <a:lnTo>
                    <a:pt x="72" y="213"/>
                  </a:lnTo>
                  <a:lnTo>
                    <a:pt x="69" y="213"/>
                  </a:lnTo>
                  <a:lnTo>
                    <a:pt x="69" y="216"/>
                  </a:lnTo>
                  <a:lnTo>
                    <a:pt x="69" y="219"/>
                  </a:lnTo>
                  <a:lnTo>
                    <a:pt x="69" y="221"/>
                  </a:lnTo>
                  <a:lnTo>
                    <a:pt x="66" y="221"/>
                  </a:lnTo>
                  <a:lnTo>
                    <a:pt x="66" y="221"/>
                  </a:lnTo>
                  <a:lnTo>
                    <a:pt x="64" y="221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21"/>
                  </a:lnTo>
                  <a:lnTo>
                    <a:pt x="58" y="224"/>
                  </a:lnTo>
                  <a:lnTo>
                    <a:pt x="56" y="224"/>
                  </a:lnTo>
                  <a:lnTo>
                    <a:pt x="56" y="221"/>
                  </a:lnTo>
                  <a:lnTo>
                    <a:pt x="53" y="224"/>
                  </a:lnTo>
                  <a:lnTo>
                    <a:pt x="50" y="224"/>
                  </a:lnTo>
                  <a:lnTo>
                    <a:pt x="50" y="224"/>
                  </a:lnTo>
                  <a:lnTo>
                    <a:pt x="48" y="224"/>
                  </a:lnTo>
                  <a:lnTo>
                    <a:pt x="45" y="224"/>
                  </a:lnTo>
                  <a:lnTo>
                    <a:pt x="42" y="224"/>
                  </a:lnTo>
                  <a:lnTo>
                    <a:pt x="40" y="224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4" y="224"/>
                  </a:lnTo>
                  <a:lnTo>
                    <a:pt x="34" y="227"/>
                  </a:lnTo>
                  <a:lnTo>
                    <a:pt x="34" y="229"/>
                  </a:lnTo>
                  <a:lnTo>
                    <a:pt x="32" y="229"/>
                  </a:lnTo>
                  <a:lnTo>
                    <a:pt x="29" y="229"/>
                  </a:lnTo>
                  <a:lnTo>
                    <a:pt x="29" y="229"/>
                  </a:lnTo>
                  <a:lnTo>
                    <a:pt x="29" y="229"/>
                  </a:lnTo>
                  <a:lnTo>
                    <a:pt x="29" y="232"/>
                  </a:lnTo>
                  <a:lnTo>
                    <a:pt x="26" y="232"/>
                  </a:lnTo>
                  <a:lnTo>
                    <a:pt x="24" y="232"/>
                  </a:lnTo>
                  <a:lnTo>
                    <a:pt x="21" y="232"/>
                  </a:lnTo>
                  <a:lnTo>
                    <a:pt x="21" y="232"/>
                  </a:lnTo>
                  <a:lnTo>
                    <a:pt x="21" y="229"/>
                  </a:lnTo>
                  <a:lnTo>
                    <a:pt x="18" y="229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18" y="224"/>
                  </a:lnTo>
                  <a:lnTo>
                    <a:pt x="18" y="224"/>
                  </a:lnTo>
                  <a:lnTo>
                    <a:pt x="18" y="221"/>
                  </a:lnTo>
                  <a:lnTo>
                    <a:pt x="18" y="221"/>
                  </a:lnTo>
                  <a:lnTo>
                    <a:pt x="16" y="219"/>
                  </a:lnTo>
                  <a:lnTo>
                    <a:pt x="18" y="219"/>
                  </a:lnTo>
                  <a:lnTo>
                    <a:pt x="16" y="216"/>
                  </a:lnTo>
                  <a:lnTo>
                    <a:pt x="16" y="213"/>
                  </a:lnTo>
                  <a:lnTo>
                    <a:pt x="16" y="211"/>
                  </a:lnTo>
                  <a:lnTo>
                    <a:pt x="16" y="208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21" y="203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4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6" y="197"/>
                  </a:lnTo>
                  <a:lnTo>
                    <a:pt x="29" y="195"/>
                  </a:lnTo>
                  <a:lnTo>
                    <a:pt x="26" y="195"/>
                  </a:lnTo>
                  <a:lnTo>
                    <a:pt x="24" y="195"/>
                  </a:lnTo>
                  <a:lnTo>
                    <a:pt x="21" y="195"/>
                  </a:lnTo>
                  <a:lnTo>
                    <a:pt x="21" y="192"/>
                  </a:lnTo>
                  <a:lnTo>
                    <a:pt x="21" y="192"/>
                  </a:lnTo>
                  <a:lnTo>
                    <a:pt x="21" y="189"/>
                  </a:lnTo>
                  <a:lnTo>
                    <a:pt x="18" y="189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6" y="184"/>
                  </a:lnTo>
                  <a:lnTo>
                    <a:pt x="18" y="181"/>
                  </a:lnTo>
                  <a:lnTo>
                    <a:pt x="16" y="179"/>
                  </a:lnTo>
                  <a:lnTo>
                    <a:pt x="16" y="176"/>
                  </a:lnTo>
                  <a:lnTo>
                    <a:pt x="13" y="176"/>
                  </a:lnTo>
                  <a:lnTo>
                    <a:pt x="10" y="173"/>
                  </a:lnTo>
                  <a:lnTo>
                    <a:pt x="8" y="171"/>
                  </a:lnTo>
                  <a:lnTo>
                    <a:pt x="5" y="173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68"/>
                  </a:lnTo>
                  <a:lnTo>
                    <a:pt x="0" y="165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5" y="165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3" y="160"/>
                  </a:lnTo>
                  <a:lnTo>
                    <a:pt x="16" y="157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8" y="155"/>
                  </a:lnTo>
                  <a:lnTo>
                    <a:pt x="21" y="152"/>
                  </a:lnTo>
                  <a:lnTo>
                    <a:pt x="24" y="152"/>
                  </a:lnTo>
                  <a:lnTo>
                    <a:pt x="24" y="149"/>
                  </a:lnTo>
                  <a:lnTo>
                    <a:pt x="24" y="149"/>
                  </a:lnTo>
                  <a:lnTo>
                    <a:pt x="21" y="147"/>
                  </a:lnTo>
                  <a:lnTo>
                    <a:pt x="18" y="147"/>
                  </a:lnTo>
                  <a:lnTo>
                    <a:pt x="18" y="147"/>
                  </a:lnTo>
                  <a:lnTo>
                    <a:pt x="18" y="144"/>
                  </a:lnTo>
                  <a:lnTo>
                    <a:pt x="18" y="141"/>
                  </a:lnTo>
                  <a:lnTo>
                    <a:pt x="18" y="141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3" y="133"/>
                  </a:lnTo>
                  <a:lnTo>
                    <a:pt x="10" y="131"/>
                  </a:lnTo>
                  <a:lnTo>
                    <a:pt x="10" y="128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3" y="120"/>
                  </a:lnTo>
                  <a:lnTo>
                    <a:pt x="10" y="120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8" y="104"/>
                  </a:lnTo>
                  <a:lnTo>
                    <a:pt x="18" y="101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6" y="93"/>
                  </a:lnTo>
                  <a:lnTo>
                    <a:pt x="18" y="90"/>
                  </a:lnTo>
                  <a:lnTo>
                    <a:pt x="21" y="88"/>
                  </a:lnTo>
                  <a:lnTo>
                    <a:pt x="24" y="88"/>
                  </a:lnTo>
                  <a:lnTo>
                    <a:pt x="26" y="88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6" y="80"/>
                  </a:lnTo>
                  <a:lnTo>
                    <a:pt x="26" y="77"/>
                  </a:lnTo>
                  <a:lnTo>
                    <a:pt x="24" y="77"/>
                  </a:lnTo>
                  <a:lnTo>
                    <a:pt x="26" y="72"/>
                  </a:lnTo>
                  <a:lnTo>
                    <a:pt x="26" y="69"/>
                  </a:lnTo>
                  <a:lnTo>
                    <a:pt x="24" y="64"/>
                  </a:lnTo>
                  <a:lnTo>
                    <a:pt x="24" y="61"/>
                  </a:lnTo>
                  <a:lnTo>
                    <a:pt x="24" y="58"/>
                  </a:lnTo>
                  <a:lnTo>
                    <a:pt x="24" y="56"/>
                  </a:lnTo>
                  <a:lnTo>
                    <a:pt x="26" y="56"/>
                  </a:lnTo>
                  <a:lnTo>
                    <a:pt x="29" y="56"/>
                  </a:lnTo>
                  <a:lnTo>
                    <a:pt x="32" y="53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7" y="50"/>
                  </a:lnTo>
                  <a:lnTo>
                    <a:pt x="40" y="53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5" y="48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50" y="48"/>
                  </a:lnTo>
                  <a:lnTo>
                    <a:pt x="50" y="45"/>
                  </a:lnTo>
                  <a:lnTo>
                    <a:pt x="50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37"/>
                  </a:lnTo>
                  <a:lnTo>
                    <a:pt x="56" y="34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61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9" y="16"/>
                  </a:lnTo>
                  <a:lnTo>
                    <a:pt x="72" y="16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0"/>
                  </a:lnTo>
                  <a:lnTo>
                    <a:pt x="77" y="10"/>
                  </a:lnTo>
                  <a:lnTo>
                    <a:pt x="80" y="8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5" y="5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101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6" y="10"/>
                  </a:lnTo>
                  <a:lnTo>
                    <a:pt x="106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7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8" y="26"/>
                  </a:lnTo>
                  <a:lnTo>
                    <a:pt x="128" y="29"/>
                  </a:lnTo>
                  <a:lnTo>
                    <a:pt x="131" y="29"/>
                  </a:lnTo>
                  <a:lnTo>
                    <a:pt x="131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4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6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33" y="42"/>
                  </a:lnTo>
                  <a:lnTo>
                    <a:pt x="133" y="42"/>
                  </a:lnTo>
                  <a:lnTo>
                    <a:pt x="133" y="45"/>
                  </a:lnTo>
                  <a:lnTo>
                    <a:pt x="136" y="45"/>
                  </a:lnTo>
                  <a:lnTo>
                    <a:pt x="136" y="42"/>
                  </a:lnTo>
                  <a:lnTo>
                    <a:pt x="139" y="42"/>
                  </a:lnTo>
                  <a:lnTo>
                    <a:pt x="139" y="45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41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48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7" y="50"/>
                  </a:lnTo>
                  <a:lnTo>
                    <a:pt x="147" y="50"/>
                  </a:lnTo>
                  <a:lnTo>
                    <a:pt x="147" y="53"/>
                  </a:lnTo>
                  <a:lnTo>
                    <a:pt x="149" y="50"/>
                  </a:lnTo>
                  <a:lnTo>
                    <a:pt x="149" y="53"/>
                  </a:lnTo>
                  <a:lnTo>
                    <a:pt x="147" y="53"/>
                  </a:lnTo>
                  <a:lnTo>
                    <a:pt x="147" y="56"/>
                  </a:lnTo>
                  <a:lnTo>
                    <a:pt x="149" y="56"/>
                  </a:lnTo>
                  <a:lnTo>
                    <a:pt x="149" y="56"/>
                  </a:lnTo>
                  <a:lnTo>
                    <a:pt x="152" y="56"/>
                  </a:lnTo>
                  <a:lnTo>
                    <a:pt x="152" y="53"/>
                  </a:lnTo>
                  <a:lnTo>
                    <a:pt x="152" y="53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8"/>
                  </a:lnTo>
                  <a:lnTo>
                    <a:pt x="152" y="58"/>
                  </a:lnTo>
                  <a:lnTo>
                    <a:pt x="152" y="58"/>
                  </a:lnTo>
                  <a:lnTo>
                    <a:pt x="149" y="58"/>
                  </a:lnTo>
                  <a:lnTo>
                    <a:pt x="149" y="58"/>
                  </a:lnTo>
                  <a:lnTo>
                    <a:pt x="147" y="61"/>
                  </a:lnTo>
                  <a:lnTo>
                    <a:pt x="147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52" y="61"/>
                  </a:lnTo>
                  <a:lnTo>
                    <a:pt x="152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7" y="61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3" y="69"/>
                  </a:lnTo>
                  <a:lnTo>
                    <a:pt x="163" y="69"/>
                  </a:lnTo>
                  <a:lnTo>
                    <a:pt x="163" y="72"/>
                  </a:lnTo>
                  <a:lnTo>
                    <a:pt x="163" y="72"/>
                  </a:lnTo>
                  <a:lnTo>
                    <a:pt x="165" y="74"/>
                  </a:lnTo>
                  <a:lnTo>
                    <a:pt x="163" y="74"/>
                  </a:lnTo>
                  <a:lnTo>
                    <a:pt x="165" y="77"/>
                  </a:lnTo>
                  <a:lnTo>
                    <a:pt x="165" y="74"/>
                  </a:lnTo>
                  <a:lnTo>
                    <a:pt x="168" y="74"/>
                  </a:lnTo>
                  <a:lnTo>
                    <a:pt x="171" y="74"/>
                  </a:lnTo>
                  <a:lnTo>
                    <a:pt x="171" y="77"/>
                  </a:lnTo>
                  <a:lnTo>
                    <a:pt x="171" y="77"/>
                  </a:lnTo>
                  <a:lnTo>
                    <a:pt x="173" y="77"/>
                  </a:lnTo>
                  <a:lnTo>
                    <a:pt x="173" y="77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2"/>
                  </a:lnTo>
                  <a:lnTo>
                    <a:pt x="176" y="82"/>
                  </a:lnTo>
                  <a:lnTo>
                    <a:pt x="179" y="80"/>
                  </a:lnTo>
                  <a:lnTo>
                    <a:pt x="181" y="80"/>
                  </a:lnTo>
                  <a:lnTo>
                    <a:pt x="181" y="80"/>
                  </a:lnTo>
                  <a:lnTo>
                    <a:pt x="184" y="82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7" y="82"/>
                  </a:lnTo>
                  <a:lnTo>
                    <a:pt x="189" y="82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5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5" y="85"/>
                  </a:lnTo>
                  <a:lnTo>
                    <a:pt x="195" y="85"/>
                  </a:lnTo>
                  <a:lnTo>
                    <a:pt x="197" y="85"/>
                  </a:lnTo>
                  <a:lnTo>
                    <a:pt x="197" y="85"/>
                  </a:lnTo>
                  <a:lnTo>
                    <a:pt x="200" y="85"/>
                  </a:lnTo>
                  <a:lnTo>
                    <a:pt x="200" y="82"/>
                  </a:lnTo>
                  <a:lnTo>
                    <a:pt x="200" y="82"/>
                  </a:lnTo>
                  <a:lnTo>
                    <a:pt x="203" y="82"/>
                  </a:lnTo>
                  <a:lnTo>
                    <a:pt x="203" y="82"/>
                  </a:lnTo>
                  <a:lnTo>
                    <a:pt x="205" y="82"/>
                  </a:lnTo>
                  <a:lnTo>
                    <a:pt x="205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11" y="82"/>
                  </a:lnTo>
                  <a:lnTo>
                    <a:pt x="211" y="82"/>
                  </a:lnTo>
                  <a:lnTo>
                    <a:pt x="213" y="80"/>
                  </a:lnTo>
                  <a:lnTo>
                    <a:pt x="213" y="80"/>
                  </a:lnTo>
                  <a:lnTo>
                    <a:pt x="213" y="77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80"/>
                  </a:lnTo>
                  <a:lnTo>
                    <a:pt x="219" y="80"/>
                  </a:lnTo>
                  <a:lnTo>
                    <a:pt x="219" y="80"/>
                  </a:lnTo>
                  <a:lnTo>
                    <a:pt x="219" y="80"/>
                  </a:lnTo>
                  <a:lnTo>
                    <a:pt x="219" y="82"/>
                  </a:lnTo>
                  <a:lnTo>
                    <a:pt x="219" y="82"/>
                  </a:lnTo>
                  <a:lnTo>
                    <a:pt x="219" y="85"/>
                  </a:lnTo>
                  <a:lnTo>
                    <a:pt x="219" y="85"/>
                  </a:lnTo>
                  <a:lnTo>
                    <a:pt x="221" y="85"/>
                  </a:lnTo>
                  <a:lnTo>
                    <a:pt x="221" y="85"/>
                  </a:lnTo>
                  <a:lnTo>
                    <a:pt x="221" y="82"/>
                  </a:lnTo>
                  <a:lnTo>
                    <a:pt x="221" y="82"/>
                  </a:lnTo>
                  <a:lnTo>
                    <a:pt x="224" y="80"/>
                  </a:lnTo>
                  <a:lnTo>
                    <a:pt x="224" y="80"/>
                  </a:lnTo>
                  <a:lnTo>
                    <a:pt x="224" y="80"/>
                  </a:lnTo>
                  <a:lnTo>
                    <a:pt x="224" y="77"/>
                  </a:lnTo>
                  <a:lnTo>
                    <a:pt x="224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9" y="77"/>
                  </a:lnTo>
                  <a:lnTo>
                    <a:pt x="232" y="74"/>
                  </a:lnTo>
                  <a:lnTo>
                    <a:pt x="235" y="74"/>
                  </a:lnTo>
                  <a:lnTo>
                    <a:pt x="235" y="77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5" y="90"/>
                  </a:lnTo>
                  <a:lnTo>
                    <a:pt x="245" y="93"/>
                  </a:lnTo>
                  <a:lnTo>
                    <a:pt x="245" y="96"/>
                  </a:lnTo>
                  <a:lnTo>
                    <a:pt x="245" y="99"/>
                  </a:lnTo>
                  <a:lnTo>
                    <a:pt x="245" y="96"/>
                  </a:lnTo>
                  <a:lnTo>
                    <a:pt x="248" y="96"/>
                  </a:lnTo>
                  <a:lnTo>
                    <a:pt x="248" y="96"/>
                  </a:lnTo>
                  <a:lnTo>
                    <a:pt x="251" y="99"/>
                  </a:lnTo>
                  <a:lnTo>
                    <a:pt x="251" y="101"/>
                  </a:lnTo>
                  <a:lnTo>
                    <a:pt x="251" y="101"/>
                  </a:lnTo>
                  <a:lnTo>
                    <a:pt x="248" y="104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09"/>
                  </a:lnTo>
                  <a:lnTo>
                    <a:pt x="251" y="109"/>
                  </a:lnTo>
                  <a:lnTo>
                    <a:pt x="253" y="112"/>
                  </a:lnTo>
                  <a:lnTo>
                    <a:pt x="253" y="112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6" y="115"/>
                  </a:lnTo>
                  <a:lnTo>
                    <a:pt x="259" y="115"/>
                  </a:lnTo>
                  <a:lnTo>
                    <a:pt x="259" y="112"/>
                  </a:lnTo>
                  <a:lnTo>
                    <a:pt x="261" y="112"/>
                  </a:lnTo>
                  <a:lnTo>
                    <a:pt x="261" y="115"/>
                  </a:lnTo>
                  <a:lnTo>
                    <a:pt x="261" y="115"/>
                  </a:lnTo>
                  <a:lnTo>
                    <a:pt x="264" y="115"/>
                  </a:lnTo>
                  <a:lnTo>
                    <a:pt x="264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9" y="117"/>
                  </a:lnTo>
                  <a:lnTo>
                    <a:pt x="269" y="120"/>
                  </a:lnTo>
                  <a:lnTo>
                    <a:pt x="272" y="123"/>
                  </a:lnTo>
                  <a:lnTo>
                    <a:pt x="275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7" y="128"/>
                  </a:lnTo>
                  <a:lnTo>
                    <a:pt x="277" y="136"/>
                  </a:lnTo>
                  <a:lnTo>
                    <a:pt x="275" y="141"/>
                  </a:lnTo>
                  <a:lnTo>
                    <a:pt x="275" y="144"/>
                  </a:lnTo>
                  <a:lnTo>
                    <a:pt x="275" y="147"/>
                  </a:lnTo>
                  <a:lnTo>
                    <a:pt x="272" y="149"/>
                  </a:lnTo>
                  <a:lnTo>
                    <a:pt x="272" y="149"/>
                  </a:lnTo>
                  <a:lnTo>
                    <a:pt x="269" y="149"/>
                  </a:lnTo>
                  <a:lnTo>
                    <a:pt x="267" y="152"/>
                  </a:lnTo>
                  <a:lnTo>
                    <a:pt x="267" y="152"/>
                  </a:lnTo>
                  <a:lnTo>
                    <a:pt x="267" y="155"/>
                  </a:lnTo>
                  <a:lnTo>
                    <a:pt x="267" y="157"/>
                  </a:lnTo>
                  <a:lnTo>
                    <a:pt x="267" y="157"/>
                  </a:lnTo>
                  <a:lnTo>
                    <a:pt x="267" y="160"/>
                  </a:lnTo>
                  <a:lnTo>
                    <a:pt x="267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1" y="165"/>
                  </a:lnTo>
                  <a:lnTo>
                    <a:pt x="261" y="163"/>
                  </a:lnTo>
                  <a:lnTo>
                    <a:pt x="261" y="160"/>
                  </a:lnTo>
                  <a:lnTo>
                    <a:pt x="259" y="160"/>
                  </a:lnTo>
                  <a:lnTo>
                    <a:pt x="259" y="163"/>
                  </a:lnTo>
                  <a:lnTo>
                    <a:pt x="259" y="165"/>
                  </a:lnTo>
                  <a:lnTo>
                    <a:pt x="256" y="165"/>
                  </a:lnTo>
                  <a:lnTo>
                    <a:pt x="256" y="165"/>
                  </a:lnTo>
                  <a:lnTo>
                    <a:pt x="253" y="168"/>
                  </a:lnTo>
                  <a:lnTo>
                    <a:pt x="253" y="171"/>
                  </a:lnTo>
                  <a:lnTo>
                    <a:pt x="251" y="173"/>
                  </a:lnTo>
                  <a:lnTo>
                    <a:pt x="251" y="173"/>
                  </a:lnTo>
                  <a:lnTo>
                    <a:pt x="248" y="176"/>
                  </a:lnTo>
                  <a:lnTo>
                    <a:pt x="245" y="179"/>
                  </a:lnTo>
                  <a:lnTo>
                    <a:pt x="243" y="181"/>
                  </a:lnTo>
                  <a:lnTo>
                    <a:pt x="243" y="184"/>
                  </a:lnTo>
                  <a:lnTo>
                    <a:pt x="243" y="187"/>
                  </a:lnTo>
                  <a:lnTo>
                    <a:pt x="240" y="187"/>
                  </a:lnTo>
                  <a:lnTo>
                    <a:pt x="240" y="187"/>
                  </a:lnTo>
                  <a:lnTo>
                    <a:pt x="243" y="189"/>
                  </a:lnTo>
                  <a:lnTo>
                    <a:pt x="243" y="189"/>
                  </a:lnTo>
                  <a:lnTo>
                    <a:pt x="240" y="189"/>
                  </a:lnTo>
                  <a:lnTo>
                    <a:pt x="237" y="192"/>
                  </a:lnTo>
                  <a:lnTo>
                    <a:pt x="237" y="192"/>
                  </a:lnTo>
                  <a:lnTo>
                    <a:pt x="235" y="192"/>
                  </a:lnTo>
                  <a:lnTo>
                    <a:pt x="235" y="195"/>
                  </a:lnTo>
                  <a:lnTo>
                    <a:pt x="232" y="195"/>
                  </a:lnTo>
                  <a:lnTo>
                    <a:pt x="205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3" y="197"/>
                  </a:lnTo>
                  <a:lnTo>
                    <a:pt x="203" y="200"/>
                  </a:lnTo>
                  <a:lnTo>
                    <a:pt x="200" y="197"/>
                  </a:lnTo>
                  <a:lnTo>
                    <a:pt x="197" y="197"/>
                  </a:lnTo>
                  <a:lnTo>
                    <a:pt x="197" y="197"/>
                  </a:lnTo>
                  <a:lnTo>
                    <a:pt x="197" y="200"/>
                  </a:lnTo>
                  <a:lnTo>
                    <a:pt x="197" y="200"/>
                  </a:lnTo>
                  <a:lnTo>
                    <a:pt x="195" y="203"/>
                  </a:lnTo>
                  <a:lnTo>
                    <a:pt x="197" y="203"/>
                  </a:lnTo>
                  <a:lnTo>
                    <a:pt x="195" y="205"/>
                  </a:lnTo>
                  <a:lnTo>
                    <a:pt x="197" y="208"/>
                  </a:lnTo>
                  <a:lnTo>
                    <a:pt x="187" y="208"/>
                  </a:lnTo>
                  <a:lnTo>
                    <a:pt x="187" y="208"/>
                  </a:lnTo>
                  <a:lnTo>
                    <a:pt x="184" y="208"/>
                  </a:lnTo>
                  <a:lnTo>
                    <a:pt x="184" y="208"/>
                  </a:lnTo>
                  <a:lnTo>
                    <a:pt x="181" y="205"/>
                  </a:lnTo>
                  <a:lnTo>
                    <a:pt x="179" y="208"/>
                  </a:lnTo>
                  <a:lnTo>
                    <a:pt x="179" y="208"/>
                  </a:lnTo>
                  <a:lnTo>
                    <a:pt x="176" y="205"/>
                  </a:lnTo>
                  <a:lnTo>
                    <a:pt x="176" y="205"/>
                  </a:lnTo>
                  <a:lnTo>
                    <a:pt x="176" y="203"/>
                  </a:lnTo>
                  <a:lnTo>
                    <a:pt x="173" y="203"/>
                  </a:lnTo>
                  <a:lnTo>
                    <a:pt x="171" y="200"/>
                  </a:lnTo>
                  <a:lnTo>
                    <a:pt x="171" y="197"/>
                  </a:lnTo>
                  <a:lnTo>
                    <a:pt x="168" y="197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3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5" y="205"/>
                  </a:lnTo>
                  <a:lnTo>
                    <a:pt x="165" y="205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57" y="211"/>
                  </a:lnTo>
                  <a:lnTo>
                    <a:pt x="155" y="208"/>
                  </a:lnTo>
                  <a:lnTo>
                    <a:pt x="152" y="208"/>
                  </a:lnTo>
                  <a:lnTo>
                    <a:pt x="152" y="205"/>
                  </a:lnTo>
                  <a:lnTo>
                    <a:pt x="149" y="203"/>
                  </a:lnTo>
                  <a:lnTo>
                    <a:pt x="147" y="200"/>
                  </a:lnTo>
                  <a:lnTo>
                    <a:pt x="149" y="200"/>
                  </a:lnTo>
                  <a:lnTo>
                    <a:pt x="149" y="197"/>
                  </a:lnTo>
                  <a:lnTo>
                    <a:pt x="149" y="197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2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7"/>
                  </a:lnTo>
                  <a:lnTo>
                    <a:pt x="141" y="187"/>
                  </a:lnTo>
                  <a:lnTo>
                    <a:pt x="139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4"/>
                  </a:lnTo>
                  <a:lnTo>
                    <a:pt x="133" y="184"/>
                  </a:lnTo>
                  <a:lnTo>
                    <a:pt x="133" y="181"/>
                  </a:lnTo>
                  <a:lnTo>
                    <a:pt x="131" y="181"/>
                  </a:lnTo>
                  <a:lnTo>
                    <a:pt x="128" y="181"/>
                  </a:lnTo>
                  <a:lnTo>
                    <a:pt x="128" y="181"/>
                  </a:lnTo>
                  <a:lnTo>
                    <a:pt x="125" y="181"/>
                  </a:lnTo>
                  <a:lnTo>
                    <a:pt x="123" y="181"/>
                  </a:lnTo>
                  <a:lnTo>
                    <a:pt x="123" y="184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9"/>
                  </a:lnTo>
                  <a:lnTo>
                    <a:pt x="120" y="189"/>
                  </a:lnTo>
                  <a:lnTo>
                    <a:pt x="120" y="189"/>
                  </a:lnTo>
                  <a:lnTo>
                    <a:pt x="117" y="189"/>
                  </a:lnTo>
                  <a:lnTo>
                    <a:pt x="117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7" y="195"/>
                  </a:lnTo>
                  <a:lnTo>
                    <a:pt x="115" y="195"/>
                  </a:lnTo>
                  <a:lnTo>
                    <a:pt x="117" y="197"/>
                  </a:lnTo>
                  <a:lnTo>
                    <a:pt x="117" y="197"/>
                  </a:lnTo>
                  <a:lnTo>
                    <a:pt x="115" y="197"/>
                  </a:lnTo>
                  <a:lnTo>
                    <a:pt x="115" y="200"/>
                  </a:lnTo>
                  <a:lnTo>
                    <a:pt x="112" y="200"/>
                  </a:lnTo>
                  <a:lnTo>
                    <a:pt x="109" y="200"/>
                  </a:lnTo>
                  <a:lnTo>
                    <a:pt x="109" y="200"/>
                  </a:lnTo>
                  <a:lnTo>
                    <a:pt x="106" y="200"/>
                  </a:lnTo>
                  <a:lnTo>
                    <a:pt x="106" y="200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6" y="205"/>
                  </a:lnTo>
                  <a:lnTo>
                    <a:pt x="104" y="205"/>
                  </a:lnTo>
                  <a:lnTo>
                    <a:pt x="104" y="205"/>
                  </a:lnTo>
                  <a:lnTo>
                    <a:pt x="101" y="205"/>
                  </a:lnTo>
                  <a:lnTo>
                    <a:pt x="98" y="205"/>
                  </a:lnTo>
                  <a:lnTo>
                    <a:pt x="98" y="208"/>
                  </a:lnTo>
                  <a:lnTo>
                    <a:pt x="96" y="208"/>
                  </a:lnTo>
                  <a:lnTo>
                    <a:pt x="96" y="208"/>
                  </a:lnTo>
                  <a:lnTo>
                    <a:pt x="96" y="208"/>
                  </a:lnTo>
                  <a:lnTo>
                    <a:pt x="96" y="211"/>
                  </a:lnTo>
                  <a:lnTo>
                    <a:pt x="93" y="211"/>
                  </a:lnTo>
                  <a:lnTo>
                    <a:pt x="93" y="208"/>
                  </a:lnTo>
                  <a:lnTo>
                    <a:pt x="90" y="208"/>
                  </a:lnTo>
                  <a:lnTo>
                    <a:pt x="90" y="208"/>
                  </a:lnTo>
                  <a:lnTo>
                    <a:pt x="88" y="205"/>
                  </a:lnTo>
                  <a:lnTo>
                    <a:pt x="88" y="208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88" y="213"/>
                  </a:lnTo>
                  <a:lnTo>
                    <a:pt x="88" y="21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8" name="Freeform 8946">
              <a:extLst>
                <a:ext uri="{FF2B5EF4-FFF2-40B4-BE49-F238E27FC236}">
                  <a16:creationId xmlns:a16="http://schemas.microsoft.com/office/drawing/2014/main" id="{BBF21C9D-9CB8-8D45-9B50-F0B5F08DC7A1}"/>
                </a:ext>
              </a:extLst>
            </p:cNvPr>
            <p:cNvSpPr/>
            <p:nvPr/>
          </p:nvSpPr>
          <p:spPr bwMode="auto">
            <a:xfrm>
              <a:off x="1356518" y="3162300"/>
              <a:ext cx="677863" cy="415924"/>
            </a:xfrm>
            <a:custGeom>
              <a:avLst/>
              <a:gdLst>
                <a:gd name="T0" fmla="*/ 406 w 427"/>
                <a:gd name="T1" fmla="*/ 110 h 262"/>
                <a:gd name="T2" fmla="*/ 398 w 427"/>
                <a:gd name="T3" fmla="*/ 126 h 262"/>
                <a:gd name="T4" fmla="*/ 398 w 427"/>
                <a:gd name="T5" fmla="*/ 139 h 262"/>
                <a:gd name="T6" fmla="*/ 382 w 427"/>
                <a:gd name="T7" fmla="*/ 142 h 262"/>
                <a:gd name="T8" fmla="*/ 377 w 427"/>
                <a:gd name="T9" fmla="*/ 147 h 262"/>
                <a:gd name="T10" fmla="*/ 379 w 427"/>
                <a:gd name="T11" fmla="*/ 166 h 262"/>
                <a:gd name="T12" fmla="*/ 379 w 427"/>
                <a:gd name="T13" fmla="*/ 182 h 262"/>
                <a:gd name="T14" fmla="*/ 374 w 427"/>
                <a:gd name="T15" fmla="*/ 209 h 262"/>
                <a:gd name="T16" fmla="*/ 377 w 427"/>
                <a:gd name="T17" fmla="*/ 225 h 262"/>
                <a:gd name="T18" fmla="*/ 366 w 427"/>
                <a:gd name="T19" fmla="*/ 235 h 262"/>
                <a:gd name="T20" fmla="*/ 355 w 427"/>
                <a:gd name="T21" fmla="*/ 249 h 262"/>
                <a:gd name="T22" fmla="*/ 339 w 427"/>
                <a:gd name="T23" fmla="*/ 251 h 262"/>
                <a:gd name="T24" fmla="*/ 337 w 427"/>
                <a:gd name="T25" fmla="*/ 230 h 262"/>
                <a:gd name="T26" fmla="*/ 315 w 427"/>
                <a:gd name="T27" fmla="*/ 233 h 262"/>
                <a:gd name="T28" fmla="*/ 297 w 427"/>
                <a:gd name="T29" fmla="*/ 233 h 262"/>
                <a:gd name="T30" fmla="*/ 283 w 427"/>
                <a:gd name="T31" fmla="*/ 241 h 262"/>
                <a:gd name="T32" fmla="*/ 262 w 427"/>
                <a:gd name="T33" fmla="*/ 227 h 262"/>
                <a:gd name="T34" fmla="*/ 232 w 427"/>
                <a:gd name="T35" fmla="*/ 222 h 262"/>
                <a:gd name="T36" fmla="*/ 219 w 427"/>
                <a:gd name="T37" fmla="*/ 206 h 262"/>
                <a:gd name="T38" fmla="*/ 214 w 427"/>
                <a:gd name="T39" fmla="*/ 195 h 262"/>
                <a:gd name="T40" fmla="*/ 187 w 427"/>
                <a:gd name="T41" fmla="*/ 211 h 262"/>
                <a:gd name="T42" fmla="*/ 166 w 427"/>
                <a:gd name="T43" fmla="*/ 217 h 262"/>
                <a:gd name="T44" fmla="*/ 144 w 427"/>
                <a:gd name="T45" fmla="*/ 209 h 262"/>
                <a:gd name="T46" fmla="*/ 136 w 427"/>
                <a:gd name="T47" fmla="*/ 193 h 262"/>
                <a:gd name="T48" fmla="*/ 120 w 427"/>
                <a:gd name="T49" fmla="*/ 171 h 262"/>
                <a:gd name="T50" fmla="*/ 110 w 427"/>
                <a:gd name="T51" fmla="*/ 176 h 262"/>
                <a:gd name="T52" fmla="*/ 94 w 427"/>
                <a:gd name="T53" fmla="*/ 176 h 262"/>
                <a:gd name="T54" fmla="*/ 80 w 427"/>
                <a:gd name="T55" fmla="*/ 176 h 262"/>
                <a:gd name="T56" fmla="*/ 62 w 427"/>
                <a:gd name="T57" fmla="*/ 168 h 262"/>
                <a:gd name="T58" fmla="*/ 46 w 427"/>
                <a:gd name="T59" fmla="*/ 155 h 262"/>
                <a:gd name="T60" fmla="*/ 46 w 427"/>
                <a:gd name="T61" fmla="*/ 150 h 262"/>
                <a:gd name="T62" fmla="*/ 35 w 427"/>
                <a:gd name="T63" fmla="*/ 142 h 262"/>
                <a:gd name="T64" fmla="*/ 22 w 427"/>
                <a:gd name="T65" fmla="*/ 134 h 262"/>
                <a:gd name="T66" fmla="*/ 16 w 427"/>
                <a:gd name="T67" fmla="*/ 120 h 262"/>
                <a:gd name="T68" fmla="*/ 6 w 427"/>
                <a:gd name="T69" fmla="*/ 112 h 262"/>
                <a:gd name="T70" fmla="*/ 16 w 427"/>
                <a:gd name="T71" fmla="*/ 88 h 262"/>
                <a:gd name="T72" fmla="*/ 38 w 427"/>
                <a:gd name="T73" fmla="*/ 72 h 262"/>
                <a:gd name="T74" fmla="*/ 35 w 427"/>
                <a:gd name="T75" fmla="*/ 46 h 262"/>
                <a:gd name="T76" fmla="*/ 46 w 427"/>
                <a:gd name="T77" fmla="*/ 27 h 262"/>
                <a:gd name="T78" fmla="*/ 43 w 427"/>
                <a:gd name="T79" fmla="*/ 13 h 262"/>
                <a:gd name="T80" fmla="*/ 56 w 427"/>
                <a:gd name="T81" fmla="*/ 8 h 262"/>
                <a:gd name="T82" fmla="*/ 75 w 427"/>
                <a:gd name="T83" fmla="*/ 13 h 262"/>
                <a:gd name="T84" fmla="*/ 94 w 427"/>
                <a:gd name="T85" fmla="*/ 24 h 262"/>
                <a:gd name="T86" fmla="*/ 107 w 427"/>
                <a:gd name="T87" fmla="*/ 21 h 262"/>
                <a:gd name="T88" fmla="*/ 118 w 427"/>
                <a:gd name="T89" fmla="*/ 24 h 262"/>
                <a:gd name="T90" fmla="*/ 134 w 427"/>
                <a:gd name="T91" fmla="*/ 30 h 262"/>
                <a:gd name="T92" fmla="*/ 155 w 427"/>
                <a:gd name="T93" fmla="*/ 32 h 262"/>
                <a:gd name="T94" fmla="*/ 182 w 427"/>
                <a:gd name="T95" fmla="*/ 40 h 262"/>
                <a:gd name="T96" fmla="*/ 187 w 427"/>
                <a:gd name="T97" fmla="*/ 38 h 262"/>
                <a:gd name="T98" fmla="*/ 208 w 427"/>
                <a:gd name="T99" fmla="*/ 35 h 262"/>
                <a:gd name="T100" fmla="*/ 232 w 427"/>
                <a:gd name="T101" fmla="*/ 24 h 262"/>
                <a:gd name="T102" fmla="*/ 235 w 427"/>
                <a:gd name="T103" fmla="*/ 8 h 262"/>
                <a:gd name="T104" fmla="*/ 257 w 427"/>
                <a:gd name="T105" fmla="*/ 13 h 262"/>
                <a:gd name="T106" fmla="*/ 270 w 427"/>
                <a:gd name="T107" fmla="*/ 27 h 262"/>
                <a:gd name="T108" fmla="*/ 281 w 427"/>
                <a:gd name="T109" fmla="*/ 46 h 262"/>
                <a:gd name="T110" fmla="*/ 299 w 427"/>
                <a:gd name="T111" fmla="*/ 43 h 262"/>
                <a:gd name="T112" fmla="*/ 321 w 427"/>
                <a:gd name="T113" fmla="*/ 40 h 262"/>
                <a:gd name="T114" fmla="*/ 345 w 427"/>
                <a:gd name="T115" fmla="*/ 54 h 262"/>
                <a:gd name="T116" fmla="*/ 369 w 427"/>
                <a:gd name="T117" fmla="*/ 59 h 262"/>
                <a:gd name="T118" fmla="*/ 398 w 427"/>
                <a:gd name="T119" fmla="*/ 59 h 262"/>
                <a:gd name="T120" fmla="*/ 417 w 427"/>
                <a:gd name="T121" fmla="*/ 5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7" h="262" extrusionOk="0">
                  <a:moveTo>
                    <a:pt x="422" y="110"/>
                  </a:moveTo>
                  <a:lnTo>
                    <a:pt x="422" y="110"/>
                  </a:lnTo>
                  <a:lnTo>
                    <a:pt x="419" y="110"/>
                  </a:lnTo>
                  <a:lnTo>
                    <a:pt x="417" y="112"/>
                  </a:lnTo>
                  <a:lnTo>
                    <a:pt x="417" y="110"/>
                  </a:lnTo>
                  <a:lnTo>
                    <a:pt x="417" y="110"/>
                  </a:lnTo>
                  <a:lnTo>
                    <a:pt x="414" y="110"/>
                  </a:lnTo>
                  <a:lnTo>
                    <a:pt x="414" y="110"/>
                  </a:lnTo>
                  <a:lnTo>
                    <a:pt x="411" y="107"/>
                  </a:lnTo>
                  <a:lnTo>
                    <a:pt x="411" y="107"/>
                  </a:lnTo>
                  <a:lnTo>
                    <a:pt x="411" y="107"/>
                  </a:lnTo>
                  <a:lnTo>
                    <a:pt x="411" y="110"/>
                  </a:lnTo>
                  <a:lnTo>
                    <a:pt x="409" y="110"/>
                  </a:lnTo>
                  <a:lnTo>
                    <a:pt x="409" y="110"/>
                  </a:lnTo>
                  <a:lnTo>
                    <a:pt x="406" y="110"/>
                  </a:lnTo>
                  <a:lnTo>
                    <a:pt x="406" y="110"/>
                  </a:lnTo>
                  <a:lnTo>
                    <a:pt x="406" y="112"/>
                  </a:lnTo>
                  <a:lnTo>
                    <a:pt x="406" y="112"/>
                  </a:lnTo>
                  <a:lnTo>
                    <a:pt x="406" y="115"/>
                  </a:lnTo>
                  <a:lnTo>
                    <a:pt x="406" y="115"/>
                  </a:lnTo>
                  <a:lnTo>
                    <a:pt x="403" y="115"/>
                  </a:lnTo>
                  <a:lnTo>
                    <a:pt x="401" y="115"/>
                  </a:lnTo>
                  <a:lnTo>
                    <a:pt x="401" y="115"/>
                  </a:lnTo>
                  <a:lnTo>
                    <a:pt x="401" y="118"/>
                  </a:lnTo>
                  <a:lnTo>
                    <a:pt x="398" y="118"/>
                  </a:lnTo>
                  <a:lnTo>
                    <a:pt x="398" y="118"/>
                  </a:lnTo>
                  <a:lnTo>
                    <a:pt x="395" y="118"/>
                  </a:lnTo>
                  <a:lnTo>
                    <a:pt x="398" y="118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3"/>
                  </a:lnTo>
                  <a:lnTo>
                    <a:pt x="398" y="126"/>
                  </a:lnTo>
                  <a:lnTo>
                    <a:pt x="401" y="126"/>
                  </a:lnTo>
                  <a:lnTo>
                    <a:pt x="401" y="126"/>
                  </a:lnTo>
                  <a:lnTo>
                    <a:pt x="401" y="128"/>
                  </a:lnTo>
                  <a:lnTo>
                    <a:pt x="403" y="128"/>
                  </a:lnTo>
                  <a:lnTo>
                    <a:pt x="403" y="131"/>
                  </a:lnTo>
                  <a:lnTo>
                    <a:pt x="401" y="131"/>
                  </a:lnTo>
                  <a:lnTo>
                    <a:pt x="401" y="134"/>
                  </a:lnTo>
                  <a:lnTo>
                    <a:pt x="403" y="136"/>
                  </a:lnTo>
                  <a:lnTo>
                    <a:pt x="403" y="136"/>
                  </a:lnTo>
                  <a:lnTo>
                    <a:pt x="403" y="139"/>
                  </a:lnTo>
                  <a:lnTo>
                    <a:pt x="401" y="139"/>
                  </a:lnTo>
                  <a:lnTo>
                    <a:pt x="401" y="142"/>
                  </a:lnTo>
                  <a:lnTo>
                    <a:pt x="401" y="142"/>
                  </a:lnTo>
                  <a:lnTo>
                    <a:pt x="401" y="142"/>
                  </a:lnTo>
                  <a:lnTo>
                    <a:pt x="398" y="139"/>
                  </a:lnTo>
                  <a:lnTo>
                    <a:pt x="398" y="139"/>
                  </a:lnTo>
                  <a:lnTo>
                    <a:pt x="395" y="139"/>
                  </a:lnTo>
                  <a:lnTo>
                    <a:pt x="395" y="139"/>
                  </a:lnTo>
                  <a:lnTo>
                    <a:pt x="395" y="139"/>
                  </a:lnTo>
                  <a:lnTo>
                    <a:pt x="393" y="139"/>
                  </a:lnTo>
                  <a:lnTo>
                    <a:pt x="393" y="139"/>
                  </a:lnTo>
                  <a:lnTo>
                    <a:pt x="393" y="139"/>
                  </a:lnTo>
                  <a:lnTo>
                    <a:pt x="390" y="142"/>
                  </a:lnTo>
                  <a:lnTo>
                    <a:pt x="390" y="142"/>
                  </a:lnTo>
                  <a:lnTo>
                    <a:pt x="387" y="142"/>
                  </a:lnTo>
                  <a:lnTo>
                    <a:pt x="387" y="142"/>
                  </a:lnTo>
                  <a:lnTo>
                    <a:pt x="387" y="139"/>
                  </a:lnTo>
                  <a:lnTo>
                    <a:pt x="385" y="139"/>
                  </a:lnTo>
                  <a:lnTo>
                    <a:pt x="385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5" y="147"/>
                  </a:lnTo>
                  <a:lnTo>
                    <a:pt x="385" y="147"/>
                  </a:lnTo>
                  <a:lnTo>
                    <a:pt x="385" y="150"/>
                  </a:lnTo>
                  <a:lnTo>
                    <a:pt x="382" y="150"/>
                  </a:lnTo>
                  <a:lnTo>
                    <a:pt x="382" y="147"/>
                  </a:lnTo>
                  <a:lnTo>
                    <a:pt x="382" y="147"/>
                  </a:lnTo>
                  <a:lnTo>
                    <a:pt x="382" y="144"/>
                  </a:lnTo>
                  <a:lnTo>
                    <a:pt x="379" y="144"/>
                  </a:lnTo>
                  <a:lnTo>
                    <a:pt x="379" y="144"/>
                  </a:lnTo>
                  <a:lnTo>
                    <a:pt x="377" y="144"/>
                  </a:lnTo>
                  <a:lnTo>
                    <a:pt x="377" y="144"/>
                  </a:lnTo>
                  <a:lnTo>
                    <a:pt x="377" y="144"/>
                  </a:lnTo>
                  <a:lnTo>
                    <a:pt x="377" y="147"/>
                  </a:lnTo>
                  <a:lnTo>
                    <a:pt x="379" y="147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7" y="150"/>
                  </a:lnTo>
                  <a:lnTo>
                    <a:pt x="374" y="147"/>
                  </a:lnTo>
                  <a:lnTo>
                    <a:pt x="374" y="150"/>
                  </a:lnTo>
                  <a:lnTo>
                    <a:pt x="374" y="150"/>
                  </a:lnTo>
                  <a:lnTo>
                    <a:pt x="374" y="150"/>
                  </a:lnTo>
                  <a:lnTo>
                    <a:pt x="374" y="152"/>
                  </a:lnTo>
                  <a:lnTo>
                    <a:pt x="379" y="155"/>
                  </a:lnTo>
                  <a:lnTo>
                    <a:pt x="379" y="155"/>
                  </a:lnTo>
                  <a:lnTo>
                    <a:pt x="379" y="158"/>
                  </a:lnTo>
                  <a:lnTo>
                    <a:pt x="379" y="160"/>
                  </a:lnTo>
                  <a:lnTo>
                    <a:pt x="379" y="163"/>
                  </a:lnTo>
                  <a:lnTo>
                    <a:pt x="379" y="163"/>
                  </a:lnTo>
                  <a:lnTo>
                    <a:pt x="379" y="166"/>
                  </a:lnTo>
                  <a:lnTo>
                    <a:pt x="379" y="168"/>
                  </a:lnTo>
                  <a:lnTo>
                    <a:pt x="379" y="168"/>
                  </a:lnTo>
                  <a:lnTo>
                    <a:pt x="377" y="168"/>
                  </a:lnTo>
                  <a:lnTo>
                    <a:pt x="377" y="168"/>
                  </a:lnTo>
                  <a:lnTo>
                    <a:pt x="377" y="171"/>
                  </a:lnTo>
                  <a:lnTo>
                    <a:pt x="377" y="174"/>
                  </a:lnTo>
                  <a:lnTo>
                    <a:pt x="377" y="174"/>
                  </a:lnTo>
                  <a:lnTo>
                    <a:pt x="377" y="174"/>
                  </a:lnTo>
                  <a:lnTo>
                    <a:pt x="377" y="176"/>
                  </a:lnTo>
                  <a:lnTo>
                    <a:pt x="379" y="176"/>
                  </a:lnTo>
                  <a:lnTo>
                    <a:pt x="379" y="176"/>
                  </a:lnTo>
                  <a:lnTo>
                    <a:pt x="379" y="179"/>
                  </a:lnTo>
                  <a:lnTo>
                    <a:pt x="379" y="179"/>
                  </a:lnTo>
                  <a:lnTo>
                    <a:pt x="379" y="182"/>
                  </a:lnTo>
                  <a:lnTo>
                    <a:pt x="379" y="182"/>
                  </a:lnTo>
                  <a:lnTo>
                    <a:pt x="379" y="182"/>
                  </a:lnTo>
                  <a:lnTo>
                    <a:pt x="377" y="184"/>
                  </a:lnTo>
                  <a:lnTo>
                    <a:pt x="377" y="184"/>
                  </a:lnTo>
                  <a:lnTo>
                    <a:pt x="377" y="187"/>
                  </a:lnTo>
                  <a:lnTo>
                    <a:pt x="374" y="187"/>
                  </a:lnTo>
                  <a:lnTo>
                    <a:pt x="374" y="190"/>
                  </a:lnTo>
                  <a:lnTo>
                    <a:pt x="374" y="193"/>
                  </a:lnTo>
                  <a:lnTo>
                    <a:pt x="374" y="193"/>
                  </a:lnTo>
                  <a:lnTo>
                    <a:pt x="371" y="195"/>
                  </a:lnTo>
                  <a:lnTo>
                    <a:pt x="371" y="195"/>
                  </a:lnTo>
                  <a:lnTo>
                    <a:pt x="371" y="195"/>
                  </a:lnTo>
                  <a:lnTo>
                    <a:pt x="371" y="201"/>
                  </a:lnTo>
                  <a:lnTo>
                    <a:pt x="371" y="201"/>
                  </a:lnTo>
                  <a:lnTo>
                    <a:pt x="371" y="203"/>
                  </a:lnTo>
                  <a:lnTo>
                    <a:pt x="371" y="206"/>
                  </a:lnTo>
                  <a:lnTo>
                    <a:pt x="371" y="209"/>
                  </a:lnTo>
                  <a:lnTo>
                    <a:pt x="374" y="209"/>
                  </a:lnTo>
                  <a:lnTo>
                    <a:pt x="374" y="209"/>
                  </a:lnTo>
                  <a:lnTo>
                    <a:pt x="374" y="211"/>
                  </a:lnTo>
                  <a:lnTo>
                    <a:pt x="377" y="211"/>
                  </a:lnTo>
                  <a:lnTo>
                    <a:pt x="377" y="211"/>
                  </a:lnTo>
                  <a:lnTo>
                    <a:pt x="379" y="211"/>
                  </a:lnTo>
                  <a:lnTo>
                    <a:pt x="379" y="211"/>
                  </a:lnTo>
                  <a:lnTo>
                    <a:pt x="382" y="211"/>
                  </a:lnTo>
                  <a:lnTo>
                    <a:pt x="385" y="214"/>
                  </a:lnTo>
                  <a:lnTo>
                    <a:pt x="385" y="214"/>
                  </a:lnTo>
                  <a:lnTo>
                    <a:pt x="385" y="217"/>
                  </a:lnTo>
                  <a:lnTo>
                    <a:pt x="382" y="219"/>
                  </a:lnTo>
                  <a:lnTo>
                    <a:pt x="382" y="222"/>
                  </a:lnTo>
                  <a:lnTo>
                    <a:pt x="382" y="225"/>
                  </a:lnTo>
                  <a:lnTo>
                    <a:pt x="379" y="225"/>
                  </a:lnTo>
                  <a:lnTo>
                    <a:pt x="379" y="225"/>
                  </a:lnTo>
                  <a:lnTo>
                    <a:pt x="377" y="225"/>
                  </a:lnTo>
                  <a:lnTo>
                    <a:pt x="374" y="222"/>
                  </a:lnTo>
                  <a:lnTo>
                    <a:pt x="374" y="222"/>
                  </a:lnTo>
                  <a:lnTo>
                    <a:pt x="371" y="222"/>
                  </a:lnTo>
                  <a:lnTo>
                    <a:pt x="369" y="222"/>
                  </a:lnTo>
                  <a:lnTo>
                    <a:pt x="369" y="225"/>
                  </a:lnTo>
                  <a:lnTo>
                    <a:pt x="369" y="225"/>
                  </a:lnTo>
                  <a:lnTo>
                    <a:pt x="369" y="227"/>
                  </a:lnTo>
                  <a:lnTo>
                    <a:pt x="369" y="230"/>
                  </a:lnTo>
                  <a:lnTo>
                    <a:pt x="369" y="230"/>
                  </a:lnTo>
                  <a:lnTo>
                    <a:pt x="369" y="230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66" y="233"/>
                  </a:lnTo>
                  <a:lnTo>
                    <a:pt x="366" y="233"/>
                  </a:lnTo>
                  <a:lnTo>
                    <a:pt x="366" y="235"/>
                  </a:lnTo>
                  <a:lnTo>
                    <a:pt x="366" y="238"/>
                  </a:lnTo>
                  <a:lnTo>
                    <a:pt x="363" y="241"/>
                  </a:lnTo>
                  <a:lnTo>
                    <a:pt x="361" y="241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5" y="241"/>
                  </a:lnTo>
                  <a:lnTo>
                    <a:pt x="353" y="241"/>
                  </a:lnTo>
                  <a:lnTo>
                    <a:pt x="353" y="241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6"/>
                  </a:lnTo>
                  <a:lnTo>
                    <a:pt x="355" y="246"/>
                  </a:lnTo>
                  <a:lnTo>
                    <a:pt x="355" y="249"/>
                  </a:lnTo>
                  <a:lnTo>
                    <a:pt x="355" y="249"/>
                  </a:lnTo>
                  <a:lnTo>
                    <a:pt x="355" y="249"/>
                  </a:lnTo>
                  <a:lnTo>
                    <a:pt x="353" y="249"/>
                  </a:lnTo>
                  <a:lnTo>
                    <a:pt x="353" y="249"/>
                  </a:lnTo>
                  <a:lnTo>
                    <a:pt x="350" y="249"/>
                  </a:lnTo>
                  <a:lnTo>
                    <a:pt x="350" y="249"/>
                  </a:lnTo>
                  <a:lnTo>
                    <a:pt x="350" y="251"/>
                  </a:lnTo>
                  <a:lnTo>
                    <a:pt x="350" y="251"/>
                  </a:lnTo>
                  <a:lnTo>
                    <a:pt x="350" y="251"/>
                  </a:lnTo>
                  <a:lnTo>
                    <a:pt x="347" y="251"/>
                  </a:lnTo>
                  <a:lnTo>
                    <a:pt x="347" y="254"/>
                  </a:lnTo>
                  <a:lnTo>
                    <a:pt x="347" y="257"/>
                  </a:lnTo>
                  <a:lnTo>
                    <a:pt x="350" y="257"/>
                  </a:lnTo>
                  <a:lnTo>
                    <a:pt x="350" y="259"/>
                  </a:lnTo>
                  <a:lnTo>
                    <a:pt x="350" y="259"/>
                  </a:lnTo>
                  <a:lnTo>
                    <a:pt x="350" y="262"/>
                  </a:lnTo>
                  <a:lnTo>
                    <a:pt x="339" y="254"/>
                  </a:lnTo>
                  <a:lnTo>
                    <a:pt x="339" y="251"/>
                  </a:lnTo>
                  <a:lnTo>
                    <a:pt x="339" y="251"/>
                  </a:lnTo>
                  <a:lnTo>
                    <a:pt x="339" y="249"/>
                  </a:lnTo>
                  <a:lnTo>
                    <a:pt x="339" y="249"/>
                  </a:lnTo>
                  <a:lnTo>
                    <a:pt x="339" y="249"/>
                  </a:lnTo>
                  <a:lnTo>
                    <a:pt x="342" y="246"/>
                  </a:lnTo>
                  <a:lnTo>
                    <a:pt x="342" y="246"/>
                  </a:lnTo>
                  <a:lnTo>
                    <a:pt x="342" y="243"/>
                  </a:lnTo>
                  <a:lnTo>
                    <a:pt x="342" y="241"/>
                  </a:lnTo>
                  <a:lnTo>
                    <a:pt x="339" y="241"/>
                  </a:lnTo>
                  <a:lnTo>
                    <a:pt x="339" y="241"/>
                  </a:lnTo>
                  <a:lnTo>
                    <a:pt x="339" y="238"/>
                  </a:lnTo>
                  <a:lnTo>
                    <a:pt x="339" y="238"/>
                  </a:lnTo>
                  <a:lnTo>
                    <a:pt x="337" y="235"/>
                  </a:lnTo>
                  <a:lnTo>
                    <a:pt x="337" y="233"/>
                  </a:lnTo>
                  <a:lnTo>
                    <a:pt x="337" y="230"/>
                  </a:lnTo>
                  <a:lnTo>
                    <a:pt x="337" y="230"/>
                  </a:lnTo>
                  <a:lnTo>
                    <a:pt x="334" y="230"/>
                  </a:lnTo>
                  <a:lnTo>
                    <a:pt x="334" y="230"/>
                  </a:lnTo>
                  <a:lnTo>
                    <a:pt x="331" y="227"/>
                  </a:lnTo>
                  <a:lnTo>
                    <a:pt x="331" y="227"/>
                  </a:lnTo>
                  <a:lnTo>
                    <a:pt x="331" y="230"/>
                  </a:lnTo>
                  <a:lnTo>
                    <a:pt x="329" y="227"/>
                  </a:lnTo>
                  <a:lnTo>
                    <a:pt x="326" y="227"/>
                  </a:lnTo>
                  <a:lnTo>
                    <a:pt x="326" y="227"/>
                  </a:lnTo>
                  <a:lnTo>
                    <a:pt x="326" y="230"/>
                  </a:lnTo>
                  <a:lnTo>
                    <a:pt x="323" y="230"/>
                  </a:lnTo>
                  <a:lnTo>
                    <a:pt x="323" y="233"/>
                  </a:lnTo>
                  <a:lnTo>
                    <a:pt x="321" y="233"/>
                  </a:lnTo>
                  <a:lnTo>
                    <a:pt x="318" y="235"/>
                  </a:lnTo>
                  <a:lnTo>
                    <a:pt x="318" y="235"/>
                  </a:lnTo>
                  <a:lnTo>
                    <a:pt x="315" y="235"/>
                  </a:lnTo>
                  <a:lnTo>
                    <a:pt x="315" y="233"/>
                  </a:lnTo>
                  <a:lnTo>
                    <a:pt x="313" y="230"/>
                  </a:lnTo>
                  <a:lnTo>
                    <a:pt x="310" y="230"/>
                  </a:lnTo>
                  <a:lnTo>
                    <a:pt x="310" y="233"/>
                  </a:lnTo>
                  <a:lnTo>
                    <a:pt x="307" y="230"/>
                  </a:lnTo>
                  <a:lnTo>
                    <a:pt x="307" y="230"/>
                  </a:lnTo>
                  <a:lnTo>
                    <a:pt x="305" y="230"/>
                  </a:lnTo>
                  <a:lnTo>
                    <a:pt x="305" y="230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2" y="225"/>
                  </a:lnTo>
                  <a:lnTo>
                    <a:pt x="299" y="225"/>
                  </a:lnTo>
                  <a:lnTo>
                    <a:pt x="299" y="225"/>
                  </a:lnTo>
                  <a:lnTo>
                    <a:pt x="297" y="227"/>
                  </a:lnTo>
                  <a:lnTo>
                    <a:pt x="297" y="230"/>
                  </a:lnTo>
                  <a:lnTo>
                    <a:pt x="297" y="233"/>
                  </a:lnTo>
                  <a:lnTo>
                    <a:pt x="297" y="233"/>
                  </a:lnTo>
                  <a:lnTo>
                    <a:pt x="294" y="233"/>
                  </a:lnTo>
                  <a:lnTo>
                    <a:pt x="294" y="235"/>
                  </a:lnTo>
                  <a:lnTo>
                    <a:pt x="294" y="235"/>
                  </a:lnTo>
                  <a:lnTo>
                    <a:pt x="294" y="235"/>
                  </a:lnTo>
                  <a:lnTo>
                    <a:pt x="291" y="235"/>
                  </a:lnTo>
                  <a:lnTo>
                    <a:pt x="291" y="238"/>
                  </a:lnTo>
                  <a:lnTo>
                    <a:pt x="291" y="238"/>
                  </a:lnTo>
                  <a:lnTo>
                    <a:pt x="291" y="241"/>
                  </a:lnTo>
                  <a:lnTo>
                    <a:pt x="291" y="241"/>
                  </a:lnTo>
                  <a:lnTo>
                    <a:pt x="289" y="241"/>
                  </a:lnTo>
                  <a:lnTo>
                    <a:pt x="289" y="241"/>
                  </a:lnTo>
                  <a:lnTo>
                    <a:pt x="289" y="241"/>
                  </a:lnTo>
                  <a:lnTo>
                    <a:pt x="286" y="243"/>
                  </a:lnTo>
                  <a:lnTo>
                    <a:pt x="286" y="241"/>
                  </a:lnTo>
                  <a:lnTo>
                    <a:pt x="286" y="241"/>
                  </a:lnTo>
                  <a:lnTo>
                    <a:pt x="283" y="241"/>
                  </a:lnTo>
                  <a:lnTo>
                    <a:pt x="283" y="241"/>
                  </a:lnTo>
                  <a:lnTo>
                    <a:pt x="283" y="241"/>
                  </a:lnTo>
                  <a:lnTo>
                    <a:pt x="281" y="241"/>
                  </a:lnTo>
                  <a:lnTo>
                    <a:pt x="281" y="238"/>
                  </a:lnTo>
                  <a:lnTo>
                    <a:pt x="281" y="238"/>
                  </a:lnTo>
                  <a:lnTo>
                    <a:pt x="281" y="238"/>
                  </a:lnTo>
                  <a:lnTo>
                    <a:pt x="283" y="235"/>
                  </a:lnTo>
                  <a:lnTo>
                    <a:pt x="281" y="235"/>
                  </a:lnTo>
                  <a:lnTo>
                    <a:pt x="281" y="233"/>
                  </a:lnTo>
                  <a:lnTo>
                    <a:pt x="278" y="230"/>
                  </a:lnTo>
                  <a:lnTo>
                    <a:pt x="275" y="230"/>
                  </a:lnTo>
                  <a:lnTo>
                    <a:pt x="265" y="227"/>
                  </a:lnTo>
                  <a:lnTo>
                    <a:pt x="265" y="230"/>
                  </a:lnTo>
                  <a:lnTo>
                    <a:pt x="265" y="230"/>
                  </a:lnTo>
                  <a:lnTo>
                    <a:pt x="262" y="227"/>
                  </a:lnTo>
                  <a:lnTo>
                    <a:pt x="262" y="227"/>
                  </a:lnTo>
                  <a:lnTo>
                    <a:pt x="259" y="225"/>
                  </a:lnTo>
                  <a:lnTo>
                    <a:pt x="259" y="227"/>
                  </a:lnTo>
                  <a:lnTo>
                    <a:pt x="257" y="227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1" y="225"/>
                  </a:lnTo>
                  <a:lnTo>
                    <a:pt x="249" y="225"/>
                  </a:lnTo>
                  <a:lnTo>
                    <a:pt x="246" y="225"/>
                  </a:lnTo>
                  <a:lnTo>
                    <a:pt x="243" y="225"/>
                  </a:lnTo>
                  <a:lnTo>
                    <a:pt x="240" y="222"/>
                  </a:lnTo>
                  <a:lnTo>
                    <a:pt x="240" y="225"/>
                  </a:lnTo>
                  <a:lnTo>
                    <a:pt x="240" y="222"/>
                  </a:lnTo>
                  <a:lnTo>
                    <a:pt x="238" y="219"/>
                  </a:lnTo>
                  <a:lnTo>
                    <a:pt x="235" y="219"/>
                  </a:lnTo>
                  <a:lnTo>
                    <a:pt x="232" y="222"/>
                  </a:lnTo>
                  <a:lnTo>
                    <a:pt x="232" y="222"/>
                  </a:lnTo>
                  <a:lnTo>
                    <a:pt x="230" y="225"/>
                  </a:lnTo>
                  <a:lnTo>
                    <a:pt x="230" y="225"/>
                  </a:lnTo>
                  <a:lnTo>
                    <a:pt x="230" y="222"/>
                  </a:lnTo>
                  <a:lnTo>
                    <a:pt x="230" y="219"/>
                  </a:lnTo>
                  <a:lnTo>
                    <a:pt x="230" y="219"/>
                  </a:lnTo>
                  <a:lnTo>
                    <a:pt x="230" y="217"/>
                  </a:lnTo>
                  <a:lnTo>
                    <a:pt x="227" y="217"/>
                  </a:lnTo>
                  <a:lnTo>
                    <a:pt x="227" y="214"/>
                  </a:lnTo>
                  <a:lnTo>
                    <a:pt x="224" y="214"/>
                  </a:lnTo>
                  <a:lnTo>
                    <a:pt x="224" y="211"/>
                  </a:lnTo>
                  <a:lnTo>
                    <a:pt x="224" y="211"/>
                  </a:lnTo>
                  <a:lnTo>
                    <a:pt x="224" y="209"/>
                  </a:lnTo>
                  <a:lnTo>
                    <a:pt x="222" y="209"/>
                  </a:lnTo>
                  <a:lnTo>
                    <a:pt x="222" y="209"/>
                  </a:lnTo>
                  <a:lnTo>
                    <a:pt x="219" y="206"/>
                  </a:lnTo>
                  <a:lnTo>
                    <a:pt x="219" y="206"/>
                  </a:lnTo>
                  <a:lnTo>
                    <a:pt x="222" y="206"/>
                  </a:lnTo>
                  <a:lnTo>
                    <a:pt x="222" y="203"/>
                  </a:lnTo>
                  <a:lnTo>
                    <a:pt x="222" y="203"/>
                  </a:lnTo>
                  <a:lnTo>
                    <a:pt x="222" y="201"/>
                  </a:lnTo>
                  <a:lnTo>
                    <a:pt x="222" y="201"/>
                  </a:lnTo>
                  <a:lnTo>
                    <a:pt x="222" y="198"/>
                  </a:lnTo>
                  <a:lnTo>
                    <a:pt x="222" y="198"/>
                  </a:lnTo>
                  <a:lnTo>
                    <a:pt x="222" y="195"/>
                  </a:lnTo>
                  <a:lnTo>
                    <a:pt x="222" y="198"/>
                  </a:lnTo>
                  <a:lnTo>
                    <a:pt x="219" y="198"/>
                  </a:lnTo>
                  <a:lnTo>
                    <a:pt x="216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3"/>
                  </a:lnTo>
                  <a:lnTo>
                    <a:pt x="214" y="193"/>
                  </a:lnTo>
                  <a:lnTo>
                    <a:pt x="211" y="195"/>
                  </a:lnTo>
                  <a:lnTo>
                    <a:pt x="211" y="198"/>
                  </a:lnTo>
                  <a:lnTo>
                    <a:pt x="208" y="198"/>
                  </a:lnTo>
                  <a:lnTo>
                    <a:pt x="208" y="201"/>
                  </a:lnTo>
                  <a:lnTo>
                    <a:pt x="208" y="203"/>
                  </a:lnTo>
                  <a:lnTo>
                    <a:pt x="208" y="203"/>
                  </a:lnTo>
                  <a:lnTo>
                    <a:pt x="200" y="211"/>
                  </a:lnTo>
                  <a:lnTo>
                    <a:pt x="200" y="209"/>
                  </a:lnTo>
                  <a:lnTo>
                    <a:pt x="198" y="206"/>
                  </a:lnTo>
                  <a:lnTo>
                    <a:pt x="192" y="206"/>
                  </a:lnTo>
                  <a:lnTo>
                    <a:pt x="192" y="209"/>
                  </a:lnTo>
                  <a:lnTo>
                    <a:pt x="190" y="211"/>
                  </a:lnTo>
                  <a:lnTo>
                    <a:pt x="190" y="211"/>
                  </a:lnTo>
                  <a:lnTo>
                    <a:pt x="187" y="211"/>
                  </a:lnTo>
                  <a:lnTo>
                    <a:pt x="187" y="214"/>
                  </a:lnTo>
                  <a:lnTo>
                    <a:pt x="184" y="214"/>
                  </a:lnTo>
                  <a:lnTo>
                    <a:pt x="184" y="217"/>
                  </a:lnTo>
                  <a:lnTo>
                    <a:pt x="182" y="219"/>
                  </a:lnTo>
                  <a:lnTo>
                    <a:pt x="179" y="217"/>
                  </a:lnTo>
                  <a:lnTo>
                    <a:pt x="179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4" y="217"/>
                  </a:lnTo>
                  <a:lnTo>
                    <a:pt x="171" y="217"/>
                  </a:lnTo>
                  <a:lnTo>
                    <a:pt x="171" y="217"/>
                  </a:lnTo>
                  <a:lnTo>
                    <a:pt x="171" y="219"/>
                  </a:lnTo>
                  <a:lnTo>
                    <a:pt x="168" y="222"/>
                  </a:lnTo>
                  <a:lnTo>
                    <a:pt x="166" y="219"/>
                  </a:lnTo>
                  <a:lnTo>
                    <a:pt x="166" y="219"/>
                  </a:lnTo>
                  <a:lnTo>
                    <a:pt x="166" y="217"/>
                  </a:lnTo>
                  <a:lnTo>
                    <a:pt x="166" y="217"/>
                  </a:lnTo>
                  <a:lnTo>
                    <a:pt x="163" y="217"/>
                  </a:lnTo>
                  <a:lnTo>
                    <a:pt x="160" y="214"/>
                  </a:lnTo>
                  <a:lnTo>
                    <a:pt x="160" y="211"/>
                  </a:lnTo>
                  <a:lnTo>
                    <a:pt x="158" y="211"/>
                  </a:lnTo>
                  <a:lnTo>
                    <a:pt x="158" y="211"/>
                  </a:lnTo>
                  <a:lnTo>
                    <a:pt x="155" y="211"/>
                  </a:lnTo>
                  <a:lnTo>
                    <a:pt x="155" y="209"/>
                  </a:lnTo>
                  <a:lnTo>
                    <a:pt x="152" y="209"/>
                  </a:lnTo>
                  <a:lnTo>
                    <a:pt x="152" y="209"/>
                  </a:lnTo>
                  <a:lnTo>
                    <a:pt x="152" y="206"/>
                  </a:lnTo>
                  <a:lnTo>
                    <a:pt x="150" y="206"/>
                  </a:lnTo>
                  <a:lnTo>
                    <a:pt x="150" y="209"/>
                  </a:lnTo>
                  <a:lnTo>
                    <a:pt x="147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6"/>
                  </a:lnTo>
                  <a:lnTo>
                    <a:pt x="144" y="206"/>
                  </a:lnTo>
                  <a:lnTo>
                    <a:pt x="142" y="203"/>
                  </a:lnTo>
                  <a:lnTo>
                    <a:pt x="142" y="203"/>
                  </a:lnTo>
                  <a:lnTo>
                    <a:pt x="142" y="203"/>
                  </a:lnTo>
                  <a:lnTo>
                    <a:pt x="142" y="201"/>
                  </a:lnTo>
                  <a:lnTo>
                    <a:pt x="142" y="201"/>
                  </a:lnTo>
                  <a:lnTo>
                    <a:pt x="142" y="201"/>
                  </a:lnTo>
                  <a:lnTo>
                    <a:pt x="139" y="198"/>
                  </a:lnTo>
                  <a:lnTo>
                    <a:pt x="142" y="195"/>
                  </a:lnTo>
                  <a:lnTo>
                    <a:pt x="142" y="195"/>
                  </a:lnTo>
                  <a:lnTo>
                    <a:pt x="142" y="193"/>
                  </a:lnTo>
                  <a:lnTo>
                    <a:pt x="139" y="190"/>
                  </a:lnTo>
                  <a:lnTo>
                    <a:pt x="139" y="190"/>
                  </a:lnTo>
                  <a:lnTo>
                    <a:pt x="136" y="190"/>
                  </a:lnTo>
                  <a:lnTo>
                    <a:pt x="136" y="193"/>
                  </a:lnTo>
                  <a:lnTo>
                    <a:pt x="136" y="190"/>
                  </a:lnTo>
                  <a:lnTo>
                    <a:pt x="136" y="187"/>
                  </a:lnTo>
                  <a:lnTo>
                    <a:pt x="136" y="184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1" y="179"/>
                  </a:lnTo>
                  <a:lnTo>
                    <a:pt x="131" y="179"/>
                  </a:lnTo>
                  <a:lnTo>
                    <a:pt x="128" y="179"/>
                  </a:lnTo>
                  <a:lnTo>
                    <a:pt x="128" y="176"/>
                  </a:lnTo>
                  <a:lnTo>
                    <a:pt x="126" y="176"/>
                  </a:lnTo>
                  <a:lnTo>
                    <a:pt x="126" y="171"/>
                  </a:lnTo>
                  <a:lnTo>
                    <a:pt x="126" y="168"/>
                  </a:lnTo>
                  <a:lnTo>
                    <a:pt x="123" y="168"/>
                  </a:lnTo>
                  <a:lnTo>
                    <a:pt x="120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12" y="176"/>
                  </a:lnTo>
                  <a:lnTo>
                    <a:pt x="112" y="176"/>
                  </a:lnTo>
                  <a:lnTo>
                    <a:pt x="112" y="179"/>
                  </a:lnTo>
                  <a:lnTo>
                    <a:pt x="112" y="179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4"/>
                  </a:lnTo>
                  <a:lnTo>
                    <a:pt x="110" y="174"/>
                  </a:lnTo>
                  <a:lnTo>
                    <a:pt x="110" y="174"/>
                  </a:lnTo>
                  <a:lnTo>
                    <a:pt x="107" y="174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4" y="171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99" y="179"/>
                  </a:lnTo>
                  <a:lnTo>
                    <a:pt x="99" y="179"/>
                  </a:lnTo>
                  <a:lnTo>
                    <a:pt x="96" y="179"/>
                  </a:lnTo>
                  <a:lnTo>
                    <a:pt x="96" y="176"/>
                  </a:lnTo>
                  <a:lnTo>
                    <a:pt x="94" y="176"/>
                  </a:lnTo>
                  <a:lnTo>
                    <a:pt x="94" y="176"/>
                  </a:lnTo>
                  <a:lnTo>
                    <a:pt x="91" y="176"/>
                  </a:lnTo>
                  <a:lnTo>
                    <a:pt x="91" y="176"/>
                  </a:lnTo>
                  <a:lnTo>
                    <a:pt x="91" y="179"/>
                  </a:lnTo>
                  <a:lnTo>
                    <a:pt x="88" y="179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3" y="179"/>
                  </a:lnTo>
                  <a:lnTo>
                    <a:pt x="80" y="176"/>
                  </a:lnTo>
                  <a:lnTo>
                    <a:pt x="78" y="176"/>
                  </a:lnTo>
                  <a:lnTo>
                    <a:pt x="78" y="174"/>
                  </a:lnTo>
                  <a:lnTo>
                    <a:pt x="75" y="176"/>
                  </a:lnTo>
                  <a:lnTo>
                    <a:pt x="75" y="176"/>
                  </a:lnTo>
                  <a:lnTo>
                    <a:pt x="72" y="174"/>
                  </a:lnTo>
                  <a:lnTo>
                    <a:pt x="72" y="174"/>
                  </a:lnTo>
                  <a:lnTo>
                    <a:pt x="70" y="174"/>
                  </a:lnTo>
                  <a:lnTo>
                    <a:pt x="67" y="176"/>
                  </a:lnTo>
                  <a:lnTo>
                    <a:pt x="64" y="176"/>
                  </a:lnTo>
                  <a:lnTo>
                    <a:pt x="64" y="174"/>
                  </a:lnTo>
                  <a:lnTo>
                    <a:pt x="64" y="174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2" y="171"/>
                  </a:lnTo>
                  <a:lnTo>
                    <a:pt x="62" y="171"/>
                  </a:lnTo>
                  <a:lnTo>
                    <a:pt x="62" y="168"/>
                  </a:lnTo>
                  <a:lnTo>
                    <a:pt x="59" y="168"/>
                  </a:lnTo>
                  <a:lnTo>
                    <a:pt x="56" y="168"/>
                  </a:lnTo>
                  <a:lnTo>
                    <a:pt x="56" y="171"/>
                  </a:lnTo>
                  <a:lnTo>
                    <a:pt x="54" y="168"/>
                  </a:lnTo>
                  <a:lnTo>
                    <a:pt x="56" y="168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3"/>
                  </a:lnTo>
                  <a:lnTo>
                    <a:pt x="54" y="163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51" y="160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48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3" y="152"/>
                  </a:lnTo>
                  <a:lnTo>
                    <a:pt x="43" y="152"/>
                  </a:lnTo>
                  <a:lnTo>
                    <a:pt x="46" y="152"/>
                  </a:lnTo>
                  <a:lnTo>
                    <a:pt x="46" y="150"/>
                  </a:lnTo>
                  <a:lnTo>
                    <a:pt x="46" y="150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3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38" y="150"/>
                  </a:lnTo>
                  <a:lnTo>
                    <a:pt x="38" y="147"/>
                  </a:lnTo>
                  <a:lnTo>
                    <a:pt x="40" y="147"/>
                  </a:lnTo>
                  <a:lnTo>
                    <a:pt x="40" y="144"/>
                  </a:lnTo>
                  <a:lnTo>
                    <a:pt x="38" y="147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2"/>
                  </a:lnTo>
                  <a:lnTo>
                    <a:pt x="35" y="142"/>
                  </a:lnTo>
                  <a:lnTo>
                    <a:pt x="35" y="142"/>
                  </a:lnTo>
                  <a:lnTo>
                    <a:pt x="35" y="144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0" y="142"/>
                  </a:lnTo>
                  <a:lnTo>
                    <a:pt x="30" y="142"/>
                  </a:lnTo>
                  <a:lnTo>
                    <a:pt x="30" y="142"/>
                  </a:lnTo>
                  <a:lnTo>
                    <a:pt x="30" y="139"/>
                  </a:lnTo>
                  <a:lnTo>
                    <a:pt x="30" y="136"/>
                  </a:lnTo>
                  <a:lnTo>
                    <a:pt x="27" y="136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2" y="136"/>
                  </a:lnTo>
                  <a:lnTo>
                    <a:pt x="22" y="136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7" y="134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28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2" y="126"/>
                  </a:lnTo>
                  <a:lnTo>
                    <a:pt x="22" y="123"/>
                  </a:lnTo>
                  <a:lnTo>
                    <a:pt x="19" y="123"/>
                  </a:lnTo>
                  <a:lnTo>
                    <a:pt x="19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2"/>
                  </a:lnTo>
                  <a:lnTo>
                    <a:pt x="6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3" y="107"/>
                  </a:lnTo>
                  <a:lnTo>
                    <a:pt x="3" y="104"/>
                  </a:lnTo>
                  <a:lnTo>
                    <a:pt x="3" y="102"/>
                  </a:lnTo>
                  <a:lnTo>
                    <a:pt x="6" y="102"/>
                  </a:lnTo>
                  <a:lnTo>
                    <a:pt x="6" y="99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8" y="91"/>
                  </a:lnTo>
                  <a:lnTo>
                    <a:pt x="11" y="91"/>
                  </a:lnTo>
                  <a:lnTo>
                    <a:pt x="11" y="88"/>
                  </a:lnTo>
                  <a:lnTo>
                    <a:pt x="16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3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30" y="78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5" y="75"/>
                  </a:lnTo>
                  <a:lnTo>
                    <a:pt x="32" y="75"/>
                  </a:lnTo>
                  <a:lnTo>
                    <a:pt x="32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8" y="72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67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2" y="59"/>
                  </a:lnTo>
                  <a:lnTo>
                    <a:pt x="32" y="56"/>
                  </a:lnTo>
                  <a:lnTo>
                    <a:pt x="35" y="56"/>
                  </a:lnTo>
                  <a:lnTo>
                    <a:pt x="38" y="54"/>
                  </a:lnTo>
                  <a:lnTo>
                    <a:pt x="38" y="51"/>
                  </a:lnTo>
                  <a:lnTo>
                    <a:pt x="38" y="48"/>
                  </a:lnTo>
                  <a:lnTo>
                    <a:pt x="35" y="46"/>
                  </a:lnTo>
                  <a:lnTo>
                    <a:pt x="35" y="43"/>
                  </a:lnTo>
                  <a:lnTo>
                    <a:pt x="32" y="40"/>
                  </a:lnTo>
                  <a:lnTo>
                    <a:pt x="32" y="38"/>
                  </a:lnTo>
                  <a:lnTo>
                    <a:pt x="35" y="38"/>
                  </a:lnTo>
                  <a:lnTo>
                    <a:pt x="35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4"/>
                  </a:lnTo>
                  <a:lnTo>
                    <a:pt x="43" y="24"/>
                  </a:lnTo>
                  <a:lnTo>
                    <a:pt x="43" y="21"/>
                  </a:lnTo>
                  <a:lnTo>
                    <a:pt x="40" y="24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8" y="19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0" y="11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1" y="8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4" y="5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0"/>
                  </a:lnTo>
                  <a:lnTo>
                    <a:pt x="67" y="3"/>
                  </a:lnTo>
                  <a:lnTo>
                    <a:pt x="64" y="8"/>
                  </a:lnTo>
                  <a:lnTo>
                    <a:pt x="67" y="11"/>
                  </a:lnTo>
                  <a:lnTo>
                    <a:pt x="70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6"/>
                  </a:lnTo>
                  <a:lnTo>
                    <a:pt x="75" y="19"/>
                  </a:lnTo>
                  <a:lnTo>
                    <a:pt x="78" y="19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3" y="21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8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9" y="21"/>
                  </a:lnTo>
                  <a:lnTo>
                    <a:pt x="99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3" y="24"/>
                  </a:lnTo>
                  <a:lnTo>
                    <a:pt x="123" y="27"/>
                  </a:lnTo>
                  <a:lnTo>
                    <a:pt x="126" y="27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42" y="30"/>
                  </a:lnTo>
                  <a:lnTo>
                    <a:pt x="144" y="32"/>
                  </a:lnTo>
                  <a:lnTo>
                    <a:pt x="144" y="30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47" y="30"/>
                  </a:lnTo>
                  <a:lnTo>
                    <a:pt x="150" y="30"/>
                  </a:lnTo>
                  <a:lnTo>
                    <a:pt x="150" y="32"/>
                  </a:lnTo>
                  <a:lnTo>
                    <a:pt x="152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8" y="30"/>
                  </a:lnTo>
                  <a:lnTo>
                    <a:pt x="158" y="30"/>
                  </a:lnTo>
                  <a:lnTo>
                    <a:pt x="160" y="30"/>
                  </a:lnTo>
                  <a:lnTo>
                    <a:pt x="163" y="27"/>
                  </a:lnTo>
                  <a:lnTo>
                    <a:pt x="166" y="27"/>
                  </a:lnTo>
                  <a:lnTo>
                    <a:pt x="168" y="30"/>
                  </a:lnTo>
                  <a:lnTo>
                    <a:pt x="168" y="32"/>
                  </a:lnTo>
                  <a:lnTo>
                    <a:pt x="171" y="32"/>
                  </a:lnTo>
                  <a:lnTo>
                    <a:pt x="174" y="32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8"/>
                  </a:lnTo>
                  <a:lnTo>
                    <a:pt x="174" y="40"/>
                  </a:lnTo>
                  <a:lnTo>
                    <a:pt x="176" y="38"/>
                  </a:lnTo>
                  <a:lnTo>
                    <a:pt x="179" y="38"/>
                  </a:lnTo>
                  <a:lnTo>
                    <a:pt x="182" y="40"/>
                  </a:lnTo>
                  <a:lnTo>
                    <a:pt x="182" y="43"/>
                  </a:lnTo>
                  <a:lnTo>
                    <a:pt x="182" y="43"/>
                  </a:lnTo>
                  <a:lnTo>
                    <a:pt x="182" y="43"/>
                  </a:lnTo>
                  <a:lnTo>
                    <a:pt x="179" y="46"/>
                  </a:lnTo>
                  <a:lnTo>
                    <a:pt x="182" y="46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4" y="46"/>
                  </a:lnTo>
                  <a:lnTo>
                    <a:pt x="184" y="46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7" y="38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2" y="38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5" y="35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3" y="32"/>
                  </a:lnTo>
                  <a:lnTo>
                    <a:pt x="206" y="32"/>
                  </a:lnTo>
                  <a:lnTo>
                    <a:pt x="208" y="32"/>
                  </a:lnTo>
                  <a:lnTo>
                    <a:pt x="208" y="32"/>
                  </a:lnTo>
                  <a:lnTo>
                    <a:pt x="208" y="35"/>
                  </a:lnTo>
                  <a:lnTo>
                    <a:pt x="208" y="35"/>
                  </a:lnTo>
                  <a:lnTo>
                    <a:pt x="211" y="35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4" y="35"/>
                  </a:lnTo>
                  <a:lnTo>
                    <a:pt x="214" y="35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6" y="30"/>
                  </a:lnTo>
                  <a:lnTo>
                    <a:pt x="219" y="30"/>
                  </a:lnTo>
                  <a:lnTo>
                    <a:pt x="219" y="27"/>
                  </a:lnTo>
                  <a:lnTo>
                    <a:pt x="222" y="27"/>
                  </a:lnTo>
                  <a:lnTo>
                    <a:pt x="224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30" y="27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5" y="19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6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5" y="13"/>
                  </a:lnTo>
                  <a:lnTo>
                    <a:pt x="232" y="13"/>
                  </a:lnTo>
                  <a:lnTo>
                    <a:pt x="232" y="11"/>
                  </a:lnTo>
                  <a:lnTo>
                    <a:pt x="232" y="8"/>
                  </a:lnTo>
                  <a:lnTo>
                    <a:pt x="232" y="8"/>
                  </a:lnTo>
                  <a:lnTo>
                    <a:pt x="235" y="8"/>
                  </a:lnTo>
                  <a:lnTo>
                    <a:pt x="238" y="5"/>
                  </a:lnTo>
                  <a:lnTo>
                    <a:pt x="238" y="5"/>
                  </a:lnTo>
                  <a:lnTo>
                    <a:pt x="240" y="5"/>
                  </a:lnTo>
                  <a:lnTo>
                    <a:pt x="240" y="8"/>
                  </a:lnTo>
                  <a:lnTo>
                    <a:pt x="240" y="8"/>
                  </a:lnTo>
                  <a:lnTo>
                    <a:pt x="243" y="8"/>
                  </a:lnTo>
                  <a:lnTo>
                    <a:pt x="243" y="8"/>
                  </a:lnTo>
                  <a:lnTo>
                    <a:pt x="243" y="5"/>
                  </a:lnTo>
                  <a:lnTo>
                    <a:pt x="246" y="5"/>
                  </a:lnTo>
                  <a:lnTo>
                    <a:pt x="246" y="8"/>
                  </a:lnTo>
                  <a:lnTo>
                    <a:pt x="249" y="8"/>
                  </a:lnTo>
                  <a:lnTo>
                    <a:pt x="249" y="11"/>
                  </a:lnTo>
                  <a:lnTo>
                    <a:pt x="249" y="11"/>
                  </a:lnTo>
                  <a:lnTo>
                    <a:pt x="249" y="11"/>
                  </a:lnTo>
                  <a:lnTo>
                    <a:pt x="257" y="13"/>
                  </a:lnTo>
                  <a:lnTo>
                    <a:pt x="257" y="13"/>
                  </a:lnTo>
                  <a:lnTo>
                    <a:pt x="259" y="11"/>
                  </a:lnTo>
                  <a:lnTo>
                    <a:pt x="262" y="11"/>
                  </a:lnTo>
                  <a:lnTo>
                    <a:pt x="265" y="13"/>
                  </a:lnTo>
                  <a:lnTo>
                    <a:pt x="262" y="13"/>
                  </a:lnTo>
                  <a:lnTo>
                    <a:pt x="262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21"/>
                  </a:lnTo>
                  <a:lnTo>
                    <a:pt x="270" y="24"/>
                  </a:lnTo>
                  <a:lnTo>
                    <a:pt x="270" y="27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73" y="27"/>
                  </a:lnTo>
                  <a:lnTo>
                    <a:pt x="273" y="30"/>
                  </a:lnTo>
                  <a:lnTo>
                    <a:pt x="273" y="30"/>
                  </a:lnTo>
                  <a:lnTo>
                    <a:pt x="273" y="32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5" y="32"/>
                  </a:lnTo>
                  <a:lnTo>
                    <a:pt x="275" y="35"/>
                  </a:lnTo>
                  <a:lnTo>
                    <a:pt x="278" y="38"/>
                  </a:lnTo>
                  <a:lnTo>
                    <a:pt x="278" y="38"/>
                  </a:lnTo>
                  <a:lnTo>
                    <a:pt x="278" y="40"/>
                  </a:lnTo>
                  <a:lnTo>
                    <a:pt x="278" y="43"/>
                  </a:lnTo>
                  <a:lnTo>
                    <a:pt x="281" y="46"/>
                  </a:lnTo>
                  <a:lnTo>
                    <a:pt x="281" y="46"/>
                  </a:lnTo>
                  <a:lnTo>
                    <a:pt x="283" y="46"/>
                  </a:lnTo>
                  <a:lnTo>
                    <a:pt x="286" y="43"/>
                  </a:lnTo>
                  <a:lnTo>
                    <a:pt x="286" y="40"/>
                  </a:lnTo>
                  <a:lnTo>
                    <a:pt x="286" y="40"/>
                  </a:lnTo>
                  <a:lnTo>
                    <a:pt x="286" y="38"/>
                  </a:lnTo>
                  <a:lnTo>
                    <a:pt x="289" y="38"/>
                  </a:lnTo>
                  <a:lnTo>
                    <a:pt x="289" y="35"/>
                  </a:lnTo>
                  <a:lnTo>
                    <a:pt x="291" y="35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38"/>
                  </a:lnTo>
                  <a:lnTo>
                    <a:pt x="297" y="40"/>
                  </a:lnTo>
                  <a:lnTo>
                    <a:pt x="299" y="40"/>
                  </a:lnTo>
                  <a:lnTo>
                    <a:pt x="299" y="40"/>
                  </a:lnTo>
                  <a:lnTo>
                    <a:pt x="299" y="43"/>
                  </a:lnTo>
                  <a:lnTo>
                    <a:pt x="299" y="43"/>
                  </a:lnTo>
                  <a:lnTo>
                    <a:pt x="302" y="46"/>
                  </a:lnTo>
                  <a:lnTo>
                    <a:pt x="302" y="46"/>
                  </a:lnTo>
                  <a:lnTo>
                    <a:pt x="302" y="46"/>
                  </a:lnTo>
                  <a:lnTo>
                    <a:pt x="299" y="48"/>
                  </a:lnTo>
                  <a:lnTo>
                    <a:pt x="302" y="48"/>
                  </a:lnTo>
                  <a:lnTo>
                    <a:pt x="305" y="48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8"/>
                  </a:lnTo>
                  <a:lnTo>
                    <a:pt x="315" y="48"/>
                  </a:lnTo>
                  <a:lnTo>
                    <a:pt x="318" y="46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23" y="40"/>
                  </a:lnTo>
                  <a:lnTo>
                    <a:pt x="323" y="40"/>
                  </a:lnTo>
                  <a:lnTo>
                    <a:pt x="326" y="43"/>
                  </a:lnTo>
                  <a:lnTo>
                    <a:pt x="329" y="40"/>
                  </a:lnTo>
                  <a:lnTo>
                    <a:pt x="329" y="40"/>
                  </a:lnTo>
                  <a:lnTo>
                    <a:pt x="331" y="43"/>
                  </a:lnTo>
                  <a:lnTo>
                    <a:pt x="331" y="43"/>
                  </a:lnTo>
                  <a:lnTo>
                    <a:pt x="334" y="43"/>
                  </a:lnTo>
                  <a:lnTo>
                    <a:pt x="337" y="43"/>
                  </a:lnTo>
                  <a:lnTo>
                    <a:pt x="339" y="46"/>
                  </a:lnTo>
                  <a:lnTo>
                    <a:pt x="339" y="46"/>
                  </a:lnTo>
                  <a:lnTo>
                    <a:pt x="342" y="48"/>
                  </a:lnTo>
                  <a:lnTo>
                    <a:pt x="345" y="51"/>
                  </a:lnTo>
                  <a:lnTo>
                    <a:pt x="345" y="51"/>
                  </a:lnTo>
                  <a:lnTo>
                    <a:pt x="347" y="54"/>
                  </a:lnTo>
                  <a:lnTo>
                    <a:pt x="345" y="54"/>
                  </a:lnTo>
                  <a:lnTo>
                    <a:pt x="345" y="54"/>
                  </a:lnTo>
                  <a:lnTo>
                    <a:pt x="347" y="56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3" y="56"/>
                  </a:lnTo>
                  <a:lnTo>
                    <a:pt x="355" y="56"/>
                  </a:lnTo>
                  <a:lnTo>
                    <a:pt x="355" y="56"/>
                  </a:lnTo>
                  <a:lnTo>
                    <a:pt x="358" y="56"/>
                  </a:lnTo>
                  <a:lnTo>
                    <a:pt x="361" y="59"/>
                  </a:lnTo>
                  <a:lnTo>
                    <a:pt x="361" y="56"/>
                  </a:lnTo>
                  <a:lnTo>
                    <a:pt x="363" y="59"/>
                  </a:lnTo>
                  <a:lnTo>
                    <a:pt x="366" y="59"/>
                  </a:lnTo>
                  <a:lnTo>
                    <a:pt x="366" y="59"/>
                  </a:lnTo>
                  <a:lnTo>
                    <a:pt x="369" y="59"/>
                  </a:lnTo>
                  <a:lnTo>
                    <a:pt x="369" y="62"/>
                  </a:lnTo>
                  <a:lnTo>
                    <a:pt x="369" y="59"/>
                  </a:lnTo>
                  <a:lnTo>
                    <a:pt x="369" y="62"/>
                  </a:lnTo>
                  <a:lnTo>
                    <a:pt x="371" y="64"/>
                  </a:lnTo>
                  <a:lnTo>
                    <a:pt x="371" y="67"/>
                  </a:lnTo>
                  <a:lnTo>
                    <a:pt x="374" y="67"/>
                  </a:lnTo>
                  <a:lnTo>
                    <a:pt x="377" y="67"/>
                  </a:lnTo>
                  <a:lnTo>
                    <a:pt x="379" y="67"/>
                  </a:lnTo>
                  <a:lnTo>
                    <a:pt x="379" y="70"/>
                  </a:lnTo>
                  <a:lnTo>
                    <a:pt x="385" y="67"/>
                  </a:lnTo>
                  <a:lnTo>
                    <a:pt x="385" y="64"/>
                  </a:lnTo>
                  <a:lnTo>
                    <a:pt x="387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2"/>
                  </a:lnTo>
                  <a:lnTo>
                    <a:pt x="398" y="59"/>
                  </a:lnTo>
                  <a:lnTo>
                    <a:pt x="401" y="62"/>
                  </a:lnTo>
                  <a:lnTo>
                    <a:pt x="401" y="59"/>
                  </a:lnTo>
                  <a:lnTo>
                    <a:pt x="403" y="62"/>
                  </a:lnTo>
                  <a:lnTo>
                    <a:pt x="406" y="62"/>
                  </a:lnTo>
                  <a:lnTo>
                    <a:pt x="406" y="62"/>
                  </a:lnTo>
                  <a:lnTo>
                    <a:pt x="409" y="62"/>
                  </a:lnTo>
                  <a:lnTo>
                    <a:pt x="409" y="62"/>
                  </a:lnTo>
                  <a:lnTo>
                    <a:pt x="409" y="59"/>
                  </a:lnTo>
                  <a:lnTo>
                    <a:pt x="409" y="56"/>
                  </a:lnTo>
                  <a:lnTo>
                    <a:pt x="409" y="56"/>
                  </a:lnTo>
                  <a:lnTo>
                    <a:pt x="411" y="56"/>
                  </a:lnTo>
                  <a:lnTo>
                    <a:pt x="411" y="56"/>
                  </a:lnTo>
                  <a:lnTo>
                    <a:pt x="414" y="56"/>
                  </a:lnTo>
                  <a:lnTo>
                    <a:pt x="414" y="56"/>
                  </a:lnTo>
                  <a:lnTo>
                    <a:pt x="417" y="56"/>
                  </a:lnTo>
                  <a:lnTo>
                    <a:pt x="417" y="59"/>
                  </a:lnTo>
                  <a:lnTo>
                    <a:pt x="417" y="59"/>
                  </a:lnTo>
                  <a:lnTo>
                    <a:pt x="419" y="62"/>
                  </a:lnTo>
                  <a:lnTo>
                    <a:pt x="419" y="62"/>
                  </a:lnTo>
                  <a:lnTo>
                    <a:pt x="422" y="62"/>
                  </a:lnTo>
                  <a:lnTo>
                    <a:pt x="425" y="59"/>
                  </a:lnTo>
                  <a:lnTo>
                    <a:pt x="425" y="59"/>
                  </a:lnTo>
                  <a:lnTo>
                    <a:pt x="427" y="59"/>
                  </a:lnTo>
                  <a:lnTo>
                    <a:pt x="425" y="62"/>
                  </a:lnTo>
                  <a:lnTo>
                    <a:pt x="425" y="67"/>
                  </a:lnTo>
                  <a:lnTo>
                    <a:pt x="422" y="78"/>
                  </a:lnTo>
                  <a:lnTo>
                    <a:pt x="422" y="91"/>
                  </a:lnTo>
                  <a:lnTo>
                    <a:pt x="422" y="99"/>
                  </a:lnTo>
                  <a:lnTo>
                    <a:pt x="425" y="107"/>
                  </a:lnTo>
                  <a:lnTo>
                    <a:pt x="422" y="11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29" name="Freeform 8947">
              <a:extLst>
                <a:ext uri="{FF2B5EF4-FFF2-40B4-BE49-F238E27FC236}">
                  <a16:creationId xmlns:a16="http://schemas.microsoft.com/office/drawing/2014/main" id="{D392AE42-DF8B-9A42-910C-36E23182453C}"/>
                </a:ext>
              </a:extLst>
            </p:cNvPr>
            <p:cNvSpPr/>
            <p:nvPr/>
          </p:nvSpPr>
          <p:spPr bwMode="auto">
            <a:xfrm>
              <a:off x="1904204" y="3324225"/>
              <a:ext cx="350838" cy="334963"/>
            </a:xfrm>
            <a:custGeom>
              <a:avLst/>
              <a:gdLst>
                <a:gd name="T0" fmla="*/ 130 w 221"/>
                <a:gd name="T1" fmla="*/ 13 h 211"/>
                <a:gd name="T2" fmla="*/ 141 w 221"/>
                <a:gd name="T3" fmla="*/ 18 h 211"/>
                <a:gd name="T4" fmla="*/ 152 w 221"/>
                <a:gd name="T5" fmla="*/ 18 h 211"/>
                <a:gd name="T6" fmla="*/ 157 w 221"/>
                <a:gd name="T7" fmla="*/ 10 h 211"/>
                <a:gd name="T8" fmla="*/ 168 w 221"/>
                <a:gd name="T9" fmla="*/ 16 h 211"/>
                <a:gd name="T10" fmla="*/ 179 w 221"/>
                <a:gd name="T11" fmla="*/ 29 h 211"/>
                <a:gd name="T12" fmla="*/ 184 w 221"/>
                <a:gd name="T13" fmla="*/ 40 h 211"/>
                <a:gd name="T14" fmla="*/ 187 w 221"/>
                <a:gd name="T15" fmla="*/ 53 h 211"/>
                <a:gd name="T16" fmla="*/ 192 w 221"/>
                <a:gd name="T17" fmla="*/ 66 h 211"/>
                <a:gd name="T18" fmla="*/ 189 w 221"/>
                <a:gd name="T19" fmla="*/ 74 h 211"/>
                <a:gd name="T20" fmla="*/ 197 w 221"/>
                <a:gd name="T21" fmla="*/ 82 h 211"/>
                <a:gd name="T22" fmla="*/ 211 w 221"/>
                <a:gd name="T23" fmla="*/ 91 h 211"/>
                <a:gd name="T24" fmla="*/ 219 w 221"/>
                <a:gd name="T25" fmla="*/ 99 h 211"/>
                <a:gd name="T26" fmla="*/ 219 w 221"/>
                <a:gd name="T27" fmla="*/ 112 h 211"/>
                <a:gd name="T28" fmla="*/ 213 w 221"/>
                <a:gd name="T29" fmla="*/ 125 h 211"/>
                <a:gd name="T30" fmla="*/ 195 w 221"/>
                <a:gd name="T31" fmla="*/ 128 h 211"/>
                <a:gd name="T32" fmla="*/ 184 w 221"/>
                <a:gd name="T33" fmla="*/ 136 h 211"/>
                <a:gd name="T34" fmla="*/ 171 w 221"/>
                <a:gd name="T35" fmla="*/ 141 h 211"/>
                <a:gd name="T36" fmla="*/ 160 w 221"/>
                <a:gd name="T37" fmla="*/ 155 h 211"/>
                <a:gd name="T38" fmla="*/ 155 w 221"/>
                <a:gd name="T39" fmla="*/ 165 h 211"/>
                <a:gd name="T40" fmla="*/ 144 w 221"/>
                <a:gd name="T41" fmla="*/ 165 h 211"/>
                <a:gd name="T42" fmla="*/ 133 w 221"/>
                <a:gd name="T43" fmla="*/ 176 h 211"/>
                <a:gd name="T44" fmla="*/ 128 w 221"/>
                <a:gd name="T45" fmla="*/ 187 h 211"/>
                <a:gd name="T46" fmla="*/ 114 w 221"/>
                <a:gd name="T47" fmla="*/ 179 h 211"/>
                <a:gd name="T48" fmla="*/ 112 w 221"/>
                <a:gd name="T49" fmla="*/ 184 h 211"/>
                <a:gd name="T50" fmla="*/ 106 w 221"/>
                <a:gd name="T51" fmla="*/ 181 h 211"/>
                <a:gd name="T52" fmla="*/ 96 w 221"/>
                <a:gd name="T53" fmla="*/ 179 h 211"/>
                <a:gd name="T54" fmla="*/ 90 w 221"/>
                <a:gd name="T55" fmla="*/ 181 h 211"/>
                <a:gd name="T56" fmla="*/ 77 w 221"/>
                <a:gd name="T57" fmla="*/ 181 h 211"/>
                <a:gd name="T58" fmla="*/ 72 w 221"/>
                <a:gd name="T59" fmla="*/ 187 h 211"/>
                <a:gd name="T60" fmla="*/ 61 w 221"/>
                <a:gd name="T61" fmla="*/ 189 h 211"/>
                <a:gd name="T62" fmla="*/ 53 w 221"/>
                <a:gd name="T63" fmla="*/ 195 h 211"/>
                <a:gd name="T64" fmla="*/ 42 w 221"/>
                <a:gd name="T65" fmla="*/ 203 h 211"/>
                <a:gd name="T66" fmla="*/ 32 w 221"/>
                <a:gd name="T67" fmla="*/ 205 h 211"/>
                <a:gd name="T68" fmla="*/ 24 w 221"/>
                <a:gd name="T69" fmla="*/ 200 h 211"/>
                <a:gd name="T70" fmla="*/ 18 w 221"/>
                <a:gd name="T71" fmla="*/ 189 h 211"/>
                <a:gd name="T72" fmla="*/ 8 w 221"/>
                <a:gd name="T73" fmla="*/ 187 h 211"/>
                <a:gd name="T74" fmla="*/ 8 w 221"/>
                <a:gd name="T75" fmla="*/ 181 h 211"/>
                <a:gd name="T76" fmla="*/ 2 w 221"/>
                <a:gd name="T77" fmla="*/ 171 h 211"/>
                <a:gd name="T78" fmla="*/ 2 w 221"/>
                <a:gd name="T79" fmla="*/ 152 h 211"/>
                <a:gd name="T80" fmla="*/ 10 w 221"/>
                <a:gd name="T81" fmla="*/ 147 h 211"/>
                <a:gd name="T82" fmla="*/ 13 w 221"/>
                <a:gd name="T83" fmla="*/ 139 h 211"/>
                <a:gd name="T84" fmla="*/ 24 w 221"/>
                <a:gd name="T85" fmla="*/ 131 h 211"/>
                <a:gd name="T86" fmla="*/ 29 w 221"/>
                <a:gd name="T87" fmla="*/ 120 h 211"/>
                <a:gd name="T88" fmla="*/ 37 w 221"/>
                <a:gd name="T89" fmla="*/ 109 h 211"/>
                <a:gd name="T90" fmla="*/ 26 w 221"/>
                <a:gd name="T91" fmla="*/ 101 h 211"/>
                <a:gd name="T92" fmla="*/ 32 w 221"/>
                <a:gd name="T93" fmla="*/ 85 h 211"/>
                <a:gd name="T94" fmla="*/ 32 w 221"/>
                <a:gd name="T95" fmla="*/ 74 h 211"/>
                <a:gd name="T96" fmla="*/ 34 w 221"/>
                <a:gd name="T97" fmla="*/ 61 h 211"/>
                <a:gd name="T98" fmla="*/ 29 w 221"/>
                <a:gd name="T99" fmla="*/ 45 h 211"/>
                <a:gd name="T100" fmla="*/ 34 w 221"/>
                <a:gd name="T101" fmla="*/ 42 h 211"/>
                <a:gd name="T102" fmla="*/ 37 w 221"/>
                <a:gd name="T103" fmla="*/ 40 h 211"/>
                <a:gd name="T104" fmla="*/ 45 w 221"/>
                <a:gd name="T105" fmla="*/ 40 h 211"/>
                <a:gd name="T106" fmla="*/ 56 w 221"/>
                <a:gd name="T107" fmla="*/ 40 h 211"/>
                <a:gd name="T108" fmla="*/ 56 w 221"/>
                <a:gd name="T109" fmla="*/ 26 h 211"/>
                <a:gd name="T110" fmla="*/ 53 w 221"/>
                <a:gd name="T111" fmla="*/ 16 h 211"/>
                <a:gd name="T112" fmla="*/ 61 w 221"/>
                <a:gd name="T113" fmla="*/ 8 h 211"/>
                <a:gd name="T114" fmla="*/ 72 w 221"/>
                <a:gd name="T115" fmla="*/ 8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1" h="211" extrusionOk="0">
                  <a:moveTo>
                    <a:pt x="77" y="8"/>
                  </a:moveTo>
                  <a:lnTo>
                    <a:pt x="88" y="2"/>
                  </a:lnTo>
                  <a:lnTo>
                    <a:pt x="90" y="2"/>
                  </a:lnTo>
                  <a:lnTo>
                    <a:pt x="101" y="0"/>
                  </a:lnTo>
                  <a:lnTo>
                    <a:pt x="114" y="5"/>
                  </a:lnTo>
                  <a:lnTo>
                    <a:pt x="125" y="10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0"/>
                  </a:lnTo>
                  <a:lnTo>
                    <a:pt x="133" y="13"/>
                  </a:lnTo>
                  <a:lnTo>
                    <a:pt x="133" y="10"/>
                  </a:lnTo>
                  <a:lnTo>
                    <a:pt x="136" y="10"/>
                  </a:lnTo>
                  <a:lnTo>
                    <a:pt x="136" y="13"/>
                  </a:lnTo>
                  <a:lnTo>
                    <a:pt x="139" y="13"/>
                  </a:lnTo>
                  <a:lnTo>
                    <a:pt x="136" y="16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4" y="21"/>
                  </a:lnTo>
                  <a:lnTo>
                    <a:pt x="144" y="21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9" y="24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52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7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6"/>
                  </a:lnTo>
                  <a:lnTo>
                    <a:pt x="157" y="16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60" y="8"/>
                  </a:lnTo>
                  <a:lnTo>
                    <a:pt x="163" y="8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3" y="13"/>
                  </a:lnTo>
                  <a:lnTo>
                    <a:pt x="165" y="13"/>
                  </a:lnTo>
                  <a:lnTo>
                    <a:pt x="168" y="13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71" y="18"/>
                  </a:lnTo>
                  <a:lnTo>
                    <a:pt x="171" y="21"/>
                  </a:lnTo>
                  <a:lnTo>
                    <a:pt x="173" y="2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6" y="26"/>
                  </a:lnTo>
                  <a:lnTo>
                    <a:pt x="179" y="26"/>
                  </a:lnTo>
                  <a:lnTo>
                    <a:pt x="179" y="26"/>
                  </a:lnTo>
                  <a:lnTo>
                    <a:pt x="179" y="29"/>
                  </a:lnTo>
                  <a:lnTo>
                    <a:pt x="179" y="29"/>
                  </a:lnTo>
                  <a:lnTo>
                    <a:pt x="179" y="32"/>
                  </a:lnTo>
                  <a:lnTo>
                    <a:pt x="181" y="32"/>
                  </a:lnTo>
                  <a:lnTo>
                    <a:pt x="181" y="32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7" y="37"/>
                  </a:lnTo>
                  <a:lnTo>
                    <a:pt x="184" y="37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9" y="42"/>
                  </a:lnTo>
                  <a:lnTo>
                    <a:pt x="189" y="45"/>
                  </a:lnTo>
                  <a:lnTo>
                    <a:pt x="187" y="45"/>
                  </a:lnTo>
                  <a:lnTo>
                    <a:pt x="187" y="48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3"/>
                  </a:lnTo>
                  <a:lnTo>
                    <a:pt x="189" y="53"/>
                  </a:lnTo>
                  <a:lnTo>
                    <a:pt x="189" y="56"/>
                  </a:lnTo>
                  <a:lnTo>
                    <a:pt x="192" y="56"/>
                  </a:lnTo>
                  <a:lnTo>
                    <a:pt x="189" y="58"/>
                  </a:lnTo>
                  <a:lnTo>
                    <a:pt x="189" y="61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89" y="64"/>
                  </a:lnTo>
                  <a:lnTo>
                    <a:pt x="192" y="66"/>
                  </a:lnTo>
                  <a:lnTo>
                    <a:pt x="192" y="66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87" y="74"/>
                  </a:lnTo>
                  <a:lnTo>
                    <a:pt x="189" y="74"/>
                  </a:lnTo>
                  <a:lnTo>
                    <a:pt x="187" y="77"/>
                  </a:lnTo>
                  <a:lnTo>
                    <a:pt x="189" y="77"/>
                  </a:lnTo>
                  <a:lnTo>
                    <a:pt x="189" y="80"/>
                  </a:lnTo>
                  <a:lnTo>
                    <a:pt x="192" y="80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2" y="82"/>
                  </a:lnTo>
                  <a:lnTo>
                    <a:pt x="195" y="82"/>
                  </a:lnTo>
                  <a:lnTo>
                    <a:pt x="197" y="82"/>
                  </a:lnTo>
                  <a:lnTo>
                    <a:pt x="197" y="85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3" y="88"/>
                  </a:lnTo>
                  <a:lnTo>
                    <a:pt x="203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08" y="91"/>
                  </a:lnTo>
                  <a:lnTo>
                    <a:pt x="211" y="91"/>
                  </a:lnTo>
                  <a:lnTo>
                    <a:pt x="211" y="91"/>
                  </a:lnTo>
                  <a:lnTo>
                    <a:pt x="213" y="91"/>
                  </a:lnTo>
                  <a:lnTo>
                    <a:pt x="213" y="93"/>
                  </a:lnTo>
                  <a:lnTo>
                    <a:pt x="213" y="93"/>
                  </a:lnTo>
                  <a:lnTo>
                    <a:pt x="216" y="96"/>
                  </a:lnTo>
                  <a:lnTo>
                    <a:pt x="213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19" y="99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21" y="104"/>
                  </a:lnTo>
                  <a:lnTo>
                    <a:pt x="221" y="104"/>
                  </a:lnTo>
                  <a:lnTo>
                    <a:pt x="221" y="107"/>
                  </a:lnTo>
                  <a:lnTo>
                    <a:pt x="221" y="109"/>
                  </a:lnTo>
                  <a:lnTo>
                    <a:pt x="221" y="109"/>
                  </a:lnTo>
                  <a:lnTo>
                    <a:pt x="221" y="109"/>
                  </a:lnTo>
                  <a:lnTo>
                    <a:pt x="221" y="112"/>
                  </a:lnTo>
                  <a:lnTo>
                    <a:pt x="219" y="112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20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9" y="123"/>
                  </a:lnTo>
                  <a:lnTo>
                    <a:pt x="216" y="125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3"/>
                  </a:lnTo>
                  <a:lnTo>
                    <a:pt x="208" y="125"/>
                  </a:lnTo>
                  <a:lnTo>
                    <a:pt x="205" y="125"/>
                  </a:lnTo>
                  <a:lnTo>
                    <a:pt x="203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197" y="128"/>
                  </a:lnTo>
                  <a:lnTo>
                    <a:pt x="197" y="128"/>
                  </a:lnTo>
                  <a:lnTo>
                    <a:pt x="195" y="128"/>
                  </a:lnTo>
                  <a:lnTo>
                    <a:pt x="195" y="131"/>
                  </a:lnTo>
                  <a:lnTo>
                    <a:pt x="195" y="133"/>
                  </a:lnTo>
                  <a:lnTo>
                    <a:pt x="192" y="133"/>
                  </a:lnTo>
                  <a:lnTo>
                    <a:pt x="192" y="133"/>
                  </a:lnTo>
                  <a:lnTo>
                    <a:pt x="189" y="133"/>
                  </a:lnTo>
                  <a:lnTo>
                    <a:pt x="189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4" y="133"/>
                  </a:lnTo>
                  <a:lnTo>
                    <a:pt x="184" y="136"/>
                  </a:lnTo>
                  <a:lnTo>
                    <a:pt x="184" y="136"/>
                  </a:lnTo>
                  <a:lnTo>
                    <a:pt x="181" y="139"/>
                  </a:lnTo>
                  <a:lnTo>
                    <a:pt x="181" y="139"/>
                  </a:lnTo>
                  <a:lnTo>
                    <a:pt x="181" y="141"/>
                  </a:lnTo>
                  <a:lnTo>
                    <a:pt x="179" y="141"/>
                  </a:lnTo>
                  <a:lnTo>
                    <a:pt x="179" y="141"/>
                  </a:lnTo>
                  <a:lnTo>
                    <a:pt x="176" y="141"/>
                  </a:lnTo>
                  <a:lnTo>
                    <a:pt x="173" y="141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68" y="141"/>
                  </a:lnTo>
                  <a:lnTo>
                    <a:pt x="168" y="141"/>
                  </a:lnTo>
                  <a:lnTo>
                    <a:pt x="165" y="141"/>
                  </a:lnTo>
                  <a:lnTo>
                    <a:pt x="168" y="144"/>
                  </a:lnTo>
                  <a:lnTo>
                    <a:pt x="168" y="147"/>
                  </a:lnTo>
                  <a:lnTo>
                    <a:pt x="165" y="149"/>
                  </a:lnTo>
                  <a:lnTo>
                    <a:pt x="165" y="152"/>
                  </a:lnTo>
                  <a:lnTo>
                    <a:pt x="165" y="155"/>
                  </a:lnTo>
                  <a:lnTo>
                    <a:pt x="163" y="152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7"/>
                  </a:lnTo>
                  <a:lnTo>
                    <a:pt x="157" y="157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5" y="165"/>
                  </a:lnTo>
                  <a:lnTo>
                    <a:pt x="155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52" y="165"/>
                  </a:lnTo>
                  <a:lnTo>
                    <a:pt x="149" y="165"/>
                  </a:lnTo>
                  <a:lnTo>
                    <a:pt x="149" y="165"/>
                  </a:lnTo>
                  <a:lnTo>
                    <a:pt x="149" y="163"/>
                  </a:lnTo>
                  <a:lnTo>
                    <a:pt x="147" y="165"/>
                  </a:lnTo>
                  <a:lnTo>
                    <a:pt x="147" y="165"/>
                  </a:lnTo>
                  <a:lnTo>
                    <a:pt x="144" y="165"/>
                  </a:lnTo>
                  <a:lnTo>
                    <a:pt x="144" y="165"/>
                  </a:lnTo>
                  <a:lnTo>
                    <a:pt x="144" y="168"/>
                  </a:lnTo>
                  <a:lnTo>
                    <a:pt x="141" y="171"/>
                  </a:lnTo>
                  <a:lnTo>
                    <a:pt x="139" y="168"/>
                  </a:lnTo>
                  <a:lnTo>
                    <a:pt x="139" y="168"/>
                  </a:lnTo>
                  <a:lnTo>
                    <a:pt x="136" y="168"/>
                  </a:lnTo>
                  <a:lnTo>
                    <a:pt x="136" y="171"/>
                  </a:lnTo>
                  <a:lnTo>
                    <a:pt x="136" y="173"/>
                  </a:lnTo>
                  <a:lnTo>
                    <a:pt x="136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9"/>
                  </a:lnTo>
                  <a:lnTo>
                    <a:pt x="133" y="179"/>
                  </a:lnTo>
                  <a:lnTo>
                    <a:pt x="133" y="179"/>
                  </a:lnTo>
                  <a:lnTo>
                    <a:pt x="130" y="179"/>
                  </a:lnTo>
                  <a:lnTo>
                    <a:pt x="130" y="181"/>
                  </a:lnTo>
                  <a:lnTo>
                    <a:pt x="130" y="181"/>
                  </a:lnTo>
                  <a:lnTo>
                    <a:pt x="130" y="184"/>
                  </a:lnTo>
                  <a:lnTo>
                    <a:pt x="128" y="187"/>
                  </a:lnTo>
                  <a:lnTo>
                    <a:pt x="128" y="187"/>
                  </a:lnTo>
                  <a:lnTo>
                    <a:pt x="125" y="187"/>
                  </a:lnTo>
                  <a:lnTo>
                    <a:pt x="125" y="184"/>
                  </a:lnTo>
                  <a:lnTo>
                    <a:pt x="122" y="184"/>
                  </a:lnTo>
                  <a:lnTo>
                    <a:pt x="122" y="181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20" y="181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4" y="179"/>
                  </a:lnTo>
                  <a:lnTo>
                    <a:pt x="114" y="179"/>
                  </a:lnTo>
                  <a:lnTo>
                    <a:pt x="117" y="181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17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2" y="184"/>
                  </a:lnTo>
                  <a:lnTo>
                    <a:pt x="112" y="184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09" y="187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9" y="184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6" y="179"/>
                  </a:lnTo>
                  <a:lnTo>
                    <a:pt x="104" y="179"/>
                  </a:lnTo>
                  <a:lnTo>
                    <a:pt x="101" y="181"/>
                  </a:lnTo>
                  <a:lnTo>
                    <a:pt x="101" y="181"/>
                  </a:lnTo>
                  <a:lnTo>
                    <a:pt x="98" y="181"/>
                  </a:lnTo>
                  <a:lnTo>
                    <a:pt x="98" y="179"/>
                  </a:lnTo>
                  <a:lnTo>
                    <a:pt x="96" y="179"/>
                  </a:lnTo>
                  <a:lnTo>
                    <a:pt x="96" y="176"/>
                  </a:lnTo>
                  <a:lnTo>
                    <a:pt x="93" y="179"/>
                  </a:lnTo>
                  <a:lnTo>
                    <a:pt x="93" y="179"/>
                  </a:lnTo>
                  <a:lnTo>
                    <a:pt x="93" y="181"/>
                  </a:lnTo>
                  <a:lnTo>
                    <a:pt x="93" y="184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5" y="181"/>
                  </a:lnTo>
                  <a:lnTo>
                    <a:pt x="85" y="181"/>
                  </a:lnTo>
                  <a:lnTo>
                    <a:pt x="82" y="181"/>
                  </a:lnTo>
                  <a:lnTo>
                    <a:pt x="82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79"/>
                  </a:lnTo>
                  <a:lnTo>
                    <a:pt x="74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69" y="184"/>
                  </a:lnTo>
                  <a:lnTo>
                    <a:pt x="66" y="184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4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4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6" y="192"/>
                  </a:lnTo>
                  <a:lnTo>
                    <a:pt x="56" y="192"/>
                  </a:lnTo>
                  <a:lnTo>
                    <a:pt x="53" y="192"/>
                  </a:lnTo>
                  <a:lnTo>
                    <a:pt x="53" y="195"/>
                  </a:lnTo>
                  <a:lnTo>
                    <a:pt x="53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48" y="195"/>
                  </a:lnTo>
                  <a:lnTo>
                    <a:pt x="48" y="197"/>
                  </a:lnTo>
                  <a:lnTo>
                    <a:pt x="45" y="200"/>
                  </a:lnTo>
                  <a:lnTo>
                    <a:pt x="45" y="200"/>
                  </a:lnTo>
                  <a:lnTo>
                    <a:pt x="42" y="200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5"/>
                  </a:lnTo>
                  <a:lnTo>
                    <a:pt x="40" y="208"/>
                  </a:lnTo>
                  <a:lnTo>
                    <a:pt x="40" y="208"/>
                  </a:lnTo>
                  <a:lnTo>
                    <a:pt x="37" y="208"/>
                  </a:lnTo>
                  <a:lnTo>
                    <a:pt x="37" y="208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08"/>
                  </a:lnTo>
                  <a:lnTo>
                    <a:pt x="34" y="208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9" y="200"/>
                  </a:lnTo>
                  <a:lnTo>
                    <a:pt x="29" y="200"/>
                  </a:lnTo>
                  <a:lnTo>
                    <a:pt x="29" y="200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4" y="200"/>
                  </a:lnTo>
                  <a:lnTo>
                    <a:pt x="24" y="200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1" y="197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6" y="189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5" y="187"/>
                  </a:lnTo>
                  <a:lnTo>
                    <a:pt x="2" y="187"/>
                  </a:lnTo>
                  <a:lnTo>
                    <a:pt x="2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5" y="179"/>
                  </a:lnTo>
                  <a:lnTo>
                    <a:pt x="5" y="179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3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0" y="168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5" y="160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5" y="155"/>
                  </a:lnTo>
                  <a:lnTo>
                    <a:pt x="2" y="155"/>
                  </a:lnTo>
                  <a:lnTo>
                    <a:pt x="2" y="152"/>
                  </a:lnTo>
                  <a:lnTo>
                    <a:pt x="2" y="149"/>
                  </a:lnTo>
                  <a:lnTo>
                    <a:pt x="5" y="149"/>
                  </a:lnTo>
                  <a:lnTo>
                    <a:pt x="5" y="149"/>
                  </a:lnTo>
                  <a:lnTo>
                    <a:pt x="5" y="149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8" y="139"/>
                  </a:lnTo>
                  <a:lnTo>
                    <a:pt x="8" y="139"/>
                  </a:lnTo>
                  <a:lnTo>
                    <a:pt x="10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8" y="139"/>
                  </a:lnTo>
                  <a:lnTo>
                    <a:pt x="21" y="136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25"/>
                  </a:lnTo>
                  <a:lnTo>
                    <a:pt x="24" y="123"/>
                  </a:lnTo>
                  <a:lnTo>
                    <a:pt x="24" y="123"/>
                  </a:lnTo>
                  <a:lnTo>
                    <a:pt x="24" y="120"/>
                  </a:lnTo>
                  <a:lnTo>
                    <a:pt x="26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32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7" y="123"/>
                  </a:lnTo>
                  <a:lnTo>
                    <a:pt x="37" y="120"/>
                  </a:lnTo>
                  <a:lnTo>
                    <a:pt x="37" y="117"/>
                  </a:lnTo>
                  <a:lnTo>
                    <a:pt x="40" y="115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7" y="109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29" y="109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6" y="107"/>
                  </a:lnTo>
                  <a:lnTo>
                    <a:pt x="26" y="104"/>
                  </a:lnTo>
                  <a:lnTo>
                    <a:pt x="26" y="101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32" y="85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2" y="74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69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64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29" y="50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5"/>
                  </a:lnTo>
                  <a:lnTo>
                    <a:pt x="32" y="48"/>
                  </a:lnTo>
                  <a:lnTo>
                    <a:pt x="32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2" y="45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7" y="42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40" y="48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2" y="37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7"/>
                  </a:lnTo>
                  <a:lnTo>
                    <a:pt x="58" y="37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2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6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3" y="24"/>
                  </a:lnTo>
                  <a:lnTo>
                    <a:pt x="53" y="21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6"/>
                  </a:lnTo>
                  <a:lnTo>
                    <a:pt x="50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6" y="16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6" y="8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4" y="8"/>
                  </a:lnTo>
                  <a:lnTo>
                    <a:pt x="77" y="8"/>
                  </a:lnTo>
                  <a:lnTo>
                    <a:pt x="77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0" name="Freeform 8948">
              <a:extLst>
                <a:ext uri="{FF2B5EF4-FFF2-40B4-BE49-F238E27FC236}">
                  <a16:creationId xmlns:a16="http://schemas.microsoft.com/office/drawing/2014/main" id="{C8D163A0-D114-C54C-8A9D-1BE8A546CF46}"/>
                </a:ext>
              </a:extLst>
            </p:cNvPr>
            <p:cNvSpPr/>
            <p:nvPr/>
          </p:nvSpPr>
          <p:spPr bwMode="auto">
            <a:xfrm>
              <a:off x="1467643" y="2563814"/>
              <a:ext cx="711199" cy="555624"/>
            </a:xfrm>
            <a:custGeom>
              <a:avLst/>
              <a:gdLst>
                <a:gd name="T0" fmla="*/ 197 w 448"/>
                <a:gd name="T1" fmla="*/ 3 h 350"/>
                <a:gd name="T2" fmla="*/ 162 w 448"/>
                <a:gd name="T3" fmla="*/ 3 h 350"/>
                <a:gd name="T4" fmla="*/ 117 w 448"/>
                <a:gd name="T5" fmla="*/ 8 h 350"/>
                <a:gd name="T6" fmla="*/ 112 w 448"/>
                <a:gd name="T7" fmla="*/ 14 h 350"/>
                <a:gd name="T8" fmla="*/ 122 w 448"/>
                <a:gd name="T9" fmla="*/ 19 h 350"/>
                <a:gd name="T10" fmla="*/ 130 w 448"/>
                <a:gd name="T11" fmla="*/ 22 h 350"/>
                <a:gd name="T12" fmla="*/ 138 w 448"/>
                <a:gd name="T13" fmla="*/ 22 h 350"/>
                <a:gd name="T14" fmla="*/ 149 w 448"/>
                <a:gd name="T15" fmla="*/ 24 h 350"/>
                <a:gd name="T16" fmla="*/ 154 w 448"/>
                <a:gd name="T17" fmla="*/ 30 h 350"/>
                <a:gd name="T18" fmla="*/ 146 w 448"/>
                <a:gd name="T19" fmla="*/ 35 h 350"/>
                <a:gd name="T20" fmla="*/ 144 w 448"/>
                <a:gd name="T21" fmla="*/ 32 h 350"/>
                <a:gd name="T22" fmla="*/ 136 w 448"/>
                <a:gd name="T23" fmla="*/ 46 h 350"/>
                <a:gd name="T24" fmla="*/ 136 w 448"/>
                <a:gd name="T25" fmla="*/ 32 h 350"/>
                <a:gd name="T26" fmla="*/ 136 w 448"/>
                <a:gd name="T27" fmla="*/ 56 h 350"/>
                <a:gd name="T28" fmla="*/ 130 w 448"/>
                <a:gd name="T29" fmla="*/ 75 h 350"/>
                <a:gd name="T30" fmla="*/ 154 w 448"/>
                <a:gd name="T31" fmla="*/ 97 h 350"/>
                <a:gd name="T32" fmla="*/ 154 w 448"/>
                <a:gd name="T33" fmla="*/ 118 h 350"/>
                <a:gd name="T34" fmla="*/ 157 w 448"/>
                <a:gd name="T35" fmla="*/ 137 h 350"/>
                <a:gd name="T36" fmla="*/ 141 w 448"/>
                <a:gd name="T37" fmla="*/ 123 h 350"/>
                <a:gd name="T38" fmla="*/ 122 w 448"/>
                <a:gd name="T39" fmla="*/ 94 h 350"/>
                <a:gd name="T40" fmla="*/ 112 w 448"/>
                <a:gd name="T41" fmla="*/ 99 h 350"/>
                <a:gd name="T42" fmla="*/ 93 w 448"/>
                <a:gd name="T43" fmla="*/ 97 h 350"/>
                <a:gd name="T44" fmla="*/ 88 w 448"/>
                <a:gd name="T45" fmla="*/ 83 h 350"/>
                <a:gd name="T46" fmla="*/ 69 w 448"/>
                <a:gd name="T47" fmla="*/ 83 h 350"/>
                <a:gd name="T48" fmla="*/ 64 w 448"/>
                <a:gd name="T49" fmla="*/ 75 h 350"/>
                <a:gd name="T50" fmla="*/ 45 w 448"/>
                <a:gd name="T51" fmla="*/ 97 h 350"/>
                <a:gd name="T52" fmla="*/ 26 w 448"/>
                <a:gd name="T53" fmla="*/ 105 h 350"/>
                <a:gd name="T54" fmla="*/ 5 w 448"/>
                <a:gd name="T55" fmla="*/ 121 h 350"/>
                <a:gd name="T56" fmla="*/ 16 w 448"/>
                <a:gd name="T57" fmla="*/ 137 h 350"/>
                <a:gd name="T58" fmla="*/ 18 w 448"/>
                <a:gd name="T59" fmla="*/ 150 h 350"/>
                <a:gd name="T60" fmla="*/ 34 w 448"/>
                <a:gd name="T61" fmla="*/ 171 h 350"/>
                <a:gd name="T62" fmla="*/ 37 w 448"/>
                <a:gd name="T63" fmla="*/ 187 h 350"/>
                <a:gd name="T64" fmla="*/ 34 w 448"/>
                <a:gd name="T65" fmla="*/ 198 h 350"/>
                <a:gd name="T66" fmla="*/ 37 w 448"/>
                <a:gd name="T67" fmla="*/ 209 h 350"/>
                <a:gd name="T68" fmla="*/ 37 w 448"/>
                <a:gd name="T69" fmla="*/ 222 h 350"/>
                <a:gd name="T70" fmla="*/ 50 w 448"/>
                <a:gd name="T71" fmla="*/ 233 h 350"/>
                <a:gd name="T72" fmla="*/ 64 w 448"/>
                <a:gd name="T73" fmla="*/ 230 h 350"/>
                <a:gd name="T74" fmla="*/ 80 w 448"/>
                <a:gd name="T75" fmla="*/ 222 h 350"/>
                <a:gd name="T76" fmla="*/ 93 w 448"/>
                <a:gd name="T77" fmla="*/ 238 h 350"/>
                <a:gd name="T78" fmla="*/ 112 w 448"/>
                <a:gd name="T79" fmla="*/ 233 h 350"/>
                <a:gd name="T80" fmla="*/ 138 w 448"/>
                <a:gd name="T81" fmla="*/ 238 h 350"/>
                <a:gd name="T82" fmla="*/ 157 w 448"/>
                <a:gd name="T83" fmla="*/ 233 h 350"/>
                <a:gd name="T84" fmla="*/ 176 w 448"/>
                <a:gd name="T85" fmla="*/ 230 h 350"/>
                <a:gd name="T86" fmla="*/ 195 w 448"/>
                <a:gd name="T87" fmla="*/ 243 h 350"/>
                <a:gd name="T88" fmla="*/ 189 w 448"/>
                <a:gd name="T89" fmla="*/ 265 h 350"/>
                <a:gd name="T90" fmla="*/ 200 w 448"/>
                <a:gd name="T91" fmla="*/ 276 h 350"/>
                <a:gd name="T92" fmla="*/ 224 w 448"/>
                <a:gd name="T93" fmla="*/ 265 h 350"/>
                <a:gd name="T94" fmla="*/ 251 w 448"/>
                <a:gd name="T95" fmla="*/ 289 h 350"/>
                <a:gd name="T96" fmla="*/ 251 w 448"/>
                <a:gd name="T97" fmla="*/ 318 h 350"/>
                <a:gd name="T98" fmla="*/ 267 w 448"/>
                <a:gd name="T99" fmla="*/ 326 h 350"/>
                <a:gd name="T100" fmla="*/ 280 w 448"/>
                <a:gd name="T101" fmla="*/ 345 h 350"/>
                <a:gd name="T102" fmla="*/ 309 w 448"/>
                <a:gd name="T103" fmla="*/ 348 h 350"/>
                <a:gd name="T104" fmla="*/ 325 w 448"/>
                <a:gd name="T105" fmla="*/ 337 h 350"/>
                <a:gd name="T106" fmla="*/ 347 w 448"/>
                <a:gd name="T107" fmla="*/ 326 h 350"/>
                <a:gd name="T108" fmla="*/ 355 w 448"/>
                <a:gd name="T109" fmla="*/ 284 h 350"/>
                <a:gd name="T110" fmla="*/ 392 w 448"/>
                <a:gd name="T111" fmla="*/ 246 h 350"/>
                <a:gd name="T112" fmla="*/ 411 w 448"/>
                <a:gd name="T113" fmla="*/ 230 h 350"/>
                <a:gd name="T114" fmla="*/ 438 w 448"/>
                <a:gd name="T115" fmla="*/ 195 h 350"/>
                <a:gd name="T116" fmla="*/ 414 w 448"/>
                <a:gd name="T117" fmla="*/ 174 h 350"/>
                <a:gd name="T118" fmla="*/ 389 w 448"/>
                <a:gd name="T119" fmla="*/ 161 h 350"/>
                <a:gd name="T120" fmla="*/ 357 w 448"/>
                <a:gd name="T121" fmla="*/ 155 h 350"/>
                <a:gd name="T122" fmla="*/ 349 w 448"/>
                <a:gd name="T123" fmla="*/ 158 h 350"/>
                <a:gd name="T124" fmla="*/ 312 w 448"/>
                <a:gd name="T125" fmla="*/ 16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8" h="350" extrusionOk="0">
                  <a:moveTo>
                    <a:pt x="229" y="30"/>
                  </a:moveTo>
                  <a:lnTo>
                    <a:pt x="219" y="19"/>
                  </a:lnTo>
                  <a:lnTo>
                    <a:pt x="221" y="14"/>
                  </a:lnTo>
                  <a:lnTo>
                    <a:pt x="219" y="11"/>
                  </a:lnTo>
                  <a:lnTo>
                    <a:pt x="219" y="11"/>
                  </a:lnTo>
                  <a:lnTo>
                    <a:pt x="219" y="11"/>
                  </a:lnTo>
                  <a:lnTo>
                    <a:pt x="216" y="8"/>
                  </a:lnTo>
                  <a:lnTo>
                    <a:pt x="216" y="6"/>
                  </a:lnTo>
                  <a:lnTo>
                    <a:pt x="216" y="3"/>
                  </a:lnTo>
                  <a:lnTo>
                    <a:pt x="219" y="3"/>
                  </a:lnTo>
                  <a:lnTo>
                    <a:pt x="219" y="0"/>
                  </a:lnTo>
                  <a:lnTo>
                    <a:pt x="216" y="0"/>
                  </a:lnTo>
                  <a:lnTo>
                    <a:pt x="213" y="3"/>
                  </a:lnTo>
                  <a:lnTo>
                    <a:pt x="211" y="3"/>
                  </a:lnTo>
                  <a:lnTo>
                    <a:pt x="208" y="3"/>
                  </a:lnTo>
                  <a:lnTo>
                    <a:pt x="205" y="3"/>
                  </a:lnTo>
                  <a:lnTo>
                    <a:pt x="203" y="3"/>
                  </a:lnTo>
                  <a:lnTo>
                    <a:pt x="200" y="0"/>
                  </a:lnTo>
                  <a:lnTo>
                    <a:pt x="197" y="3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92" y="0"/>
                  </a:lnTo>
                  <a:lnTo>
                    <a:pt x="189" y="0"/>
                  </a:lnTo>
                  <a:lnTo>
                    <a:pt x="184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81" y="3"/>
                  </a:lnTo>
                  <a:lnTo>
                    <a:pt x="179" y="3"/>
                  </a:lnTo>
                  <a:lnTo>
                    <a:pt x="179" y="3"/>
                  </a:lnTo>
                  <a:lnTo>
                    <a:pt x="176" y="6"/>
                  </a:lnTo>
                  <a:lnTo>
                    <a:pt x="173" y="6"/>
                  </a:lnTo>
                  <a:lnTo>
                    <a:pt x="170" y="6"/>
                  </a:lnTo>
                  <a:lnTo>
                    <a:pt x="170" y="6"/>
                  </a:lnTo>
                  <a:lnTo>
                    <a:pt x="168" y="6"/>
                  </a:lnTo>
                  <a:lnTo>
                    <a:pt x="168" y="3"/>
                  </a:lnTo>
                  <a:lnTo>
                    <a:pt x="165" y="3"/>
                  </a:lnTo>
                  <a:lnTo>
                    <a:pt x="162" y="3"/>
                  </a:lnTo>
                  <a:lnTo>
                    <a:pt x="162" y="3"/>
                  </a:lnTo>
                  <a:lnTo>
                    <a:pt x="157" y="3"/>
                  </a:lnTo>
                  <a:lnTo>
                    <a:pt x="154" y="3"/>
                  </a:lnTo>
                  <a:lnTo>
                    <a:pt x="152" y="3"/>
                  </a:lnTo>
                  <a:lnTo>
                    <a:pt x="149" y="6"/>
                  </a:lnTo>
                  <a:lnTo>
                    <a:pt x="146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1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6" y="6"/>
                  </a:lnTo>
                  <a:lnTo>
                    <a:pt x="133" y="6"/>
                  </a:lnTo>
                  <a:lnTo>
                    <a:pt x="128" y="6"/>
                  </a:lnTo>
                  <a:lnTo>
                    <a:pt x="125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0" y="6"/>
                  </a:lnTo>
                  <a:lnTo>
                    <a:pt x="117" y="6"/>
                  </a:lnTo>
                  <a:lnTo>
                    <a:pt x="117" y="8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06" y="11"/>
                  </a:lnTo>
                  <a:lnTo>
                    <a:pt x="109" y="11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2" y="14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9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0" y="22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2" y="19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3" y="19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6" y="22"/>
                  </a:lnTo>
                  <a:lnTo>
                    <a:pt x="136" y="24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1" y="19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4"/>
                  </a:lnTo>
                  <a:lnTo>
                    <a:pt x="149" y="24"/>
                  </a:lnTo>
                  <a:lnTo>
                    <a:pt x="149" y="22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4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6" y="32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27"/>
                  </a:lnTo>
                  <a:lnTo>
                    <a:pt x="146" y="27"/>
                  </a:lnTo>
                  <a:lnTo>
                    <a:pt x="144" y="27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5"/>
                  </a:lnTo>
                  <a:lnTo>
                    <a:pt x="144" y="32"/>
                  </a:lnTo>
                  <a:lnTo>
                    <a:pt x="144" y="35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4" y="35"/>
                  </a:lnTo>
                  <a:lnTo>
                    <a:pt x="144" y="35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4" y="35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8" y="32"/>
                  </a:lnTo>
                  <a:lnTo>
                    <a:pt x="138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2"/>
                  </a:lnTo>
                  <a:lnTo>
                    <a:pt x="133" y="32"/>
                  </a:lnTo>
                  <a:lnTo>
                    <a:pt x="133" y="35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4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6" y="56"/>
                  </a:lnTo>
                  <a:lnTo>
                    <a:pt x="136" y="59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70"/>
                  </a:lnTo>
                  <a:lnTo>
                    <a:pt x="133" y="70"/>
                  </a:lnTo>
                  <a:lnTo>
                    <a:pt x="133" y="70"/>
                  </a:lnTo>
                  <a:lnTo>
                    <a:pt x="133" y="72"/>
                  </a:lnTo>
                  <a:lnTo>
                    <a:pt x="133" y="72"/>
                  </a:lnTo>
                  <a:lnTo>
                    <a:pt x="130" y="72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33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0"/>
                  </a:lnTo>
                  <a:lnTo>
                    <a:pt x="133" y="83"/>
                  </a:lnTo>
                  <a:lnTo>
                    <a:pt x="136" y="83"/>
                  </a:lnTo>
                  <a:lnTo>
                    <a:pt x="138" y="86"/>
                  </a:lnTo>
                  <a:lnTo>
                    <a:pt x="144" y="91"/>
                  </a:lnTo>
                  <a:lnTo>
                    <a:pt x="146" y="91"/>
                  </a:lnTo>
                  <a:lnTo>
                    <a:pt x="146" y="91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2" y="91"/>
                  </a:lnTo>
                  <a:lnTo>
                    <a:pt x="152" y="94"/>
                  </a:lnTo>
                  <a:lnTo>
                    <a:pt x="152" y="94"/>
                  </a:lnTo>
                  <a:lnTo>
                    <a:pt x="154" y="97"/>
                  </a:lnTo>
                  <a:lnTo>
                    <a:pt x="154" y="97"/>
                  </a:lnTo>
                  <a:lnTo>
                    <a:pt x="157" y="99"/>
                  </a:lnTo>
                  <a:lnTo>
                    <a:pt x="157" y="99"/>
                  </a:lnTo>
                  <a:lnTo>
                    <a:pt x="157" y="102"/>
                  </a:lnTo>
                  <a:lnTo>
                    <a:pt x="157" y="105"/>
                  </a:lnTo>
                  <a:lnTo>
                    <a:pt x="160" y="107"/>
                  </a:lnTo>
                  <a:lnTo>
                    <a:pt x="160" y="107"/>
                  </a:lnTo>
                  <a:lnTo>
                    <a:pt x="160" y="110"/>
                  </a:lnTo>
                  <a:lnTo>
                    <a:pt x="160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7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18"/>
                  </a:lnTo>
                  <a:lnTo>
                    <a:pt x="154" y="123"/>
                  </a:lnTo>
                  <a:lnTo>
                    <a:pt x="154" y="123"/>
                  </a:lnTo>
                  <a:lnTo>
                    <a:pt x="154" y="126"/>
                  </a:lnTo>
                  <a:lnTo>
                    <a:pt x="157" y="126"/>
                  </a:lnTo>
                  <a:lnTo>
                    <a:pt x="157" y="129"/>
                  </a:lnTo>
                  <a:lnTo>
                    <a:pt x="160" y="129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62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57" y="134"/>
                  </a:lnTo>
                  <a:lnTo>
                    <a:pt x="157" y="134"/>
                  </a:lnTo>
                  <a:lnTo>
                    <a:pt x="157" y="137"/>
                  </a:lnTo>
                  <a:lnTo>
                    <a:pt x="157" y="137"/>
                  </a:lnTo>
                  <a:lnTo>
                    <a:pt x="160" y="137"/>
                  </a:lnTo>
                  <a:lnTo>
                    <a:pt x="157" y="137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4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52" y="139"/>
                  </a:lnTo>
                  <a:lnTo>
                    <a:pt x="152" y="137"/>
                  </a:lnTo>
                  <a:lnTo>
                    <a:pt x="152" y="137"/>
                  </a:lnTo>
                  <a:lnTo>
                    <a:pt x="149" y="137"/>
                  </a:lnTo>
                  <a:lnTo>
                    <a:pt x="149" y="137"/>
                  </a:lnTo>
                  <a:lnTo>
                    <a:pt x="149" y="137"/>
                  </a:lnTo>
                  <a:lnTo>
                    <a:pt x="149" y="134"/>
                  </a:lnTo>
                  <a:lnTo>
                    <a:pt x="146" y="131"/>
                  </a:lnTo>
                  <a:lnTo>
                    <a:pt x="144" y="129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1" y="123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38" y="118"/>
                  </a:lnTo>
                  <a:lnTo>
                    <a:pt x="138" y="118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0"/>
                  </a:lnTo>
                  <a:lnTo>
                    <a:pt x="133" y="110"/>
                  </a:lnTo>
                  <a:lnTo>
                    <a:pt x="133" y="107"/>
                  </a:lnTo>
                  <a:lnTo>
                    <a:pt x="133" y="107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28" y="102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2" y="94"/>
                  </a:lnTo>
                  <a:lnTo>
                    <a:pt x="122" y="94"/>
                  </a:lnTo>
                  <a:lnTo>
                    <a:pt x="122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4" y="94"/>
                  </a:lnTo>
                  <a:lnTo>
                    <a:pt x="114" y="97"/>
                  </a:lnTo>
                  <a:lnTo>
                    <a:pt x="112" y="97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09" y="99"/>
                  </a:lnTo>
                  <a:lnTo>
                    <a:pt x="109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1" y="102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98" y="99"/>
                  </a:lnTo>
                  <a:lnTo>
                    <a:pt x="98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7"/>
                  </a:lnTo>
                  <a:lnTo>
                    <a:pt x="93" y="94"/>
                  </a:lnTo>
                  <a:lnTo>
                    <a:pt x="93" y="94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3" y="91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2" y="83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9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4" y="91"/>
                  </a:lnTo>
                  <a:lnTo>
                    <a:pt x="74" y="94"/>
                  </a:lnTo>
                  <a:lnTo>
                    <a:pt x="72" y="94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6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72" y="83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6" y="75"/>
                  </a:lnTo>
                  <a:lnTo>
                    <a:pt x="66" y="72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1" y="75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58" y="78"/>
                  </a:lnTo>
                  <a:lnTo>
                    <a:pt x="58" y="80"/>
                  </a:lnTo>
                  <a:lnTo>
                    <a:pt x="58" y="80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6"/>
                  </a:lnTo>
                  <a:lnTo>
                    <a:pt x="56" y="86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3" y="91"/>
                  </a:lnTo>
                  <a:lnTo>
                    <a:pt x="50" y="94"/>
                  </a:lnTo>
                  <a:lnTo>
                    <a:pt x="48" y="94"/>
                  </a:lnTo>
                  <a:lnTo>
                    <a:pt x="45" y="94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8" y="105"/>
                  </a:lnTo>
                  <a:lnTo>
                    <a:pt x="45" y="105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2" y="107"/>
                  </a:lnTo>
                  <a:lnTo>
                    <a:pt x="42" y="107"/>
                  </a:lnTo>
                  <a:lnTo>
                    <a:pt x="40" y="110"/>
                  </a:lnTo>
                  <a:lnTo>
                    <a:pt x="34" y="110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4" y="105"/>
                  </a:lnTo>
                  <a:lnTo>
                    <a:pt x="24" y="107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8" y="107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3" y="113"/>
                  </a:lnTo>
                  <a:lnTo>
                    <a:pt x="10" y="113"/>
                  </a:lnTo>
                  <a:lnTo>
                    <a:pt x="8" y="113"/>
                  </a:lnTo>
                  <a:lnTo>
                    <a:pt x="8" y="115"/>
                  </a:lnTo>
                  <a:lnTo>
                    <a:pt x="5" y="115"/>
                  </a:lnTo>
                  <a:lnTo>
                    <a:pt x="2" y="115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5" y="121"/>
                  </a:lnTo>
                  <a:lnTo>
                    <a:pt x="8" y="121"/>
                  </a:ln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0" y="126"/>
                  </a:lnTo>
                  <a:lnTo>
                    <a:pt x="13" y="126"/>
                  </a:lnTo>
                  <a:lnTo>
                    <a:pt x="13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6" y="131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3" y="147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8" y="147"/>
                  </a:lnTo>
                  <a:lnTo>
                    <a:pt x="18" y="147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21" y="153"/>
                  </a:lnTo>
                  <a:lnTo>
                    <a:pt x="21" y="150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4" y="158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9" y="161"/>
                  </a:lnTo>
                  <a:lnTo>
                    <a:pt x="26" y="163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32" y="166"/>
                  </a:lnTo>
                  <a:lnTo>
                    <a:pt x="32" y="169"/>
                  </a:lnTo>
                  <a:lnTo>
                    <a:pt x="32" y="169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4"/>
                  </a:lnTo>
                  <a:lnTo>
                    <a:pt x="34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40" y="174"/>
                  </a:lnTo>
                  <a:lnTo>
                    <a:pt x="40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82"/>
                  </a:lnTo>
                  <a:lnTo>
                    <a:pt x="37" y="182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7" y="190"/>
                  </a:lnTo>
                  <a:lnTo>
                    <a:pt x="37" y="190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37" y="190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3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4" y="198"/>
                  </a:lnTo>
                  <a:lnTo>
                    <a:pt x="34" y="201"/>
                  </a:lnTo>
                  <a:lnTo>
                    <a:pt x="37" y="201"/>
                  </a:lnTo>
                  <a:lnTo>
                    <a:pt x="37" y="203"/>
                  </a:lnTo>
                  <a:lnTo>
                    <a:pt x="37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4" y="206"/>
                  </a:lnTo>
                  <a:lnTo>
                    <a:pt x="37" y="206"/>
                  </a:lnTo>
                  <a:lnTo>
                    <a:pt x="37" y="206"/>
                  </a:lnTo>
                  <a:lnTo>
                    <a:pt x="37" y="206"/>
                  </a:lnTo>
                  <a:lnTo>
                    <a:pt x="37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2" y="214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37" y="217"/>
                  </a:lnTo>
                  <a:lnTo>
                    <a:pt x="37" y="217"/>
                  </a:lnTo>
                  <a:lnTo>
                    <a:pt x="37" y="217"/>
                  </a:lnTo>
                  <a:lnTo>
                    <a:pt x="37" y="219"/>
                  </a:lnTo>
                  <a:lnTo>
                    <a:pt x="37" y="219"/>
                  </a:lnTo>
                  <a:lnTo>
                    <a:pt x="37" y="219"/>
                  </a:lnTo>
                  <a:lnTo>
                    <a:pt x="37" y="222"/>
                  </a:lnTo>
                  <a:lnTo>
                    <a:pt x="37" y="222"/>
                  </a:lnTo>
                  <a:lnTo>
                    <a:pt x="40" y="225"/>
                  </a:lnTo>
                  <a:lnTo>
                    <a:pt x="40" y="222"/>
                  </a:lnTo>
                  <a:lnTo>
                    <a:pt x="40" y="225"/>
                  </a:lnTo>
                  <a:lnTo>
                    <a:pt x="42" y="225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2" y="230"/>
                  </a:lnTo>
                  <a:lnTo>
                    <a:pt x="42" y="230"/>
                  </a:lnTo>
                  <a:lnTo>
                    <a:pt x="45" y="230"/>
                  </a:lnTo>
                  <a:lnTo>
                    <a:pt x="45" y="233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50" y="230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0" y="235"/>
                  </a:lnTo>
                  <a:lnTo>
                    <a:pt x="53" y="235"/>
                  </a:lnTo>
                  <a:lnTo>
                    <a:pt x="53" y="238"/>
                  </a:lnTo>
                  <a:lnTo>
                    <a:pt x="53" y="238"/>
                  </a:lnTo>
                  <a:lnTo>
                    <a:pt x="56" y="238"/>
                  </a:lnTo>
                  <a:lnTo>
                    <a:pt x="58" y="238"/>
                  </a:lnTo>
                  <a:lnTo>
                    <a:pt x="58" y="238"/>
                  </a:lnTo>
                  <a:lnTo>
                    <a:pt x="58" y="238"/>
                  </a:lnTo>
                  <a:lnTo>
                    <a:pt x="61" y="238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1" y="235"/>
                  </a:lnTo>
                  <a:lnTo>
                    <a:pt x="64" y="235"/>
                  </a:lnTo>
                  <a:lnTo>
                    <a:pt x="64" y="235"/>
                  </a:lnTo>
                  <a:lnTo>
                    <a:pt x="64" y="233"/>
                  </a:lnTo>
                  <a:lnTo>
                    <a:pt x="64" y="230"/>
                  </a:lnTo>
                  <a:lnTo>
                    <a:pt x="64" y="230"/>
                  </a:lnTo>
                  <a:lnTo>
                    <a:pt x="66" y="227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9" y="225"/>
                  </a:lnTo>
                  <a:lnTo>
                    <a:pt x="69" y="225"/>
                  </a:lnTo>
                  <a:lnTo>
                    <a:pt x="69" y="222"/>
                  </a:lnTo>
                  <a:lnTo>
                    <a:pt x="72" y="222"/>
                  </a:lnTo>
                  <a:lnTo>
                    <a:pt x="72" y="222"/>
                  </a:lnTo>
                  <a:lnTo>
                    <a:pt x="74" y="222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4" y="219"/>
                  </a:lnTo>
                  <a:lnTo>
                    <a:pt x="77" y="219"/>
                  </a:lnTo>
                  <a:lnTo>
                    <a:pt x="77" y="219"/>
                  </a:lnTo>
                  <a:lnTo>
                    <a:pt x="80" y="219"/>
                  </a:lnTo>
                  <a:lnTo>
                    <a:pt x="80" y="219"/>
                  </a:lnTo>
                  <a:lnTo>
                    <a:pt x="80" y="222"/>
                  </a:lnTo>
                  <a:lnTo>
                    <a:pt x="80" y="225"/>
                  </a:lnTo>
                  <a:lnTo>
                    <a:pt x="82" y="225"/>
                  </a:lnTo>
                  <a:lnTo>
                    <a:pt x="82" y="225"/>
                  </a:lnTo>
                  <a:lnTo>
                    <a:pt x="85" y="225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2" y="230"/>
                  </a:lnTo>
                  <a:lnTo>
                    <a:pt x="82" y="230"/>
                  </a:lnTo>
                  <a:lnTo>
                    <a:pt x="85" y="230"/>
                  </a:lnTo>
                  <a:lnTo>
                    <a:pt x="88" y="233"/>
                  </a:lnTo>
                  <a:lnTo>
                    <a:pt x="88" y="230"/>
                  </a:lnTo>
                  <a:lnTo>
                    <a:pt x="90" y="233"/>
                  </a:lnTo>
                  <a:lnTo>
                    <a:pt x="93" y="233"/>
                  </a:lnTo>
                  <a:lnTo>
                    <a:pt x="93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0" y="238"/>
                  </a:lnTo>
                  <a:lnTo>
                    <a:pt x="93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41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101" y="238"/>
                  </a:lnTo>
                  <a:lnTo>
                    <a:pt x="101" y="238"/>
                  </a:lnTo>
                  <a:lnTo>
                    <a:pt x="104" y="235"/>
                  </a:lnTo>
                  <a:lnTo>
                    <a:pt x="104" y="235"/>
                  </a:lnTo>
                  <a:lnTo>
                    <a:pt x="104" y="235"/>
                  </a:lnTo>
                  <a:lnTo>
                    <a:pt x="104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6" y="233"/>
                  </a:lnTo>
                  <a:lnTo>
                    <a:pt x="109" y="230"/>
                  </a:lnTo>
                  <a:lnTo>
                    <a:pt x="109" y="230"/>
                  </a:lnTo>
                  <a:lnTo>
                    <a:pt x="109" y="233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7" y="233"/>
                  </a:lnTo>
                  <a:lnTo>
                    <a:pt x="120" y="233"/>
                  </a:lnTo>
                  <a:lnTo>
                    <a:pt x="122" y="230"/>
                  </a:lnTo>
                  <a:lnTo>
                    <a:pt x="125" y="230"/>
                  </a:lnTo>
                  <a:lnTo>
                    <a:pt x="125" y="230"/>
                  </a:lnTo>
                  <a:lnTo>
                    <a:pt x="128" y="227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8" y="227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6" y="230"/>
                  </a:lnTo>
                  <a:lnTo>
                    <a:pt x="136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6" y="238"/>
                  </a:lnTo>
                  <a:lnTo>
                    <a:pt x="136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38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4" y="238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38"/>
                  </a:lnTo>
                  <a:lnTo>
                    <a:pt x="149" y="238"/>
                  </a:lnTo>
                  <a:lnTo>
                    <a:pt x="152" y="238"/>
                  </a:lnTo>
                  <a:lnTo>
                    <a:pt x="152" y="235"/>
                  </a:lnTo>
                  <a:lnTo>
                    <a:pt x="152" y="235"/>
                  </a:lnTo>
                  <a:lnTo>
                    <a:pt x="154" y="235"/>
                  </a:lnTo>
                  <a:lnTo>
                    <a:pt x="154" y="235"/>
                  </a:lnTo>
                  <a:lnTo>
                    <a:pt x="157" y="233"/>
                  </a:lnTo>
                  <a:lnTo>
                    <a:pt x="157" y="233"/>
                  </a:lnTo>
                  <a:lnTo>
                    <a:pt x="160" y="233"/>
                  </a:lnTo>
                  <a:lnTo>
                    <a:pt x="162" y="233"/>
                  </a:lnTo>
                  <a:lnTo>
                    <a:pt x="162" y="233"/>
                  </a:lnTo>
                  <a:lnTo>
                    <a:pt x="162" y="230"/>
                  </a:lnTo>
                  <a:lnTo>
                    <a:pt x="162" y="230"/>
                  </a:lnTo>
                  <a:lnTo>
                    <a:pt x="162" y="227"/>
                  </a:lnTo>
                  <a:lnTo>
                    <a:pt x="165" y="225"/>
                  </a:lnTo>
                  <a:lnTo>
                    <a:pt x="168" y="225"/>
                  </a:lnTo>
                  <a:lnTo>
                    <a:pt x="168" y="222"/>
                  </a:lnTo>
                  <a:lnTo>
                    <a:pt x="168" y="222"/>
                  </a:lnTo>
                  <a:lnTo>
                    <a:pt x="170" y="219"/>
                  </a:lnTo>
                  <a:lnTo>
                    <a:pt x="170" y="219"/>
                  </a:lnTo>
                  <a:lnTo>
                    <a:pt x="170" y="219"/>
                  </a:lnTo>
                  <a:lnTo>
                    <a:pt x="170" y="222"/>
                  </a:lnTo>
                  <a:lnTo>
                    <a:pt x="173" y="225"/>
                  </a:lnTo>
                  <a:lnTo>
                    <a:pt x="173" y="225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3"/>
                  </a:lnTo>
                  <a:lnTo>
                    <a:pt x="179" y="233"/>
                  </a:lnTo>
                  <a:lnTo>
                    <a:pt x="179" y="233"/>
                  </a:lnTo>
                  <a:lnTo>
                    <a:pt x="181" y="230"/>
                  </a:lnTo>
                  <a:lnTo>
                    <a:pt x="184" y="230"/>
                  </a:lnTo>
                  <a:lnTo>
                    <a:pt x="184" y="230"/>
                  </a:lnTo>
                  <a:lnTo>
                    <a:pt x="189" y="230"/>
                  </a:lnTo>
                  <a:lnTo>
                    <a:pt x="189" y="230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92" y="235"/>
                  </a:lnTo>
                  <a:lnTo>
                    <a:pt x="189" y="238"/>
                  </a:lnTo>
                  <a:lnTo>
                    <a:pt x="192" y="238"/>
                  </a:lnTo>
                  <a:lnTo>
                    <a:pt x="192" y="241"/>
                  </a:lnTo>
                  <a:lnTo>
                    <a:pt x="192" y="241"/>
                  </a:lnTo>
                  <a:lnTo>
                    <a:pt x="192" y="243"/>
                  </a:lnTo>
                  <a:lnTo>
                    <a:pt x="195" y="243"/>
                  </a:lnTo>
                  <a:lnTo>
                    <a:pt x="192" y="246"/>
                  </a:lnTo>
                  <a:lnTo>
                    <a:pt x="192" y="246"/>
                  </a:lnTo>
                  <a:lnTo>
                    <a:pt x="195" y="246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2" y="252"/>
                  </a:lnTo>
                  <a:lnTo>
                    <a:pt x="192" y="254"/>
                  </a:lnTo>
                  <a:lnTo>
                    <a:pt x="192" y="254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60"/>
                  </a:lnTo>
                  <a:lnTo>
                    <a:pt x="189" y="262"/>
                  </a:lnTo>
                  <a:lnTo>
                    <a:pt x="189" y="265"/>
                  </a:lnTo>
                  <a:lnTo>
                    <a:pt x="192" y="265"/>
                  </a:lnTo>
                  <a:lnTo>
                    <a:pt x="192" y="268"/>
                  </a:lnTo>
                  <a:lnTo>
                    <a:pt x="192" y="270"/>
                  </a:lnTo>
                  <a:lnTo>
                    <a:pt x="189" y="268"/>
                  </a:lnTo>
                  <a:lnTo>
                    <a:pt x="189" y="268"/>
                  </a:lnTo>
                  <a:lnTo>
                    <a:pt x="189" y="268"/>
                  </a:lnTo>
                  <a:lnTo>
                    <a:pt x="189" y="270"/>
                  </a:lnTo>
                  <a:lnTo>
                    <a:pt x="189" y="273"/>
                  </a:lnTo>
                  <a:lnTo>
                    <a:pt x="189" y="273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3"/>
                  </a:lnTo>
                  <a:lnTo>
                    <a:pt x="192" y="276"/>
                  </a:lnTo>
                  <a:lnTo>
                    <a:pt x="195" y="276"/>
                  </a:lnTo>
                  <a:lnTo>
                    <a:pt x="197" y="278"/>
                  </a:lnTo>
                  <a:lnTo>
                    <a:pt x="197" y="278"/>
                  </a:lnTo>
                  <a:lnTo>
                    <a:pt x="197" y="276"/>
                  </a:lnTo>
                  <a:lnTo>
                    <a:pt x="200" y="276"/>
                  </a:lnTo>
                  <a:lnTo>
                    <a:pt x="200" y="276"/>
                  </a:lnTo>
                  <a:lnTo>
                    <a:pt x="203" y="276"/>
                  </a:lnTo>
                  <a:lnTo>
                    <a:pt x="203" y="276"/>
                  </a:lnTo>
                  <a:lnTo>
                    <a:pt x="205" y="276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3"/>
                  </a:lnTo>
                  <a:lnTo>
                    <a:pt x="208" y="273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8" y="268"/>
                  </a:lnTo>
                  <a:lnTo>
                    <a:pt x="211" y="268"/>
                  </a:lnTo>
                  <a:lnTo>
                    <a:pt x="213" y="268"/>
                  </a:lnTo>
                  <a:lnTo>
                    <a:pt x="216" y="268"/>
                  </a:lnTo>
                  <a:lnTo>
                    <a:pt x="219" y="265"/>
                  </a:lnTo>
                  <a:lnTo>
                    <a:pt x="219" y="265"/>
                  </a:lnTo>
                  <a:lnTo>
                    <a:pt x="219" y="268"/>
                  </a:lnTo>
                  <a:lnTo>
                    <a:pt x="221" y="268"/>
                  </a:lnTo>
                  <a:lnTo>
                    <a:pt x="224" y="265"/>
                  </a:lnTo>
                  <a:lnTo>
                    <a:pt x="227" y="265"/>
                  </a:lnTo>
                  <a:lnTo>
                    <a:pt x="229" y="265"/>
                  </a:lnTo>
                  <a:lnTo>
                    <a:pt x="229" y="270"/>
                  </a:lnTo>
                  <a:lnTo>
                    <a:pt x="232" y="270"/>
                  </a:lnTo>
                  <a:lnTo>
                    <a:pt x="232" y="273"/>
                  </a:lnTo>
                  <a:lnTo>
                    <a:pt x="235" y="276"/>
                  </a:lnTo>
                  <a:lnTo>
                    <a:pt x="235" y="276"/>
                  </a:lnTo>
                  <a:lnTo>
                    <a:pt x="235" y="278"/>
                  </a:lnTo>
                  <a:lnTo>
                    <a:pt x="232" y="281"/>
                  </a:lnTo>
                  <a:lnTo>
                    <a:pt x="235" y="284"/>
                  </a:lnTo>
                  <a:lnTo>
                    <a:pt x="240" y="278"/>
                  </a:lnTo>
                  <a:lnTo>
                    <a:pt x="243" y="281"/>
                  </a:lnTo>
                  <a:lnTo>
                    <a:pt x="243" y="284"/>
                  </a:lnTo>
                  <a:lnTo>
                    <a:pt x="245" y="284"/>
                  </a:lnTo>
                  <a:lnTo>
                    <a:pt x="245" y="284"/>
                  </a:lnTo>
                  <a:lnTo>
                    <a:pt x="248" y="284"/>
                  </a:lnTo>
                  <a:lnTo>
                    <a:pt x="248" y="286"/>
                  </a:lnTo>
                  <a:lnTo>
                    <a:pt x="251" y="286"/>
                  </a:lnTo>
                  <a:lnTo>
                    <a:pt x="251" y="289"/>
                  </a:lnTo>
                  <a:lnTo>
                    <a:pt x="251" y="289"/>
                  </a:lnTo>
                  <a:lnTo>
                    <a:pt x="248" y="292"/>
                  </a:lnTo>
                  <a:lnTo>
                    <a:pt x="248" y="292"/>
                  </a:lnTo>
                  <a:lnTo>
                    <a:pt x="248" y="292"/>
                  </a:lnTo>
                  <a:lnTo>
                    <a:pt x="245" y="294"/>
                  </a:lnTo>
                  <a:lnTo>
                    <a:pt x="248" y="294"/>
                  </a:lnTo>
                  <a:lnTo>
                    <a:pt x="248" y="297"/>
                  </a:lnTo>
                  <a:lnTo>
                    <a:pt x="248" y="300"/>
                  </a:lnTo>
                  <a:lnTo>
                    <a:pt x="248" y="302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45" y="308"/>
                  </a:lnTo>
                  <a:lnTo>
                    <a:pt x="248" y="310"/>
                  </a:lnTo>
                  <a:lnTo>
                    <a:pt x="248" y="310"/>
                  </a:lnTo>
                  <a:lnTo>
                    <a:pt x="251" y="308"/>
                  </a:lnTo>
                  <a:lnTo>
                    <a:pt x="251" y="310"/>
                  </a:lnTo>
                  <a:lnTo>
                    <a:pt x="251" y="313"/>
                  </a:lnTo>
                  <a:lnTo>
                    <a:pt x="251" y="316"/>
                  </a:lnTo>
                  <a:lnTo>
                    <a:pt x="251" y="318"/>
                  </a:lnTo>
                  <a:lnTo>
                    <a:pt x="253" y="318"/>
                  </a:lnTo>
                  <a:lnTo>
                    <a:pt x="253" y="321"/>
                  </a:lnTo>
                  <a:lnTo>
                    <a:pt x="253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21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6" y="318"/>
                  </a:lnTo>
                  <a:lnTo>
                    <a:pt x="259" y="318"/>
                  </a:lnTo>
                  <a:lnTo>
                    <a:pt x="259" y="321"/>
                  </a:lnTo>
                  <a:lnTo>
                    <a:pt x="261" y="324"/>
                  </a:lnTo>
                  <a:lnTo>
                    <a:pt x="261" y="321"/>
                  </a:lnTo>
                  <a:lnTo>
                    <a:pt x="264" y="321"/>
                  </a:lnTo>
                  <a:lnTo>
                    <a:pt x="264" y="324"/>
                  </a:lnTo>
                  <a:lnTo>
                    <a:pt x="264" y="326"/>
                  </a:lnTo>
                  <a:lnTo>
                    <a:pt x="267" y="324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7" y="326"/>
                  </a:lnTo>
                  <a:lnTo>
                    <a:pt x="267" y="329"/>
                  </a:lnTo>
                  <a:lnTo>
                    <a:pt x="267" y="329"/>
                  </a:lnTo>
                  <a:lnTo>
                    <a:pt x="267" y="332"/>
                  </a:lnTo>
                  <a:lnTo>
                    <a:pt x="269" y="332"/>
                  </a:lnTo>
                  <a:lnTo>
                    <a:pt x="269" y="334"/>
                  </a:lnTo>
                  <a:lnTo>
                    <a:pt x="269" y="334"/>
                  </a:lnTo>
                  <a:lnTo>
                    <a:pt x="269" y="337"/>
                  </a:lnTo>
                  <a:lnTo>
                    <a:pt x="269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5" y="340"/>
                  </a:lnTo>
                  <a:lnTo>
                    <a:pt x="275" y="342"/>
                  </a:lnTo>
                  <a:lnTo>
                    <a:pt x="275" y="342"/>
                  </a:lnTo>
                  <a:lnTo>
                    <a:pt x="277" y="345"/>
                  </a:lnTo>
                  <a:lnTo>
                    <a:pt x="277" y="345"/>
                  </a:lnTo>
                  <a:lnTo>
                    <a:pt x="280" y="348"/>
                  </a:lnTo>
                  <a:lnTo>
                    <a:pt x="280" y="348"/>
                  </a:lnTo>
                  <a:lnTo>
                    <a:pt x="280" y="345"/>
                  </a:lnTo>
                  <a:lnTo>
                    <a:pt x="283" y="345"/>
                  </a:lnTo>
                  <a:lnTo>
                    <a:pt x="285" y="342"/>
                  </a:lnTo>
                  <a:lnTo>
                    <a:pt x="285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91" y="340"/>
                  </a:lnTo>
                  <a:lnTo>
                    <a:pt x="293" y="340"/>
                  </a:lnTo>
                  <a:lnTo>
                    <a:pt x="293" y="342"/>
                  </a:lnTo>
                  <a:lnTo>
                    <a:pt x="296" y="342"/>
                  </a:lnTo>
                  <a:lnTo>
                    <a:pt x="296" y="342"/>
                  </a:lnTo>
                  <a:lnTo>
                    <a:pt x="299" y="345"/>
                  </a:lnTo>
                  <a:lnTo>
                    <a:pt x="301" y="345"/>
                  </a:lnTo>
                  <a:lnTo>
                    <a:pt x="301" y="348"/>
                  </a:lnTo>
                  <a:lnTo>
                    <a:pt x="304" y="348"/>
                  </a:lnTo>
                  <a:lnTo>
                    <a:pt x="307" y="348"/>
                  </a:lnTo>
                  <a:lnTo>
                    <a:pt x="307" y="345"/>
                  </a:lnTo>
                  <a:lnTo>
                    <a:pt x="307" y="345"/>
                  </a:lnTo>
                  <a:lnTo>
                    <a:pt x="309" y="348"/>
                  </a:lnTo>
                  <a:lnTo>
                    <a:pt x="312" y="348"/>
                  </a:lnTo>
                  <a:lnTo>
                    <a:pt x="315" y="350"/>
                  </a:lnTo>
                  <a:lnTo>
                    <a:pt x="315" y="350"/>
                  </a:lnTo>
                  <a:lnTo>
                    <a:pt x="315" y="348"/>
                  </a:lnTo>
                  <a:lnTo>
                    <a:pt x="315" y="348"/>
                  </a:lnTo>
                  <a:lnTo>
                    <a:pt x="312" y="345"/>
                  </a:lnTo>
                  <a:lnTo>
                    <a:pt x="312" y="345"/>
                  </a:lnTo>
                  <a:lnTo>
                    <a:pt x="315" y="342"/>
                  </a:lnTo>
                  <a:lnTo>
                    <a:pt x="315" y="345"/>
                  </a:lnTo>
                  <a:lnTo>
                    <a:pt x="317" y="342"/>
                  </a:lnTo>
                  <a:lnTo>
                    <a:pt x="320" y="345"/>
                  </a:lnTo>
                  <a:lnTo>
                    <a:pt x="323" y="345"/>
                  </a:lnTo>
                  <a:lnTo>
                    <a:pt x="323" y="342"/>
                  </a:lnTo>
                  <a:lnTo>
                    <a:pt x="325" y="342"/>
                  </a:lnTo>
                  <a:lnTo>
                    <a:pt x="325" y="342"/>
                  </a:lnTo>
                  <a:lnTo>
                    <a:pt x="323" y="342"/>
                  </a:lnTo>
                  <a:lnTo>
                    <a:pt x="323" y="340"/>
                  </a:lnTo>
                  <a:lnTo>
                    <a:pt x="323" y="340"/>
                  </a:lnTo>
                  <a:lnTo>
                    <a:pt x="325" y="337"/>
                  </a:lnTo>
                  <a:lnTo>
                    <a:pt x="325" y="337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5" y="332"/>
                  </a:lnTo>
                  <a:lnTo>
                    <a:pt x="325" y="334"/>
                  </a:lnTo>
                  <a:lnTo>
                    <a:pt x="328" y="334"/>
                  </a:lnTo>
                  <a:lnTo>
                    <a:pt x="328" y="334"/>
                  </a:lnTo>
                  <a:lnTo>
                    <a:pt x="331" y="334"/>
                  </a:lnTo>
                  <a:lnTo>
                    <a:pt x="331" y="334"/>
                  </a:lnTo>
                  <a:lnTo>
                    <a:pt x="333" y="334"/>
                  </a:lnTo>
                  <a:lnTo>
                    <a:pt x="336" y="332"/>
                  </a:lnTo>
                  <a:lnTo>
                    <a:pt x="336" y="332"/>
                  </a:lnTo>
                  <a:lnTo>
                    <a:pt x="339" y="329"/>
                  </a:lnTo>
                  <a:lnTo>
                    <a:pt x="341" y="326"/>
                  </a:lnTo>
                  <a:lnTo>
                    <a:pt x="341" y="334"/>
                  </a:lnTo>
                  <a:lnTo>
                    <a:pt x="347" y="332"/>
                  </a:lnTo>
                  <a:lnTo>
                    <a:pt x="349" y="329"/>
                  </a:lnTo>
                  <a:lnTo>
                    <a:pt x="349" y="326"/>
                  </a:lnTo>
                  <a:lnTo>
                    <a:pt x="347" y="326"/>
                  </a:lnTo>
                  <a:lnTo>
                    <a:pt x="344" y="324"/>
                  </a:lnTo>
                  <a:lnTo>
                    <a:pt x="341" y="321"/>
                  </a:lnTo>
                  <a:lnTo>
                    <a:pt x="341" y="318"/>
                  </a:lnTo>
                  <a:lnTo>
                    <a:pt x="341" y="318"/>
                  </a:lnTo>
                  <a:lnTo>
                    <a:pt x="344" y="310"/>
                  </a:lnTo>
                  <a:lnTo>
                    <a:pt x="349" y="305"/>
                  </a:lnTo>
                  <a:lnTo>
                    <a:pt x="352" y="302"/>
                  </a:lnTo>
                  <a:lnTo>
                    <a:pt x="355" y="302"/>
                  </a:lnTo>
                  <a:lnTo>
                    <a:pt x="357" y="305"/>
                  </a:lnTo>
                  <a:lnTo>
                    <a:pt x="357" y="302"/>
                  </a:lnTo>
                  <a:lnTo>
                    <a:pt x="355" y="300"/>
                  </a:lnTo>
                  <a:lnTo>
                    <a:pt x="352" y="294"/>
                  </a:lnTo>
                  <a:lnTo>
                    <a:pt x="352" y="294"/>
                  </a:lnTo>
                  <a:lnTo>
                    <a:pt x="355" y="292"/>
                  </a:lnTo>
                  <a:lnTo>
                    <a:pt x="347" y="286"/>
                  </a:lnTo>
                  <a:lnTo>
                    <a:pt x="347" y="284"/>
                  </a:lnTo>
                  <a:lnTo>
                    <a:pt x="349" y="284"/>
                  </a:lnTo>
                  <a:lnTo>
                    <a:pt x="352" y="284"/>
                  </a:lnTo>
                  <a:lnTo>
                    <a:pt x="355" y="284"/>
                  </a:lnTo>
                  <a:lnTo>
                    <a:pt x="355" y="284"/>
                  </a:lnTo>
                  <a:lnTo>
                    <a:pt x="357" y="281"/>
                  </a:lnTo>
                  <a:lnTo>
                    <a:pt x="357" y="278"/>
                  </a:lnTo>
                  <a:lnTo>
                    <a:pt x="357" y="276"/>
                  </a:lnTo>
                  <a:lnTo>
                    <a:pt x="360" y="276"/>
                  </a:lnTo>
                  <a:lnTo>
                    <a:pt x="363" y="273"/>
                  </a:lnTo>
                  <a:lnTo>
                    <a:pt x="363" y="270"/>
                  </a:lnTo>
                  <a:lnTo>
                    <a:pt x="365" y="270"/>
                  </a:lnTo>
                  <a:lnTo>
                    <a:pt x="365" y="268"/>
                  </a:lnTo>
                  <a:lnTo>
                    <a:pt x="365" y="268"/>
                  </a:lnTo>
                  <a:lnTo>
                    <a:pt x="368" y="268"/>
                  </a:lnTo>
                  <a:lnTo>
                    <a:pt x="371" y="265"/>
                  </a:lnTo>
                  <a:lnTo>
                    <a:pt x="373" y="265"/>
                  </a:lnTo>
                  <a:lnTo>
                    <a:pt x="376" y="262"/>
                  </a:lnTo>
                  <a:lnTo>
                    <a:pt x="379" y="260"/>
                  </a:lnTo>
                  <a:lnTo>
                    <a:pt x="381" y="254"/>
                  </a:lnTo>
                  <a:lnTo>
                    <a:pt x="387" y="249"/>
                  </a:lnTo>
                  <a:lnTo>
                    <a:pt x="389" y="246"/>
                  </a:lnTo>
                  <a:lnTo>
                    <a:pt x="392" y="246"/>
                  </a:lnTo>
                  <a:lnTo>
                    <a:pt x="389" y="243"/>
                  </a:lnTo>
                  <a:lnTo>
                    <a:pt x="389" y="243"/>
                  </a:lnTo>
                  <a:lnTo>
                    <a:pt x="395" y="238"/>
                  </a:lnTo>
                  <a:lnTo>
                    <a:pt x="395" y="238"/>
                  </a:lnTo>
                  <a:lnTo>
                    <a:pt x="395" y="235"/>
                  </a:lnTo>
                  <a:lnTo>
                    <a:pt x="395" y="233"/>
                  </a:lnTo>
                  <a:lnTo>
                    <a:pt x="395" y="233"/>
                  </a:lnTo>
                  <a:lnTo>
                    <a:pt x="395" y="230"/>
                  </a:lnTo>
                  <a:lnTo>
                    <a:pt x="395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400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403" y="227"/>
                  </a:lnTo>
                  <a:lnTo>
                    <a:pt x="405" y="225"/>
                  </a:lnTo>
                  <a:lnTo>
                    <a:pt x="408" y="227"/>
                  </a:lnTo>
                  <a:lnTo>
                    <a:pt x="411" y="227"/>
                  </a:lnTo>
                  <a:lnTo>
                    <a:pt x="411" y="230"/>
                  </a:lnTo>
                  <a:lnTo>
                    <a:pt x="414" y="230"/>
                  </a:lnTo>
                  <a:lnTo>
                    <a:pt x="414" y="230"/>
                  </a:lnTo>
                  <a:lnTo>
                    <a:pt x="416" y="230"/>
                  </a:lnTo>
                  <a:lnTo>
                    <a:pt x="422" y="227"/>
                  </a:lnTo>
                  <a:lnTo>
                    <a:pt x="448" y="222"/>
                  </a:lnTo>
                  <a:lnTo>
                    <a:pt x="440" y="209"/>
                  </a:lnTo>
                  <a:lnTo>
                    <a:pt x="438" y="206"/>
                  </a:lnTo>
                  <a:lnTo>
                    <a:pt x="438" y="209"/>
                  </a:lnTo>
                  <a:lnTo>
                    <a:pt x="438" y="209"/>
                  </a:lnTo>
                  <a:lnTo>
                    <a:pt x="435" y="206"/>
                  </a:lnTo>
                  <a:lnTo>
                    <a:pt x="432" y="206"/>
                  </a:lnTo>
                  <a:lnTo>
                    <a:pt x="430" y="206"/>
                  </a:lnTo>
                  <a:lnTo>
                    <a:pt x="430" y="206"/>
                  </a:lnTo>
                  <a:lnTo>
                    <a:pt x="432" y="203"/>
                  </a:lnTo>
                  <a:lnTo>
                    <a:pt x="430" y="201"/>
                  </a:lnTo>
                  <a:lnTo>
                    <a:pt x="430" y="201"/>
                  </a:lnTo>
                  <a:lnTo>
                    <a:pt x="432" y="198"/>
                  </a:lnTo>
                  <a:lnTo>
                    <a:pt x="435" y="198"/>
                  </a:lnTo>
                  <a:lnTo>
                    <a:pt x="438" y="195"/>
                  </a:lnTo>
                  <a:lnTo>
                    <a:pt x="435" y="193"/>
                  </a:lnTo>
                  <a:lnTo>
                    <a:pt x="435" y="195"/>
                  </a:lnTo>
                  <a:lnTo>
                    <a:pt x="432" y="193"/>
                  </a:lnTo>
                  <a:lnTo>
                    <a:pt x="430" y="193"/>
                  </a:lnTo>
                  <a:lnTo>
                    <a:pt x="430" y="190"/>
                  </a:lnTo>
                  <a:lnTo>
                    <a:pt x="430" y="190"/>
                  </a:lnTo>
                  <a:lnTo>
                    <a:pt x="430" y="193"/>
                  </a:lnTo>
                  <a:lnTo>
                    <a:pt x="427" y="193"/>
                  </a:lnTo>
                  <a:lnTo>
                    <a:pt x="427" y="193"/>
                  </a:lnTo>
                  <a:lnTo>
                    <a:pt x="427" y="190"/>
                  </a:lnTo>
                  <a:lnTo>
                    <a:pt x="427" y="190"/>
                  </a:lnTo>
                  <a:lnTo>
                    <a:pt x="424" y="190"/>
                  </a:lnTo>
                  <a:lnTo>
                    <a:pt x="424" y="190"/>
                  </a:lnTo>
                  <a:lnTo>
                    <a:pt x="424" y="187"/>
                  </a:lnTo>
                  <a:lnTo>
                    <a:pt x="424" y="187"/>
                  </a:lnTo>
                  <a:lnTo>
                    <a:pt x="416" y="179"/>
                  </a:lnTo>
                  <a:lnTo>
                    <a:pt x="419" y="177"/>
                  </a:lnTo>
                  <a:lnTo>
                    <a:pt x="416" y="174"/>
                  </a:lnTo>
                  <a:lnTo>
                    <a:pt x="414" y="174"/>
                  </a:lnTo>
                  <a:lnTo>
                    <a:pt x="414" y="174"/>
                  </a:lnTo>
                  <a:lnTo>
                    <a:pt x="411" y="174"/>
                  </a:lnTo>
                  <a:lnTo>
                    <a:pt x="408" y="171"/>
                  </a:lnTo>
                  <a:lnTo>
                    <a:pt x="405" y="171"/>
                  </a:lnTo>
                  <a:lnTo>
                    <a:pt x="405" y="171"/>
                  </a:lnTo>
                  <a:lnTo>
                    <a:pt x="403" y="171"/>
                  </a:lnTo>
                  <a:lnTo>
                    <a:pt x="400" y="171"/>
                  </a:lnTo>
                  <a:lnTo>
                    <a:pt x="400" y="171"/>
                  </a:lnTo>
                  <a:lnTo>
                    <a:pt x="397" y="174"/>
                  </a:lnTo>
                  <a:lnTo>
                    <a:pt x="395" y="177"/>
                  </a:lnTo>
                  <a:lnTo>
                    <a:pt x="392" y="177"/>
                  </a:lnTo>
                  <a:lnTo>
                    <a:pt x="392" y="174"/>
                  </a:lnTo>
                  <a:lnTo>
                    <a:pt x="395" y="171"/>
                  </a:lnTo>
                  <a:lnTo>
                    <a:pt x="395" y="171"/>
                  </a:lnTo>
                  <a:lnTo>
                    <a:pt x="395" y="169"/>
                  </a:lnTo>
                  <a:lnTo>
                    <a:pt x="392" y="166"/>
                  </a:lnTo>
                  <a:lnTo>
                    <a:pt x="389" y="166"/>
                  </a:lnTo>
                  <a:lnTo>
                    <a:pt x="392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9" y="161"/>
                  </a:lnTo>
                  <a:lnTo>
                    <a:pt x="387" y="158"/>
                  </a:lnTo>
                  <a:lnTo>
                    <a:pt x="384" y="158"/>
                  </a:lnTo>
                  <a:lnTo>
                    <a:pt x="381" y="155"/>
                  </a:lnTo>
                  <a:lnTo>
                    <a:pt x="379" y="153"/>
                  </a:lnTo>
                  <a:lnTo>
                    <a:pt x="376" y="150"/>
                  </a:lnTo>
                  <a:lnTo>
                    <a:pt x="371" y="147"/>
                  </a:lnTo>
                  <a:lnTo>
                    <a:pt x="371" y="147"/>
                  </a:lnTo>
                  <a:lnTo>
                    <a:pt x="365" y="145"/>
                  </a:lnTo>
                  <a:lnTo>
                    <a:pt x="365" y="142"/>
                  </a:lnTo>
                  <a:lnTo>
                    <a:pt x="363" y="145"/>
                  </a:lnTo>
                  <a:lnTo>
                    <a:pt x="357" y="145"/>
                  </a:lnTo>
                  <a:lnTo>
                    <a:pt x="357" y="147"/>
                  </a:lnTo>
                  <a:lnTo>
                    <a:pt x="355" y="147"/>
                  </a:lnTo>
                  <a:lnTo>
                    <a:pt x="357" y="150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7" y="158"/>
                  </a:lnTo>
                  <a:lnTo>
                    <a:pt x="363" y="155"/>
                  </a:lnTo>
                  <a:lnTo>
                    <a:pt x="365" y="155"/>
                  </a:lnTo>
                  <a:lnTo>
                    <a:pt x="365" y="158"/>
                  </a:lnTo>
                  <a:lnTo>
                    <a:pt x="368" y="158"/>
                  </a:lnTo>
                  <a:lnTo>
                    <a:pt x="368" y="158"/>
                  </a:lnTo>
                  <a:lnTo>
                    <a:pt x="371" y="161"/>
                  </a:lnTo>
                  <a:lnTo>
                    <a:pt x="371" y="166"/>
                  </a:lnTo>
                  <a:lnTo>
                    <a:pt x="368" y="166"/>
                  </a:lnTo>
                  <a:lnTo>
                    <a:pt x="363" y="169"/>
                  </a:lnTo>
                  <a:lnTo>
                    <a:pt x="360" y="171"/>
                  </a:lnTo>
                  <a:lnTo>
                    <a:pt x="357" y="171"/>
                  </a:lnTo>
                  <a:lnTo>
                    <a:pt x="355" y="171"/>
                  </a:lnTo>
                  <a:lnTo>
                    <a:pt x="352" y="169"/>
                  </a:lnTo>
                  <a:lnTo>
                    <a:pt x="352" y="169"/>
                  </a:lnTo>
                  <a:lnTo>
                    <a:pt x="349" y="163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49" y="158"/>
                  </a:lnTo>
                  <a:lnTo>
                    <a:pt x="347" y="158"/>
                  </a:lnTo>
                  <a:lnTo>
                    <a:pt x="344" y="158"/>
                  </a:lnTo>
                  <a:lnTo>
                    <a:pt x="344" y="163"/>
                  </a:lnTo>
                  <a:lnTo>
                    <a:pt x="341" y="163"/>
                  </a:lnTo>
                  <a:lnTo>
                    <a:pt x="336" y="161"/>
                  </a:lnTo>
                  <a:lnTo>
                    <a:pt x="333" y="161"/>
                  </a:lnTo>
                  <a:lnTo>
                    <a:pt x="333" y="161"/>
                  </a:lnTo>
                  <a:lnTo>
                    <a:pt x="331" y="161"/>
                  </a:lnTo>
                  <a:lnTo>
                    <a:pt x="328" y="161"/>
                  </a:lnTo>
                  <a:lnTo>
                    <a:pt x="325" y="161"/>
                  </a:lnTo>
                  <a:lnTo>
                    <a:pt x="328" y="163"/>
                  </a:lnTo>
                  <a:lnTo>
                    <a:pt x="328" y="166"/>
                  </a:lnTo>
                  <a:lnTo>
                    <a:pt x="325" y="166"/>
                  </a:lnTo>
                  <a:lnTo>
                    <a:pt x="323" y="166"/>
                  </a:lnTo>
                  <a:lnTo>
                    <a:pt x="323" y="166"/>
                  </a:lnTo>
                  <a:lnTo>
                    <a:pt x="320" y="166"/>
                  </a:lnTo>
                  <a:lnTo>
                    <a:pt x="315" y="166"/>
                  </a:lnTo>
                  <a:lnTo>
                    <a:pt x="315" y="166"/>
                  </a:lnTo>
                  <a:lnTo>
                    <a:pt x="312" y="163"/>
                  </a:lnTo>
                  <a:lnTo>
                    <a:pt x="309" y="163"/>
                  </a:lnTo>
                  <a:lnTo>
                    <a:pt x="307" y="163"/>
                  </a:lnTo>
                  <a:lnTo>
                    <a:pt x="229" y="3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1219170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1" name="Freeform 8949">
              <a:extLst>
                <a:ext uri="{FF2B5EF4-FFF2-40B4-BE49-F238E27FC236}">
                  <a16:creationId xmlns:a16="http://schemas.microsoft.com/office/drawing/2014/main" id="{77F07824-730F-4F4A-B260-974DA674A0F7}"/>
                </a:ext>
              </a:extLst>
            </p:cNvPr>
            <p:cNvSpPr/>
            <p:nvPr/>
          </p:nvSpPr>
          <p:spPr bwMode="auto">
            <a:xfrm>
              <a:off x="1191417" y="2751139"/>
              <a:ext cx="355600" cy="585788"/>
            </a:xfrm>
            <a:custGeom>
              <a:avLst/>
              <a:gdLst>
                <a:gd name="T0" fmla="*/ 179 w 224"/>
                <a:gd name="T1" fmla="*/ 3 h 369"/>
                <a:gd name="T2" fmla="*/ 192 w 224"/>
                <a:gd name="T3" fmla="*/ 13 h 369"/>
                <a:gd name="T4" fmla="*/ 190 w 224"/>
                <a:gd name="T5" fmla="*/ 21 h 369"/>
                <a:gd name="T6" fmla="*/ 190 w 224"/>
                <a:gd name="T7" fmla="*/ 32 h 369"/>
                <a:gd name="T8" fmla="*/ 198 w 224"/>
                <a:gd name="T9" fmla="*/ 37 h 369"/>
                <a:gd name="T10" fmla="*/ 206 w 224"/>
                <a:gd name="T11" fmla="*/ 51 h 369"/>
                <a:gd name="T12" fmla="*/ 214 w 224"/>
                <a:gd name="T13" fmla="*/ 59 h 369"/>
                <a:gd name="T14" fmla="*/ 211 w 224"/>
                <a:gd name="T15" fmla="*/ 72 h 369"/>
                <a:gd name="T16" fmla="*/ 214 w 224"/>
                <a:gd name="T17" fmla="*/ 77 h 369"/>
                <a:gd name="T18" fmla="*/ 208 w 224"/>
                <a:gd name="T19" fmla="*/ 80 h 369"/>
                <a:gd name="T20" fmla="*/ 208 w 224"/>
                <a:gd name="T21" fmla="*/ 88 h 369"/>
                <a:gd name="T22" fmla="*/ 214 w 224"/>
                <a:gd name="T23" fmla="*/ 93 h 369"/>
                <a:gd name="T24" fmla="*/ 211 w 224"/>
                <a:gd name="T25" fmla="*/ 101 h 369"/>
                <a:gd name="T26" fmla="*/ 216 w 224"/>
                <a:gd name="T27" fmla="*/ 112 h 369"/>
                <a:gd name="T28" fmla="*/ 219 w 224"/>
                <a:gd name="T29" fmla="*/ 117 h 369"/>
                <a:gd name="T30" fmla="*/ 208 w 224"/>
                <a:gd name="T31" fmla="*/ 125 h 369"/>
                <a:gd name="T32" fmla="*/ 198 w 224"/>
                <a:gd name="T33" fmla="*/ 125 h 369"/>
                <a:gd name="T34" fmla="*/ 192 w 224"/>
                <a:gd name="T35" fmla="*/ 134 h 369"/>
                <a:gd name="T36" fmla="*/ 198 w 224"/>
                <a:gd name="T37" fmla="*/ 147 h 369"/>
                <a:gd name="T38" fmla="*/ 190 w 224"/>
                <a:gd name="T39" fmla="*/ 155 h 369"/>
                <a:gd name="T40" fmla="*/ 198 w 224"/>
                <a:gd name="T41" fmla="*/ 166 h 369"/>
                <a:gd name="T42" fmla="*/ 206 w 224"/>
                <a:gd name="T43" fmla="*/ 176 h 369"/>
                <a:gd name="T44" fmla="*/ 198 w 224"/>
                <a:gd name="T45" fmla="*/ 184 h 369"/>
                <a:gd name="T46" fmla="*/ 192 w 224"/>
                <a:gd name="T47" fmla="*/ 195 h 369"/>
                <a:gd name="T48" fmla="*/ 182 w 224"/>
                <a:gd name="T49" fmla="*/ 203 h 369"/>
                <a:gd name="T50" fmla="*/ 171 w 224"/>
                <a:gd name="T51" fmla="*/ 211 h 369"/>
                <a:gd name="T52" fmla="*/ 171 w 224"/>
                <a:gd name="T53" fmla="*/ 216 h 369"/>
                <a:gd name="T54" fmla="*/ 176 w 224"/>
                <a:gd name="T55" fmla="*/ 230 h 369"/>
                <a:gd name="T56" fmla="*/ 158 w 224"/>
                <a:gd name="T57" fmla="*/ 243 h 369"/>
                <a:gd name="T58" fmla="*/ 160 w 224"/>
                <a:gd name="T59" fmla="*/ 259 h 369"/>
                <a:gd name="T60" fmla="*/ 160 w 224"/>
                <a:gd name="T61" fmla="*/ 267 h 369"/>
                <a:gd name="T62" fmla="*/ 152 w 224"/>
                <a:gd name="T63" fmla="*/ 267 h 369"/>
                <a:gd name="T64" fmla="*/ 144 w 224"/>
                <a:gd name="T65" fmla="*/ 275 h 369"/>
                <a:gd name="T66" fmla="*/ 150 w 224"/>
                <a:gd name="T67" fmla="*/ 286 h 369"/>
                <a:gd name="T68" fmla="*/ 139 w 224"/>
                <a:gd name="T69" fmla="*/ 294 h 369"/>
                <a:gd name="T70" fmla="*/ 136 w 224"/>
                <a:gd name="T71" fmla="*/ 318 h 369"/>
                <a:gd name="T72" fmla="*/ 139 w 224"/>
                <a:gd name="T73" fmla="*/ 331 h 369"/>
                <a:gd name="T74" fmla="*/ 128 w 224"/>
                <a:gd name="T75" fmla="*/ 345 h 369"/>
                <a:gd name="T76" fmla="*/ 110 w 224"/>
                <a:gd name="T77" fmla="*/ 361 h 369"/>
                <a:gd name="T78" fmla="*/ 101 w 224"/>
                <a:gd name="T79" fmla="*/ 366 h 369"/>
                <a:gd name="T80" fmla="*/ 93 w 224"/>
                <a:gd name="T81" fmla="*/ 361 h 369"/>
                <a:gd name="T82" fmla="*/ 88 w 224"/>
                <a:gd name="T83" fmla="*/ 353 h 369"/>
                <a:gd name="T84" fmla="*/ 75 w 224"/>
                <a:gd name="T85" fmla="*/ 355 h 369"/>
                <a:gd name="T86" fmla="*/ 69 w 224"/>
                <a:gd name="T87" fmla="*/ 337 h 369"/>
                <a:gd name="T88" fmla="*/ 61 w 224"/>
                <a:gd name="T89" fmla="*/ 313 h 369"/>
                <a:gd name="T90" fmla="*/ 48 w 224"/>
                <a:gd name="T91" fmla="*/ 302 h 369"/>
                <a:gd name="T92" fmla="*/ 24 w 224"/>
                <a:gd name="T93" fmla="*/ 294 h 369"/>
                <a:gd name="T94" fmla="*/ 32 w 224"/>
                <a:gd name="T95" fmla="*/ 264 h 369"/>
                <a:gd name="T96" fmla="*/ 11 w 224"/>
                <a:gd name="T97" fmla="*/ 248 h 369"/>
                <a:gd name="T98" fmla="*/ 0 w 224"/>
                <a:gd name="T99" fmla="*/ 227 h 369"/>
                <a:gd name="T100" fmla="*/ 21 w 224"/>
                <a:gd name="T101" fmla="*/ 198 h 369"/>
                <a:gd name="T102" fmla="*/ 37 w 224"/>
                <a:gd name="T103" fmla="*/ 163 h 369"/>
                <a:gd name="T104" fmla="*/ 37 w 224"/>
                <a:gd name="T105" fmla="*/ 147 h 369"/>
                <a:gd name="T106" fmla="*/ 48 w 224"/>
                <a:gd name="T107" fmla="*/ 134 h 369"/>
                <a:gd name="T108" fmla="*/ 64 w 224"/>
                <a:gd name="T109" fmla="*/ 117 h 369"/>
                <a:gd name="T110" fmla="*/ 72 w 224"/>
                <a:gd name="T111" fmla="*/ 96 h 369"/>
                <a:gd name="T112" fmla="*/ 64 w 224"/>
                <a:gd name="T113" fmla="*/ 88 h 369"/>
                <a:gd name="T114" fmla="*/ 72 w 224"/>
                <a:gd name="T115" fmla="*/ 83 h 369"/>
                <a:gd name="T116" fmla="*/ 83 w 224"/>
                <a:gd name="T117" fmla="*/ 80 h 369"/>
                <a:gd name="T118" fmla="*/ 93 w 224"/>
                <a:gd name="T119" fmla="*/ 77 h 369"/>
                <a:gd name="T120" fmla="*/ 101 w 224"/>
                <a:gd name="T121" fmla="*/ 83 h 369"/>
                <a:gd name="T122" fmla="*/ 104 w 224"/>
                <a:gd name="T123" fmla="*/ 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4" h="369" extrusionOk="0">
                  <a:moveTo>
                    <a:pt x="104" y="67"/>
                  </a:moveTo>
                  <a:lnTo>
                    <a:pt x="110" y="61"/>
                  </a:lnTo>
                  <a:lnTo>
                    <a:pt x="112" y="48"/>
                  </a:lnTo>
                  <a:lnTo>
                    <a:pt x="118" y="43"/>
                  </a:lnTo>
                  <a:lnTo>
                    <a:pt x="126" y="37"/>
                  </a:lnTo>
                  <a:lnTo>
                    <a:pt x="147" y="8"/>
                  </a:lnTo>
                  <a:lnTo>
                    <a:pt x="174" y="0"/>
                  </a:lnTo>
                  <a:lnTo>
                    <a:pt x="176" y="0"/>
                  </a:lnTo>
                  <a:lnTo>
                    <a:pt x="176" y="3"/>
                  </a:lnTo>
                  <a:lnTo>
                    <a:pt x="176" y="3"/>
                  </a:lnTo>
                  <a:lnTo>
                    <a:pt x="179" y="3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4" y="3"/>
                  </a:lnTo>
                  <a:lnTo>
                    <a:pt x="184" y="5"/>
                  </a:lnTo>
                  <a:lnTo>
                    <a:pt x="184" y="5"/>
                  </a:lnTo>
                  <a:lnTo>
                    <a:pt x="184" y="8"/>
                  </a:lnTo>
                  <a:lnTo>
                    <a:pt x="187" y="8"/>
                  </a:lnTo>
                  <a:lnTo>
                    <a:pt x="187" y="11"/>
                  </a:lnTo>
                  <a:lnTo>
                    <a:pt x="190" y="11"/>
                  </a:lnTo>
                  <a:lnTo>
                    <a:pt x="190" y="11"/>
                  </a:lnTo>
                  <a:lnTo>
                    <a:pt x="192" y="13"/>
                  </a:lnTo>
                  <a:lnTo>
                    <a:pt x="192" y="13"/>
                  </a:lnTo>
                  <a:lnTo>
                    <a:pt x="192" y="13"/>
                  </a:lnTo>
                  <a:lnTo>
                    <a:pt x="190" y="13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6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90" y="21"/>
                  </a:lnTo>
                  <a:lnTo>
                    <a:pt x="190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7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92" y="29"/>
                  </a:lnTo>
                  <a:lnTo>
                    <a:pt x="192" y="29"/>
                  </a:lnTo>
                  <a:lnTo>
                    <a:pt x="192" y="32"/>
                  </a:lnTo>
                  <a:lnTo>
                    <a:pt x="192" y="32"/>
                  </a:lnTo>
                  <a:lnTo>
                    <a:pt x="195" y="35"/>
                  </a:lnTo>
                  <a:lnTo>
                    <a:pt x="195" y="32"/>
                  </a:lnTo>
                  <a:lnTo>
                    <a:pt x="195" y="35"/>
                  </a:lnTo>
                  <a:lnTo>
                    <a:pt x="195" y="35"/>
                  </a:lnTo>
                  <a:lnTo>
                    <a:pt x="195" y="35"/>
                  </a:lnTo>
                  <a:lnTo>
                    <a:pt x="198" y="37"/>
                  </a:lnTo>
                  <a:lnTo>
                    <a:pt x="198" y="37"/>
                  </a:lnTo>
                  <a:lnTo>
                    <a:pt x="198" y="40"/>
                  </a:lnTo>
                  <a:lnTo>
                    <a:pt x="200" y="43"/>
                  </a:lnTo>
                  <a:lnTo>
                    <a:pt x="200" y="43"/>
                  </a:lnTo>
                  <a:lnTo>
                    <a:pt x="200" y="43"/>
                  </a:lnTo>
                  <a:lnTo>
                    <a:pt x="203" y="43"/>
                  </a:lnTo>
                  <a:lnTo>
                    <a:pt x="200" y="45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206" y="48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8" y="53"/>
                  </a:lnTo>
                  <a:lnTo>
                    <a:pt x="208" y="53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4" y="56"/>
                  </a:lnTo>
                  <a:lnTo>
                    <a:pt x="214" y="56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11" y="61"/>
                  </a:lnTo>
                  <a:lnTo>
                    <a:pt x="211" y="61"/>
                  </a:lnTo>
                  <a:lnTo>
                    <a:pt x="211" y="64"/>
                  </a:lnTo>
                  <a:lnTo>
                    <a:pt x="211" y="64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69"/>
                  </a:lnTo>
                  <a:lnTo>
                    <a:pt x="211" y="72"/>
                  </a:lnTo>
                  <a:lnTo>
                    <a:pt x="211" y="72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1" y="72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5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77"/>
                  </a:lnTo>
                  <a:lnTo>
                    <a:pt x="214" y="80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8" y="80"/>
                  </a:lnTo>
                  <a:lnTo>
                    <a:pt x="206" y="80"/>
                  </a:lnTo>
                  <a:lnTo>
                    <a:pt x="208" y="80"/>
                  </a:lnTo>
                  <a:lnTo>
                    <a:pt x="208" y="83"/>
                  </a:lnTo>
                  <a:lnTo>
                    <a:pt x="211" y="83"/>
                  </a:lnTo>
                  <a:lnTo>
                    <a:pt x="211" y="85"/>
                  </a:lnTo>
                  <a:lnTo>
                    <a:pt x="211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85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08" y="88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1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91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4" y="93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4" y="96"/>
                  </a:lnTo>
                  <a:lnTo>
                    <a:pt x="214" y="99"/>
                  </a:lnTo>
                  <a:lnTo>
                    <a:pt x="214" y="99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4"/>
                  </a:lnTo>
                  <a:lnTo>
                    <a:pt x="211" y="104"/>
                  </a:lnTo>
                  <a:lnTo>
                    <a:pt x="214" y="107"/>
                  </a:lnTo>
                  <a:lnTo>
                    <a:pt x="214" y="104"/>
                  </a:lnTo>
                  <a:lnTo>
                    <a:pt x="214" y="107"/>
                  </a:lnTo>
                  <a:lnTo>
                    <a:pt x="216" y="107"/>
                  </a:lnTo>
                  <a:lnTo>
                    <a:pt x="216" y="109"/>
                  </a:lnTo>
                  <a:lnTo>
                    <a:pt x="216" y="109"/>
                  </a:lnTo>
                  <a:lnTo>
                    <a:pt x="216" y="109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9" y="112"/>
                  </a:lnTo>
                  <a:lnTo>
                    <a:pt x="219" y="115"/>
                  </a:lnTo>
                  <a:lnTo>
                    <a:pt x="222" y="112"/>
                  </a:lnTo>
                  <a:lnTo>
                    <a:pt x="222" y="112"/>
                  </a:lnTo>
                  <a:lnTo>
                    <a:pt x="222" y="112"/>
                  </a:lnTo>
                  <a:lnTo>
                    <a:pt x="224" y="112"/>
                  </a:lnTo>
                  <a:lnTo>
                    <a:pt x="222" y="112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22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17"/>
                  </a:lnTo>
                  <a:lnTo>
                    <a:pt x="219" y="120"/>
                  </a:lnTo>
                  <a:lnTo>
                    <a:pt x="216" y="120"/>
                  </a:lnTo>
                  <a:lnTo>
                    <a:pt x="216" y="123"/>
                  </a:lnTo>
                  <a:lnTo>
                    <a:pt x="214" y="123"/>
                  </a:lnTo>
                  <a:lnTo>
                    <a:pt x="214" y="123"/>
                  </a:lnTo>
                  <a:lnTo>
                    <a:pt x="211" y="123"/>
                  </a:lnTo>
                  <a:lnTo>
                    <a:pt x="211" y="123"/>
                  </a:lnTo>
                  <a:lnTo>
                    <a:pt x="208" y="125"/>
                  </a:lnTo>
                  <a:lnTo>
                    <a:pt x="208" y="125"/>
                  </a:lnTo>
                  <a:lnTo>
                    <a:pt x="206" y="125"/>
                  </a:lnTo>
                  <a:lnTo>
                    <a:pt x="206" y="123"/>
                  </a:lnTo>
                  <a:lnTo>
                    <a:pt x="203" y="123"/>
                  </a:lnTo>
                  <a:lnTo>
                    <a:pt x="203" y="120"/>
                  </a:lnTo>
                  <a:lnTo>
                    <a:pt x="200" y="120"/>
                  </a:lnTo>
                  <a:lnTo>
                    <a:pt x="200" y="120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3"/>
                  </a:lnTo>
                  <a:lnTo>
                    <a:pt x="198" y="125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2" y="131"/>
                  </a:lnTo>
                  <a:lnTo>
                    <a:pt x="192" y="128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5" y="136"/>
                  </a:lnTo>
                  <a:lnTo>
                    <a:pt x="195" y="136"/>
                  </a:lnTo>
                  <a:lnTo>
                    <a:pt x="195" y="139"/>
                  </a:lnTo>
                  <a:lnTo>
                    <a:pt x="195" y="142"/>
                  </a:lnTo>
                  <a:lnTo>
                    <a:pt x="195" y="142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7" y="150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5"/>
                  </a:lnTo>
                  <a:lnTo>
                    <a:pt x="192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5" y="158"/>
                  </a:lnTo>
                  <a:lnTo>
                    <a:pt x="195" y="158"/>
                  </a:lnTo>
                  <a:lnTo>
                    <a:pt x="198" y="160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3" y="168"/>
                  </a:lnTo>
                  <a:lnTo>
                    <a:pt x="203" y="171"/>
                  </a:lnTo>
                  <a:lnTo>
                    <a:pt x="206" y="171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3" y="174"/>
                  </a:lnTo>
                  <a:lnTo>
                    <a:pt x="206" y="174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8" y="176"/>
                  </a:lnTo>
                  <a:lnTo>
                    <a:pt x="208" y="179"/>
                  </a:lnTo>
                  <a:lnTo>
                    <a:pt x="208" y="179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0" y="182"/>
                  </a:lnTo>
                  <a:lnTo>
                    <a:pt x="198" y="182"/>
                  </a:lnTo>
                  <a:lnTo>
                    <a:pt x="198" y="182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7"/>
                  </a:lnTo>
                  <a:lnTo>
                    <a:pt x="198" y="190"/>
                  </a:lnTo>
                  <a:lnTo>
                    <a:pt x="195" y="190"/>
                  </a:lnTo>
                  <a:lnTo>
                    <a:pt x="195" y="190"/>
                  </a:lnTo>
                  <a:lnTo>
                    <a:pt x="192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0" y="195"/>
                  </a:lnTo>
                  <a:lnTo>
                    <a:pt x="192" y="195"/>
                  </a:lnTo>
                  <a:lnTo>
                    <a:pt x="192" y="198"/>
                  </a:lnTo>
                  <a:lnTo>
                    <a:pt x="195" y="200"/>
                  </a:lnTo>
                  <a:lnTo>
                    <a:pt x="195" y="200"/>
                  </a:lnTo>
                  <a:lnTo>
                    <a:pt x="198" y="203"/>
                  </a:lnTo>
                  <a:lnTo>
                    <a:pt x="195" y="203"/>
                  </a:lnTo>
                  <a:lnTo>
                    <a:pt x="192" y="203"/>
                  </a:lnTo>
                  <a:lnTo>
                    <a:pt x="190" y="203"/>
                  </a:lnTo>
                  <a:lnTo>
                    <a:pt x="187" y="203"/>
                  </a:lnTo>
                  <a:lnTo>
                    <a:pt x="184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79" y="203"/>
                  </a:lnTo>
                  <a:lnTo>
                    <a:pt x="179" y="206"/>
                  </a:lnTo>
                  <a:lnTo>
                    <a:pt x="182" y="206"/>
                  </a:lnTo>
                  <a:lnTo>
                    <a:pt x="179" y="208"/>
                  </a:lnTo>
                  <a:lnTo>
                    <a:pt x="176" y="206"/>
                  </a:lnTo>
                  <a:lnTo>
                    <a:pt x="176" y="206"/>
                  </a:lnTo>
                  <a:lnTo>
                    <a:pt x="176" y="208"/>
                  </a:lnTo>
                  <a:lnTo>
                    <a:pt x="174" y="208"/>
                  </a:lnTo>
                  <a:lnTo>
                    <a:pt x="174" y="208"/>
                  </a:lnTo>
                  <a:lnTo>
                    <a:pt x="171" y="208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4" y="211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4" y="214"/>
                  </a:lnTo>
                  <a:lnTo>
                    <a:pt x="174" y="214"/>
                  </a:lnTo>
                  <a:lnTo>
                    <a:pt x="171" y="214"/>
                  </a:lnTo>
                  <a:lnTo>
                    <a:pt x="171" y="216"/>
                  </a:lnTo>
                  <a:lnTo>
                    <a:pt x="171" y="216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22"/>
                  </a:lnTo>
                  <a:lnTo>
                    <a:pt x="174" y="224"/>
                  </a:lnTo>
                  <a:lnTo>
                    <a:pt x="174" y="224"/>
                  </a:lnTo>
                  <a:lnTo>
                    <a:pt x="174" y="227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0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4" y="232"/>
                  </a:lnTo>
                  <a:lnTo>
                    <a:pt x="171" y="232"/>
                  </a:lnTo>
                  <a:lnTo>
                    <a:pt x="168" y="232"/>
                  </a:lnTo>
                  <a:lnTo>
                    <a:pt x="166" y="232"/>
                  </a:lnTo>
                  <a:lnTo>
                    <a:pt x="166" y="235"/>
                  </a:lnTo>
                  <a:lnTo>
                    <a:pt x="166" y="238"/>
                  </a:lnTo>
                  <a:lnTo>
                    <a:pt x="163" y="240"/>
                  </a:lnTo>
                  <a:lnTo>
                    <a:pt x="160" y="240"/>
                  </a:lnTo>
                  <a:lnTo>
                    <a:pt x="158" y="243"/>
                  </a:lnTo>
                  <a:lnTo>
                    <a:pt x="155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1"/>
                  </a:lnTo>
                  <a:lnTo>
                    <a:pt x="155" y="254"/>
                  </a:lnTo>
                  <a:lnTo>
                    <a:pt x="155" y="256"/>
                  </a:lnTo>
                  <a:lnTo>
                    <a:pt x="158" y="256"/>
                  </a:lnTo>
                  <a:lnTo>
                    <a:pt x="160" y="256"/>
                  </a:lnTo>
                  <a:lnTo>
                    <a:pt x="160" y="256"/>
                  </a:lnTo>
                  <a:lnTo>
                    <a:pt x="158" y="259"/>
                  </a:lnTo>
                  <a:lnTo>
                    <a:pt x="160" y="259"/>
                  </a:lnTo>
                  <a:lnTo>
                    <a:pt x="160" y="259"/>
                  </a:lnTo>
                  <a:lnTo>
                    <a:pt x="160" y="259"/>
                  </a:lnTo>
                  <a:lnTo>
                    <a:pt x="163" y="259"/>
                  </a:lnTo>
                  <a:lnTo>
                    <a:pt x="166" y="259"/>
                  </a:lnTo>
                  <a:lnTo>
                    <a:pt x="166" y="259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6" y="262"/>
                  </a:lnTo>
                  <a:lnTo>
                    <a:pt x="163" y="264"/>
                  </a:lnTo>
                  <a:lnTo>
                    <a:pt x="163" y="264"/>
                  </a:lnTo>
                  <a:lnTo>
                    <a:pt x="160" y="267"/>
                  </a:lnTo>
                  <a:lnTo>
                    <a:pt x="160" y="267"/>
                  </a:lnTo>
                  <a:lnTo>
                    <a:pt x="158" y="264"/>
                  </a:lnTo>
                  <a:lnTo>
                    <a:pt x="160" y="264"/>
                  </a:lnTo>
                  <a:lnTo>
                    <a:pt x="160" y="264"/>
                  </a:lnTo>
                  <a:lnTo>
                    <a:pt x="158" y="264"/>
                  </a:lnTo>
                  <a:lnTo>
                    <a:pt x="158" y="264"/>
                  </a:lnTo>
                  <a:lnTo>
                    <a:pt x="155" y="267"/>
                  </a:lnTo>
                  <a:lnTo>
                    <a:pt x="155" y="270"/>
                  </a:lnTo>
                  <a:lnTo>
                    <a:pt x="152" y="270"/>
                  </a:lnTo>
                  <a:lnTo>
                    <a:pt x="152" y="267"/>
                  </a:lnTo>
                  <a:lnTo>
                    <a:pt x="152" y="267"/>
                  </a:lnTo>
                  <a:lnTo>
                    <a:pt x="150" y="267"/>
                  </a:lnTo>
                  <a:lnTo>
                    <a:pt x="147" y="267"/>
                  </a:lnTo>
                  <a:lnTo>
                    <a:pt x="147" y="267"/>
                  </a:lnTo>
                  <a:lnTo>
                    <a:pt x="144" y="270"/>
                  </a:lnTo>
                  <a:lnTo>
                    <a:pt x="147" y="270"/>
                  </a:lnTo>
                  <a:lnTo>
                    <a:pt x="147" y="272"/>
                  </a:lnTo>
                  <a:lnTo>
                    <a:pt x="147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4" y="275"/>
                  </a:lnTo>
                  <a:lnTo>
                    <a:pt x="144" y="275"/>
                  </a:lnTo>
                  <a:lnTo>
                    <a:pt x="144" y="275"/>
                  </a:lnTo>
                  <a:lnTo>
                    <a:pt x="142" y="278"/>
                  </a:lnTo>
                  <a:lnTo>
                    <a:pt x="144" y="280"/>
                  </a:lnTo>
                  <a:lnTo>
                    <a:pt x="144" y="280"/>
                  </a:lnTo>
                  <a:lnTo>
                    <a:pt x="144" y="283"/>
                  </a:lnTo>
                  <a:lnTo>
                    <a:pt x="147" y="280"/>
                  </a:lnTo>
                  <a:lnTo>
                    <a:pt x="147" y="283"/>
                  </a:lnTo>
                  <a:lnTo>
                    <a:pt x="150" y="283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0" y="289"/>
                  </a:lnTo>
                  <a:lnTo>
                    <a:pt x="150" y="289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44" y="291"/>
                  </a:lnTo>
                  <a:lnTo>
                    <a:pt x="144" y="291"/>
                  </a:lnTo>
                  <a:lnTo>
                    <a:pt x="142" y="294"/>
                  </a:lnTo>
                  <a:lnTo>
                    <a:pt x="142" y="294"/>
                  </a:lnTo>
                  <a:lnTo>
                    <a:pt x="142" y="294"/>
                  </a:lnTo>
                  <a:lnTo>
                    <a:pt x="139" y="294"/>
                  </a:lnTo>
                  <a:lnTo>
                    <a:pt x="139" y="297"/>
                  </a:lnTo>
                  <a:lnTo>
                    <a:pt x="136" y="297"/>
                  </a:lnTo>
                  <a:lnTo>
                    <a:pt x="136" y="299"/>
                  </a:lnTo>
                  <a:lnTo>
                    <a:pt x="139" y="302"/>
                  </a:lnTo>
                  <a:lnTo>
                    <a:pt x="139" y="305"/>
                  </a:lnTo>
                  <a:lnTo>
                    <a:pt x="142" y="307"/>
                  </a:lnTo>
                  <a:lnTo>
                    <a:pt x="142" y="310"/>
                  </a:lnTo>
                  <a:lnTo>
                    <a:pt x="142" y="313"/>
                  </a:lnTo>
                  <a:lnTo>
                    <a:pt x="139" y="315"/>
                  </a:lnTo>
                  <a:lnTo>
                    <a:pt x="136" y="315"/>
                  </a:lnTo>
                  <a:lnTo>
                    <a:pt x="136" y="318"/>
                  </a:lnTo>
                  <a:lnTo>
                    <a:pt x="139" y="321"/>
                  </a:lnTo>
                  <a:lnTo>
                    <a:pt x="139" y="321"/>
                  </a:lnTo>
                  <a:lnTo>
                    <a:pt x="142" y="323"/>
                  </a:lnTo>
                  <a:lnTo>
                    <a:pt x="142" y="323"/>
                  </a:lnTo>
                  <a:lnTo>
                    <a:pt x="142" y="326"/>
                  </a:lnTo>
                  <a:lnTo>
                    <a:pt x="142" y="326"/>
                  </a:lnTo>
                  <a:lnTo>
                    <a:pt x="144" y="326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2" y="331"/>
                  </a:lnTo>
                  <a:lnTo>
                    <a:pt x="139" y="331"/>
                  </a:lnTo>
                  <a:lnTo>
                    <a:pt x="139" y="331"/>
                  </a:lnTo>
                  <a:lnTo>
                    <a:pt x="136" y="331"/>
                  </a:lnTo>
                  <a:lnTo>
                    <a:pt x="136" y="334"/>
                  </a:lnTo>
                  <a:lnTo>
                    <a:pt x="139" y="334"/>
                  </a:lnTo>
                  <a:lnTo>
                    <a:pt x="139" y="337"/>
                  </a:lnTo>
                  <a:lnTo>
                    <a:pt x="136" y="337"/>
                  </a:lnTo>
                  <a:lnTo>
                    <a:pt x="134" y="337"/>
                  </a:lnTo>
                  <a:lnTo>
                    <a:pt x="131" y="339"/>
                  </a:lnTo>
                  <a:lnTo>
                    <a:pt x="131" y="339"/>
                  </a:lnTo>
                  <a:lnTo>
                    <a:pt x="128" y="342"/>
                  </a:lnTo>
                  <a:lnTo>
                    <a:pt x="128" y="345"/>
                  </a:lnTo>
                  <a:lnTo>
                    <a:pt x="128" y="347"/>
                  </a:lnTo>
                  <a:lnTo>
                    <a:pt x="123" y="347"/>
                  </a:lnTo>
                  <a:lnTo>
                    <a:pt x="123" y="347"/>
                  </a:lnTo>
                  <a:lnTo>
                    <a:pt x="120" y="347"/>
                  </a:lnTo>
                  <a:lnTo>
                    <a:pt x="115" y="347"/>
                  </a:lnTo>
                  <a:lnTo>
                    <a:pt x="115" y="350"/>
                  </a:lnTo>
                  <a:lnTo>
                    <a:pt x="112" y="350"/>
                  </a:lnTo>
                  <a:lnTo>
                    <a:pt x="115" y="353"/>
                  </a:lnTo>
                  <a:lnTo>
                    <a:pt x="112" y="355"/>
                  </a:lnTo>
                  <a:lnTo>
                    <a:pt x="110" y="358"/>
                  </a:lnTo>
                  <a:lnTo>
                    <a:pt x="110" y="361"/>
                  </a:lnTo>
                  <a:lnTo>
                    <a:pt x="107" y="361"/>
                  </a:lnTo>
                  <a:lnTo>
                    <a:pt x="107" y="363"/>
                  </a:lnTo>
                  <a:lnTo>
                    <a:pt x="107" y="366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9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101" y="366"/>
                  </a:lnTo>
                  <a:lnTo>
                    <a:pt x="101" y="363"/>
                  </a:lnTo>
                  <a:lnTo>
                    <a:pt x="101" y="366"/>
                  </a:lnTo>
                  <a:lnTo>
                    <a:pt x="101" y="366"/>
                  </a:lnTo>
                  <a:lnTo>
                    <a:pt x="99" y="366"/>
                  </a:lnTo>
                  <a:lnTo>
                    <a:pt x="99" y="363"/>
                  </a:lnTo>
                  <a:lnTo>
                    <a:pt x="99" y="363"/>
                  </a:lnTo>
                  <a:lnTo>
                    <a:pt x="99" y="363"/>
                  </a:lnTo>
                  <a:lnTo>
                    <a:pt x="99" y="361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3" y="361"/>
                  </a:lnTo>
                  <a:lnTo>
                    <a:pt x="93" y="361"/>
                  </a:lnTo>
                  <a:lnTo>
                    <a:pt x="96" y="361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3" y="358"/>
                  </a:lnTo>
                  <a:lnTo>
                    <a:pt x="93" y="355"/>
                  </a:lnTo>
                  <a:lnTo>
                    <a:pt x="93" y="355"/>
                  </a:lnTo>
                  <a:lnTo>
                    <a:pt x="93" y="353"/>
                  </a:lnTo>
                  <a:lnTo>
                    <a:pt x="91" y="353"/>
                  </a:lnTo>
                  <a:lnTo>
                    <a:pt x="91" y="353"/>
                  </a:lnTo>
                  <a:lnTo>
                    <a:pt x="88" y="353"/>
                  </a:lnTo>
                  <a:lnTo>
                    <a:pt x="88" y="353"/>
                  </a:lnTo>
                  <a:lnTo>
                    <a:pt x="85" y="355"/>
                  </a:lnTo>
                  <a:lnTo>
                    <a:pt x="85" y="355"/>
                  </a:lnTo>
                  <a:lnTo>
                    <a:pt x="85" y="355"/>
                  </a:lnTo>
                  <a:lnTo>
                    <a:pt x="83" y="355"/>
                  </a:lnTo>
                  <a:lnTo>
                    <a:pt x="83" y="355"/>
                  </a:lnTo>
                  <a:lnTo>
                    <a:pt x="80" y="355"/>
                  </a:lnTo>
                  <a:lnTo>
                    <a:pt x="80" y="358"/>
                  </a:lnTo>
                  <a:lnTo>
                    <a:pt x="77" y="355"/>
                  </a:lnTo>
                  <a:lnTo>
                    <a:pt x="75" y="355"/>
                  </a:lnTo>
                  <a:lnTo>
                    <a:pt x="75" y="355"/>
                  </a:lnTo>
                  <a:lnTo>
                    <a:pt x="72" y="353"/>
                  </a:lnTo>
                  <a:lnTo>
                    <a:pt x="69" y="353"/>
                  </a:lnTo>
                  <a:lnTo>
                    <a:pt x="67" y="353"/>
                  </a:lnTo>
                  <a:lnTo>
                    <a:pt x="69" y="350"/>
                  </a:lnTo>
                  <a:lnTo>
                    <a:pt x="69" y="347"/>
                  </a:lnTo>
                  <a:lnTo>
                    <a:pt x="67" y="345"/>
                  </a:lnTo>
                  <a:lnTo>
                    <a:pt x="69" y="345"/>
                  </a:lnTo>
                  <a:lnTo>
                    <a:pt x="67" y="342"/>
                  </a:lnTo>
                  <a:lnTo>
                    <a:pt x="67" y="342"/>
                  </a:lnTo>
                  <a:lnTo>
                    <a:pt x="69" y="339"/>
                  </a:lnTo>
                  <a:lnTo>
                    <a:pt x="69" y="337"/>
                  </a:lnTo>
                  <a:lnTo>
                    <a:pt x="67" y="331"/>
                  </a:lnTo>
                  <a:lnTo>
                    <a:pt x="67" y="331"/>
                  </a:lnTo>
                  <a:lnTo>
                    <a:pt x="69" y="329"/>
                  </a:lnTo>
                  <a:lnTo>
                    <a:pt x="69" y="326"/>
                  </a:lnTo>
                  <a:lnTo>
                    <a:pt x="69" y="323"/>
                  </a:lnTo>
                  <a:lnTo>
                    <a:pt x="67" y="321"/>
                  </a:lnTo>
                  <a:lnTo>
                    <a:pt x="64" y="321"/>
                  </a:lnTo>
                  <a:lnTo>
                    <a:pt x="64" y="318"/>
                  </a:lnTo>
                  <a:lnTo>
                    <a:pt x="64" y="315"/>
                  </a:lnTo>
                  <a:lnTo>
                    <a:pt x="61" y="315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59" y="315"/>
                  </a:lnTo>
                  <a:lnTo>
                    <a:pt x="56" y="313"/>
                  </a:lnTo>
                  <a:lnTo>
                    <a:pt x="56" y="310"/>
                  </a:lnTo>
                  <a:lnTo>
                    <a:pt x="53" y="307"/>
                  </a:lnTo>
                  <a:lnTo>
                    <a:pt x="53" y="305"/>
                  </a:lnTo>
                  <a:lnTo>
                    <a:pt x="51" y="302"/>
                  </a:lnTo>
                  <a:lnTo>
                    <a:pt x="48" y="302"/>
                  </a:lnTo>
                  <a:lnTo>
                    <a:pt x="45" y="305"/>
                  </a:lnTo>
                  <a:lnTo>
                    <a:pt x="43" y="305"/>
                  </a:lnTo>
                  <a:lnTo>
                    <a:pt x="40" y="305"/>
                  </a:lnTo>
                  <a:lnTo>
                    <a:pt x="40" y="302"/>
                  </a:lnTo>
                  <a:lnTo>
                    <a:pt x="29" y="299"/>
                  </a:lnTo>
                  <a:lnTo>
                    <a:pt x="27" y="299"/>
                  </a:lnTo>
                  <a:lnTo>
                    <a:pt x="24" y="299"/>
                  </a:lnTo>
                  <a:lnTo>
                    <a:pt x="21" y="299"/>
                  </a:lnTo>
                  <a:lnTo>
                    <a:pt x="21" y="297"/>
                  </a:lnTo>
                  <a:lnTo>
                    <a:pt x="21" y="294"/>
                  </a:lnTo>
                  <a:lnTo>
                    <a:pt x="24" y="294"/>
                  </a:lnTo>
                  <a:lnTo>
                    <a:pt x="21" y="291"/>
                  </a:lnTo>
                  <a:lnTo>
                    <a:pt x="24" y="289"/>
                  </a:lnTo>
                  <a:lnTo>
                    <a:pt x="24" y="286"/>
                  </a:lnTo>
                  <a:lnTo>
                    <a:pt x="29" y="286"/>
                  </a:lnTo>
                  <a:lnTo>
                    <a:pt x="35" y="280"/>
                  </a:lnTo>
                  <a:lnTo>
                    <a:pt x="37" y="280"/>
                  </a:lnTo>
                  <a:lnTo>
                    <a:pt x="37" y="275"/>
                  </a:lnTo>
                  <a:lnTo>
                    <a:pt x="35" y="272"/>
                  </a:lnTo>
                  <a:lnTo>
                    <a:pt x="32" y="270"/>
                  </a:lnTo>
                  <a:lnTo>
                    <a:pt x="32" y="267"/>
                  </a:lnTo>
                  <a:lnTo>
                    <a:pt x="32" y="264"/>
                  </a:lnTo>
                  <a:lnTo>
                    <a:pt x="29" y="262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1" y="256"/>
                  </a:lnTo>
                  <a:lnTo>
                    <a:pt x="19" y="256"/>
                  </a:lnTo>
                  <a:lnTo>
                    <a:pt x="16" y="256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1" y="254"/>
                  </a:lnTo>
                  <a:lnTo>
                    <a:pt x="11" y="251"/>
                  </a:lnTo>
                  <a:lnTo>
                    <a:pt x="11" y="248"/>
                  </a:lnTo>
                  <a:lnTo>
                    <a:pt x="13" y="246"/>
                  </a:lnTo>
                  <a:lnTo>
                    <a:pt x="16" y="243"/>
                  </a:lnTo>
                  <a:lnTo>
                    <a:pt x="13" y="243"/>
                  </a:lnTo>
                  <a:lnTo>
                    <a:pt x="16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1" y="230"/>
                  </a:lnTo>
                  <a:lnTo>
                    <a:pt x="5" y="230"/>
                  </a:lnTo>
                  <a:lnTo>
                    <a:pt x="3" y="230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0" y="224"/>
                  </a:lnTo>
                  <a:lnTo>
                    <a:pt x="0" y="222"/>
                  </a:lnTo>
                  <a:lnTo>
                    <a:pt x="3" y="216"/>
                  </a:lnTo>
                  <a:lnTo>
                    <a:pt x="8" y="214"/>
                  </a:lnTo>
                  <a:lnTo>
                    <a:pt x="13" y="211"/>
                  </a:lnTo>
                  <a:lnTo>
                    <a:pt x="13" y="211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9" y="200"/>
                  </a:lnTo>
                  <a:lnTo>
                    <a:pt x="19" y="200"/>
                  </a:lnTo>
                  <a:lnTo>
                    <a:pt x="21" y="198"/>
                  </a:lnTo>
                  <a:lnTo>
                    <a:pt x="21" y="195"/>
                  </a:lnTo>
                  <a:lnTo>
                    <a:pt x="21" y="192"/>
                  </a:lnTo>
                  <a:lnTo>
                    <a:pt x="27" y="187"/>
                  </a:lnTo>
                  <a:lnTo>
                    <a:pt x="27" y="182"/>
                  </a:lnTo>
                  <a:lnTo>
                    <a:pt x="27" y="179"/>
                  </a:lnTo>
                  <a:lnTo>
                    <a:pt x="29" y="176"/>
                  </a:lnTo>
                  <a:lnTo>
                    <a:pt x="29" y="174"/>
                  </a:lnTo>
                  <a:lnTo>
                    <a:pt x="32" y="174"/>
                  </a:lnTo>
                  <a:lnTo>
                    <a:pt x="32" y="168"/>
                  </a:lnTo>
                  <a:lnTo>
                    <a:pt x="32" y="166"/>
                  </a:lnTo>
                  <a:lnTo>
                    <a:pt x="37" y="163"/>
                  </a:lnTo>
                  <a:lnTo>
                    <a:pt x="37" y="160"/>
                  </a:lnTo>
                  <a:lnTo>
                    <a:pt x="37" y="158"/>
                  </a:lnTo>
                  <a:lnTo>
                    <a:pt x="37" y="155"/>
                  </a:lnTo>
                  <a:lnTo>
                    <a:pt x="37" y="155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32" y="150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7" y="144"/>
                  </a:lnTo>
                  <a:lnTo>
                    <a:pt x="40" y="144"/>
                  </a:lnTo>
                  <a:lnTo>
                    <a:pt x="43" y="142"/>
                  </a:lnTo>
                  <a:lnTo>
                    <a:pt x="45" y="142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51" y="134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56" y="134"/>
                  </a:lnTo>
                  <a:lnTo>
                    <a:pt x="59" y="134"/>
                  </a:lnTo>
                  <a:lnTo>
                    <a:pt x="64" y="128"/>
                  </a:lnTo>
                  <a:lnTo>
                    <a:pt x="67" y="125"/>
                  </a:lnTo>
                  <a:lnTo>
                    <a:pt x="67" y="123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09"/>
                  </a:lnTo>
                  <a:lnTo>
                    <a:pt x="61" y="107"/>
                  </a:lnTo>
                  <a:lnTo>
                    <a:pt x="61" y="107"/>
                  </a:lnTo>
                  <a:lnTo>
                    <a:pt x="61" y="104"/>
                  </a:lnTo>
                  <a:lnTo>
                    <a:pt x="64" y="101"/>
                  </a:lnTo>
                  <a:lnTo>
                    <a:pt x="67" y="101"/>
                  </a:lnTo>
                  <a:lnTo>
                    <a:pt x="67" y="99"/>
                  </a:lnTo>
                  <a:lnTo>
                    <a:pt x="69" y="99"/>
                  </a:lnTo>
                  <a:lnTo>
                    <a:pt x="72" y="96"/>
                  </a:lnTo>
                  <a:lnTo>
                    <a:pt x="67" y="96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2" y="85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3" y="83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5"/>
                  </a:lnTo>
                  <a:lnTo>
                    <a:pt x="91" y="75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3" y="77"/>
                  </a:lnTo>
                  <a:lnTo>
                    <a:pt x="93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0"/>
                  </a:lnTo>
                  <a:lnTo>
                    <a:pt x="101" y="80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4" y="75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9"/>
                  </a:lnTo>
                  <a:lnTo>
                    <a:pt x="104" y="67"/>
                  </a:lnTo>
                  <a:lnTo>
                    <a:pt x="104" y="6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2" name="Freeform 8950">
              <a:extLst>
                <a:ext uri="{FF2B5EF4-FFF2-40B4-BE49-F238E27FC236}">
                  <a16:creationId xmlns:a16="http://schemas.microsoft.com/office/drawing/2014/main" id="{B89C222C-8C01-4A49-ABEE-9539465D3D88}"/>
                </a:ext>
              </a:extLst>
            </p:cNvPr>
            <p:cNvSpPr/>
            <p:nvPr/>
          </p:nvSpPr>
          <p:spPr bwMode="auto">
            <a:xfrm>
              <a:off x="496093" y="2713038"/>
              <a:ext cx="238125" cy="246063"/>
            </a:xfrm>
            <a:custGeom>
              <a:avLst/>
              <a:gdLst>
                <a:gd name="T0" fmla="*/ 99 w 150"/>
                <a:gd name="T1" fmla="*/ 21 h 155"/>
                <a:gd name="T2" fmla="*/ 91 w 150"/>
                <a:gd name="T3" fmla="*/ 24 h 155"/>
                <a:gd name="T4" fmla="*/ 80 w 150"/>
                <a:gd name="T5" fmla="*/ 24 h 155"/>
                <a:gd name="T6" fmla="*/ 72 w 150"/>
                <a:gd name="T7" fmla="*/ 24 h 155"/>
                <a:gd name="T8" fmla="*/ 67 w 150"/>
                <a:gd name="T9" fmla="*/ 24 h 155"/>
                <a:gd name="T10" fmla="*/ 70 w 150"/>
                <a:gd name="T11" fmla="*/ 32 h 155"/>
                <a:gd name="T12" fmla="*/ 72 w 150"/>
                <a:gd name="T13" fmla="*/ 35 h 155"/>
                <a:gd name="T14" fmla="*/ 75 w 150"/>
                <a:gd name="T15" fmla="*/ 43 h 155"/>
                <a:gd name="T16" fmla="*/ 78 w 150"/>
                <a:gd name="T17" fmla="*/ 48 h 155"/>
                <a:gd name="T18" fmla="*/ 83 w 150"/>
                <a:gd name="T19" fmla="*/ 51 h 155"/>
                <a:gd name="T20" fmla="*/ 91 w 150"/>
                <a:gd name="T21" fmla="*/ 53 h 155"/>
                <a:gd name="T22" fmla="*/ 94 w 150"/>
                <a:gd name="T23" fmla="*/ 48 h 155"/>
                <a:gd name="T24" fmla="*/ 102 w 150"/>
                <a:gd name="T25" fmla="*/ 43 h 155"/>
                <a:gd name="T26" fmla="*/ 104 w 150"/>
                <a:gd name="T27" fmla="*/ 37 h 155"/>
                <a:gd name="T28" fmla="*/ 107 w 150"/>
                <a:gd name="T29" fmla="*/ 35 h 155"/>
                <a:gd name="T30" fmla="*/ 110 w 150"/>
                <a:gd name="T31" fmla="*/ 37 h 155"/>
                <a:gd name="T32" fmla="*/ 115 w 150"/>
                <a:gd name="T33" fmla="*/ 35 h 155"/>
                <a:gd name="T34" fmla="*/ 118 w 150"/>
                <a:gd name="T35" fmla="*/ 29 h 155"/>
                <a:gd name="T36" fmla="*/ 123 w 150"/>
                <a:gd name="T37" fmla="*/ 35 h 155"/>
                <a:gd name="T38" fmla="*/ 118 w 150"/>
                <a:gd name="T39" fmla="*/ 43 h 155"/>
                <a:gd name="T40" fmla="*/ 120 w 150"/>
                <a:gd name="T41" fmla="*/ 53 h 155"/>
                <a:gd name="T42" fmla="*/ 123 w 150"/>
                <a:gd name="T43" fmla="*/ 67 h 155"/>
                <a:gd name="T44" fmla="*/ 128 w 150"/>
                <a:gd name="T45" fmla="*/ 75 h 155"/>
                <a:gd name="T46" fmla="*/ 131 w 150"/>
                <a:gd name="T47" fmla="*/ 83 h 155"/>
                <a:gd name="T48" fmla="*/ 136 w 150"/>
                <a:gd name="T49" fmla="*/ 88 h 155"/>
                <a:gd name="T50" fmla="*/ 144 w 150"/>
                <a:gd name="T51" fmla="*/ 99 h 155"/>
                <a:gd name="T52" fmla="*/ 147 w 150"/>
                <a:gd name="T53" fmla="*/ 104 h 155"/>
                <a:gd name="T54" fmla="*/ 147 w 150"/>
                <a:gd name="T55" fmla="*/ 109 h 155"/>
                <a:gd name="T56" fmla="*/ 147 w 150"/>
                <a:gd name="T57" fmla="*/ 112 h 155"/>
                <a:gd name="T58" fmla="*/ 147 w 150"/>
                <a:gd name="T59" fmla="*/ 115 h 155"/>
                <a:gd name="T60" fmla="*/ 147 w 150"/>
                <a:gd name="T61" fmla="*/ 123 h 155"/>
                <a:gd name="T62" fmla="*/ 144 w 150"/>
                <a:gd name="T63" fmla="*/ 125 h 155"/>
                <a:gd name="T64" fmla="*/ 142 w 150"/>
                <a:gd name="T65" fmla="*/ 131 h 155"/>
                <a:gd name="T66" fmla="*/ 136 w 150"/>
                <a:gd name="T67" fmla="*/ 131 h 155"/>
                <a:gd name="T68" fmla="*/ 134 w 150"/>
                <a:gd name="T69" fmla="*/ 128 h 155"/>
                <a:gd name="T70" fmla="*/ 126 w 150"/>
                <a:gd name="T71" fmla="*/ 133 h 155"/>
                <a:gd name="T72" fmla="*/ 120 w 150"/>
                <a:gd name="T73" fmla="*/ 136 h 155"/>
                <a:gd name="T74" fmla="*/ 115 w 150"/>
                <a:gd name="T75" fmla="*/ 139 h 155"/>
                <a:gd name="T76" fmla="*/ 110 w 150"/>
                <a:gd name="T77" fmla="*/ 144 h 155"/>
                <a:gd name="T78" fmla="*/ 67 w 150"/>
                <a:gd name="T79" fmla="*/ 115 h 155"/>
                <a:gd name="T80" fmla="*/ 32 w 150"/>
                <a:gd name="T81" fmla="*/ 72 h 155"/>
                <a:gd name="T82" fmla="*/ 3 w 150"/>
                <a:gd name="T83" fmla="*/ 27 h 155"/>
                <a:gd name="T84" fmla="*/ 8 w 150"/>
                <a:gd name="T85" fmla="*/ 29 h 155"/>
                <a:gd name="T86" fmla="*/ 16 w 150"/>
                <a:gd name="T87" fmla="*/ 27 h 155"/>
                <a:gd name="T88" fmla="*/ 19 w 150"/>
                <a:gd name="T89" fmla="*/ 29 h 155"/>
                <a:gd name="T90" fmla="*/ 27 w 150"/>
                <a:gd name="T91" fmla="*/ 32 h 155"/>
                <a:gd name="T92" fmla="*/ 35 w 150"/>
                <a:gd name="T93" fmla="*/ 35 h 155"/>
                <a:gd name="T94" fmla="*/ 40 w 150"/>
                <a:gd name="T95" fmla="*/ 37 h 155"/>
                <a:gd name="T96" fmla="*/ 37 w 150"/>
                <a:gd name="T97" fmla="*/ 32 h 155"/>
                <a:gd name="T98" fmla="*/ 32 w 150"/>
                <a:gd name="T99" fmla="*/ 27 h 155"/>
                <a:gd name="T100" fmla="*/ 27 w 150"/>
                <a:gd name="T101" fmla="*/ 24 h 155"/>
                <a:gd name="T102" fmla="*/ 29 w 150"/>
                <a:gd name="T103" fmla="*/ 21 h 155"/>
                <a:gd name="T104" fmla="*/ 24 w 150"/>
                <a:gd name="T105" fmla="*/ 16 h 155"/>
                <a:gd name="T106" fmla="*/ 21 w 150"/>
                <a:gd name="T107" fmla="*/ 21 h 155"/>
                <a:gd name="T108" fmla="*/ 21 w 150"/>
                <a:gd name="T109" fmla="*/ 16 h 155"/>
                <a:gd name="T110" fmla="*/ 32 w 150"/>
                <a:gd name="T111" fmla="*/ 13 h 155"/>
                <a:gd name="T112" fmla="*/ 37 w 150"/>
                <a:gd name="T113" fmla="*/ 3 h 155"/>
                <a:gd name="T114" fmla="*/ 45 w 150"/>
                <a:gd name="T115" fmla="*/ 3 h 155"/>
                <a:gd name="T116" fmla="*/ 51 w 150"/>
                <a:gd name="T117" fmla="*/ 11 h 155"/>
                <a:gd name="T118" fmla="*/ 56 w 150"/>
                <a:gd name="T119" fmla="*/ 13 h 155"/>
                <a:gd name="T120" fmla="*/ 64 w 150"/>
                <a:gd name="T121" fmla="*/ 21 h 155"/>
                <a:gd name="T122" fmla="*/ 83 w 150"/>
                <a:gd name="T123" fmla="*/ 24 h 155"/>
                <a:gd name="T124" fmla="*/ 102 w 150"/>
                <a:gd name="T125" fmla="*/ 2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55" extrusionOk="0">
                  <a:moveTo>
                    <a:pt x="104" y="21"/>
                  </a:moveTo>
                  <a:lnTo>
                    <a:pt x="104" y="21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99" y="21"/>
                  </a:lnTo>
                  <a:lnTo>
                    <a:pt x="99" y="21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1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3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5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5" y="35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0" y="48"/>
                  </a:lnTo>
                  <a:lnTo>
                    <a:pt x="80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3"/>
                  </a:lnTo>
                  <a:lnTo>
                    <a:pt x="88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4" y="53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3"/>
                  </a:lnTo>
                  <a:lnTo>
                    <a:pt x="102" y="43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07" y="35"/>
                  </a:lnTo>
                  <a:lnTo>
                    <a:pt x="107" y="37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20" y="29"/>
                  </a:lnTo>
                  <a:lnTo>
                    <a:pt x="118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3" y="32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20" y="40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18" y="48"/>
                  </a:lnTo>
                  <a:lnTo>
                    <a:pt x="118" y="51"/>
                  </a:lnTo>
                  <a:lnTo>
                    <a:pt x="120" y="51"/>
                  </a:lnTo>
                  <a:lnTo>
                    <a:pt x="120" y="51"/>
                  </a:lnTo>
                  <a:lnTo>
                    <a:pt x="120" y="53"/>
                  </a:lnTo>
                  <a:lnTo>
                    <a:pt x="123" y="56"/>
                  </a:lnTo>
                  <a:lnTo>
                    <a:pt x="123" y="59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4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6" y="72"/>
                  </a:lnTo>
                  <a:lnTo>
                    <a:pt x="126" y="75"/>
                  </a:lnTo>
                  <a:lnTo>
                    <a:pt x="126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6" y="83"/>
                  </a:lnTo>
                  <a:lnTo>
                    <a:pt x="128" y="83"/>
                  </a:lnTo>
                  <a:lnTo>
                    <a:pt x="131" y="83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6" y="88"/>
                  </a:lnTo>
                  <a:lnTo>
                    <a:pt x="136" y="88"/>
                  </a:lnTo>
                  <a:lnTo>
                    <a:pt x="139" y="88"/>
                  </a:lnTo>
                  <a:lnTo>
                    <a:pt x="139" y="91"/>
                  </a:lnTo>
                  <a:lnTo>
                    <a:pt x="142" y="91"/>
                  </a:lnTo>
                  <a:lnTo>
                    <a:pt x="142" y="93"/>
                  </a:lnTo>
                  <a:lnTo>
                    <a:pt x="144" y="96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50" y="99"/>
                  </a:lnTo>
                  <a:lnTo>
                    <a:pt x="150" y="101"/>
                  </a:lnTo>
                  <a:lnTo>
                    <a:pt x="147" y="104"/>
                  </a:lnTo>
                  <a:lnTo>
                    <a:pt x="147" y="107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4" y="109"/>
                  </a:lnTo>
                  <a:lnTo>
                    <a:pt x="144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7" y="115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7" y="117"/>
                  </a:lnTo>
                  <a:lnTo>
                    <a:pt x="147" y="120"/>
                  </a:lnTo>
                  <a:lnTo>
                    <a:pt x="147" y="120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4" y="125"/>
                  </a:lnTo>
                  <a:lnTo>
                    <a:pt x="144" y="125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28"/>
                  </a:lnTo>
                  <a:lnTo>
                    <a:pt x="142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6" y="131"/>
                  </a:lnTo>
                  <a:lnTo>
                    <a:pt x="136" y="131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31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1" y="128"/>
                  </a:lnTo>
                  <a:lnTo>
                    <a:pt x="131" y="128"/>
                  </a:lnTo>
                  <a:lnTo>
                    <a:pt x="128" y="131"/>
                  </a:lnTo>
                  <a:lnTo>
                    <a:pt x="126" y="131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6" y="133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0" y="136"/>
                  </a:lnTo>
                  <a:lnTo>
                    <a:pt x="120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5" y="139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07" y="149"/>
                  </a:lnTo>
                  <a:lnTo>
                    <a:pt x="110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88" y="136"/>
                  </a:lnTo>
                  <a:lnTo>
                    <a:pt x="67" y="115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45" y="91"/>
                  </a:lnTo>
                  <a:lnTo>
                    <a:pt x="40" y="83"/>
                  </a:lnTo>
                  <a:lnTo>
                    <a:pt x="37" y="80"/>
                  </a:lnTo>
                  <a:lnTo>
                    <a:pt x="32" y="72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7" y="64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9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7" y="35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4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2" y="11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3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1" y="21"/>
                  </a:lnTo>
                  <a:lnTo>
                    <a:pt x="64" y="21"/>
                  </a:lnTo>
                  <a:lnTo>
                    <a:pt x="67" y="21"/>
                  </a:lnTo>
                  <a:lnTo>
                    <a:pt x="70" y="24"/>
                  </a:lnTo>
                  <a:lnTo>
                    <a:pt x="72" y="24"/>
                  </a:lnTo>
                  <a:lnTo>
                    <a:pt x="75" y="24"/>
                  </a:lnTo>
                  <a:lnTo>
                    <a:pt x="78" y="24"/>
                  </a:lnTo>
                  <a:lnTo>
                    <a:pt x="83" y="24"/>
                  </a:lnTo>
                  <a:lnTo>
                    <a:pt x="86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1" y="21"/>
                  </a:lnTo>
                  <a:lnTo>
                    <a:pt x="96" y="21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21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3" name="Freeform 8951">
              <a:extLst>
                <a:ext uri="{FF2B5EF4-FFF2-40B4-BE49-F238E27FC236}">
                  <a16:creationId xmlns:a16="http://schemas.microsoft.com/office/drawing/2014/main" id="{A6D851B9-BDAC-B942-9C8A-D8FF8D085A82}"/>
                </a:ext>
              </a:extLst>
            </p:cNvPr>
            <p:cNvSpPr/>
            <p:nvPr/>
          </p:nvSpPr>
          <p:spPr bwMode="auto">
            <a:xfrm>
              <a:off x="881855" y="5011738"/>
              <a:ext cx="152399" cy="250826"/>
            </a:xfrm>
            <a:custGeom>
              <a:avLst/>
              <a:gdLst>
                <a:gd name="T0" fmla="*/ 19 w 96"/>
                <a:gd name="T1" fmla="*/ 16 h 158"/>
                <a:gd name="T2" fmla="*/ 16 w 96"/>
                <a:gd name="T3" fmla="*/ 11 h 158"/>
                <a:gd name="T4" fmla="*/ 16 w 96"/>
                <a:gd name="T5" fmla="*/ 8 h 158"/>
                <a:gd name="T6" fmla="*/ 8 w 96"/>
                <a:gd name="T7" fmla="*/ 8 h 158"/>
                <a:gd name="T8" fmla="*/ 8 w 96"/>
                <a:gd name="T9" fmla="*/ 3 h 158"/>
                <a:gd name="T10" fmla="*/ 3 w 96"/>
                <a:gd name="T11" fmla="*/ 3 h 158"/>
                <a:gd name="T12" fmla="*/ 5 w 96"/>
                <a:gd name="T13" fmla="*/ 11 h 158"/>
                <a:gd name="T14" fmla="*/ 5 w 96"/>
                <a:gd name="T15" fmla="*/ 19 h 158"/>
                <a:gd name="T16" fmla="*/ 13 w 96"/>
                <a:gd name="T17" fmla="*/ 32 h 158"/>
                <a:gd name="T18" fmla="*/ 24 w 96"/>
                <a:gd name="T19" fmla="*/ 38 h 158"/>
                <a:gd name="T20" fmla="*/ 32 w 96"/>
                <a:gd name="T21" fmla="*/ 48 h 158"/>
                <a:gd name="T22" fmla="*/ 43 w 96"/>
                <a:gd name="T23" fmla="*/ 51 h 158"/>
                <a:gd name="T24" fmla="*/ 45 w 96"/>
                <a:gd name="T25" fmla="*/ 43 h 158"/>
                <a:gd name="T26" fmla="*/ 45 w 96"/>
                <a:gd name="T27" fmla="*/ 32 h 158"/>
                <a:gd name="T28" fmla="*/ 53 w 96"/>
                <a:gd name="T29" fmla="*/ 38 h 158"/>
                <a:gd name="T30" fmla="*/ 53 w 96"/>
                <a:gd name="T31" fmla="*/ 40 h 158"/>
                <a:gd name="T32" fmla="*/ 51 w 96"/>
                <a:gd name="T33" fmla="*/ 43 h 158"/>
                <a:gd name="T34" fmla="*/ 53 w 96"/>
                <a:gd name="T35" fmla="*/ 46 h 158"/>
                <a:gd name="T36" fmla="*/ 61 w 96"/>
                <a:gd name="T37" fmla="*/ 48 h 158"/>
                <a:gd name="T38" fmla="*/ 64 w 96"/>
                <a:gd name="T39" fmla="*/ 54 h 158"/>
                <a:gd name="T40" fmla="*/ 61 w 96"/>
                <a:gd name="T41" fmla="*/ 62 h 158"/>
                <a:gd name="T42" fmla="*/ 59 w 96"/>
                <a:gd name="T43" fmla="*/ 64 h 158"/>
                <a:gd name="T44" fmla="*/ 59 w 96"/>
                <a:gd name="T45" fmla="*/ 75 h 158"/>
                <a:gd name="T46" fmla="*/ 51 w 96"/>
                <a:gd name="T47" fmla="*/ 75 h 158"/>
                <a:gd name="T48" fmla="*/ 45 w 96"/>
                <a:gd name="T49" fmla="*/ 80 h 158"/>
                <a:gd name="T50" fmla="*/ 37 w 96"/>
                <a:gd name="T51" fmla="*/ 88 h 158"/>
                <a:gd name="T52" fmla="*/ 32 w 96"/>
                <a:gd name="T53" fmla="*/ 99 h 158"/>
                <a:gd name="T54" fmla="*/ 35 w 96"/>
                <a:gd name="T55" fmla="*/ 110 h 158"/>
                <a:gd name="T56" fmla="*/ 35 w 96"/>
                <a:gd name="T57" fmla="*/ 118 h 158"/>
                <a:gd name="T58" fmla="*/ 29 w 96"/>
                <a:gd name="T59" fmla="*/ 120 h 158"/>
                <a:gd name="T60" fmla="*/ 19 w 96"/>
                <a:gd name="T61" fmla="*/ 115 h 158"/>
                <a:gd name="T62" fmla="*/ 16 w 96"/>
                <a:gd name="T63" fmla="*/ 107 h 158"/>
                <a:gd name="T64" fmla="*/ 13 w 96"/>
                <a:gd name="T65" fmla="*/ 115 h 158"/>
                <a:gd name="T66" fmla="*/ 5 w 96"/>
                <a:gd name="T67" fmla="*/ 120 h 158"/>
                <a:gd name="T68" fmla="*/ 11 w 96"/>
                <a:gd name="T69" fmla="*/ 131 h 158"/>
                <a:gd name="T70" fmla="*/ 13 w 96"/>
                <a:gd name="T71" fmla="*/ 139 h 158"/>
                <a:gd name="T72" fmla="*/ 21 w 96"/>
                <a:gd name="T73" fmla="*/ 145 h 158"/>
                <a:gd name="T74" fmla="*/ 27 w 96"/>
                <a:gd name="T75" fmla="*/ 158 h 158"/>
                <a:gd name="T76" fmla="*/ 35 w 96"/>
                <a:gd name="T77" fmla="*/ 153 h 158"/>
                <a:gd name="T78" fmla="*/ 45 w 96"/>
                <a:gd name="T79" fmla="*/ 145 h 158"/>
                <a:gd name="T80" fmla="*/ 51 w 96"/>
                <a:gd name="T81" fmla="*/ 128 h 158"/>
                <a:gd name="T82" fmla="*/ 61 w 96"/>
                <a:gd name="T83" fmla="*/ 123 h 158"/>
                <a:gd name="T84" fmla="*/ 67 w 96"/>
                <a:gd name="T85" fmla="*/ 110 h 158"/>
                <a:gd name="T86" fmla="*/ 72 w 96"/>
                <a:gd name="T87" fmla="*/ 94 h 158"/>
                <a:gd name="T88" fmla="*/ 86 w 96"/>
                <a:gd name="T89" fmla="*/ 91 h 158"/>
                <a:gd name="T90" fmla="*/ 86 w 96"/>
                <a:gd name="T91" fmla="*/ 107 h 158"/>
                <a:gd name="T92" fmla="*/ 78 w 96"/>
                <a:gd name="T93" fmla="*/ 118 h 158"/>
                <a:gd name="T94" fmla="*/ 86 w 96"/>
                <a:gd name="T95" fmla="*/ 118 h 158"/>
                <a:gd name="T96" fmla="*/ 91 w 96"/>
                <a:gd name="T97" fmla="*/ 104 h 158"/>
                <a:gd name="T98" fmla="*/ 94 w 96"/>
                <a:gd name="T99" fmla="*/ 88 h 158"/>
                <a:gd name="T100" fmla="*/ 94 w 96"/>
                <a:gd name="T101" fmla="*/ 72 h 158"/>
                <a:gd name="T102" fmla="*/ 91 w 96"/>
                <a:gd name="T103" fmla="*/ 56 h 158"/>
                <a:gd name="T104" fmla="*/ 75 w 96"/>
                <a:gd name="T105" fmla="*/ 46 h 158"/>
                <a:gd name="T106" fmla="*/ 72 w 96"/>
                <a:gd name="T107" fmla="*/ 40 h 158"/>
                <a:gd name="T108" fmla="*/ 67 w 96"/>
                <a:gd name="T109" fmla="*/ 30 h 158"/>
                <a:gd name="T110" fmla="*/ 59 w 96"/>
                <a:gd name="T111" fmla="*/ 2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6" h="158" extrusionOk="0">
                  <a:moveTo>
                    <a:pt x="24" y="22"/>
                  </a:moveTo>
                  <a:lnTo>
                    <a:pt x="21" y="22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24" y="40"/>
                  </a:lnTo>
                  <a:lnTo>
                    <a:pt x="27" y="40"/>
                  </a:lnTo>
                  <a:lnTo>
                    <a:pt x="27" y="43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5" y="48"/>
                  </a:lnTo>
                  <a:lnTo>
                    <a:pt x="35" y="51"/>
                  </a:lnTo>
                  <a:lnTo>
                    <a:pt x="37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3" y="48"/>
                  </a:lnTo>
                  <a:lnTo>
                    <a:pt x="43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8" y="51"/>
                  </a:lnTo>
                  <a:lnTo>
                    <a:pt x="48" y="48"/>
                  </a:lnTo>
                  <a:lnTo>
                    <a:pt x="45" y="46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5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1" y="32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3" y="38"/>
                  </a:lnTo>
                  <a:lnTo>
                    <a:pt x="53" y="35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48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6" y="46"/>
                  </a:lnTo>
                  <a:lnTo>
                    <a:pt x="53" y="4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6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4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4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7" y="59"/>
                  </a:lnTo>
                  <a:lnTo>
                    <a:pt x="64" y="59"/>
                  </a:lnTo>
                  <a:lnTo>
                    <a:pt x="64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1" y="67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7"/>
                  </a:lnTo>
                  <a:lnTo>
                    <a:pt x="59" y="70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6" y="75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1" y="72"/>
                  </a:lnTo>
                  <a:lnTo>
                    <a:pt x="51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5" y="80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7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6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5" y="99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2" y="104"/>
                  </a:lnTo>
                  <a:lnTo>
                    <a:pt x="32" y="107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7" y="110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2" y="118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4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19" y="115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07"/>
                  </a:lnTo>
                  <a:lnTo>
                    <a:pt x="21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5" y="120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6"/>
                  </a:lnTo>
                  <a:lnTo>
                    <a:pt x="5" y="128"/>
                  </a:lnTo>
                  <a:lnTo>
                    <a:pt x="8" y="128"/>
                  </a:lnTo>
                  <a:lnTo>
                    <a:pt x="8" y="131"/>
                  </a:lnTo>
                  <a:lnTo>
                    <a:pt x="11" y="131"/>
                  </a:lnTo>
                  <a:lnTo>
                    <a:pt x="11" y="128"/>
                  </a:lnTo>
                  <a:lnTo>
                    <a:pt x="13" y="128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3" y="134"/>
                  </a:lnTo>
                  <a:lnTo>
                    <a:pt x="13" y="136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5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5"/>
                  </a:lnTo>
                  <a:lnTo>
                    <a:pt x="21" y="145"/>
                  </a:lnTo>
                  <a:lnTo>
                    <a:pt x="21" y="147"/>
                  </a:lnTo>
                  <a:lnTo>
                    <a:pt x="19" y="150"/>
                  </a:lnTo>
                  <a:lnTo>
                    <a:pt x="21" y="153"/>
                  </a:lnTo>
                  <a:lnTo>
                    <a:pt x="21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9" y="158"/>
                  </a:lnTo>
                  <a:lnTo>
                    <a:pt x="29" y="155"/>
                  </a:lnTo>
                  <a:lnTo>
                    <a:pt x="32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7" y="150"/>
                  </a:lnTo>
                  <a:lnTo>
                    <a:pt x="40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8" y="139"/>
                  </a:lnTo>
                  <a:lnTo>
                    <a:pt x="48" y="136"/>
                  </a:lnTo>
                  <a:lnTo>
                    <a:pt x="48" y="134"/>
                  </a:lnTo>
                  <a:lnTo>
                    <a:pt x="48" y="131"/>
                  </a:lnTo>
                  <a:lnTo>
                    <a:pt x="51" y="128"/>
                  </a:lnTo>
                  <a:lnTo>
                    <a:pt x="51" y="126"/>
                  </a:lnTo>
                  <a:lnTo>
                    <a:pt x="51" y="126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6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4" y="120"/>
                  </a:lnTo>
                  <a:lnTo>
                    <a:pt x="64" y="118"/>
                  </a:lnTo>
                  <a:lnTo>
                    <a:pt x="64" y="115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4" y="110"/>
                  </a:lnTo>
                  <a:lnTo>
                    <a:pt x="67" y="110"/>
                  </a:lnTo>
                  <a:lnTo>
                    <a:pt x="67" y="107"/>
                  </a:lnTo>
                  <a:lnTo>
                    <a:pt x="70" y="107"/>
                  </a:lnTo>
                  <a:lnTo>
                    <a:pt x="70" y="104"/>
                  </a:lnTo>
                  <a:lnTo>
                    <a:pt x="67" y="102"/>
                  </a:lnTo>
                  <a:lnTo>
                    <a:pt x="70" y="99"/>
                  </a:lnTo>
                  <a:lnTo>
                    <a:pt x="70" y="96"/>
                  </a:lnTo>
                  <a:lnTo>
                    <a:pt x="72" y="94"/>
                  </a:lnTo>
                  <a:lnTo>
                    <a:pt x="75" y="94"/>
                  </a:lnTo>
                  <a:lnTo>
                    <a:pt x="75" y="91"/>
                  </a:lnTo>
                  <a:lnTo>
                    <a:pt x="78" y="91"/>
                  </a:lnTo>
                  <a:lnTo>
                    <a:pt x="78" y="91"/>
                  </a:lnTo>
                  <a:lnTo>
                    <a:pt x="80" y="88"/>
                  </a:lnTo>
                  <a:lnTo>
                    <a:pt x="83" y="88"/>
                  </a:lnTo>
                  <a:lnTo>
                    <a:pt x="86" y="91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6"/>
                  </a:lnTo>
                  <a:lnTo>
                    <a:pt x="86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7"/>
                  </a:lnTo>
                  <a:lnTo>
                    <a:pt x="86" y="110"/>
                  </a:lnTo>
                  <a:lnTo>
                    <a:pt x="83" y="112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3" y="123"/>
                  </a:lnTo>
                  <a:lnTo>
                    <a:pt x="86" y="123"/>
                  </a:lnTo>
                  <a:lnTo>
                    <a:pt x="86" y="120"/>
                  </a:lnTo>
                  <a:lnTo>
                    <a:pt x="86" y="118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91" y="112"/>
                  </a:lnTo>
                  <a:lnTo>
                    <a:pt x="91" y="110"/>
                  </a:lnTo>
                  <a:lnTo>
                    <a:pt x="91" y="110"/>
                  </a:lnTo>
                  <a:lnTo>
                    <a:pt x="91" y="107"/>
                  </a:lnTo>
                  <a:lnTo>
                    <a:pt x="91" y="104"/>
                  </a:lnTo>
                  <a:lnTo>
                    <a:pt x="91" y="102"/>
                  </a:lnTo>
                  <a:lnTo>
                    <a:pt x="91" y="99"/>
                  </a:lnTo>
                  <a:lnTo>
                    <a:pt x="94" y="96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1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3"/>
                  </a:lnTo>
                  <a:lnTo>
                    <a:pt x="96" y="80"/>
                  </a:lnTo>
                  <a:lnTo>
                    <a:pt x="96" y="75"/>
                  </a:lnTo>
                  <a:lnTo>
                    <a:pt x="94" y="75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0"/>
                  </a:lnTo>
                  <a:lnTo>
                    <a:pt x="94" y="67"/>
                  </a:lnTo>
                  <a:lnTo>
                    <a:pt x="94" y="64"/>
                  </a:lnTo>
                  <a:lnTo>
                    <a:pt x="94" y="62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1" y="56"/>
                  </a:lnTo>
                  <a:lnTo>
                    <a:pt x="88" y="51"/>
                  </a:lnTo>
                  <a:lnTo>
                    <a:pt x="86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0" y="51"/>
                  </a:lnTo>
                  <a:lnTo>
                    <a:pt x="78" y="48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2" y="46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0" y="38"/>
                  </a:lnTo>
                  <a:lnTo>
                    <a:pt x="67" y="38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2"/>
                  </a:lnTo>
                  <a:lnTo>
                    <a:pt x="64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4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24" y="22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4" name="Freeform 8952">
              <a:extLst>
                <a:ext uri="{FF2B5EF4-FFF2-40B4-BE49-F238E27FC236}">
                  <a16:creationId xmlns:a16="http://schemas.microsoft.com/office/drawing/2014/main" id="{7A6176FA-BCA2-C241-9856-BB21343B8519}"/>
                </a:ext>
              </a:extLst>
            </p:cNvPr>
            <p:cNvSpPr/>
            <p:nvPr/>
          </p:nvSpPr>
          <p:spPr bwMode="auto">
            <a:xfrm>
              <a:off x="4726779" y="3217863"/>
              <a:ext cx="12700" cy="17463"/>
            </a:xfrm>
            <a:custGeom>
              <a:avLst/>
              <a:gdLst>
                <a:gd name="T0" fmla="*/ 0 w 8"/>
                <a:gd name="T1" fmla="*/ 0 h 11"/>
                <a:gd name="T2" fmla="*/ 0 w 8"/>
                <a:gd name="T3" fmla="*/ 3 h 11"/>
                <a:gd name="T4" fmla="*/ 0 w 8"/>
                <a:gd name="T5" fmla="*/ 3 h 11"/>
                <a:gd name="T6" fmla="*/ 3 w 8"/>
                <a:gd name="T7" fmla="*/ 3 h 11"/>
                <a:gd name="T8" fmla="*/ 3 w 8"/>
                <a:gd name="T9" fmla="*/ 3 h 11"/>
                <a:gd name="T10" fmla="*/ 3 w 8"/>
                <a:gd name="T11" fmla="*/ 3 h 11"/>
                <a:gd name="T12" fmla="*/ 5 w 8"/>
                <a:gd name="T13" fmla="*/ 5 h 11"/>
                <a:gd name="T14" fmla="*/ 5 w 8"/>
                <a:gd name="T15" fmla="*/ 5 h 11"/>
                <a:gd name="T16" fmla="*/ 5 w 8"/>
                <a:gd name="T17" fmla="*/ 8 h 11"/>
                <a:gd name="T18" fmla="*/ 8 w 8"/>
                <a:gd name="T19" fmla="*/ 8 h 11"/>
                <a:gd name="T20" fmla="*/ 8 w 8"/>
                <a:gd name="T21" fmla="*/ 8 h 11"/>
                <a:gd name="T22" fmla="*/ 8 w 8"/>
                <a:gd name="T23" fmla="*/ 8 h 11"/>
                <a:gd name="T24" fmla="*/ 8 w 8"/>
                <a:gd name="T25" fmla="*/ 11 h 11"/>
                <a:gd name="T26" fmla="*/ 8 w 8"/>
                <a:gd name="T27" fmla="*/ 11 h 11"/>
                <a:gd name="T28" fmla="*/ 8 w 8"/>
                <a:gd name="T29" fmla="*/ 11 h 11"/>
                <a:gd name="T30" fmla="*/ 5 w 8"/>
                <a:gd name="T31" fmla="*/ 11 h 11"/>
                <a:gd name="T32" fmla="*/ 5 w 8"/>
                <a:gd name="T33" fmla="*/ 11 h 11"/>
                <a:gd name="T34" fmla="*/ 5 w 8"/>
                <a:gd name="T35" fmla="*/ 8 h 11"/>
                <a:gd name="T36" fmla="*/ 5 w 8"/>
                <a:gd name="T37" fmla="*/ 8 h 11"/>
                <a:gd name="T38" fmla="*/ 3 w 8"/>
                <a:gd name="T39" fmla="*/ 8 h 11"/>
                <a:gd name="T40" fmla="*/ 3 w 8"/>
                <a:gd name="T41" fmla="*/ 8 h 11"/>
                <a:gd name="T42" fmla="*/ 3 w 8"/>
                <a:gd name="T43" fmla="*/ 8 h 11"/>
                <a:gd name="T44" fmla="*/ 0 w 8"/>
                <a:gd name="T45" fmla="*/ 8 h 11"/>
                <a:gd name="T46" fmla="*/ 0 w 8"/>
                <a:gd name="T47" fmla="*/ 8 h 11"/>
                <a:gd name="T48" fmla="*/ 0 w 8"/>
                <a:gd name="T49" fmla="*/ 5 h 11"/>
                <a:gd name="T50" fmla="*/ 0 w 8"/>
                <a:gd name="T51" fmla="*/ 5 h 11"/>
                <a:gd name="T52" fmla="*/ 0 w 8"/>
                <a:gd name="T53" fmla="*/ 5 h 11"/>
                <a:gd name="T54" fmla="*/ 0 w 8"/>
                <a:gd name="T55" fmla="*/ 3 h 11"/>
                <a:gd name="T56" fmla="*/ 0 w 8"/>
                <a:gd name="T57" fmla="*/ 3 h 11"/>
                <a:gd name="T58" fmla="*/ 0 w 8"/>
                <a:gd name="T59" fmla="*/ 3 h 11"/>
                <a:gd name="T60" fmla="*/ 0 w 8"/>
                <a:gd name="T6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11" extrusionOk="0">
                  <a:moveTo>
                    <a:pt x="0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5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5" name="Freeform 8953">
              <a:extLst>
                <a:ext uri="{FF2B5EF4-FFF2-40B4-BE49-F238E27FC236}">
                  <a16:creationId xmlns:a16="http://schemas.microsoft.com/office/drawing/2014/main" id="{33E8A0AF-42A8-8648-BF4E-74E70EF6122B}"/>
                </a:ext>
              </a:extLst>
            </p:cNvPr>
            <p:cNvSpPr/>
            <p:nvPr/>
          </p:nvSpPr>
          <p:spPr bwMode="auto">
            <a:xfrm>
              <a:off x="4688679" y="3222625"/>
              <a:ext cx="7938" cy="12699"/>
            </a:xfrm>
            <a:custGeom>
              <a:avLst/>
              <a:gdLst>
                <a:gd name="T0" fmla="*/ 5 w 5"/>
                <a:gd name="T1" fmla="*/ 0 h 8"/>
                <a:gd name="T2" fmla="*/ 5 w 5"/>
                <a:gd name="T3" fmla="*/ 0 h 8"/>
                <a:gd name="T4" fmla="*/ 3 w 5"/>
                <a:gd name="T5" fmla="*/ 0 h 8"/>
                <a:gd name="T6" fmla="*/ 3 w 5"/>
                <a:gd name="T7" fmla="*/ 0 h 8"/>
                <a:gd name="T8" fmla="*/ 3 w 5"/>
                <a:gd name="T9" fmla="*/ 0 h 8"/>
                <a:gd name="T10" fmla="*/ 0 w 5"/>
                <a:gd name="T11" fmla="*/ 0 h 8"/>
                <a:gd name="T12" fmla="*/ 0 w 5"/>
                <a:gd name="T13" fmla="*/ 2 h 8"/>
                <a:gd name="T14" fmla="*/ 0 w 5"/>
                <a:gd name="T15" fmla="*/ 2 h 8"/>
                <a:gd name="T16" fmla="*/ 0 w 5"/>
                <a:gd name="T17" fmla="*/ 5 h 8"/>
                <a:gd name="T18" fmla="*/ 0 w 5"/>
                <a:gd name="T19" fmla="*/ 5 h 8"/>
                <a:gd name="T20" fmla="*/ 0 w 5"/>
                <a:gd name="T21" fmla="*/ 5 h 8"/>
                <a:gd name="T22" fmla="*/ 3 w 5"/>
                <a:gd name="T23" fmla="*/ 5 h 8"/>
                <a:gd name="T24" fmla="*/ 3 w 5"/>
                <a:gd name="T25" fmla="*/ 5 h 8"/>
                <a:gd name="T26" fmla="*/ 3 w 5"/>
                <a:gd name="T27" fmla="*/ 8 h 8"/>
                <a:gd name="T28" fmla="*/ 5 w 5"/>
                <a:gd name="T29" fmla="*/ 5 h 8"/>
                <a:gd name="T30" fmla="*/ 5 w 5"/>
                <a:gd name="T31" fmla="*/ 5 h 8"/>
                <a:gd name="T32" fmla="*/ 5 w 5"/>
                <a:gd name="T33" fmla="*/ 5 h 8"/>
                <a:gd name="T34" fmla="*/ 5 w 5"/>
                <a:gd name="T35" fmla="*/ 2 h 8"/>
                <a:gd name="T36" fmla="*/ 5 w 5"/>
                <a:gd name="T37" fmla="*/ 2 h 8"/>
                <a:gd name="T38" fmla="*/ 5 w 5"/>
                <a:gd name="T39" fmla="*/ 2 h 8"/>
                <a:gd name="T40" fmla="*/ 5 w 5"/>
                <a:gd name="T41" fmla="*/ 2 h 8"/>
                <a:gd name="T42" fmla="*/ 5 w 5"/>
                <a:gd name="T43" fmla="*/ 0 h 8"/>
                <a:gd name="T44" fmla="*/ 5 w 5"/>
                <a:gd name="T45" fmla="*/ 0 h 8"/>
                <a:gd name="T46" fmla="*/ 5 w 5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8" extrusionOk="0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8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6" name="Freeform 8954">
              <a:extLst>
                <a:ext uri="{FF2B5EF4-FFF2-40B4-BE49-F238E27FC236}">
                  <a16:creationId xmlns:a16="http://schemas.microsoft.com/office/drawing/2014/main" id="{F91552B0-CCF8-0441-BE00-0F6252D23C25}"/>
                </a:ext>
              </a:extLst>
            </p:cNvPr>
            <p:cNvSpPr/>
            <p:nvPr/>
          </p:nvSpPr>
          <p:spPr bwMode="auto">
            <a:xfrm>
              <a:off x="4683917" y="3205163"/>
              <a:ext cx="25399" cy="12699"/>
            </a:xfrm>
            <a:custGeom>
              <a:avLst/>
              <a:gdLst>
                <a:gd name="T0" fmla="*/ 0 w 16"/>
                <a:gd name="T1" fmla="*/ 0 h 8"/>
                <a:gd name="T2" fmla="*/ 0 w 16"/>
                <a:gd name="T3" fmla="*/ 0 h 8"/>
                <a:gd name="T4" fmla="*/ 3 w 16"/>
                <a:gd name="T5" fmla="*/ 0 h 8"/>
                <a:gd name="T6" fmla="*/ 3 w 16"/>
                <a:gd name="T7" fmla="*/ 0 h 8"/>
                <a:gd name="T8" fmla="*/ 6 w 16"/>
                <a:gd name="T9" fmla="*/ 0 h 8"/>
                <a:gd name="T10" fmla="*/ 6 w 16"/>
                <a:gd name="T11" fmla="*/ 0 h 8"/>
                <a:gd name="T12" fmla="*/ 6 w 16"/>
                <a:gd name="T13" fmla="*/ 3 h 8"/>
                <a:gd name="T14" fmla="*/ 6 w 16"/>
                <a:gd name="T15" fmla="*/ 3 h 8"/>
                <a:gd name="T16" fmla="*/ 8 w 16"/>
                <a:gd name="T17" fmla="*/ 3 h 8"/>
                <a:gd name="T18" fmla="*/ 8 w 16"/>
                <a:gd name="T19" fmla="*/ 3 h 8"/>
                <a:gd name="T20" fmla="*/ 8 w 16"/>
                <a:gd name="T21" fmla="*/ 3 h 8"/>
                <a:gd name="T22" fmla="*/ 11 w 16"/>
                <a:gd name="T23" fmla="*/ 3 h 8"/>
                <a:gd name="T24" fmla="*/ 11 w 16"/>
                <a:gd name="T25" fmla="*/ 3 h 8"/>
                <a:gd name="T26" fmla="*/ 14 w 16"/>
                <a:gd name="T27" fmla="*/ 3 h 8"/>
                <a:gd name="T28" fmla="*/ 14 w 16"/>
                <a:gd name="T29" fmla="*/ 3 h 8"/>
                <a:gd name="T30" fmla="*/ 14 w 16"/>
                <a:gd name="T31" fmla="*/ 5 h 8"/>
                <a:gd name="T32" fmla="*/ 14 w 16"/>
                <a:gd name="T33" fmla="*/ 5 h 8"/>
                <a:gd name="T34" fmla="*/ 16 w 16"/>
                <a:gd name="T35" fmla="*/ 5 h 8"/>
                <a:gd name="T36" fmla="*/ 16 w 16"/>
                <a:gd name="T37" fmla="*/ 5 h 8"/>
                <a:gd name="T38" fmla="*/ 14 w 16"/>
                <a:gd name="T39" fmla="*/ 5 h 8"/>
                <a:gd name="T40" fmla="*/ 14 w 16"/>
                <a:gd name="T41" fmla="*/ 5 h 8"/>
                <a:gd name="T42" fmla="*/ 14 w 16"/>
                <a:gd name="T43" fmla="*/ 5 h 8"/>
                <a:gd name="T44" fmla="*/ 14 w 16"/>
                <a:gd name="T45" fmla="*/ 5 h 8"/>
                <a:gd name="T46" fmla="*/ 11 w 16"/>
                <a:gd name="T47" fmla="*/ 5 h 8"/>
                <a:gd name="T48" fmla="*/ 11 w 16"/>
                <a:gd name="T49" fmla="*/ 5 h 8"/>
                <a:gd name="T50" fmla="*/ 11 w 16"/>
                <a:gd name="T51" fmla="*/ 5 h 8"/>
                <a:gd name="T52" fmla="*/ 8 w 16"/>
                <a:gd name="T53" fmla="*/ 8 h 8"/>
                <a:gd name="T54" fmla="*/ 8 w 16"/>
                <a:gd name="T55" fmla="*/ 8 h 8"/>
                <a:gd name="T56" fmla="*/ 8 w 16"/>
                <a:gd name="T57" fmla="*/ 5 h 8"/>
                <a:gd name="T58" fmla="*/ 6 w 16"/>
                <a:gd name="T59" fmla="*/ 5 h 8"/>
                <a:gd name="T60" fmla="*/ 6 w 16"/>
                <a:gd name="T61" fmla="*/ 5 h 8"/>
                <a:gd name="T62" fmla="*/ 6 w 16"/>
                <a:gd name="T63" fmla="*/ 8 h 8"/>
                <a:gd name="T64" fmla="*/ 6 w 16"/>
                <a:gd name="T65" fmla="*/ 8 h 8"/>
                <a:gd name="T66" fmla="*/ 6 w 16"/>
                <a:gd name="T67" fmla="*/ 8 h 8"/>
                <a:gd name="T68" fmla="*/ 6 w 16"/>
                <a:gd name="T69" fmla="*/ 8 h 8"/>
                <a:gd name="T70" fmla="*/ 6 w 16"/>
                <a:gd name="T71" fmla="*/ 8 h 8"/>
                <a:gd name="T72" fmla="*/ 6 w 16"/>
                <a:gd name="T73" fmla="*/ 5 h 8"/>
                <a:gd name="T74" fmla="*/ 3 w 16"/>
                <a:gd name="T75" fmla="*/ 5 h 8"/>
                <a:gd name="T76" fmla="*/ 3 w 16"/>
                <a:gd name="T77" fmla="*/ 5 h 8"/>
                <a:gd name="T78" fmla="*/ 3 w 16"/>
                <a:gd name="T79" fmla="*/ 3 h 8"/>
                <a:gd name="T80" fmla="*/ 3 w 16"/>
                <a:gd name="T81" fmla="*/ 3 h 8"/>
                <a:gd name="T82" fmla="*/ 3 w 16"/>
                <a:gd name="T83" fmla="*/ 3 h 8"/>
                <a:gd name="T84" fmla="*/ 3 w 16"/>
                <a:gd name="T85" fmla="*/ 3 h 8"/>
                <a:gd name="T86" fmla="*/ 3 w 16"/>
                <a:gd name="T87" fmla="*/ 0 h 8"/>
                <a:gd name="T88" fmla="*/ 0 w 16"/>
                <a:gd name="T89" fmla="*/ 0 h 8"/>
                <a:gd name="T90" fmla="*/ 0 w 16"/>
                <a:gd name="T9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6" h="8" extrusionOk="0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7" name="Freeform 8956">
              <a:extLst>
                <a:ext uri="{FF2B5EF4-FFF2-40B4-BE49-F238E27FC236}">
                  <a16:creationId xmlns:a16="http://schemas.microsoft.com/office/drawing/2014/main" id="{BDDDAF6F-8121-9F49-8716-1EBCEF57477A}"/>
                </a:ext>
              </a:extLst>
            </p:cNvPr>
            <p:cNvSpPr/>
            <p:nvPr/>
          </p:nvSpPr>
          <p:spPr bwMode="auto">
            <a:xfrm>
              <a:off x="4747416" y="3251201"/>
              <a:ext cx="47626" cy="30162"/>
            </a:xfrm>
            <a:custGeom>
              <a:avLst/>
              <a:gdLst>
                <a:gd name="T0" fmla="*/ 3 w 30"/>
                <a:gd name="T1" fmla="*/ 0 h 19"/>
                <a:gd name="T2" fmla="*/ 6 w 30"/>
                <a:gd name="T3" fmla="*/ 0 h 19"/>
                <a:gd name="T4" fmla="*/ 6 w 30"/>
                <a:gd name="T5" fmla="*/ 0 h 19"/>
                <a:gd name="T6" fmla="*/ 6 w 30"/>
                <a:gd name="T7" fmla="*/ 3 h 19"/>
                <a:gd name="T8" fmla="*/ 8 w 30"/>
                <a:gd name="T9" fmla="*/ 3 h 19"/>
                <a:gd name="T10" fmla="*/ 8 w 30"/>
                <a:gd name="T11" fmla="*/ 0 h 19"/>
                <a:gd name="T12" fmla="*/ 11 w 30"/>
                <a:gd name="T13" fmla="*/ 0 h 19"/>
                <a:gd name="T14" fmla="*/ 14 w 30"/>
                <a:gd name="T15" fmla="*/ 0 h 19"/>
                <a:gd name="T16" fmla="*/ 16 w 30"/>
                <a:gd name="T17" fmla="*/ 0 h 19"/>
                <a:gd name="T18" fmla="*/ 16 w 30"/>
                <a:gd name="T19" fmla="*/ 0 h 19"/>
                <a:gd name="T20" fmla="*/ 19 w 30"/>
                <a:gd name="T21" fmla="*/ 3 h 19"/>
                <a:gd name="T22" fmla="*/ 22 w 30"/>
                <a:gd name="T23" fmla="*/ 6 h 19"/>
                <a:gd name="T24" fmla="*/ 25 w 30"/>
                <a:gd name="T25" fmla="*/ 8 h 19"/>
                <a:gd name="T26" fmla="*/ 25 w 30"/>
                <a:gd name="T27" fmla="*/ 11 h 19"/>
                <a:gd name="T28" fmla="*/ 27 w 30"/>
                <a:gd name="T29" fmla="*/ 11 h 19"/>
                <a:gd name="T30" fmla="*/ 27 w 30"/>
                <a:gd name="T31" fmla="*/ 14 h 19"/>
                <a:gd name="T32" fmla="*/ 27 w 30"/>
                <a:gd name="T33" fmla="*/ 14 h 19"/>
                <a:gd name="T34" fmla="*/ 27 w 30"/>
                <a:gd name="T35" fmla="*/ 16 h 19"/>
                <a:gd name="T36" fmla="*/ 30 w 30"/>
                <a:gd name="T37" fmla="*/ 16 h 19"/>
                <a:gd name="T38" fmla="*/ 27 w 30"/>
                <a:gd name="T39" fmla="*/ 16 h 19"/>
                <a:gd name="T40" fmla="*/ 27 w 30"/>
                <a:gd name="T41" fmla="*/ 19 h 19"/>
                <a:gd name="T42" fmla="*/ 25 w 30"/>
                <a:gd name="T43" fmla="*/ 19 h 19"/>
                <a:gd name="T44" fmla="*/ 22 w 30"/>
                <a:gd name="T45" fmla="*/ 19 h 19"/>
                <a:gd name="T46" fmla="*/ 19 w 30"/>
                <a:gd name="T47" fmla="*/ 19 h 19"/>
                <a:gd name="T48" fmla="*/ 16 w 30"/>
                <a:gd name="T49" fmla="*/ 19 h 19"/>
                <a:gd name="T50" fmla="*/ 14 w 30"/>
                <a:gd name="T51" fmla="*/ 19 h 19"/>
                <a:gd name="T52" fmla="*/ 14 w 30"/>
                <a:gd name="T53" fmla="*/ 19 h 19"/>
                <a:gd name="T54" fmla="*/ 11 w 30"/>
                <a:gd name="T55" fmla="*/ 16 h 19"/>
                <a:gd name="T56" fmla="*/ 8 w 30"/>
                <a:gd name="T57" fmla="*/ 14 h 19"/>
                <a:gd name="T58" fmla="*/ 6 w 30"/>
                <a:gd name="T59" fmla="*/ 11 h 19"/>
                <a:gd name="T60" fmla="*/ 6 w 30"/>
                <a:gd name="T61" fmla="*/ 8 h 19"/>
                <a:gd name="T62" fmla="*/ 3 w 30"/>
                <a:gd name="T63" fmla="*/ 8 h 19"/>
                <a:gd name="T64" fmla="*/ 3 w 30"/>
                <a:gd name="T65" fmla="*/ 6 h 19"/>
                <a:gd name="T66" fmla="*/ 0 w 30"/>
                <a:gd name="T67" fmla="*/ 3 h 19"/>
                <a:gd name="T68" fmla="*/ 3 w 30"/>
                <a:gd name="T6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19" extrusionOk="0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30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8" name="Freeform 8957">
              <a:extLst>
                <a:ext uri="{FF2B5EF4-FFF2-40B4-BE49-F238E27FC236}">
                  <a16:creationId xmlns:a16="http://schemas.microsoft.com/office/drawing/2014/main" id="{85088FC5-5BB0-F34D-AD3F-C6E5B7E2ADFB}"/>
                </a:ext>
              </a:extLst>
            </p:cNvPr>
            <p:cNvSpPr/>
            <p:nvPr/>
          </p:nvSpPr>
          <p:spPr bwMode="auto">
            <a:xfrm>
              <a:off x="640556" y="4633913"/>
              <a:ext cx="25399" cy="55563"/>
            </a:xfrm>
            <a:custGeom>
              <a:avLst/>
              <a:gdLst>
                <a:gd name="T0" fmla="*/ 3 w 16"/>
                <a:gd name="T1" fmla="*/ 32 h 35"/>
                <a:gd name="T2" fmla="*/ 5 w 16"/>
                <a:gd name="T3" fmla="*/ 30 h 35"/>
                <a:gd name="T4" fmla="*/ 5 w 16"/>
                <a:gd name="T5" fmla="*/ 27 h 35"/>
                <a:gd name="T6" fmla="*/ 3 w 16"/>
                <a:gd name="T7" fmla="*/ 27 h 35"/>
                <a:gd name="T8" fmla="*/ 0 w 16"/>
                <a:gd name="T9" fmla="*/ 27 h 35"/>
                <a:gd name="T10" fmla="*/ 0 w 16"/>
                <a:gd name="T11" fmla="*/ 27 h 35"/>
                <a:gd name="T12" fmla="*/ 0 w 16"/>
                <a:gd name="T13" fmla="*/ 24 h 35"/>
                <a:gd name="T14" fmla="*/ 3 w 16"/>
                <a:gd name="T15" fmla="*/ 24 h 35"/>
                <a:gd name="T16" fmla="*/ 5 w 16"/>
                <a:gd name="T17" fmla="*/ 22 h 35"/>
                <a:gd name="T18" fmla="*/ 5 w 16"/>
                <a:gd name="T19" fmla="*/ 22 h 35"/>
                <a:gd name="T20" fmla="*/ 5 w 16"/>
                <a:gd name="T21" fmla="*/ 19 h 35"/>
                <a:gd name="T22" fmla="*/ 8 w 16"/>
                <a:gd name="T23" fmla="*/ 16 h 35"/>
                <a:gd name="T24" fmla="*/ 11 w 16"/>
                <a:gd name="T25" fmla="*/ 14 h 35"/>
                <a:gd name="T26" fmla="*/ 11 w 16"/>
                <a:gd name="T27" fmla="*/ 11 h 35"/>
                <a:gd name="T28" fmla="*/ 11 w 16"/>
                <a:gd name="T29" fmla="*/ 8 h 35"/>
                <a:gd name="T30" fmla="*/ 8 w 16"/>
                <a:gd name="T31" fmla="*/ 8 h 35"/>
                <a:gd name="T32" fmla="*/ 8 w 16"/>
                <a:gd name="T33" fmla="*/ 8 h 35"/>
                <a:gd name="T34" fmla="*/ 8 w 16"/>
                <a:gd name="T35" fmla="*/ 8 h 35"/>
                <a:gd name="T36" fmla="*/ 8 w 16"/>
                <a:gd name="T37" fmla="*/ 6 h 35"/>
                <a:gd name="T38" fmla="*/ 8 w 16"/>
                <a:gd name="T39" fmla="*/ 6 h 35"/>
                <a:gd name="T40" fmla="*/ 8 w 16"/>
                <a:gd name="T41" fmla="*/ 3 h 35"/>
                <a:gd name="T42" fmla="*/ 8 w 16"/>
                <a:gd name="T43" fmla="*/ 0 h 35"/>
                <a:gd name="T44" fmla="*/ 8 w 16"/>
                <a:gd name="T45" fmla="*/ 0 h 35"/>
                <a:gd name="T46" fmla="*/ 8 w 16"/>
                <a:gd name="T47" fmla="*/ 0 h 35"/>
                <a:gd name="T48" fmla="*/ 11 w 16"/>
                <a:gd name="T49" fmla="*/ 3 h 35"/>
                <a:gd name="T50" fmla="*/ 11 w 16"/>
                <a:gd name="T51" fmla="*/ 3 h 35"/>
                <a:gd name="T52" fmla="*/ 13 w 16"/>
                <a:gd name="T53" fmla="*/ 3 h 35"/>
                <a:gd name="T54" fmla="*/ 13 w 16"/>
                <a:gd name="T55" fmla="*/ 6 h 35"/>
                <a:gd name="T56" fmla="*/ 13 w 16"/>
                <a:gd name="T57" fmla="*/ 6 h 35"/>
                <a:gd name="T58" fmla="*/ 16 w 16"/>
                <a:gd name="T59" fmla="*/ 3 h 35"/>
                <a:gd name="T60" fmla="*/ 16 w 16"/>
                <a:gd name="T61" fmla="*/ 3 h 35"/>
                <a:gd name="T62" fmla="*/ 16 w 16"/>
                <a:gd name="T63" fmla="*/ 6 h 35"/>
                <a:gd name="T64" fmla="*/ 13 w 16"/>
                <a:gd name="T65" fmla="*/ 8 h 35"/>
                <a:gd name="T66" fmla="*/ 11 w 16"/>
                <a:gd name="T67" fmla="*/ 11 h 35"/>
                <a:gd name="T68" fmla="*/ 8 w 16"/>
                <a:gd name="T69" fmla="*/ 22 h 35"/>
                <a:gd name="T70" fmla="*/ 5 w 16"/>
                <a:gd name="T71" fmla="*/ 30 h 35"/>
                <a:gd name="T72" fmla="*/ 5 w 16"/>
                <a:gd name="T7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" h="35" extrusionOk="0">
                  <a:moveTo>
                    <a:pt x="3" y="35"/>
                  </a:moveTo>
                  <a:lnTo>
                    <a:pt x="3" y="32"/>
                  </a:lnTo>
                  <a:lnTo>
                    <a:pt x="3" y="32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" y="24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1" y="11"/>
                  </a:lnTo>
                  <a:lnTo>
                    <a:pt x="11" y="16"/>
                  </a:lnTo>
                  <a:lnTo>
                    <a:pt x="8" y="22"/>
                  </a:lnTo>
                  <a:lnTo>
                    <a:pt x="8" y="27"/>
                  </a:lnTo>
                  <a:lnTo>
                    <a:pt x="5" y="30"/>
                  </a:lnTo>
                  <a:lnTo>
                    <a:pt x="5" y="32"/>
                  </a:lnTo>
                  <a:lnTo>
                    <a:pt x="5" y="35"/>
                  </a:lnTo>
                  <a:lnTo>
                    <a:pt x="3" y="35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39" name="Freeform 8958">
              <a:extLst>
                <a:ext uri="{FF2B5EF4-FFF2-40B4-BE49-F238E27FC236}">
                  <a16:creationId xmlns:a16="http://schemas.microsoft.com/office/drawing/2014/main" id="{D971F011-611A-FE47-BE14-B340C1663C40}"/>
                </a:ext>
              </a:extLst>
            </p:cNvPr>
            <p:cNvSpPr/>
            <p:nvPr/>
          </p:nvSpPr>
          <p:spPr bwMode="auto">
            <a:xfrm>
              <a:off x="678655" y="4651375"/>
              <a:ext cx="38100" cy="7937"/>
            </a:xfrm>
            <a:custGeom>
              <a:avLst/>
              <a:gdLst>
                <a:gd name="T0" fmla="*/ 21 w 24"/>
                <a:gd name="T1" fmla="*/ 3 h 5"/>
                <a:gd name="T2" fmla="*/ 21 w 24"/>
                <a:gd name="T3" fmla="*/ 3 h 5"/>
                <a:gd name="T4" fmla="*/ 16 w 24"/>
                <a:gd name="T5" fmla="*/ 5 h 5"/>
                <a:gd name="T6" fmla="*/ 11 w 24"/>
                <a:gd name="T7" fmla="*/ 5 h 5"/>
                <a:gd name="T8" fmla="*/ 11 w 24"/>
                <a:gd name="T9" fmla="*/ 5 h 5"/>
                <a:gd name="T10" fmla="*/ 8 w 24"/>
                <a:gd name="T11" fmla="*/ 5 h 5"/>
                <a:gd name="T12" fmla="*/ 5 w 24"/>
                <a:gd name="T13" fmla="*/ 5 h 5"/>
                <a:gd name="T14" fmla="*/ 3 w 24"/>
                <a:gd name="T15" fmla="*/ 5 h 5"/>
                <a:gd name="T16" fmla="*/ 0 w 24"/>
                <a:gd name="T17" fmla="*/ 5 h 5"/>
                <a:gd name="T18" fmla="*/ 0 w 24"/>
                <a:gd name="T19" fmla="*/ 3 h 5"/>
                <a:gd name="T20" fmla="*/ 0 w 24"/>
                <a:gd name="T21" fmla="*/ 3 h 5"/>
                <a:gd name="T22" fmla="*/ 0 w 24"/>
                <a:gd name="T23" fmla="*/ 3 h 5"/>
                <a:gd name="T24" fmla="*/ 0 w 24"/>
                <a:gd name="T25" fmla="*/ 3 h 5"/>
                <a:gd name="T26" fmla="*/ 0 w 24"/>
                <a:gd name="T27" fmla="*/ 0 h 5"/>
                <a:gd name="T28" fmla="*/ 3 w 24"/>
                <a:gd name="T29" fmla="*/ 3 h 5"/>
                <a:gd name="T30" fmla="*/ 3 w 24"/>
                <a:gd name="T31" fmla="*/ 3 h 5"/>
                <a:gd name="T32" fmla="*/ 3 w 24"/>
                <a:gd name="T33" fmla="*/ 0 h 5"/>
                <a:gd name="T34" fmla="*/ 5 w 24"/>
                <a:gd name="T35" fmla="*/ 3 h 5"/>
                <a:gd name="T36" fmla="*/ 5 w 24"/>
                <a:gd name="T37" fmla="*/ 3 h 5"/>
                <a:gd name="T38" fmla="*/ 5 w 24"/>
                <a:gd name="T39" fmla="*/ 3 h 5"/>
                <a:gd name="T40" fmla="*/ 8 w 24"/>
                <a:gd name="T41" fmla="*/ 3 h 5"/>
                <a:gd name="T42" fmla="*/ 5 w 24"/>
                <a:gd name="T43" fmla="*/ 0 h 5"/>
                <a:gd name="T44" fmla="*/ 5 w 24"/>
                <a:gd name="T45" fmla="*/ 0 h 5"/>
                <a:gd name="T46" fmla="*/ 5 w 24"/>
                <a:gd name="T47" fmla="*/ 0 h 5"/>
                <a:gd name="T48" fmla="*/ 5 w 24"/>
                <a:gd name="T49" fmla="*/ 0 h 5"/>
                <a:gd name="T50" fmla="*/ 8 w 24"/>
                <a:gd name="T51" fmla="*/ 0 h 5"/>
                <a:gd name="T52" fmla="*/ 8 w 24"/>
                <a:gd name="T53" fmla="*/ 3 h 5"/>
                <a:gd name="T54" fmla="*/ 11 w 24"/>
                <a:gd name="T55" fmla="*/ 3 h 5"/>
                <a:gd name="T56" fmla="*/ 11 w 24"/>
                <a:gd name="T57" fmla="*/ 3 h 5"/>
                <a:gd name="T58" fmla="*/ 13 w 24"/>
                <a:gd name="T59" fmla="*/ 3 h 5"/>
                <a:gd name="T60" fmla="*/ 16 w 24"/>
                <a:gd name="T61" fmla="*/ 3 h 5"/>
                <a:gd name="T62" fmla="*/ 16 w 24"/>
                <a:gd name="T63" fmla="*/ 3 h 5"/>
                <a:gd name="T64" fmla="*/ 19 w 24"/>
                <a:gd name="T65" fmla="*/ 3 h 5"/>
                <a:gd name="T66" fmla="*/ 24 w 24"/>
                <a:gd name="T67" fmla="*/ 0 h 5"/>
                <a:gd name="T68" fmla="*/ 21 w 24"/>
                <a:gd name="T6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5" extrusionOk="0">
                  <a:moveTo>
                    <a:pt x="21" y="3"/>
                  </a:moveTo>
                  <a:lnTo>
                    <a:pt x="21" y="3"/>
                  </a:lnTo>
                  <a:lnTo>
                    <a:pt x="16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8" y="5"/>
                  </a:lnTo>
                  <a:lnTo>
                    <a:pt x="5" y="5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8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9" y="3"/>
                  </a:lnTo>
                  <a:lnTo>
                    <a:pt x="24" y="0"/>
                  </a:lnTo>
                  <a:lnTo>
                    <a:pt x="21" y="3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0" name="Freeform 8959">
              <a:extLst>
                <a:ext uri="{FF2B5EF4-FFF2-40B4-BE49-F238E27FC236}">
                  <a16:creationId xmlns:a16="http://schemas.microsoft.com/office/drawing/2014/main" id="{EF5F6567-22F3-5943-B6A3-987DC8C0A77B}"/>
                </a:ext>
              </a:extLst>
            </p:cNvPr>
            <p:cNvSpPr/>
            <p:nvPr/>
          </p:nvSpPr>
          <p:spPr bwMode="auto">
            <a:xfrm>
              <a:off x="407193" y="4549775"/>
              <a:ext cx="339725" cy="314324"/>
            </a:xfrm>
            <a:custGeom>
              <a:avLst/>
              <a:gdLst>
                <a:gd name="T0" fmla="*/ 93 w 214"/>
                <a:gd name="T1" fmla="*/ 21 h 198"/>
                <a:gd name="T2" fmla="*/ 93 w 214"/>
                <a:gd name="T3" fmla="*/ 27 h 198"/>
                <a:gd name="T4" fmla="*/ 83 w 214"/>
                <a:gd name="T5" fmla="*/ 24 h 198"/>
                <a:gd name="T6" fmla="*/ 72 w 214"/>
                <a:gd name="T7" fmla="*/ 21 h 198"/>
                <a:gd name="T8" fmla="*/ 61 w 214"/>
                <a:gd name="T9" fmla="*/ 13 h 198"/>
                <a:gd name="T10" fmla="*/ 32 w 214"/>
                <a:gd name="T11" fmla="*/ 13 h 198"/>
                <a:gd name="T12" fmla="*/ 27 w 214"/>
                <a:gd name="T13" fmla="*/ 13 h 198"/>
                <a:gd name="T14" fmla="*/ 5 w 214"/>
                <a:gd name="T15" fmla="*/ 11 h 198"/>
                <a:gd name="T16" fmla="*/ 8 w 214"/>
                <a:gd name="T17" fmla="*/ 24 h 198"/>
                <a:gd name="T18" fmla="*/ 24 w 214"/>
                <a:gd name="T19" fmla="*/ 40 h 198"/>
                <a:gd name="T20" fmla="*/ 32 w 214"/>
                <a:gd name="T21" fmla="*/ 61 h 198"/>
                <a:gd name="T22" fmla="*/ 37 w 214"/>
                <a:gd name="T23" fmla="*/ 88 h 198"/>
                <a:gd name="T24" fmla="*/ 21 w 214"/>
                <a:gd name="T25" fmla="*/ 99 h 198"/>
                <a:gd name="T26" fmla="*/ 11 w 214"/>
                <a:gd name="T27" fmla="*/ 109 h 198"/>
                <a:gd name="T28" fmla="*/ 5 w 214"/>
                <a:gd name="T29" fmla="*/ 107 h 198"/>
                <a:gd name="T30" fmla="*/ 5 w 214"/>
                <a:gd name="T31" fmla="*/ 120 h 198"/>
                <a:gd name="T32" fmla="*/ 8 w 214"/>
                <a:gd name="T33" fmla="*/ 136 h 198"/>
                <a:gd name="T34" fmla="*/ 24 w 214"/>
                <a:gd name="T35" fmla="*/ 144 h 198"/>
                <a:gd name="T36" fmla="*/ 40 w 214"/>
                <a:gd name="T37" fmla="*/ 147 h 198"/>
                <a:gd name="T38" fmla="*/ 53 w 214"/>
                <a:gd name="T39" fmla="*/ 147 h 198"/>
                <a:gd name="T40" fmla="*/ 64 w 214"/>
                <a:gd name="T41" fmla="*/ 142 h 198"/>
                <a:gd name="T42" fmla="*/ 80 w 214"/>
                <a:gd name="T43" fmla="*/ 147 h 198"/>
                <a:gd name="T44" fmla="*/ 96 w 214"/>
                <a:gd name="T45" fmla="*/ 152 h 198"/>
                <a:gd name="T46" fmla="*/ 107 w 214"/>
                <a:gd name="T47" fmla="*/ 160 h 198"/>
                <a:gd name="T48" fmla="*/ 123 w 214"/>
                <a:gd name="T49" fmla="*/ 160 h 198"/>
                <a:gd name="T50" fmla="*/ 131 w 214"/>
                <a:gd name="T51" fmla="*/ 158 h 198"/>
                <a:gd name="T52" fmla="*/ 152 w 214"/>
                <a:gd name="T53" fmla="*/ 174 h 198"/>
                <a:gd name="T54" fmla="*/ 163 w 214"/>
                <a:gd name="T55" fmla="*/ 184 h 198"/>
                <a:gd name="T56" fmla="*/ 179 w 214"/>
                <a:gd name="T57" fmla="*/ 195 h 198"/>
                <a:gd name="T58" fmla="*/ 192 w 214"/>
                <a:gd name="T59" fmla="*/ 187 h 198"/>
                <a:gd name="T60" fmla="*/ 195 w 214"/>
                <a:gd name="T61" fmla="*/ 184 h 198"/>
                <a:gd name="T62" fmla="*/ 208 w 214"/>
                <a:gd name="T63" fmla="*/ 187 h 198"/>
                <a:gd name="T64" fmla="*/ 211 w 214"/>
                <a:gd name="T65" fmla="*/ 176 h 198"/>
                <a:gd name="T66" fmla="*/ 200 w 214"/>
                <a:gd name="T67" fmla="*/ 163 h 198"/>
                <a:gd name="T68" fmla="*/ 184 w 214"/>
                <a:gd name="T69" fmla="*/ 160 h 198"/>
                <a:gd name="T70" fmla="*/ 176 w 214"/>
                <a:gd name="T71" fmla="*/ 147 h 198"/>
                <a:gd name="T72" fmla="*/ 168 w 214"/>
                <a:gd name="T73" fmla="*/ 147 h 198"/>
                <a:gd name="T74" fmla="*/ 150 w 214"/>
                <a:gd name="T75" fmla="*/ 147 h 198"/>
                <a:gd name="T76" fmla="*/ 150 w 214"/>
                <a:gd name="T77" fmla="*/ 91 h 198"/>
                <a:gd name="T78" fmla="*/ 147 w 214"/>
                <a:gd name="T79" fmla="*/ 107 h 198"/>
                <a:gd name="T80" fmla="*/ 144 w 214"/>
                <a:gd name="T81" fmla="*/ 128 h 198"/>
                <a:gd name="T82" fmla="*/ 147 w 214"/>
                <a:gd name="T83" fmla="*/ 142 h 198"/>
                <a:gd name="T84" fmla="*/ 139 w 214"/>
                <a:gd name="T85" fmla="*/ 128 h 198"/>
                <a:gd name="T86" fmla="*/ 134 w 214"/>
                <a:gd name="T87" fmla="*/ 118 h 198"/>
                <a:gd name="T88" fmla="*/ 131 w 214"/>
                <a:gd name="T89" fmla="*/ 115 h 198"/>
                <a:gd name="T90" fmla="*/ 144 w 214"/>
                <a:gd name="T91" fmla="*/ 104 h 198"/>
                <a:gd name="T92" fmla="*/ 142 w 214"/>
                <a:gd name="T93" fmla="*/ 91 h 198"/>
                <a:gd name="T94" fmla="*/ 144 w 214"/>
                <a:gd name="T95" fmla="*/ 85 h 198"/>
                <a:gd name="T96" fmla="*/ 142 w 214"/>
                <a:gd name="T97" fmla="*/ 75 h 198"/>
                <a:gd name="T98" fmla="*/ 144 w 214"/>
                <a:gd name="T99" fmla="*/ 69 h 198"/>
                <a:gd name="T100" fmla="*/ 131 w 214"/>
                <a:gd name="T101" fmla="*/ 67 h 198"/>
                <a:gd name="T102" fmla="*/ 142 w 214"/>
                <a:gd name="T103" fmla="*/ 59 h 198"/>
                <a:gd name="T104" fmla="*/ 134 w 214"/>
                <a:gd name="T105" fmla="*/ 59 h 198"/>
                <a:gd name="T106" fmla="*/ 131 w 214"/>
                <a:gd name="T107" fmla="*/ 56 h 198"/>
                <a:gd name="T108" fmla="*/ 134 w 214"/>
                <a:gd name="T109" fmla="*/ 51 h 198"/>
                <a:gd name="T110" fmla="*/ 131 w 214"/>
                <a:gd name="T111" fmla="*/ 45 h 198"/>
                <a:gd name="T112" fmla="*/ 128 w 214"/>
                <a:gd name="T113" fmla="*/ 35 h 198"/>
                <a:gd name="T114" fmla="*/ 123 w 214"/>
                <a:gd name="T115" fmla="*/ 43 h 198"/>
                <a:gd name="T116" fmla="*/ 126 w 214"/>
                <a:gd name="T117" fmla="*/ 37 h 198"/>
                <a:gd name="T118" fmla="*/ 120 w 214"/>
                <a:gd name="T119" fmla="*/ 24 h 198"/>
                <a:gd name="T120" fmla="*/ 115 w 214"/>
                <a:gd name="T121" fmla="*/ 19 h 198"/>
                <a:gd name="T122" fmla="*/ 112 w 214"/>
                <a:gd name="T123" fmla="*/ 11 h 198"/>
                <a:gd name="T124" fmla="*/ 107 w 214"/>
                <a:gd name="T125" fmla="*/ 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198" extrusionOk="0">
                  <a:moveTo>
                    <a:pt x="104" y="8"/>
                  </a:moveTo>
                  <a:lnTo>
                    <a:pt x="104" y="8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1" y="11"/>
                  </a:lnTo>
                  <a:lnTo>
                    <a:pt x="101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6"/>
                  </a:lnTo>
                  <a:lnTo>
                    <a:pt x="96" y="16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3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3" y="27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7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59" y="13"/>
                  </a:lnTo>
                  <a:lnTo>
                    <a:pt x="59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3" y="16"/>
                  </a:lnTo>
                  <a:lnTo>
                    <a:pt x="51" y="16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3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7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19" y="11"/>
                  </a:lnTo>
                  <a:lnTo>
                    <a:pt x="16" y="11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4" y="32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7"/>
                  </a:lnTo>
                  <a:lnTo>
                    <a:pt x="24" y="40"/>
                  </a:lnTo>
                  <a:lnTo>
                    <a:pt x="27" y="43"/>
                  </a:lnTo>
                  <a:lnTo>
                    <a:pt x="27" y="45"/>
                  </a:lnTo>
                  <a:lnTo>
                    <a:pt x="27" y="48"/>
                  </a:lnTo>
                  <a:lnTo>
                    <a:pt x="27" y="51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5" y="61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7" y="64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40" y="72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3"/>
                  </a:lnTo>
                  <a:lnTo>
                    <a:pt x="37" y="83"/>
                  </a:lnTo>
                  <a:lnTo>
                    <a:pt x="37" y="85"/>
                  </a:lnTo>
                  <a:lnTo>
                    <a:pt x="37" y="88"/>
                  </a:lnTo>
                  <a:lnTo>
                    <a:pt x="35" y="88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1" y="96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4"/>
                  </a:lnTo>
                  <a:lnTo>
                    <a:pt x="16" y="104"/>
                  </a:lnTo>
                  <a:lnTo>
                    <a:pt x="16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11" y="109"/>
                  </a:lnTo>
                  <a:lnTo>
                    <a:pt x="11" y="109"/>
                  </a:lnTo>
                  <a:lnTo>
                    <a:pt x="13" y="109"/>
                  </a:lnTo>
                  <a:lnTo>
                    <a:pt x="13" y="109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09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3" y="107"/>
                  </a:lnTo>
                  <a:lnTo>
                    <a:pt x="0" y="107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12"/>
                  </a:lnTo>
                  <a:lnTo>
                    <a:pt x="3" y="115"/>
                  </a:lnTo>
                  <a:lnTo>
                    <a:pt x="3" y="118"/>
                  </a:lnTo>
                  <a:lnTo>
                    <a:pt x="3" y="118"/>
                  </a:lnTo>
                  <a:lnTo>
                    <a:pt x="3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8" y="123"/>
                  </a:lnTo>
                  <a:lnTo>
                    <a:pt x="8" y="126"/>
                  </a:lnTo>
                  <a:lnTo>
                    <a:pt x="5" y="126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5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8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39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9" y="142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4" y="144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4" y="147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7" y="147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5" y="147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48" y="150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1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7"/>
                  </a:lnTo>
                  <a:lnTo>
                    <a:pt x="53" y="144"/>
                  </a:lnTo>
                  <a:lnTo>
                    <a:pt x="53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9" y="144"/>
                  </a:lnTo>
                  <a:lnTo>
                    <a:pt x="59" y="144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7" y="142"/>
                  </a:lnTo>
                  <a:lnTo>
                    <a:pt x="67" y="142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9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5" y="144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80" y="147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5" y="147"/>
                  </a:lnTo>
                  <a:lnTo>
                    <a:pt x="85" y="147"/>
                  </a:lnTo>
                  <a:lnTo>
                    <a:pt x="88" y="147"/>
                  </a:lnTo>
                  <a:lnTo>
                    <a:pt x="88" y="150"/>
                  </a:lnTo>
                  <a:lnTo>
                    <a:pt x="88" y="150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3" y="152"/>
                  </a:lnTo>
                  <a:lnTo>
                    <a:pt x="93" y="152"/>
                  </a:lnTo>
                  <a:lnTo>
                    <a:pt x="96" y="152"/>
                  </a:lnTo>
                  <a:lnTo>
                    <a:pt x="96" y="152"/>
                  </a:lnTo>
                  <a:lnTo>
                    <a:pt x="96" y="155"/>
                  </a:lnTo>
                  <a:lnTo>
                    <a:pt x="99" y="155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3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4" y="163"/>
                  </a:lnTo>
                  <a:lnTo>
                    <a:pt x="107" y="160"/>
                  </a:lnTo>
                  <a:lnTo>
                    <a:pt x="107" y="160"/>
                  </a:lnTo>
                  <a:lnTo>
                    <a:pt x="109" y="160"/>
                  </a:lnTo>
                  <a:lnTo>
                    <a:pt x="109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58"/>
                  </a:lnTo>
                  <a:lnTo>
                    <a:pt x="117" y="158"/>
                  </a:lnTo>
                  <a:lnTo>
                    <a:pt x="120" y="158"/>
                  </a:lnTo>
                  <a:lnTo>
                    <a:pt x="120" y="158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3" y="163"/>
                  </a:lnTo>
                  <a:lnTo>
                    <a:pt x="123" y="163"/>
                  </a:lnTo>
                  <a:lnTo>
                    <a:pt x="126" y="163"/>
                  </a:lnTo>
                  <a:lnTo>
                    <a:pt x="126" y="163"/>
                  </a:lnTo>
                  <a:lnTo>
                    <a:pt x="126" y="163"/>
                  </a:lnTo>
                  <a:lnTo>
                    <a:pt x="123" y="163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4" y="158"/>
                  </a:lnTo>
                  <a:lnTo>
                    <a:pt x="136" y="158"/>
                  </a:lnTo>
                  <a:lnTo>
                    <a:pt x="139" y="158"/>
                  </a:lnTo>
                  <a:lnTo>
                    <a:pt x="142" y="158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7" y="160"/>
                  </a:lnTo>
                  <a:lnTo>
                    <a:pt x="147" y="160"/>
                  </a:lnTo>
                  <a:lnTo>
                    <a:pt x="150" y="163"/>
                  </a:lnTo>
                  <a:lnTo>
                    <a:pt x="150" y="166"/>
                  </a:lnTo>
                  <a:lnTo>
                    <a:pt x="150" y="168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4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2" y="176"/>
                  </a:lnTo>
                  <a:lnTo>
                    <a:pt x="150" y="176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8" y="182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60" y="182"/>
                  </a:lnTo>
                  <a:lnTo>
                    <a:pt x="160" y="184"/>
                  </a:lnTo>
                  <a:lnTo>
                    <a:pt x="163" y="184"/>
                  </a:lnTo>
                  <a:lnTo>
                    <a:pt x="166" y="184"/>
                  </a:lnTo>
                  <a:lnTo>
                    <a:pt x="166" y="187"/>
                  </a:lnTo>
                  <a:lnTo>
                    <a:pt x="168" y="187"/>
                  </a:lnTo>
                  <a:lnTo>
                    <a:pt x="168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2"/>
                  </a:lnTo>
                  <a:lnTo>
                    <a:pt x="171" y="195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6" y="195"/>
                  </a:lnTo>
                  <a:lnTo>
                    <a:pt x="176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82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90" y="198"/>
                  </a:lnTo>
                  <a:lnTo>
                    <a:pt x="190" y="198"/>
                  </a:lnTo>
                  <a:lnTo>
                    <a:pt x="187" y="195"/>
                  </a:lnTo>
                  <a:lnTo>
                    <a:pt x="190" y="195"/>
                  </a:lnTo>
                  <a:lnTo>
                    <a:pt x="190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87"/>
                  </a:lnTo>
                  <a:lnTo>
                    <a:pt x="192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2"/>
                  </a:lnTo>
                  <a:lnTo>
                    <a:pt x="192" y="182"/>
                  </a:lnTo>
                  <a:lnTo>
                    <a:pt x="195" y="182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5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3" y="184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3" y="182"/>
                  </a:lnTo>
                  <a:lnTo>
                    <a:pt x="206" y="182"/>
                  </a:lnTo>
                  <a:lnTo>
                    <a:pt x="206" y="182"/>
                  </a:lnTo>
                  <a:lnTo>
                    <a:pt x="208" y="184"/>
                  </a:lnTo>
                  <a:lnTo>
                    <a:pt x="208" y="184"/>
                  </a:lnTo>
                  <a:lnTo>
                    <a:pt x="208" y="187"/>
                  </a:lnTo>
                  <a:lnTo>
                    <a:pt x="211" y="187"/>
                  </a:lnTo>
                  <a:lnTo>
                    <a:pt x="211" y="187"/>
                  </a:lnTo>
                  <a:lnTo>
                    <a:pt x="214" y="187"/>
                  </a:lnTo>
                  <a:lnTo>
                    <a:pt x="214" y="187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1" y="179"/>
                  </a:lnTo>
                  <a:lnTo>
                    <a:pt x="211" y="176"/>
                  </a:lnTo>
                  <a:lnTo>
                    <a:pt x="211" y="176"/>
                  </a:lnTo>
                  <a:lnTo>
                    <a:pt x="211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0" y="163"/>
                  </a:lnTo>
                  <a:lnTo>
                    <a:pt x="200" y="163"/>
                  </a:lnTo>
                  <a:lnTo>
                    <a:pt x="198" y="163"/>
                  </a:lnTo>
                  <a:lnTo>
                    <a:pt x="198" y="160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0" y="158"/>
                  </a:lnTo>
                  <a:lnTo>
                    <a:pt x="190" y="158"/>
                  </a:lnTo>
                  <a:lnTo>
                    <a:pt x="190" y="158"/>
                  </a:lnTo>
                  <a:lnTo>
                    <a:pt x="187" y="158"/>
                  </a:lnTo>
                  <a:lnTo>
                    <a:pt x="187" y="158"/>
                  </a:lnTo>
                  <a:lnTo>
                    <a:pt x="187" y="160"/>
                  </a:lnTo>
                  <a:lnTo>
                    <a:pt x="184" y="160"/>
                  </a:lnTo>
                  <a:lnTo>
                    <a:pt x="184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79" y="160"/>
                  </a:lnTo>
                  <a:lnTo>
                    <a:pt x="179" y="158"/>
                  </a:lnTo>
                  <a:lnTo>
                    <a:pt x="176" y="158"/>
                  </a:lnTo>
                  <a:lnTo>
                    <a:pt x="176" y="158"/>
                  </a:lnTo>
                  <a:lnTo>
                    <a:pt x="176" y="155"/>
                  </a:lnTo>
                  <a:lnTo>
                    <a:pt x="176" y="155"/>
                  </a:lnTo>
                  <a:lnTo>
                    <a:pt x="176" y="155"/>
                  </a:lnTo>
                  <a:lnTo>
                    <a:pt x="176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6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6" y="144"/>
                  </a:lnTo>
                  <a:lnTo>
                    <a:pt x="176" y="144"/>
                  </a:lnTo>
                  <a:lnTo>
                    <a:pt x="176" y="144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4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68" y="147"/>
                  </a:lnTo>
                  <a:lnTo>
                    <a:pt x="168" y="147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3" y="150"/>
                  </a:lnTo>
                  <a:lnTo>
                    <a:pt x="163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58" y="150"/>
                  </a:lnTo>
                  <a:lnTo>
                    <a:pt x="158" y="147"/>
                  </a:lnTo>
                  <a:lnTo>
                    <a:pt x="155" y="147"/>
                  </a:lnTo>
                  <a:lnTo>
                    <a:pt x="152" y="147"/>
                  </a:lnTo>
                  <a:lnTo>
                    <a:pt x="150" y="147"/>
                  </a:lnTo>
                  <a:lnTo>
                    <a:pt x="150" y="144"/>
                  </a:lnTo>
                  <a:lnTo>
                    <a:pt x="147" y="142"/>
                  </a:lnTo>
                  <a:lnTo>
                    <a:pt x="147" y="139"/>
                  </a:lnTo>
                  <a:lnTo>
                    <a:pt x="147" y="134"/>
                  </a:lnTo>
                  <a:lnTo>
                    <a:pt x="147" y="120"/>
                  </a:lnTo>
                  <a:lnTo>
                    <a:pt x="147" y="112"/>
                  </a:lnTo>
                  <a:lnTo>
                    <a:pt x="150" y="104"/>
                  </a:lnTo>
                  <a:lnTo>
                    <a:pt x="150" y="101"/>
                  </a:lnTo>
                  <a:lnTo>
                    <a:pt x="150" y="99"/>
                  </a:lnTo>
                  <a:lnTo>
                    <a:pt x="150" y="93"/>
                  </a:lnTo>
                  <a:lnTo>
                    <a:pt x="152" y="88"/>
                  </a:lnTo>
                  <a:lnTo>
                    <a:pt x="150" y="88"/>
                  </a:lnTo>
                  <a:lnTo>
                    <a:pt x="150" y="91"/>
                  </a:lnTo>
                  <a:lnTo>
                    <a:pt x="150" y="91"/>
                  </a:lnTo>
                  <a:lnTo>
                    <a:pt x="150" y="91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99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1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7" y="104"/>
                  </a:lnTo>
                  <a:lnTo>
                    <a:pt x="147" y="107"/>
                  </a:lnTo>
                  <a:lnTo>
                    <a:pt x="147" y="107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7" y="112"/>
                  </a:lnTo>
                  <a:lnTo>
                    <a:pt x="147" y="112"/>
                  </a:lnTo>
                  <a:lnTo>
                    <a:pt x="147" y="115"/>
                  </a:lnTo>
                  <a:lnTo>
                    <a:pt x="147" y="118"/>
                  </a:lnTo>
                  <a:lnTo>
                    <a:pt x="147" y="118"/>
                  </a:lnTo>
                  <a:lnTo>
                    <a:pt x="147" y="120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6"/>
                  </a:lnTo>
                  <a:lnTo>
                    <a:pt x="147" y="126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4" y="128"/>
                  </a:lnTo>
                  <a:lnTo>
                    <a:pt x="144" y="131"/>
                  </a:lnTo>
                  <a:lnTo>
                    <a:pt x="147" y="131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6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47" y="142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2" y="136"/>
                  </a:lnTo>
                  <a:lnTo>
                    <a:pt x="139" y="136"/>
                  </a:lnTo>
                  <a:lnTo>
                    <a:pt x="139" y="134"/>
                  </a:lnTo>
                  <a:lnTo>
                    <a:pt x="139" y="131"/>
                  </a:lnTo>
                  <a:lnTo>
                    <a:pt x="139" y="131"/>
                  </a:lnTo>
                  <a:lnTo>
                    <a:pt x="139" y="128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4" y="128"/>
                  </a:lnTo>
                  <a:lnTo>
                    <a:pt x="134" y="126"/>
                  </a:lnTo>
                  <a:lnTo>
                    <a:pt x="134" y="126"/>
                  </a:lnTo>
                  <a:lnTo>
                    <a:pt x="131" y="123"/>
                  </a:lnTo>
                  <a:lnTo>
                    <a:pt x="134" y="123"/>
                  </a:lnTo>
                  <a:lnTo>
                    <a:pt x="134" y="120"/>
                  </a:lnTo>
                  <a:lnTo>
                    <a:pt x="134" y="118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31" y="118"/>
                  </a:lnTo>
                  <a:lnTo>
                    <a:pt x="131" y="120"/>
                  </a:lnTo>
                  <a:lnTo>
                    <a:pt x="131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8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1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4" y="115"/>
                  </a:lnTo>
                  <a:lnTo>
                    <a:pt x="136" y="115"/>
                  </a:lnTo>
                  <a:lnTo>
                    <a:pt x="136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42" y="115"/>
                  </a:lnTo>
                  <a:lnTo>
                    <a:pt x="142" y="115"/>
                  </a:lnTo>
                  <a:lnTo>
                    <a:pt x="142" y="112"/>
                  </a:lnTo>
                  <a:lnTo>
                    <a:pt x="144" y="109"/>
                  </a:lnTo>
                  <a:lnTo>
                    <a:pt x="144" y="107"/>
                  </a:lnTo>
                  <a:lnTo>
                    <a:pt x="144" y="107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4" y="101"/>
                  </a:lnTo>
                  <a:lnTo>
                    <a:pt x="144" y="101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6"/>
                  </a:lnTo>
                  <a:lnTo>
                    <a:pt x="147" y="96"/>
                  </a:lnTo>
                  <a:lnTo>
                    <a:pt x="147" y="96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2" y="93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91"/>
                  </a:lnTo>
                  <a:lnTo>
                    <a:pt x="142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42" y="88"/>
                  </a:lnTo>
                  <a:lnTo>
                    <a:pt x="139" y="85"/>
                  </a:lnTo>
                  <a:lnTo>
                    <a:pt x="142" y="85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5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5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36" y="83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42" y="80"/>
                  </a:lnTo>
                  <a:lnTo>
                    <a:pt x="142" y="80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5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6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42" y="69"/>
                  </a:lnTo>
                  <a:lnTo>
                    <a:pt x="142" y="72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7" y="72"/>
                  </a:lnTo>
                  <a:lnTo>
                    <a:pt x="147" y="72"/>
                  </a:lnTo>
                  <a:lnTo>
                    <a:pt x="147" y="69"/>
                  </a:lnTo>
                  <a:lnTo>
                    <a:pt x="144" y="69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2" y="69"/>
                  </a:lnTo>
                  <a:lnTo>
                    <a:pt x="139" y="69"/>
                  </a:lnTo>
                  <a:lnTo>
                    <a:pt x="136" y="69"/>
                  </a:lnTo>
                  <a:lnTo>
                    <a:pt x="134" y="69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8" y="69"/>
                  </a:lnTo>
                  <a:lnTo>
                    <a:pt x="128" y="67"/>
                  </a:lnTo>
                  <a:lnTo>
                    <a:pt x="126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4" y="67"/>
                  </a:lnTo>
                  <a:lnTo>
                    <a:pt x="136" y="64"/>
                  </a:lnTo>
                  <a:lnTo>
                    <a:pt x="136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7"/>
                  </a:lnTo>
                  <a:lnTo>
                    <a:pt x="142" y="67"/>
                  </a:lnTo>
                  <a:lnTo>
                    <a:pt x="144" y="64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6"/>
                  </a:lnTo>
                  <a:lnTo>
                    <a:pt x="142" y="56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39" y="59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9" y="61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6"/>
                  </a:lnTo>
                  <a:lnTo>
                    <a:pt x="134" y="59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28" y="56"/>
                  </a:lnTo>
                  <a:lnTo>
                    <a:pt x="131" y="56"/>
                  </a:lnTo>
                  <a:lnTo>
                    <a:pt x="128" y="56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4" y="45"/>
                  </a:lnTo>
                  <a:lnTo>
                    <a:pt x="134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28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23" y="45"/>
                  </a:lnTo>
                  <a:lnTo>
                    <a:pt x="123" y="43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32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7" y="24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5" y="27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5" y="13"/>
                  </a:lnTo>
                  <a:lnTo>
                    <a:pt x="115" y="16"/>
                  </a:lnTo>
                  <a:lnTo>
                    <a:pt x="112" y="16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3"/>
                  </a:lnTo>
                  <a:lnTo>
                    <a:pt x="107" y="3"/>
                  </a:lnTo>
                  <a:lnTo>
                    <a:pt x="107" y="5"/>
                  </a:lnTo>
                  <a:lnTo>
                    <a:pt x="107" y="8"/>
                  </a:lnTo>
                  <a:lnTo>
                    <a:pt x="104" y="8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1" name="Freeform 8960">
              <a:extLst>
                <a:ext uri="{FF2B5EF4-FFF2-40B4-BE49-F238E27FC236}">
                  <a16:creationId xmlns:a16="http://schemas.microsoft.com/office/drawing/2014/main" id="{8B9BE733-D7D4-1645-93DF-A2AD908B55DD}"/>
                </a:ext>
              </a:extLst>
            </p:cNvPr>
            <p:cNvSpPr/>
            <p:nvPr/>
          </p:nvSpPr>
          <p:spPr bwMode="auto">
            <a:xfrm>
              <a:off x="7185816" y="5113338"/>
              <a:ext cx="474663" cy="717549"/>
            </a:xfrm>
            <a:custGeom>
              <a:avLst/>
              <a:gdLst>
                <a:gd name="T0" fmla="*/ 37 w 299"/>
                <a:gd name="T1" fmla="*/ 380 h 452"/>
                <a:gd name="T2" fmla="*/ 40 w 299"/>
                <a:gd name="T3" fmla="*/ 388 h 452"/>
                <a:gd name="T4" fmla="*/ 48 w 299"/>
                <a:gd name="T5" fmla="*/ 393 h 452"/>
                <a:gd name="T6" fmla="*/ 59 w 299"/>
                <a:gd name="T7" fmla="*/ 404 h 452"/>
                <a:gd name="T8" fmla="*/ 77 w 299"/>
                <a:gd name="T9" fmla="*/ 407 h 452"/>
                <a:gd name="T10" fmla="*/ 96 w 299"/>
                <a:gd name="T11" fmla="*/ 390 h 452"/>
                <a:gd name="T12" fmla="*/ 109 w 299"/>
                <a:gd name="T13" fmla="*/ 369 h 452"/>
                <a:gd name="T14" fmla="*/ 123 w 299"/>
                <a:gd name="T15" fmla="*/ 342 h 452"/>
                <a:gd name="T16" fmla="*/ 141 w 299"/>
                <a:gd name="T17" fmla="*/ 329 h 452"/>
                <a:gd name="T18" fmla="*/ 155 w 299"/>
                <a:gd name="T19" fmla="*/ 310 h 452"/>
                <a:gd name="T20" fmla="*/ 168 w 299"/>
                <a:gd name="T21" fmla="*/ 292 h 452"/>
                <a:gd name="T22" fmla="*/ 160 w 299"/>
                <a:gd name="T23" fmla="*/ 286 h 452"/>
                <a:gd name="T24" fmla="*/ 168 w 299"/>
                <a:gd name="T25" fmla="*/ 276 h 452"/>
                <a:gd name="T26" fmla="*/ 184 w 299"/>
                <a:gd name="T27" fmla="*/ 257 h 452"/>
                <a:gd name="T28" fmla="*/ 198 w 299"/>
                <a:gd name="T29" fmla="*/ 241 h 452"/>
                <a:gd name="T30" fmla="*/ 206 w 299"/>
                <a:gd name="T31" fmla="*/ 222 h 452"/>
                <a:gd name="T32" fmla="*/ 222 w 299"/>
                <a:gd name="T33" fmla="*/ 203 h 452"/>
                <a:gd name="T34" fmla="*/ 230 w 299"/>
                <a:gd name="T35" fmla="*/ 179 h 452"/>
                <a:gd name="T36" fmla="*/ 235 w 299"/>
                <a:gd name="T37" fmla="*/ 163 h 452"/>
                <a:gd name="T38" fmla="*/ 240 w 299"/>
                <a:gd name="T39" fmla="*/ 137 h 452"/>
                <a:gd name="T40" fmla="*/ 248 w 299"/>
                <a:gd name="T41" fmla="*/ 110 h 452"/>
                <a:gd name="T42" fmla="*/ 254 w 299"/>
                <a:gd name="T43" fmla="*/ 89 h 452"/>
                <a:gd name="T44" fmla="*/ 262 w 299"/>
                <a:gd name="T45" fmla="*/ 70 h 452"/>
                <a:gd name="T46" fmla="*/ 259 w 299"/>
                <a:gd name="T47" fmla="*/ 40 h 452"/>
                <a:gd name="T48" fmla="*/ 264 w 299"/>
                <a:gd name="T49" fmla="*/ 22 h 452"/>
                <a:gd name="T50" fmla="*/ 278 w 299"/>
                <a:gd name="T51" fmla="*/ 3 h 452"/>
                <a:gd name="T52" fmla="*/ 286 w 299"/>
                <a:gd name="T53" fmla="*/ 3 h 452"/>
                <a:gd name="T54" fmla="*/ 294 w 299"/>
                <a:gd name="T55" fmla="*/ 8 h 452"/>
                <a:gd name="T56" fmla="*/ 294 w 299"/>
                <a:gd name="T57" fmla="*/ 24 h 452"/>
                <a:gd name="T58" fmla="*/ 294 w 299"/>
                <a:gd name="T59" fmla="*/ 40 h 452"/>
                <a:gd name="T60" fmla="*/ 294 w 299"/>
                <a:gd name="T61" fmla="*/ 64 h 452"/>
                <a:gd name="T62" fmla="*/ 294 w 299"/>
                <a:gd name="T63" fmla="*/ 86 h 452"/>
                <a:gd name="T64" fmla="*/ 294 w 299"/>
                <a:gd name="T65" fmla="*/ 110 h 452"/>
                <a:gd name="T66" fmla="*/ 291 w 299"/>
                <a:gd name="T67" fmla="*/ 137 h 452"/>
                <a:gd name="T68" fmla="*/ 299 w 299"/>
                <a:gd name="T69" fmla="*/ 158 h 452"/>
                <a:gd name="T70" fmla="*/ 286 w 299"/>
                <a:gd name="T71" fmla="*/ 190 h 452"/>
                <a:gd name="T72" fmla="*/ 286 w 299"/>
                <a:gd name="T73" fmla="*/ 203 h 452"/>
                <a:gd name="T74" fmla="*/ 278 w 299"/>
                <a:gd name="T75" fmla="*/ 214 h 452"/>
                <a:gd name="T76" fmla="*/ 278 w 299"/>
                <a:gd name="T77" fmla="*/ 198 h 452"/>
                <a:gd name="T78" fmla="*/ 262 w 299"/>
                <a:gd name="T79" fmla="*/ 203 h 452"/>
                <a:gd name="T80" fmla="*/ 262 w 299"/>
                <a:gd name="T81" fmla="*/ 225 h 452"/>
                <a:gd name="T82" fmla="*/ 280 w 299"/>
                <a:gd name="T83" fmla="*/ 238 h 452"/>
                <a:gd name="T84" fmla="*/ 264 w 299"/>
                <a:gd name="T85" fmla="*/ 249 h 452"/>
                <a:gd name="T86" fmla="*/ 248 w 299"/>
                <a:gd name="T87" fmla="*/ 265 h 452"/>
                <a:gd name="T88" fmla="*/ 246 w 299"/>
                <a:gd name="T89" fmla="*/ 281 h 452"/>
                <a:gd name="T90" fmla="*/ 227 w 299"/>
                <a:gd name="T91" fmla="*/ 305 h 452"/>
                <a:gd name="T92" fmla="*/ 200 w 299"/>
                <a:gd name="T93" fmla="*/ 318 h 452"/>
                <a:gd name="T94" fmla="*/ 176 w 299"/>
                <a:gd name="T95" fmla="*/ 340 h 452"/>
                <a:gd name="T96" fmla="*/ 163 w 299"/>
                <a:gd name="T97" fmla="*/ 353 h 452"/>
                <a:gd name="T98" fmla="*/ 149 w 299"/>
                <a:gd name="T99" fmla="*/ 356 h 452"/>
                <a:gd name="T100" fmla="*/ 141 w 299"/>
                <a:gd name="T101" fmla="*/ 366 h 452"/>
                <a:gd name="T102" fmla="*/ 139 w 299"/>
                <a:gd name="T103" fmla="*/ 385 h 452"/>
                <a:gd name="T104" fmla="*/ 133 w 299"/>
                <a:gd name="T105" fmla="*/ 404 h 452"/>
                <a:gd name="T106" fmla="*/ 104 w 299"/>
                <a:gd name="T107" fmla="*/ 428 h 452"/>
                <a:gd name="T108" fmla="*/ 64 w 299"/>
                <a:gd name="T109" fmla="*/ 452 h 452"/>
                <a:gd name="T110" fmla="*/ 29 w 299"/>
                <a:gd name="T111" fmla="*/ 449 h 452"/>
                <a:gd name="T112" fmla="*/ 5 w 299"/>
                <a:gd name="T113" fmla="*/ 441 h 452"/>
                <a:gd name="T114" fmla="*/ 21 w 299"/>
                <a:gd name="T115" fmla="*/ 428 h 452"/>
                <a:gd name="T116" fmla="*/ 56 w 299"/>
                <a:gd name="T117" fmla="*/ 415 h 452"/>
                <a:gd name="T118" fmla="*/ 43 w 299"/>
                <a:gd name="T119" fmla="*/ 396 h 452"/>
                <a:gd name="T120" fmla="*/ 37 w 299"/>
                <a:gd name="T121" fmla="*/ 390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9" h="452" extrusionOk="0">
                  <a:moveTo>
                    <a:pt x="29" y="377"/>
                  </a:moveTo>
                  <a:lnTo>
                    <a:pt x="29" y="377"/>
                  </a:lnTo>
                  <a:lnTo>
                    <a:pt x="32" y="377"/>
                  </a:lnTo>
                  <a:lnTo>
                    <a:pt x="32" y="377"/>
                  </a:lnTo>
                  <a:lnTo>
                    <a:pt x="32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0"/>
                  </a:lnTo>
                  <a:lnTo>
                    <a:pt x="35" y="382"/>
                  </a:lnTo>
                  <a:lnTo>
                    <a:pt x="35" y="382"/>
                  </a:lnTo>
                  <a:lnTo>
                    <a:pt x="37" y="382"/>
                  </a:lnTo>
                  <a:lnTo>
                    <a:pt x="37" y="380"/>
                  </a:lnTo>
                  <a:lnTo>
                    <a:pt x="37" y="380"/>
                  </a:lnTo>
                  <a:lnTo>
                    <a:pt x="37" y="380"/>
                  </a:lnTo>
                  <a:lnTo>
                    <a:pt x="37" y="382"/>
                  </a:lnTo>
                  <a:lnTo>
                    <a:pt x="37" y="385"/>
                  </a:lnTo>
                  <a:lnTo>
                    <a:pt x="37" y="385"/>
                  </a:lnTo>
                  <a:lnTo>
                    <a:pt x="40" y="385"/>
                  </a:lnTo>
                  <a:lnTo>
                    <a:pt x="40" y="385"/>
                  </a:lnTo>
                  <a:lnTo>
                    <a:pt x="40" y="382"/>
                  </a:lnTo>
                  <a:lnTo>
                    <a:pt x="40" y="382"/>
                  </a:lnTo>
                  <a:lnTo>
                    <a:pt x="40" y="382"/>
                  </a:lnTo>
                  <a:lnTo>
                    <a:pt x="40" y="385"/>
                  </a:lnTo>
                  <a:lnTo>
                    <a:pt x="40" y="385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43" y="388"/>
                  </a:lnTo>
                  <a:lnTo>
                    <a:pt x="43" y="385"/>
                  </a:lnTo>
                  <a:lnTo>
                    <a:pt x="43" y="388"/>
                  </a:lnTo>
                  <a:lnTo>
                    <a:pt x="43" y="388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3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0"/>
                  </a:lnTo>
                  <a:lnTo>
                    <a:pt x="45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96"/>
                  </a:lnTo>
                  <a:lnTo>
                    <a:pt x="51" y="396"/>
                  </a:lnTo>
                  <a:lnTo>
                    <a:pt x="51" y="396"/>
                  </a:lnTo>
                  <a:lnTo>
                    <a:pt x="51" y="396"/>
                  </a:lnTo>
                  <a:lnTo>
                    <a:pt x="53" y="396"/>
                  </a:lnTo>
                  <a:lnTo>
                    <a:pt x="53" y="396"/>
                  </a:lnTo>
                  <a:lnTo>
                    <a:pt x="53" y="398"/>
                  </a:lnTo>
                  <a:lnTo>
                    <a:pt x="53" y="398"/>
                  </a:lnTo>
                  <a:lnTo>
                    <a:pt x="56" y="401"/>
                  </a:lnTo>
                  <a:lnTo>
                    <a:pt x="56" y="404"/>
                  </a:lnTo>
                  <a:lnTo>
                    <a:pt x="59" y="404"/>
                  </a:lnTo>
                  <a:lnTo>
                    <a:pt x="59" y="404"/>
                  </a:lnTo>
                  <a:lnTo>
                    <a:pt x="59" y="407"/>
                  </a:lnTo>
                  <a:lnTo>
                    <a:pt x="61" y="407"/>
                  </a:lnTo>
                  <a:lnTo>
                    <a:pt x="61" y="407"/>
                  </a:lnTo>
                  <a:lnTo>
                    <a:pt x="61" y="409"/>
                  </a:lnTo>
                  <a:lnTo>
                    <a:pt x="64" y="412"/>
                  </a:lnTo>
                  <a:lnTo>
                    <a:pt x="64" y="415"/>
                  </a:lnTo>
                  <a:lnTo>
                    <a:pt x="67" y="415"/>
                  </a:lnTo>
                  <a:lnTo>
                    <a:pt x="67" y="415"/>
                  </a:lnTo>
                  <a:lnTo>
                    <a:pt x="69" y="412"/>
                  </a:lnTo>
                  <a:lnTo>
                    <a:pt x="72" y="412"/>
                  </a:lnTo>
                  <a:lnTo>
                    <a:pt x="75" y="409"/>
                  </a:lnTo>
                  <a:lnTo>
                    <a:pt x="75" y="409"/>
                  </a:lnTo>
                  <a:lnTo>
                    <a:pt x="77" y="407"/>
                  </a:lnTo>
                  <a:lnTo>
                    <a:pt x="77" y="407"/>
                  </a:lnTo>
                  <a:lnTo>
                    <a:pt x="80" y="407"/>
                  </a:lnTo>
                  <a:lnTo>
                    <a:pt x="83" y="407"/>
                  </a:lnTo>
                  <a:lnTo>
                    <a:pt x="83" y="407"/>
                  </a:lnTo>
                  <a:lnTo>
                    <a:pt x="85" y="404"/>
                  </a:lnTo>
                  <a:lnTo>
                    <a:pt x="85" y="401"/>
                  </a:lnTo>
                  <a:lnTo>
                    <a:pt x="85" y="401"/>
                  </a:lnTo>
                  <a:lnTo>
                    <a:pt x="88" y="398"/>
                  </a:lnTo>
                  <a:lnTo>
                    <a:pt x="91" y="396"/>
                  </a:lnTo>
                  <a:lnTo>
                    <a:pt x="91" y="393"/>
                  </a:lnTo>
                  <a:lnTo>
                    <a:pt x="93" y="393"/>
                  </a:lnTo>
                  <a:lnTo>
                    <a:pt x="93" y="393"/>
                  </a:lnTo>
                  <a:lnTo>
                    <a:pt x="96" y="393"/>
                  </a:lnTo>
                  <a:lnTo>
                    <a:pt x="96" y="390"/>
                  </a:lnTo>
                  <a:lnTo>
                    <a:pt x="96" y="390"/>
                  </a:lnTo>
                  <a:lnTo>
                    <a:pt x="99" y="388"/>
                  </a:lnTo>
                  <a:lnTo>
                    <a:pt x="99" y="388"/>
                  </a:lnTo>
                  <a:lnTo>
                    <a:pt x="101" y="385"/>
                  </a:lnTo>
                  <a:lnTo>
                    <a:pt x="101" y="382"/>
                  </a:lnTo>
                  <a:lnTo>
                    <a:pt x="101" y="382"/>
                  </a:lnTo>
                  <a:lnTo>
                    <a:pt x="104" y="380"/>
                  </a:lnTo>
                  <a:lnTo>
                    <a:pt x="104" y="380"/>
                  </a:lnTo>
                  <a:lnTo>
                    <a:pt x="107" y="374"/>
                  </a:lnTo>
                  <a:lnTo>
                    <a:pt x="107" y="374"/>
                  </a:lnTo>
                  <a:lnTo>
                    <a:pt x="107" y="372"/>
                  </a:lnTo>
                  <a:lnTo>
                    <a:pt x="107" y="369"/>
                  </a:lnTo>
                  <a:lnTo>
                    <a:pt x="107" y="369"/>
                  </a:lnTo>
                  <a:lnTo>
                    <a:pt x="109" y="369"/>
                  </a:lnTo>
                  <a:lnTo>
                    <a:pt x="109" y="366"/>
                  </a:lnTo>
                  <a:lnTo>
                    <a:pt x="109" y="366"/>
                  </a:lnTo>
                  <a:lnTo>
                    <a:pt x="112" y="364"/>
                  </a:lnTo>
                  <a:lnTo>
                    <a:pt x="112" y="364"/>
                  </a:lnTo>
                  <a:lnTo>
                    <a:pt x="112" y="361"/>
                  </a:lnTo>
                  <a:lnTo>
                    <a:pt x="112" y="361"/>
                  </a:lnTo>
                  <a:lnTo>
                    <a:pt x="112" y="358"/>
                  </a:lnTo>
                  <a:lnTo>
                    <a:pt x="115" y="353"/>
                  </a:lnTo>
                  <a:lnTo>
                    <a:pt x="117" y="353"/>
                  </a:lnTo>
                  <a:lnTo>
                    <a:pt x="117" y="350"/>
                  </a:lnTo>
                  <a:lnTo>
                    <a:pt x="117" y="348"/>
                  </a:lnTo>
                  <a:lnTo>
                    <a:pt x="120" y="345"/>
                  </a:lnTo>
                  <a:lnTo>
                    <a:pt x="120" y="345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5" y="342"/>
                  </a:lnTo>
                  <a:lnTo>
                    <a:pt x="125" y="340"/>
                  </a:lnTo>
                  <a:lnTo>
                    <a:pt x="128" y="340"/>
                  </a:lnTo>
                  <a:lnTo>
                    <a:pt x="128" y="340"/>
                  </a:lnTo>
                  <a:lnTo>
                    <a:pt x="131" y="337"/>
                  </a:lnTo>
                  <a:lnTo>
                    <a:pt x="131" y="337"/>
                  </a:lnTo>
                  <a:lnTo>
                    <a:pt x="131" y="337"/>
                  </a:lnTo>
                  <a:lnTo>
                    <a:pt x="133" y="334"/>
                  </a:lnTo>
                  <a:lnTo>
                    <a:pt x="136" y="334"/>
                  </a:lnTo>
                  <a:lnTo>
                    <a:pt x="136" y="332"/>
                  </a:lnTo>
                  <a:lnTo>
                    <a:pt x="139" y="329"/>
                  </a:lnTo>
                  <a:lnTo>
                    <a:pt x="141" y="329"/>
                  </a:lnTo>
                  <a:lnTo>
                    <a:pt x="141" y="329"/>
                  </a:lnTo>
                  <a:lnTo>
                    <a:pt x="144" y="329"/>
                  </a:lnTo>
                  <a:lnTo>
                    <a:pt x="147" y="326"/>
                  </a:lnTo>
                  <a:lnTo>
                    <a:pt x="147" y="324"/>
                  </a:lnTo>
                  <a:lnTo>
                    <a:pt x="149" y="324"/>
                  </a:lnTo>
                  <a:lnTo>
                    <a:pt x="149" y="321"/>
                  </a:lnTo>
                  <a:lnTo>
                    <a:pt x="149" y="318"/>
                  </a:lnTo>
                  <a:lnTo>
                    <a:pt x="152" y="318"/>
                  </a:lnTo>
                  <a:lnTo>
                    <a:pt x="152" y="316"/>
                  </a:lnTo>
                  <a:lnTo>
                    <a:pt x="152" y="316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52" y="313"/>
                  </a:lnTo>
                  <a:lnTo>
                    <a:pt x="155" y="313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60" y="308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2"/>
                  </a:lnTo>
                  <a:lnTo>
                    <a:pt x="160" y="300"/>
                  </a:lnTo>
                  <a:lnTo>
                    <a:pt x="163" y="300"/>
                  </a:lnTo>
                  <a:lnTo>
                    <a:pt x="163" y="294"/>
                  </a:lnTo>
                  <a:lnTo>
                    <a:pt x="166" y="294"/>
                  </a:lnTo>
                  <a:lnTo>
                    <a:pt x="166" y="294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89"/>
                  </a:lnTo>
                  <a:lnTo>
                    <a:pt x="168" y="289"/>
                  </a:lnTo>
                  <a:lnTo>
                    <a:pt x="166" y="289"/>
                  </a:lnTo>
                  <a:lnTo>
                    <a:pt x="166" y="286"/>
                  </a:lnTo>
                  <a:lnTo>
                    <a:pt x="166" y="286"/>
                  </a:lnTo>
                  <a:lnTo>
                    <a:pt x="166" y="286"/>
                  </a:lnTo>
                  <a:lnTo>
                    <a:pt x="163" y="286"/>
                  </a:lnTo>
                  <a:lnTo>
                    <a:pt x="163" y="286"/>
                  </a:lnTo>
                  <a:lnTo>
                    <a:pt x="160" y="289"/>
                  </a:lnTo>
                  <a:lnTo>
                    <a:pt x="160" y="289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6"/>
                  </a:lnTo>
                  <a:lnTo>
                    <a:pt x="160" y="284"/>
                  </a:lnTo>
                  <a:lnTo>
                    <a:pt x="163" y="284"/>
                  </a:lnTo>
                  <a:lnTo>
                    <a:pt x="163" y="284"/>
                  </a:lnTo>
                  <a:lnTo>
                    <a:pt x="160" y="284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6" y="281"/>
                  </a:lnTo>
                  <a:lnTo>
                    <a:pt x="166" y="278"/>
                  </a:lnTo>
                  <a:lnTo>
                    <a:pt x="166" y="278"/>
                  </a:lnTo>
                  <a:lnTo>
                    <a:pt x="166" y="276"/>
                  </a:lnTo>
                  <a:lnTo>
                    <a:pt x="166" y="276"/>
                  </a:lnTo>
                  <a:lnTo>
                    <a:pt x="168" y="276"/>
                  </a:lnTo>
                  <a:lnTo>
                    <a:pt x="168" y="276"/>
                  </a:lnTo>
                  <a:lnTo>
                    <a:pt x="168" y="276"/>
                  </a:lnTo>
                  <a:lnTo>
                    <a:pt x="168" y="273"/>
                  </a:lnTo>
                  <a:lnTo>
                    <a:pt x="171" y="273"/>
                  </a:lnTo>
                  <a:lnTo>
                    <a:pt x="174" y="268"/>
                  </a:lnTo>
                  <a:lnTo>
                    <a:pt x="174" y="268"/>
                  </a:lnTo>
                  <a:lnTo>
                    <a:pt x="174" y="265"/>
                  </a:lnTo>
                  <a:lnTo>
                    <a:pt x="176" y="265"/>
                  </a:lnTo>
                  <a:lnTo>
                    <a:pt x="176" y="262"/>
                  </a:lnTo>
                  <a:lnTo>
                    <a:pt x="179" y="262"/>
                  </a:lnTo>
                  <a:lnTo>
                    <a:pt x="179" y="262"/>
                  </a:lnTo>
                  <a:lnTo>
                    <a:pt x="179" y="260"/>
                  </a:lnTo>
                  <a:lnTo>
                    <a:pt x="182" y="260"/>
                  </a:lnTo>
                  <a:lnTo>
                    <a:pt x="182" y="257"/>
                  </a:lnTo>
                  <a:lnTo>
                    <a:pt x="184" y="257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7" y="254"/>
                  </a:lnTo>
                  <a:lnTo>
                    <a:pt x="187" y="252"/>
                  </a:lnTo>
                  <a:lnTo>
                    <a:pt x="190" y="252"/>
                  </a:lnTo>
                  <a:lnTo>
                    <a:pt x="190" y="249"/>
                  </a:lnTo>
                  <a:lnTo>
                    <a:pt x="192" y="249"/>
                  </a:lnTo>
                  <a:lnTo>
                    <a:pt x="192" y="249"/>
                  </a:lnTo>
                  <a:lnTo>
                    <a:pt x="195" y="246"/>
                  </a:lnTo>
                  <a:lnTo>
                    <a:pt x="195" y="246"/>
                  </a:lnTo>
                  <a:lnTo>
                    <a:pt x="195" y="246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8" y="241"/>
                  </a:lnTo>
                  <a:lnTo>
                    <a:pt x="200" y="241"/>
                  </a:lnTo>
                  <a:lnTo>
                    <a:pt x="198" y="241"/>
                  </a:lnTo>
                  <a:lnTo>
                    <a:pt x="198" y="238"/>
                  </a:lnTo>
                  <a:lnTo>
                    <a:pt x="198" y="238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200" y="233"/>
                  </a:lnTo>
                  <a:lnTo>
                    <a:pt x="200" y="230"/>
                  </a:lnTo>
                  <a:lnTo>
                    <a:pt x="200" y="230"/>
                  </a:lnTo>
                  <a:lnTo>
                    <a:pt x="200" y="227"/>
                  </a:lnTo>
                  <a:lnTo>
                    <a:pt x="200" y="225"/>
                  </a:lnTo>
                  <a:lnTo>
                    <a:pt x="200" y="222"/>
                  </a:lnTo>
                  <a:lnTo>
                    <a:pt x="203" y="222"/>
                  </a:lnTo>
                  <a:lnTo>
                    <a:pt x="206" y="222"/>
                  </a:lnTo>
                  <a:lnTo>
                    <a:pt x="206" y="219"/>
                  </a:lnTo>
                  <a:lnTo>
                    <a:pt x="208" y="217"/>
                  </a:lnTo>
                  <a:lnTo>
                    <a:pt x="208" y="217"/>
                  </a:lnTo>
                  <a:lnTo>
                    <a:pt x="211" y="214"/>
                  </a:lnTo>
                  <a:lnTo>
                    <a:pt x="211" y="211"/>
                  </a:lnTo>
                  <a:lnTo>
                    <a:pt x="214" y="211"/>
                  </a:lnTo>
                  <a:lnTo>
                    <a:pt x="214" y="209"/>
                  </a:lnTo>
                  <a:lnTo>
                    <a:pt x="216" y="209"/>
                  </a:lnTo>
                  <a:lnTo>
                    <a:pt x="216" y="206"/>
                  </a:lnTo>
                  <a:lnTo>
                    <a:pt x="219" y="206"/>
                  </a:lnTo>
                  <a:lnTo>
                    <a:pt x="219" y="206"/>
                  </a:lnTo>
                  <a:lnTo>
                    <a:pt x="219" y="203"/>
                  </a:lnTo>
                  <a:lnTo>
                    <a:pt x="222" y="203"/>
                  </a:lnTo>
                  <a:lnTo>
                    <a:pt x="222" y="203"/>
                  </a:lnTo>
                  <a:lnTo>
                    <a:pt x="224" y="201"/>
                  </a:lnTo>
                  <a:lnTo>
                    <a:pt x="224" y="201"/>
                  </a:lnTo>
                  <a:lnTo>
                    <a:pt x="224" y="198"/>
                  </a:lnTo>
                  <a:lnTo>
                    <a:pt x="227" y="198"/>
                  </a:lnTo>
                  <a:lnTo>
                    <a:pt x="227" y="195"/>
                  </a:lnTo>
                  <a:lnTo>
                    <a:pt x="227" y="193"/>
                  </a:lnTo>
                  <a:lnTo>
                    <a:pt x="227" y="187"/>
                  </a:lnTo>
                  <a:lnTo>
                    <a:pt x="227" y="187"/>
                  </a:lnTo>
                  <a:lnTo>
                    <a:pt x="230" y="185"/>
                  </a:lnTo>
                  <a:lnTo>
                    <a:pt x="230" y="185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79"/>
                  </a:lnTo>
                  <a:lnTo>
                    <a:pt x="230" y="179"/>
                  </a:lnTo>
                  <a:lnTo>
                    <a:pt x="230" y="177"/>
                  </a:lnTo>
                  <a:lnTo>
                    <a:pt x="230" y="177"/>
                  </a:lnTo>
                  <a:lnTo>
                    <a:pt x="230" y="174"/>
                  </a:lnTo>
                  <a:lnTo>
                    <a:pt x="230" y="174"/>
                  </a:lnTo>
                  <a:lnTo>
                    <a:pt x="230" y="174"/>
                  </a:lnTo>
                  <a:lnTo>
                    <a:pt x="230" y="171"/>
                  </a:lnTo>
                  <a:lnTo>
                    <a:pt x="232" y="171"/>
                  </a:lnTo>
                  <a:lnTo>
                    <a:pt x="232" y="169"/>
                  </a:lnTo>
                  <a:lnTo>
                    <a:pt x="232" y="169"/>
                  </a:lnTo>
                  <a:lnTo>
                    <a:pt x="232" y="169"/>
                  </a:lnTo>
                  <a:lnTo>
                    <a:pt x="232" y="166"/>
                  </a:lnTo>
                  <a:lnTo>
                    <a:pt x="235" y="163"/>
                  </a:lnTo>
                  <a:lnTo>
                    <a:pt x="235" y="163"/>
                  </a:lnTo>
                  <a:lnTo>
                    <a:pt x="235" y="163"/>
                  </a:lnTo>
                  <a:lnTo>
                    <a:pt x="235" y="161"/>
                  </a:lnTo>
                  <a:lnTo>
                    <a:pt x="235" y="158"/>
                  </a:lnTo>
                  <a:lnTo>
                    <a:pt x="238" y="158"/>
                  </a:lnTo>
                  <a:lnTo>
                    <a:pt x="238" y="155"/>
                  </a:lnTo>
                  <a:lnTo>
                    <a:pt x="238" y="155"/>
                  </a:lnTo>
                  <a:lnTo>
                    <a:pt x="238" y="153"/>
                  </a:lnTo>
                  <a:lnTo>
                    <a:pt x="240" y="150"/>
                  </a:lnTo>
                  <a:lnTo>
                    <a:pt x="240" y="150"/>
                  </a:lnTo>
                  <a:lnTo>
                    <a:pt x="238" y="147"/>
                  </a:lnTo>
                  <a:lnTo>
                    <a:pt x="240" y="145"/>
                  </a:lnTo>
                  <a:lnTo>
                    <a:pt x="240" y="145"/>
                  </a:lnTo>
                  <a:lnTo>
                    <a:pt x="238" y="142"/>
                  </a:lnTo>
                  <a:lnTo>
                    <a:pt x="240" y="13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4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6" y="129"/>
                  </a:lnTo>
                  <a:lnTo>
                    <a:pt x="246" y="126"/>
                  </a:lnTo>
                  <a:lnTo>
                    <a:pt x="246" y="123"/>
                  </a:lnTo>
                  <a:lnTo>
                    <a:pt x="248" y="123"/>
                  </a:lnTo>
                  <a:lnTo>
                    <a:pt x="248" y="121"/>
                  </a:lnTo>
                  <a:lnTo>
                    <a:pt x="248" y="118"/>
                  </a:lnTo>
                  <a:lnTo>
                    <a:pt x="248" y="115"/>
                  </a:lnTo>
                  <a:lnTo>
                    <a:pt x="248" y="115"/>
                  </a:lnTo>
                  <a:lnTo>
                    <a:pt x="248" y="113"/>
                  </a:lnTo>
                  <a:lnTo>
                    <a:pt x="248" y="110"/>
                  </a:lnTo>
                  <a:lnTo>
                    <a:pt x="248" y="107"/>
                  </a:lnTo>
                  <a:lnTo>
                    <a:pt x="251" y="107"/>
                  </a:lnTo>
                  <a:lnTo>
                    <a:pt x="251" y="107"/>
                  </a:lnTo>
                  <a:lnTo>
                    <a:pt x="251" y="105"/>
                  </a:lnTo>
                  <a:lnTo>
                    <a:pt x="251" y="102"/>
                  </a:lnTo>
                  <a:lnTo>
                    <a:pt x="251" y="102"/>
                  </a:lnTo>
                  <a:lnTo>
                    <a:pt x="251" y="99"/>
                  </a:lnTo>
                  <a:lnTo>
                    <a:pt x="254" y="99"/>
                  </a:lnTo>
                  <a:lnTo>
                    <a:pt x="254" y="97"/>
                  </a:lnTo>
                  <a:lnTo>
                    <a:pt x="254" y="94"/>
                  </a:lnTo>
                  <a:lnTo>
                    <a:pt x="254" y="94"/>
                  </a:lnTo>
                  <a:lnTo>
                    <a:pt x="254" y="91"/>
                  </a:lnTo>
                  <a:lnTo>
                    <a:pt x="254" y="91"/>
                  </a:lnTo>
                  <a:lnTo>
                    <a:pt x="254" y="89"/>
                  </a:lnTo>
                  <a:lnTo>
                    <a:pt x="254" y="89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56" y="83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9" y="81"/>
                  </a:lnTo>
                  <a:lnTo>
                    <a:pt x="262" y="81"/>
                  </a:lnTo>
                  <a:lnTo>
                    <a:pt x="262" y="78"/>
                  </a:lnTo>
                  <a:lnTo>
                    <a:pt x="262" y="78"/>
                  </a:lnTo>
                  <a:lnTo>
                    <a:pt x="262" y="75"/>
                  </a:lnTo>
                  <a:lnTo>
                    <a:pt x="259" y="75"/>
                  </a:lnTo>
                  <a:lnTo>
                    <a:pt x="262" y="70"/>
                  </a:lnTo>
                  <a:lnTo>
                    <a:pt x="262" y="70"/>
                  </a:lnTo>
                  <a:lnTo>
                    <a:pt x="262" y="67"/>
                  </a:lnTo>
                  <a:lnTo>
                    <a:pt x="262" y="64"/>
                  </a:lnTo>
                  <a:lnTo>
                    <a:pt x="262" y="62"/>
                  </a:lnTo>
                  <a:lnTo>
                    <a:pt x="262" y="59"/>
                  </a:lnTo>
                  <a:lnTo>
                    <a:pt x="262" y="54"/>
                  </a:lnTo>
                  <a:lnTo>
                    <a:pt x="262" y="51"/>
                  </a:lnTo>
                  <a:lnTo>
                    <a:pt x="262" y="51"/>
                  </a:lnTo>
                  <a:lnTo>
                    <a:pt x="262" y="48"/>
                  </a:lnTo>
                  <a:lnTo>
                    <a:pt x="262" y="46"/>
                  </a:lnTo>
                  <a:lnTo>
                    <a:pt x="262" y="46"/>
                  </a:lnTo>
                  <a:lnTo>
                    <a:pt x="264" y="43"/>
                  </a:lnTo>
                  <a:lnTo>
                    <a:pt x="262" y="43"/>
                  </a:lnTo>
                  <a:lnTo>
                    <a:pt x="262" y="40"/>
                  </a:lnTo>
                  <a:lnTo>
                    <a:pt x="259" y="40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8"/>
                  </a:lnTo>
                  <a:lnTo>
                    <a:pt x="259" y="35"/>
                  </a:lnTo>
                  <a:lnTo>
                    <a:pt x="259" y="32"/>
                  </a:lnTo>
                  <a:lnTo>
                    <a:pt x="259" y="32"/>
                  </a:lnTo>
                  <a:lnTo>
                    <a:pt x="256" y="30"/>
                  </a:lnTo>
                  <a:lnTo>
                    <a:pt x="259" y="30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62" y="24"/>
                  </a:lnTo>
                  <a:lnTo>
                    <a:pt x="262" y="24"/>
                  </a:lnTo>
                  <a:lnTo>
                    <a:pt x="264" y="24"/>
                  </a:lnTo>
                  <a:lnTo>
                    <a:pt x="264" y="22"/>
                  </a:lnTo>
                  <a:lnTo>
                    <a:pt x="264" y="22"/>
                  </a:lnTo>
                  <a:lnTo>
                    <a:pt x="267" y="19"/>
                  </a:lnTo>
                  <a:lnTo>
                    <a:pt x="267" y="19"/>
                  </a:lnTo>
                  <a:lnTo>
                    <a:pt x="267" y="16"/>
                  </a:lnTo>
                  <a:lnTo>
                    <a:pt x="267" y="16"/>
                  </a:lnTo>
                  <a:lnTo>
                    <a:pt x="270" y="14"/>
                  </a:lnTo>
                  <a:lnTo>
                    <a:pt x="270" y="11"/>
                  </a:lnTo>
                  <a:lnTo>
                    <a:pt x="272" y="8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5" y="6"/>
                  </a:lnTo>
                  <a:lnTo>
                    <a:pt x="278" y="6"/>
                  </a:lnTo>
                  <a:lnTo>
                    <a:pt x="278" y="3"/>
                  </a:lnTo>
                  <a:lnTo>
                    <a:pt x="278" y="3"/>
                  </a:lnTo>
                  <a:lnTo>
                    <a:pt x="278" y="3"/>
                  </a:lnTo>
                  <a:lnTo>
                    <a:pt x="280" y="3"/>
                  </a:lnTo>
                  <a:lnTo>
                    <a:pt x="280" y="0"/>
                  </a:lnTo>
                  <a:lnTo>
                    <a:pt x="280" y="3"/>
                  </a:lnTo>
                  <a:lnTo>
                    <a:pt x="280" y="3"/>
                  </a:lnTo>
                  <a:lnTo>
                    <a:pt x="280" y="0"/>
                  </a:lnTo>
                  <a:lnTo>
                    <a:pt x="280" y="3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8" y="0"/>
                  </a:lnTo>
                  <a:lnTo>
                    <a:pt x="288" y="0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88" y="3"/>
                  </a:lnTo>
                  <a:lnTo>
                    <a:pt x="291" y="3"/>
                  </a:lnTo>
                  <a:lnTo>
                    <a:pt x="291" y="3"/>
                  </a:lnTo>
                  <a:lnTo>
                    <a:pt x="291" y="6"/>
                  </a:lnTo>
                  <a:lnTo>
                    <a:pt x="291" y="6"/>
                  </a:lnTo>
                  <a:lnTo>
                    <a:pt x="294" y="6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4" y="8"/>
                  </a:lnTo>
                  <a:lnTo>
                    <a:pt x="296" y="8"/>
                  </a:lnTo>
                  <a:lnTo>
                    <a:pt x="296" y="8"/>
                  </a:lnTo>
                  <a:lnTo>
                    <a:pt x="299" y="11"/>
                  </a:lnTo>
                  <a:lnTo>
                    <a:pt x="296" y="11"/>
                  </a:lnTo>
                  <a:lnTo>
                    <a:pt x="296" y="11"/>
                  </a:lnTo>
                  <a:lnTo>
                    <a:pt x="296" y="14"/>
                  </a:lnTo>
                  <a:lnTo>
                    <a:pt x="296" y="16"/>
                  </a:lnTo>
                  <a:lnTo>
                    <a:pt x="294" y="19"/>
                  </a:lnTo>
                  <a:lnTo>
                    <a:pt x="294" y="22"/>
                  </a:lnTo>
                  <a:lnTo>
                    <a:pt x="294" y="22"/>
                  </a:lnTo>
                  <a:lnTo>
                    <a:pt x="291" y="24"/>
                  </a:lnTo>
                  <a:lnTo>
                    <a:pt x="291" y="24"/>
                  </a:lnTo>
                  <a:lnTo>
                    <a:pt x="294" y="24"/>
                  </a:lnTo>
                  <a:lnTo>
                    <a:pt x="294" y="24"/>
                  </a:lnTo>
                  <a:lnTo>
                    <a:pt x="294" y="27"/>
                  </a:lnTo>
                  <a:lnTo>
                    <a:pt x="294" y="27"/>
                  </a:lnTo>
                  <a:lnTo>
                    <a:pt x="294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6" y="32"/>
                  </a:lnTo>
                  <a:lnTo>
                    <a:pt x="296" y="35"/>
                  </a:lnTo>
                  <a:lnTo>
                    <a:pt x="294" y="35"/>
                  </a:lnTo>
                  <a:lnTo>
                    <a:pt x="294" y="38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43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8"/>
                  </a:lnTo>
                  <a:lnTo>
                    <a:pt x="294" y="51"/>
                  </a:lnTo>
                  <a:lnTo>
                    <a:pt x="294" y="51"/>
                  </a:lnTo>
                  <a:lnTo>
                    <a:pt x="296" y="54"/>
                  </a:lnTo>
                  <a:lnTo>
                    <a:pt x="296" y="56"/>
                  </a:lnTo>
                  <a:lnTo>
                    <a:pt x="294" y="56"/>
                  </a:lnTo>
                  <a:lnTo>
                    <a:pt x="294" y="59"/>
                  </a:lnTo>
                  <a:lnTo>
                    <a:pt x="294" y="59"/>
                  </a:lnTo>
                  <a:lnTo>
                    <a:pt x="291" y="62"/>
                  </a:lnTo>
                  <a:lnTo>
                    <a:pt x="294" y="62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7"/>
                  </a:lnTo>
                  <a:lnTo>
                    <a:pt x="294" y="67"/>
                  </a:lnTo>
                  <a:lnTo>
                    <a:pt x="296" y="70"/>
                  </a:lnTo>
                  <a:lnTo>
                    <a:pt x="296" y="70"/>
                  </a:lnTo>
                  <a:lnTo>
                    <a:pt x="296" y="72"/>
                  </a:lnTo>
                  <a:lnTo>
                    <a:pt x="296" y="75"/>
                  </a:lnTo>
                  <a:lnTo>
                    <a:pt x="294" y="78"/>
                  </a:lnTo>
                  <a:lnTo>
                    <a:pt x="294" y="78"/>
                  </a:lnTo>
                  <a:lnTo>
                    <a:pt x="294" y="81"/>
                  </a:lnTo>
                  <a:lnTo>
                    <a:pt x="294" y="81"/>
                  </a:lnTo>
                  <a:lnTo>
                    <a:pt x="294" y="83"/>
                  </a:lnTo>
                  <a:lnTo>
                    <a:pt x="294" y="83"/>
                  </a:lnTo>
                  <a:lnTo>
                    <a:pt x="294" y="86"/>
                  </a:lnTo>
                  <a:lnTo>
                    <a:pt x="294" y="86"/>
                  </a:lnTo>
                  <a:lnTo>
                    <a:pt x="294" y="89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4" y="91"/>
                  </a:lnTo>
                  <a:lnTo>
                    <a:pt x="296" y="94"/>
                  </a:lnTo>
                  <a:lnTo>
                    <a:pt x="294" y="97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102"/>
                  </a:lnTo>
                  <a:lnTo>
                    <a:pt x="294" y="105"/>
                  </a:lnTo>
                  <a:lnTo>
                    <a:pt x="294" y="107"/>
                  </a:lnTo>
                  <a:lnTo>
                    <a:pt x="294" y="110"/>
                  </a:lnTo>
                  <a:lnTo>
                    <a:pt x="294" y="110"/>
                  </a:lnTo>
                  <a:lnTo>
                    <a:pt x="291" y="110"/>
                  </a:lnTo>
                  <a:lnTo>
                    <a:pt x="291" y="113"/>
                  </a:lnTo>
                  <a:lnTo>
                    <a:pt x="291" y="115"/>
                  </a:lnTo>
                  <a:lnTo>
                    <a:pt x="291" y="115"/>
                  </a:lnTo>
                  <a:lnTo>
                    <a:pt x="291" y="118"/>
                  </a:lnTo>
                  <a:lnTo>
                    <a:pt x="291" y="121"/>
                  </a:lnTo>
                  <a:lnTo>
                    <a:pt x="291" y="123"/>
                  </a:lnTo>
                  <a:lnTo>
                    <a:pt x="291" y="126"/>
                  </a:lnTo>
                  <a:lnTo>
                    <a:pt x="291" y="129"/>
                  </a:lnTo>
                  <a:lnTo>
                    <a:pt x="291" y="131"/>
                  </a:lnTo>
                  <a:lnTo>
                    <a:pt x="291" y="131"/>
                  </a:lnTo>
                  <a:lnTo>
                    <a:pt x="291" y="134"/>
                  </a:lnTo>
                  <a:lnTo>
                    <a:pt x="291" y="137"/>
                  </a:lnTo>
                  <a:lnTo>
                    <a:pt x="291" y="137"/>
                  </a:lnTo>
                  <a:lnTo>
                    <a:pt x="291" y="139"/>
                  </a:lnTo>
                  <a:lnTo>
                    <a:pt x="294" y="139"/>
                  </a:lnTo>
                  <a:lnTo>
                    <a:pt x="294" y="142"/>
                  </a:lnTo>
                  <a:lnTo>
                    <a:pt x="294" y="145"/>
                  </a:lnTo>
                  <a:lnTo>
                    <a:pt x="294" y="145"/>
                  </a:lnTo>
                  <a:lnTo>
                    <a:pt x="291" y="145"/>
                  </a:lnTo>
                  <a:lnTo>
                    <a:pt x="294" y="147"/>
                  </a:lnTo>
                  <a:lnTo>
                    <a:pt x="294" y="150"/>
                  </a:lnTo>
                  <a:lnTo>
                    <a:pt x="296" y="153"/>
                  </a:lnTo>
                  <a:lnTo>
                    <a:pt x="296" y="153"/>
                  </a:lnTo>
                  <a:lnTo>
                    <a:pt x="296" y="155"/>
                  </a:lnTo>
                  <a:lnTo>
                    <a:pt x="299" y="155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61"/>
                  </a:lnTo>
                  <a:lnTo>
                    <a:pt x="299" y="163"/>
                  </a:lnTo>
                  <a:lnTo>
                    <a:pt x="296" y="166"/>
                  </a:lnTo>
                  <a:lnTo>
                    <a:pt x="296" y="169"/>
                  </a:lnTo>
                  <a:lnTo>
                    <a:pt x="296" y="171"/>
                  </a:lnTo>
                  <a:lnTo>
                    <a:pt x="296" y="171"/>
                  </a:lnTo>
                  <a:lnTo>
                    <a:pt x="294" y="174"/>
                  </a:lnTo>
                  <a:lnTo>
                    <a:pt x="294" y="177"/>
                  </a:lnTo>
                  <a:lnTo>
                    <a:pt x="294" y="179"/>
                  </a:lnTo>
                  <a:lnTo>
                    <a:pt x="291" y="182"/>
                  </a:lnTo>
                  <a:lnTo>
                    <a:pt x="291" y="182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286" y="190"/>
                  </a:lnTo>
                  <a:lnTo>
                    <a:pt x="286" y="193"/>
                  </a:lnTo>
                  <a:lnTo>
                    <a:pt x="286" y="195"/>
                  </a:lnTo>
                  <a:lnTo>
                    <a:pt x="286" y="195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8" y="198"/>
                  </a:lnTo>
                  <a:lnTo>
                    <a:pt x="286" y="198"/>
                  </a:lnTo>
                  <a:lnTo>
                    <a:pt x="286" y="201"/>
                  </a:lnTo>
                  <a:lnTo>
                    <a:pt x="288" y="201"/>
                  </a:lnTo>
                  <a:lnTo>
                    <a:pt x="288" y="201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6" y="203"/>
                  </a:lnTo>
                  <a:lnTo>
                    <a:pt x="286" y="203"/>
                  </a:lnTo>
                  <a:lnTo>
                    <a:pt x="286" y="206"/>
                  </a:lnTo>
                  <a:lnTo>
                    <a:pt x="286" y="206"/>
                  </a:lnTo>
                  <a:lnTo>
                    <a:pt x="288" y="209"/>
                  </a:lnTo>
                  <a:lnTo>
                    <a:pt x="288" y="209"/>
                  </a:lnTo>
                  <a:lnTo>
                    <a:pt x="286" y="211"/>
                  </a:lnTo>
                  <a:lnTo>
                    <a:pt x="286" y="211"/>
                  </a:lnTo>
                  <a:lnTo>
                    <a:pt x="286" y="214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0" y="214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78" y="214"/>
                  </a:lnTo>
                  <a:lnTo>
                    <a:pt x="278" y="211"/>
                  </a:lnTo>
                  <a:lnTo>
                    <a:pt x="280" y="209"/>
                  </a:lnTo>
                  <a:lnTo>
                    <a:pt x="280" y="206"/>
                  </a:lnTo>
                  <a:lnTo>
                    <a:pt x="280" y="206"/>
                  </a:lnTo>
                  <a:lnTo>
                    <a:pt x="280" y="203"/>
                  </a:lnTo>
                  <a:lnTo>
                    <a:pt x="280" y="203"/>
                  </a:lnTo>
                  <a:lnTo>
                    <a:pt x="280" y="203"/>
                  </a:lnTo>
                  <a:lnTo>
                    <a:pt x="278" y="201"/>
                  </a:lnTo>
                  <a:lnTo>
                    <a:pt x="278" y="201"/>
                  </a:lnTo>
                  <a:lnTo>
                    <a:pt x="278" y="201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8"/>
                  </a:lnTo>
                  <a:lnTo>
                    <a:pt x="278" y="195"/>
                  </a:lnTo>
                  <a:lnTo>
                    <a:pt x="280" y="195"/>
                  </a:lnTo>
                  <a:lnTo>
                    <a:pt x="278" y="195"/>
                  </a:lnTo>
                  <a:lnTo>
                    <a:pt x="278" y="193"/>
                  </a:lnTo>
                  <a:lnTo>
                    <a:pt x="275" y="190"/>
                  </a:lnTo>
                  <a:lnTo>
                    <a:pt x="272" y="193"/>
                  </a:lnTo>
                  <a:lnTo>
                    <a:pt x="272" y="193"/>
                  </a:lnTo>
                  <a:lnTo>
                    <a:pt x="270" y="193"/>
                  </a:lnTo>
                  <a:lnTo>
                    <a:pt x="270" y="195"/>
                  </a:lnTo>
                  <a:lnTo>
                    <a:pt x="267" y="195"/>
                  </a:lnTo>
                  <a:lnTo>
                    <a:pt x="264" y="198"/>
                  </a:lnTo>
                  <a:lnTo>
                    <a:pt x="264" y="201"/>
                  </a:lnTo>
                  <a:lnTo>
                    <a:pt x="264" y="201"/>
                  </a:lnTo>
                  <a:lnTo>
                    <a:pt x="262" y="203"/>
                  </a:lnTo>
                  <a:lnTo>
                    <a:pt x="262" y="206"/>
                  </a:lnTo>
                  <a:lnTo>
                    <a:pt x="259" y="211"/>
                  </a:lnTo>
                  <a:lnTo>
                    <a:pt x="259" y="214"/>
                  </a:lnTo>
                  <a:lnTo>
                    <a:pt x="259" y="217"/>
                  </a:lnTo>
                  <a:lnTo>
                    <a:pt x="256" y="219"/>
                  </a:lnTo>
                  <a:lnTo>
                    <a:pt x="256" y="222"/>
                  </a:lnTo>
                  <a:lnTo>
                    <a:pt x="254" y="225"/>
                  </a:lnTo>
                  <a:lnTo>
                    <a:pt x="254" y="227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6" y="227"/>
                  </a:lnTo>
                  <a:lnTo>
                    <a:pt x="259" y="225"/>
                  </a:lnTo>
                  <a:lnTo>
                    <a:pt x="262" y="225"/>
                  </a:lnTo>
                  <a:lnTo>
                    <a:pt x="264" y="222"/>
                  </a:lnTo>
                  <a:lnTo>
                    <a:pt x="264" y="222"/>
                  </a:lnTo>
                  <a:lnTo>
                    <a:pt x="267" y="219"/>
                  </a:lnTo>
                  <a:lnTo>
                    <a:pt x="270" y="219"/>
                  </a:lnTo>
                  <a:lnTo>
                    <a:pt x="272" y="217"/>
                  </a:lnTo>
                  <a:lnTo>
                    <a:pt x="272" y="219"/>
                  </a:lnTo>
                  <a:lnTo>
                    <a:pt x="275" y="222"/>
                  </a:lnTo>
                  <a:lnTo>
                    <a:pt x="278" y="225"/>
                  </a:lnTo>
                  <a:lnTo>
                    <a:pt x="278" y="227"/>
                  </a:lnTo>
                  <a:lnTo>
                    <a:pt x="280" y="230"/>
                  </a:lnTo>
                  <a:lnTo>
                    <a:pt x="280" y="233"/>
                  </a:lnTo>
                  <a:lnTo>
                    <a:pt x="280" y="235"/>
                  </a:lnTo>
                  <a:lnTo>
                    <a:pt x="280" y="238"/>
                  </a:lnTo>
                  <a:lnTo>
                    <a:pt x="280" y="238"/>
                  </a:lnTo>
                  <a:lnTo>
                    <a:pt x="278" y="241"/>
                  </a:lnTo>
                  <a:lnTo>
                    <a:pt x="278" y="241"/>
                  </a:lnTo>
                  <a:lnTo>
                    <a:pt x="278" y="244"/>
                  </a:lnTo>
                  <a:lnTo>
                    <a:pt x="275" y="244"/>
                  </a:lnTo>
                  <a:lnTo>
                    <a:pt x="275" y="244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0" y="249"/>
                  </a:lnTo>
                  <a:lnTo>
                    <a:pt x="270" y="249"/>
                  </a:lnTo>
                  <a:lnTo>
                    <a:pt x="267" y="252"/>
                  </a:lnTo>
                  <a:lnTo>
                    <a:pt x="267" y="249"/>
                  </a:lnTo>
                  <a:lnTo>
                    <a:pt x="267" y="249"/>
                  </a:lnTo>
                  <a:lnTo>
                    <a:pt x="264" y="249"/>
                  </a:lnTo>
                  <a:lnTo>
                    <a:pt x="264" y="249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59" y="252"/>
                  </a:lnTo>
                  <a:lnTo>
                    <a:pt x="259" y="252"/>
                  </a:lnTo>
                  <a:lnTo>
                    <a:pt x="256" y="252"/>
                  </a:lnTo>
                  <a:lnTo>
                    <a:pt x="256" y="254"/>
                  </a:lnTo>
                  <a:lnTo>
                    <a:pt x="256" y="257"/>
                  </a:lnTo>
                  <a:lnTo>
                    <a:pt x="254" y="257"/>
                  </a:lnTo>
                  <a:lnTo>
                    <a:pt x="254" y="260"/>
                  </a:lnTo>
                  <a:lnTo>
                    <a:pt x="254" y="262"/>
                  </a:lnTo>
                  <a:lnTo>
                    <a:pt x="251" y="262"/>
                  </a:lnTo>
                  <a:lnTo>
                    <a:pt x="251" y="265"/>
                  </a:lnTo>
                  <a:lnTo>
                    <a:pt x="248" y="265"/>
                  </a:lnTo>
                  <a:lnTo>
                    <a:pt x="248" y="268"/>
                  </a:lnTo>
                  <a:lnTo>
                    <a:pt x="246" y="268"/>
                  </a:lnTo>
                  <a:lnTo>
                    <a:pt x="246" y="270"/>
                  </a:lnTo>
                  <a:lnTo>
                    <a:pt x="246" y="270"/>
                  </a:lnTo>
                  <a:lnTo>
                    <a:pt x="246" y="273"/>
                  </a:lnTo>
                  <a:lnTo>
                    <a:pt x="246" y="273"/>
                  </a:lnTo>
                  <a:lnTo>
                    <a:pt x="248" y="273"/>
                  </a:lnTo>
                  <a:lnTo>
                    <a:pt x="248" y="276"/>
                  </a:lnTo>
                  <a:lnTo>
                    <a:pt x="248" y="276"/>
                  </a:lnTo>
                  <a:lnTo>
                    <a:pt x="248" y="278"/>
                  </a:lnTo>
                  <a:lnTo>
                    <a:pt x="248" y="278"/>
                  </a:lnTo>
                  <a:lnTo>
                    <a:pt x="246" y="278"/>
                  </a:lnTo>
                  <a:lnTo>
                    <a:pt x="246" y="281"/>
                  </a:lnTo>
                  <a:lnTo>
                    <a:pt x="246" y="281"/>
                  </a:lnTo>
                  <a:lnTo>
                    <a:pt x="246" y="284"/>
                  </a:lnTo>
                  <a:lnTo>
                    <a:pt x="243" y="284"/>
                  </a:lnTo>
                  <a:lnTo>
                    <a:pt x="243" y="286"/>
                  </a:lnTo>
                  <a:lnTo>
                    <a:pt x="243" y="289"/>
                  </a:lnTo>
                  <a:lnTo>
                    <a:pt x="240" y="289"/>
                  </a:lnTo>
                  <a:lnTo>
                    <a:pt x="238" y="292"/>
                  </a:lnTo>
                  <a:lnTo>
                    <a:pt x="235" y="294"/>
                  </a:lnTo>
                  <a:lnTo>
                    <a:pt x="235" y="294"/>
                  </a:lnTo>
                  <a:lnTo>
                    <a:pt x="235" y="297"/>
                  </a:lnTo>
                  <a:lnTo>
                    <a:pt x="232" y="297"/>
                  </a:lnTo>
                  <a:lnTo>
                    <a:pt x="232" y="300"/>
                  </a:lnTo>
                  <a:lnTo>
                    <a:pt x="230" y="302"/>
                  </a:lnTo>
                  <a:lnTo>
                    <a:pt x="230" y="302"/>
                  </a:lnTo>
                  <a:lnTo>
                    <a:pt x="227" y="305"/>
                  </a:lnTo>
                  <a:lnTo>
                    <a:pt x="224" y="308"/>
                  </a:lnTo>
                  <a:lnTo>
                    <a:pt x="222" y="310"/>
                  </a:lnTo>
                  <a:lnTo>
                    <a:pt x="219" y="313"/>
                  </a:lnTo>
                  <a:lnTo>
                    <a:pt x="216" y="313"/>
                  </a:lnTo>
                  <a:lnTo>
                    <a:pt x="216" y="310"/>
                  </a:lnTo>
                  <a:lnTo>
                    <a:pt x="214" y="310"/>
                  </a:lnTo>
                  <a:lnTo>
                    <a:pt x="211" y="313"/>
                  </a:lnTo>
                  <a:lnTo>
                    <a:pt x="208" y="310"/>
                  </a:lnTo>
                  <a:lnTo>
                    <a:pt x="208" y="313"/>
                  </a:lnTo>
                  <a:lnTo>
                    <a:pt x="206" y="313"/>
                  </a:lnTo>
                  <a:lnTo>
                    <a:pt x="206" y="316"/>
                  </a:lnTo>
                  <a:lnTo>
                    <a:pt x="203" y="316"/>
                  </a:lnTo>
                  <a:lnTo>
                    <a:pt x="200" y="316"/>
                  </a:lnTo>
                  <a:lnTo>
                    <a:pt x="200" y="318"/>
                  </a:lnTo>
                  <a:lnTo>
                    <a:pt x="200" y="318"/>
                  </a:lnTo>
                  <a:lnTo>
                    <a:pt x="198" y="321"/>
                  </a:lnTo>
                  <a:lnTo>
                    <a:pt x="198" y="324"/>
                  </a:lnTo>
                  <a:lnTo>
                    <a:pt x="198" y="324"/>
                  </a:lnTo>
                  <a:lnTo>
                    <a:pt x="195" y="326"/>
                  </a:lnTo>
                  <a:lnTo>
                    <a:pt x="192" y="326"/>
                  </a:lnTo>
                  <a:lnTo>
                    <a:pt x="190" y="326"/>
                  </a:lnTo>
                  <a:lnTo>
                    <a:pt x="187" y="329"/>
                  </a:lnTo>
                  <a:lnTo>
                    <a:pt x="187" y="329"/>
                  </a:lnTo>
                  <a:lnTo>
                    <a:pt x="184" y="332"/>
                  </a:lnTo>
                  <a:lnTo>
                    <a:pt x="184" y="332"/>
                  </a:lnTo>
                  <a:lnTo>
                    <a:pt x="182" y="334"/>
                  </a:lnTo>
                  <a:lnTo>
                    <a:pt x="176" y="337"/>
                  </a:lnTo>
                  <a:lnTo>
                    <a:pt x="176" y="340"/>
                  </a:lnTo>
                  <a:lnTo>
                    <a:pt x="174" y="340"/>
                  </a:lnTo>
                  <a:lnTo>
                    <a:pt x="174" y="342"/>
                  </a:lnTo>
                  <a:lnTo>
                    <a:pt x="174" y="345"/>
                  </a:lnTo>
                  <a:lnTo>
                    <a:pt x="174" y="348"/>
                  </a:lnTo>
                  <a:lnTo>
                    <a:pt x="174" y="350"/>
                  </a:lnTo>
                  <a:lnTo>
                    <a:pt x="171" y="353"/>
                  </a:lnTo>
                  <a:lnTo>
                    <a:pt x="171" y="356"/>
                  </a:lnTo>
                  <a:lnTo>
                    <a:pt x="168" y="356"/>
                  </a:lnTo>
                  <a:lnTo>
                    <a:pt x="166" y="358"/>
                  </a:lnTo>
                  <a:lnTo>
                    <a:pt x="166" y="356"/>
                  </a:lnTo>
                  <a:lnTo>
                    <a:pt x="163" y="356"/>
                  </a:lnTo>
                  <a:lnTo>
                    <a:pt x="163" y="356"/>
                  </a:lnTo>
                  <a:lnTo>
                    <a:pt x="166" y="353"/>
                  </a:lnTo>
                  <a:lnTo>
                    <a:pt x="163" y="353"/>
                  </a:lnTo>
                  <a:lnTo>
                    <a:pt x="163" y="353"/>
                  </a:lnTo>
                  <a:lnTo>
                    <a:pt x="163" y="353"/>
                  </a:lnTo>
                  <a:lnTo>
                    <a:pt x="160" y="353"/>
                  </a:lnTo>
                  <a:lnTo>
                    <a:pt x="160" y="350"/>
                  </a:lnTo>
                  <a:lnTo>
                    <a:pt x="160" y="350"/>
                  </a:lnTo>
                  <a:lnTo>
                    <a:pt x="157" y="350"/>
                  </a:lnTo>
                  <a:lnTo>
                    <a:pt x="157" y="350"/>
                  </a:lnTo>
                  <a:lnTo>
                    <a:pt x="155" y="350"/>
                  </a:lnTo>
                  <a:lnTo>
                    <a:pt x="155" y="350"/>
                  </a:lnTo>
                  <a:lnTo>
                    <a:pt x="155" y="353"/>
                  </a:lnTo>
                  <a:lnTo>
                    <a:pt x="152" y="353"/>
                  </a:lnTo>
                  <a:lnTo>
                    <a:pt x="149" y="353"/>
                  </a:lnTo>
                  <a:lnTo>
                    <a:pt x="149" y="353"/>
                  </a:lnTo>
                  <a:lnTo>
                    <a:pt x="149" y="356"/>
                  </a:lnTo>
                  <a:lnTo>
                    <a:pt x="147" y="356"/>
                  </a:lnTo>
                  <a:lnTo>
                    <a:pt x="147" y="356"/>
                  </a:lnTo>
                  <a:lnTo>
                    <a:pt x="144" y="356"/>
                  </a:lnTo>
                  <a:lnTo>
                    <a:pt x="144" y="358"/>
                  </a:lnTo>
                  <a:lnTo>
                    <a:pt x="144" y="358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1" y="361"/>
                  </a:lnTo>
                  <a:lnTo>
                    <a:pt x="141" y="364"/>
                  </a:lnTo>
                  <a:lnTo>
                    <a:pt x="141" y="364"/>
                  </a:lnTo>
                  <a:lnTo>
                    <a:pt x="141" y="364"/>
                  </a:lnTo>
                  <a:lnTo>
                    <a:pt x="141" y="366"/>
                  </a:lnTo>
                  <a:lnTo>
                    <a:pt x="141" y="366"/>
                  </a:lnTo>
                  <a:lnTo>
                    <a:pt x="141" y="369"/>
                  </a:lnTo>
                  <a:lnTo>
                    <a:pt x="139" y="369"/>
                  </a:lnTo>
                  <a:lnTo>
                    <a:pt x="141" y="372"/>
                  </a:lnTo>
                  <a:lnTo>
                    <a:pt x="141" y="372"/>
                  </a:lnTo>
                  <a:lnTo>
                    <a:pt x="144" y="372"/>
                  </a:lnTo>
                  <a:lnTo>
                    <a:pt x="141" y="374"/>
                  </a:lnTo>
                  <a:lnTo>
                    <a:pt x="144" y="374"/>
                  </a:lnTo>
                  <a:lnTo>
                    <a:pt x="144" y="377"/>
                  </a:lnTo>
                  <a:lnTo>
                    <a:pt x="141" y="380"/>
                  </a:lnTo>
                  <a:lnTo>
                    <a:pt x="141" y="380"/>
                  </a:lnTo>
                  <a:lnTo>
                    <a:pt x="141" y="382"/>
                  </a:lnTo>
                  <a:lnTo>
                    <a:pt x="139" y="382"/>
                  </a:lnTo>
                  <a:lnTo>
                    <a:pt x="139" y="382"/>
                  </a:lnTo>
                  <a:lnTo>
                    <a:pt x="139" y="385"/>
                  </a:lnTo>
                  <a:lnTo>
                    <a:pt x="139" y="388"/>
                  </a:lnTo>
                  <a:lnTo>
                    <a:pt x="136" y="390"/>
                  </a:lnTo>
                  <a:lnTo>
                    <a:pt x="136" y="393"/>
                  </a:lnTo>
                  <a:lnTo>
                    <a:pt x="139" y="390"/>
                  </a:lnTo>
                  <a:lnTo>
                    <a:pt x="139" y="390"/>
                  </a:lnTo>
                  <a:lnTo>
                    <a:pt x="139" y="393"/>
                  </a:lnTo>
                  <a:lnTo>
                    <a:pt x="139" y="393"/>
                  </a:lnTo>
                  <a:lnTo>
                    <a:pt x="139" y="393"/>
                  </a:lnTo>
                  <a:lnTo>
                    <a:pt x="139" y="396"/>
                  </a:lnTo>
                  <a:lnTo>
                    <a:pt x="139" y="398"/>
                  </a:lnTo>
                  <a:lnTo>
                    <a:pt x="136" y="401"/>
                  </a:lnTo>
                  <a:lnTo>
                    <a:pt x="136" y="398"/>
                  </a:lnTo>
                  <a:lnTo>
                    <a:pt x="136" y="401"/>
                  </a:lnTo>
                  <a:lnTo>
                    <a:pt x="133" y="404"/>
                  </a:lnTo>
                  <a:lnTo>
                    <a:pt x="131" y="407"/>
                  </a:lnTo>
                  <a:lnTo>
                    <a:pt x="131" y="409"/>
                  </a:lnTo>
                  <a:lnTo>
                    <a:pt x="128" y="412"/>
                  </a:lnTo>
                  <a:lnTo>
                    <a:pt x="128" y="415"/>
                  </a:lnTo>
                  <a:lnTo>
                    <a:pt x="128" y="417"/>
                  </a:lnTo>
                  <a:lnTo>
                    <a:pt x="125" y="417"/>
                  </a:lnTo>
                  <a:lnTo>
                    <a:pt x="123" y="417"/>
                  </a:lnTo>
                  <a:lnTo>
                    <a:pt x="123" y="420"/>
                  </a:lnTo>
                  <a:lnTo>
                    <a:pt x="120" y="420"/>
                  </a:lnTo>
                  <a:lnTo>
                    <a:pt x="120" y="420"/>
                  </a:lnTo>
                  <a:lnTo>
                    <a:pt x="115" y="423"/>
                  </a:lnTo>
                  <a:lnTo>
                    <a:pt x="112" y="425"/>
                  </a:lnTo>
                  <a:lnTo>
                    <a:pt x="107" y="428"/>
                  </a:lnTo>
                  <a:lnTo>
                    <a:pt x="104" y="428"/>
                  </a:lnTo>
                  <a:lnTo>
                    <a:pt x="101" y="431"/>
                  </a:lnTo>
                  <a:lnTo>
                    <a:pt x="99" y="433"/>
                  </a:lnTo>
                  <a:lnTo>
                    <a:pt x="96" y="433"/>
                  </a:lnTo>
                  <a:lnTo>
                    <a:pt x="91" y="436"/>
                  </a:lnTo>
                  <a:lnTo>
                    <a:pt x="88" y="436"/>
                  </a:lnTo>
                  <a:lnTo>
                    <a:pt x="85" y="439"/>
                  </a:lnTo>
                  <a:lnTo>
                    <a:pt x="80" y="441"/>
                  </a:lnTo>
                  <a:lnTo>
                    <a:pt x="77" y="441"/>
                  </a:lnTo>
                  <a:lnTo>
                    <a:pt x="75" y="444"/>
                  </a:lnTo>
                  <a:lnTo>
                    <a:pt x="72" y="444"/>
                  </a:lnTo>
                  <a:lnTo>
                    <a:pt x="69" y="444"/>
                  </a:lnTo>
                  <a:lnTo>
                    <a:pt x="67" y="447"/>
                  </a:lnTo>
                  <a:lnTo>
                    <a:pt x="64" y="449"/>
                  </a:lnTo>
                  <a:lnTo>
                    <a:pt x="64" y="452"/>
                  </a:lnTo>
                  <a:lnTo>
                    <a:pt x="64" y="452"/>
                  </a:lnTo>
                  <a:lnTo>
                    <a:pt x="61" y="452"/>
                  </a:lnTo>
                  <a:lnTo>
                    <a:pt x="59" y="452"/>
                  </a:lnTo>
                  <a:lnTo>
                    <a:pt x="53" y="449"/>
                  </a:lnTo>
                  <a:lnTo>
                    <a:pt x="51" y="452"/>
                  </a:lnTo>
                  <a:lnTo>
                    <a:pt x="48" y="452"/>
                  </a:lnTo>
                  <a:lnTo>
                    <a:pt x="48" y="452"/>
                  </a:lnTo>
                  <a:lnTo>
                    <a:pt x="45" y="452"/>
                  </a:lnTo>
                  <a:lnTo>
                    <a:pt x="43" y="452"/>
                  </a:lnTo>
                  <a:lnTo>
                    <a:pt x="40" y="452"/>
                  </a:lnTo>
                  <a:lnTo>
                    <a:pt x="37" y="452"/>
                  </a:lnTo>
                  <a:lnTo>
                    <a:pt x="35" y="452"/>
                  </a:lnTo>
                  <a:lnTo>
                    <a:pt x="29" y="452"/>
                  </a:lnTo>
                  <a:lnTo>
                    <a:pt x="29" y="449"/>
                  </a:lnTo>
                  <a:lnTo>
                    <a:pt x="27" y="449"/>
                  </a:lnTo>
                  <a:lnTo>
                    <a:pt x="24" y="449"/>
                  </a:lnTo>
                  <a:lnTo>
                    <a:pt x="24" y="449"/>
                  </a:lnTo>
                  <a:lnTo>
                    <a:pt x="21" y="447"/>
                  </a:lnTo>
                  <a:lnTo>
                    <a:pt x="21" y="447"/>
                  </a:lnTo>
                  <a:lnTo>
                    <a:pt x="19" y="447"/>
                  </a:lnTo>
                  <a:lnTo>
                    <a:pt x="19" y="447"/>
                  </a:lnTo>
                  <a:lnTo>
                    <a:pt x="16" y="447"/>
                  </a:lnTo>
                  <a:lnTo>
                    <a:pt x="13" y="444"/>
                  </a:lnTo>
                  <a:lnTo>
                    <a:pt x="13" y="444"/>
                  </a:lnTo>
                  <a:lnTo>
                    <a:pt x="11" y="444"/>
                  </a:lnTo>
                  <a:lnTo>
                    <a:pt x="8" y="444"/>
                  </a:lnTo>
                  <a:lnTo>
                    <a:pt x="5" y="441"/>
                  </a:lnTo>
                  <a:lnTo>
                    <a:pt x="5" y="441"/>
                  </a:lnTo>
                  <a:lnTo>
                    <a:pt x="3" y="441"/>
                  </a:lnTo>
                  <a:lnTo>
                    <a:pt x="0" y="439"/>
                  </a:lnTo>
                  <a:lnTo>
                    <a:pt x="0" y="439"/>
                  </a:lnTo>
                  <a:lnTo>
                    <a:pt x="0" y="436"/>
                  </a:lnTo>
                  <a:lnTo>
                    <a:pt x="0" y="433"/>
                  </a:lnTo>
                  <a:lnTo>
                    <a:pt x="3" y="433"/>
                  </a:lnTo>
                  <a:lnTo>
                    <a:pt x="3" y="433"/>
                  </a:lnTo>
                  <a:lnTo>
                    <a:pt x="5" y="431"/>
                  </a:lnTo>
                  <a:lnTo>
                    <a:pt x="8" y="431"/>
                  </a:lnTo>
                  <a:lnTo>
                    <a:pt x="11" y="431"/>
                  </a:lnTo>
                  <a:lnTo>
                    <a:pt x="13" y="428"/>
                  </a:lnTo>
                  <a:lnTo>
                    <a:pt x="16" y="428"/>
                  </a:lnTo>
                  <a:lnTo>
                    <a:pt x="19" y="428"/>
                  </a:lnTo>
                  <a:lnTo>
                    <a:pt x="21" y="428"/>
                  </a:lnTo>
                  <a:lnTo>
                    <a:pt x="27" y="425"/>
                  </a:lnTo>
                  <a:lnTo>
                    <a:pt x="27" y="423"/>
                  </a:lnTo>
                  <a:lnTo>
                    <a:pt x="32" y="423"/>
                  </a:lnTo>
                  <a:lnTo>
                    <a:pt x="35" y="423"/>
                  </a:lnTo>
                  <a:lnTo>
                    <a:pt x="37" y="423"/>
                  </a:lnTo>
                  <a:lnTo>
                    <a:pt x="40" y="423"/>
                  </a:lnTo>
                  <a:lnTo>
                    <a:pt x="43" y="420"/>
                  </a:lnTo>
                  <a:lnTo>
                    <a:pt x="45" y="420"/>
                  </a:lnTo>
                  <a:lnTo>
                    <a:pt x="48" y="420"/>
                  </a:lnTo>
                  <a:lnTo>
                    <a:pt x="51" y="420"/>
                  </a:lnTo>
                  <a:lnTo>
                    <a:pt x="51" y="420"/>
                  </a:lnTo>
                  <a:lnTo>
                    <a:pt x="53" y="420"/>
                  </a:lnTo>
                  <a:lnTo>
                    <a:pt x="53" y="417"/>
                  </a:lnTo>
                  <a:lnTo>
                    <a:pt x="56" y="415"/>
                  </a:lnTo>
                  <a:lnTo>
                    <a:pt x="56" y="415"/>
                  </a:lnTo>
                  <a:lnTo>
                    <a:pt x="59" y="412"/>
                  </a:lnTo>
                  <a:lnTo>
                    <a:pt x="61" y="412"/>
                  </a:lnTo>
                  <a:lnTo>
                    <a:pt x="61" y="412"/>
                  </a:lnTo>
                  <a:lnTo>
                    <a:pt x="59" y="409"/>
                  </a:lnTo>
                  <a:lnTo>
                    <a:pt x="56" y="407"/>
                  </a:lnTo>
                  <a:lnTo>
                    <a:pt x="53" y="404"/>
                  </a:lnTo>
                  <a:lnTo>
                    <a:pt x="53" y="404"/>
                  </a:lnTo>
                  <a:lnTo>
                    <a:pt x="53" y="401"/>
                  </a:lnTo>
                  <a:lnTo>
                    <a:pt x="51" y="401"/>
                  </a:lnTo>
                  <a:lnTo>
                    <a:pt x="51" y="401"/>
                  </a:lnTo>
                  <a:lnTo>
                    <a:pt x="48" y="398"/>
                  </a:lnTo>
                  <a:lnTo>
                    <a:pt x="45" y="396"/>
                  </a:lnTo>
                  <a:lnTo>
                    <a:pt x="43" y="396"/>
                  </a:lnTo>
                  <a:lnTo>
                    <a:pt x="43" y="393"/>
                  </a:lnTo>
                  <a:lnTo>
                    <a:pt x="40" y="396"/>
                  </a:lnTo>
                  <a:lnTo>
                    <a:pt x="40" y="396"/>
                  </a:lnTo>
                  <a:lnTo>
                    <a:pt x="40" y="398"/>
                  </a:lnTo>
                  <a:lnTo>
                    <a:pt x="40" y="398"/>
                  </a:lnTo>
                  <a:lnTo>
                    <a:pt x="37" y="401"/>
                  </a:lnTo>
                  <a:lnTo>
                    <a:pt x="37" y="401"/>
                  </a:lnTo>
                  <a:lnTo>
                    <a:pt x="37" y="398"/>
                  </a:lnTo>
                  <a:lnTo>
                    <a:pt x="40" y="396"/>
                  </a:lnTo>
                  <a:lnTo>
                    <a:pt x="40" y="393"/>
                  </a:lnTo>
                  <a:lnTo>
                    <a:pt x="40" y="390"/>
                  </a:lnTo>
                  <a:lnTo>
                    <a:pt x="37" y="390"/>
                  </a:lnTo>
                  <a:lnTo>
                    <a:pt x="37" y="390"/>
                  </a:lnTo>
                  <a:lnTo>
                    <a:pt x="37" y="390"/>
                  </a:lnTo>
                  <a:lnTo>
                    <a:pt x="37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2" y="385"/>
                  </a:lnTo>
                  <a:lnTo>
                    <a:pt x="35" y="385"/>
                  </a:lnTo>
                  <a:lnTo>
                    <a:pt x="32" y="385"/>
                  </a:lnTo>
                  <a:lnTo>
                    <a:pt x="32" y="382"/>
                  </a:lnTo>
                  <a:lnTo>
                    <a:pt x="32" y="382"/>
                  </a:lnTo>
                  <a:lnTo>
                    <a:pt x="32" y="382"/>
                  </a:lnTo>
                  <a:lnTo>
                    <a:pt x="29" y="380"/>
                  </a:lnTo>
                  <a:lnTo>
                    <a:pt x="29" y="380"/>
                  </a:lnTo>
                  <a:lnTo>
                    <a:pt x="29" y="377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2" name="Freeform 8961">
              <a:extLst>
                <a:ext uri="{FF2B5EF4-FFF2-40B4-BE49-F238E27FC236}">
                  <a16:creationId xmlns:a16="http://schemas.microsoft.com/office/drawing/2014/main" id="{733AC007-CAB7-D744-9317-C08F01B8A800}"/>
                </a:ext>
              </a:extLst>
            </p:cNvPr>
            <p:cNvSpPr/>
            <p:nvPr/>
          </p:nvSpPr>
          <p:spPr bwMode="auto">
            <a:xfrm>
              <a:off x="1764505" y="2586039"/>
              <a:ext cx="211138" cy="284163"/>
            </a:xfrm>
            <a:custGeom>
              <a:avLst/>
              <a:gdLst>
                <a:gd name="T0" fmla="*/ 120 w 133"/>
                <a:gd name="T1" fmla="*/ 61 h 179"/>
                <a:gd name="T2" fmla="*/ 122 w 133"/>
                <a:gd name="T3" fmla="*/ 48 h 179"/>
                <a:gd name="T4" fmla="*/ 120 w 133"/>
                <a:gd name="T5" fmla="*/ 58 h 179"/>
                <a:gd name="T6" fmla="*/ 120 w 133"/>
                <a:gd name="T7" fmla="*/ 48 h 179"/>
                <a:gd name="T8" fmla="*/ 122 w 133"/>
                <a:gd name="T9" fmla="*/ 37 h 179"/>
                <a:gd name="T10" fmla="*/ 122 w 133"/>
                <a:gd name="T11" fmla="*/ 29 h 179"/>
                <a:gd name="T12" fmla="*/ 120 w 133"/>
                <a:gd name="T13" fmla="*/ 24 h 179"/>
                <a:gd name="T14" fmla="*/ 114 w 133"/>
                <a:gd name="T15" fmla="*/ 26 h 179"/>
                <a:gd name="T16" fmla="*/ 117 w 133"/>
                <a:gd name="T17" fmla="*/ 18 h 179"/>
                <a:gd name="T18" fmla="*/ 112 w 133"/>
                <a:gd name="T19" fmla="*/ 8 h 179"/>
                <a:gd name="T20" fmla="*/ 112 w 133"/>
                <a:gd name="T21" fmla="*/ 2 h 179"/>
                <a:gd name="T22" fmla="*/ 104 w 133"/>
                <a:gd name="T23" fmla="*/ 5 h 179"/>
                <a:gd name="T24" fmla="*/ 96 w 133"/>
                <a:gd name="T25" fmla="*/ 8 h 179"/>
                <a:gd name="T26" fmla="*/ 90 w 133"/>
                <a:gd name="T27" fmla="*/ 10 h 179"/>
                <a:gd name="T28" fmla="*/ 85 w 133"/>
                <a:gd name="T29" fmla="*/ 10 h 179"/>
                <a:gd name="T30" fmla="*/ 82 w 133"/>
                <a:gd name="T31" fmla="*/ 13 h 179"/>
                <a:gd name="T32" fmla="*/ 77 w 133"/>
                <a:gd name="T33" fmla="*/ 2 h 179"/>
                <a:gd name="T34" fmla="*/ 74 w 133"/>
                <a:gd name="T35" fmla="*/ 8 h 179"/>
                <a:gd name="T36" fmla="*/ 72 w 133"/>
                <a:gd name="T37" fmla="*/ 8 h 179"/>
                <a:gd name="T38" fmla="*/ 61 w 133"/>
                <a:gd name="T39" fmla="*/ 10 h 179"/>
                <a:gd name="T40" fmla="*/ 61 w 133"/>
                <a:gd name="T41" fmla="*/ 16 h 179"/>
                <a:gd name="T42" fmla="*/ 56 w 133"/>
                <a:gd name="T43" fmla="*/ 13 h 179"/>
                <a:gd name="T44" fmla="*/ 50 w 133"/>
                <a:gd name="T45" fmla="*/ 18 h 179"/>
                <a:gd name="T46" fmla="*/ 48 w 133"/>
                <a:gd name="T47" fmla="*/ 8 h 179"/>
                <a:gd name="T48" fmla="*/ 42 w 133"/>
                <a:gd name="T49" fmla="*/ 13 h 179"/>
                <a:gd name="T50" fmla="*/ 45 w 133"/>
                <a:gd name="T51" fmla="*/ 21 h 179"/>
                <a:gd name="T52" fmla="*/ 42 w 133"/>
                <a:gd name="T53" fmla="*/ 13 h 179"/>
                <a:gd name="T54" fmla="*/ 37 w 133"/>
                <a:gd name="T55" fmla="*/ 18 h 179"/>
                <a:gd name="T56" fmla="*/ 42 w 133"/>
                <a:gd name="T57" fmla="*/ 32 h 179"/>
                <a:gd name="T58" fmla="*/ 40 w 133"/>
                <a:gd name="T59" fmla="*/ 42 h 179"/>
                <a:gd name="T60" fmla="*/ 40 w 133"/>
                <a:gd name="T61" fmla="*/ 58 h 179"/>
                <a:gd name="T62" fmla="*/ 40 w 133"/>
                <a:gd name="T63" fmla="*/ 66 h 179"/>
                <a:gd name="T64" fmla="*/ 29 w 133"/>
                <a:gd name="T65" fmla="*/ 75 h 179"/>
                <a:gd name="T66" fmla="*/ 29 w 133"/>
                <a:gd name="T67" fmla="*/ 91 h 179"/>
                <a:gd name="T68" fmla="*/ 24 w 133"/>
                <a:gd name="T69" fmla="*/ 107 h 179"/>
                <a:gd name="T70" fmla="*/ 18 w 133"/>
                <a:gd name="T71" fmla="*/ 128 h 179"/>
                <a:gd name="T72" fmla="*/ 8 w 133"/>
                <a:gd name="T73" fmla="*/ 144 h 179"/>
                <a:gd name="T74" fmla="*/ 2 w 133"/>
                <a:gd name="T75" fmla="*/ 149 h 179"/>
                <a:gd name="T76" fmla="*/ 10 w 133"/>
                <a:gd name="T77" fmla="*/ 157 h 179"/>
                <a:gd name="T78" fmla="*/ 21 w 133"/>
                <a:gd name="T79" fmla="*/ 163 h 179"/>
                <a:gd name="T80" fmla="*/ 26 w 133"/>
                <a:gd name="T81" fmla="*/ 152 h 179"/>
                <a:gd name="T82" fmla="*/ 34 w 133"/>
                <a:gd name="T83" fmla="*/ 149 h 179"/>
                <a:gd name="T84" fmla="*/ 45 w 133"/>
                <a:gd name="T85" fmla="*/ 147 h 179"/>
                <a:gd name="T86" fmla="*/ 50 w 133"/>
                <a:gd name="T87" fmla="*/ 152 h 179"/>
                <a:gd name="T88" fmla="*/ 58 w 133"/>
                <a:gd name="T89" fmla="*/ 157 h 179"/>
                <a:gd name="T90" fmla="*/ 58 w 133"/>
                <a:gd name="T91" fmla="*/ 160 h 179"/>
                <a:gd name="T92" fmla="*/ 58 w 133"/>
                <a:gd name="T93" fmla="*/ 168 h 179"/>
                <a:gd name="T94" fmla="*/ 64 w 133"/>
                <a:gd name="T95" fmla="*/ 176 h 179"/>
                <a:gd name="T96" fmla="*/ 77 w 133"/>
                <a:gd name="T97" fmla="*/ 176 h 179"/>
                <a:gd name="T98" fmla="*/ 82 w 133"/>
                <a:gd name="T99" fmla="*/ 168 h 179"/>
                <a:gd name="T100" fmla="*/ 90 w 133"/>
                <a:gd name="T101" fmla="*/ 165 h 179"/>
                <a:gd name="T102" fmla="*/ 96 w 133"/>
                <a:gd name="T103" fmla="*/ 155 h 179"/>
                <a:gd name="T104" fmla="*/ 98 w 133"/>
                <a:gd name="T105" fmla="*/ 163 h 179"/>
                <a:gd name="T106" fmla="*/ 106 w 133"/>
                <a:gd name="T107" fmla="*/ 163 h 179"/>
                <a:gd name="T108" fmla="*/ 120 w 133"/>
                <a:gd name="T109" fmla="*/ 149 h 179"/>
                <a:gd name="T110" fmla="*/ 125 w 133"/>
                <a:gd name="T111" fmla="*/ 131 h 179"/>
                <a:gd name="T112" fmla="*/ 128 w 133"/>
                <a:gd name="T113" fmla="*/ 120 h 179"/>
                <a:gd name="T114" fmla="*/ 130 w 133"/>
                <a:gd name="T115" fmla="*/ 109 h 179"/>
                <a:gd name="T116" fmla="*/ 130 w 133"/>
                <a:gd name="T117" fmla="*/ 96 h 179"/>
                <a:gd name="T118" fmla="*/ 122 w 133"/>
                <a:gd name="T119" fmla="*/ 77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" h="179" extrusionOk="0">
                  <a:moveTo>
                    <a:pt x="122" y="69"/>
                  </a:move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2" y="56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17" y="53"/>
                  </a:lnTo>
                  <a:lnTo>
                    <a:pt x="120" y="53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2" y="48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2"/>
                  </a:lnTo>
                  <a:lnTo>
                    <a:pt x="122" y="40"/>
                  </a:lnTo>
                  <a:lnTo>
                    <a:pt x="122" y="40"/>
                  </a:lnTo>
                  <a:lnTo>
                    <a:pt x="122" y="37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2"/>
                  </a:lnTo>
                  <a:lnTo>
                    <a:pt x="125" y="32"/>
                  </a:lnTo>
                  <a:lnTo>
                    <a:pt x="125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5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2" y="26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1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2" y="26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4" y="13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4" y="8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0" y="8"/>
                  </a:lnTo>
                  <a:lnTo>
                    <a:pt x="93" y="8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5"/>
                  </a:lnTo>
                  <a:lnTo>
                    <a:pt x="72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4" y="10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5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0"/>
                  </a:lnTo>
                  <a:lnTo>
                    <a:pt x="61" y="10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1" y="21"/>
                  </a:lnTo>
                  <a:lnTo>
                    <a:pt x="61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6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0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5" y="10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8" y="18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2"/>
                  </a:lnTo>
                  <a:lnTo>
                    <a:pt x="40" y="42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0" y="50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0" y="53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7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4" y="72"/>
                  </a:lnTo>
                  <a:lnTo>
                    <a:pt x="32" y="72"/>
                  </a:lnTo>
                  <a:lnTo>
                    <a:pt x="32" y="69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6" y="77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8"/>
                  </a:lnTo>
                  <a:lnTo>
                    <a:pt x="29" y="88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9"/>
                  </a:lnTo>
                  <a:lnTo>
                    <a:pt x="24" y="99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4" y="104"/>
                  </a:lnTo>
                  <a:lnTo>
                    <a:pt x="24" y="107"/>
                  </a:lnTo>
                  <a:lnTo>
                    <a:pt x="24" y="109"/>
                  </a:lnTo>
                  <a:lnTo>
                    <a:pt x="24" y="112"/>
                  </a:lnTo>
                  <a:lnTo>
                    <a:pt x="21" y="115"/>
                  </a:lnTo>
                  <a:lnTo>
                    <a:pt x="18" y="115"/>
                  </a:lnTo>
                  <a:lnTo>
                    <a:pt x="18" y="120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6" y="125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8" y="128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33"/>
                  </a:lnTo>
                  <a:lnTo>
                    <a:pt x="16" y="136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0" y="136"/>
                  </a:lnTo>
                  <a:lnTo>
                    <a:pt x="10" y="139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7"/>
                  </a:lnTo>
                  <a:lnTo>
                    <a:pt x="2" y="147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0" y="144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2"/>
                  </a:lnTo>
                  <a:lnTo>
                    <a:pt x="8" y="155"/>
                  </a:lnTo>
                  <a:lnTo>
                    <a:pt x="8" y="155"/>
                  </a:lnTo>
                  <a:lnTo>
                    <a:pt x="10" y="155"/>
                  </a:lnTo>
                  <a:lnTo>
                    <a:pt x="10" y="155"/>
                  </a:lnTo>
                  <a:lnTo>
                    <a:pt x="10" y="157"/>
                  </a:lnTo>
                  <a:lnTo>
                    <a:pt x="10" y="157"/>
                  </a:lnTo>
                  <a:lnTo>
                    <a:pt x="10" y="157"/>
                  </a:lnTo>
                  <a:lnTo>
                    <a:pt x="10" y="160"/>
                  </a:lnTo>
                  <a:lnTo>
                    <a:pt x="10" y="160"/>
                  </a:lnTo>
                  <a:lnTo>
                    <a:pt x="10" y="163"/>
                  </a:lnTo>
                  <a:lnTo>
                    <a:pt x="13" y="163"/>
                  </a:lnTo>
                  <a:lnTo>
                    <a:pt x="13" y="163"/>
                  </a:lnTo>
                  <a:lnTo>
                    <a:pt x="13" y="163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65"/>
                  </a:lnTo>
                  <a:lnTo>
                    <a:pt x="18" y="165"/>
                  </a:lnTo>
                  <a:lnTo>
                    <a:pt x="18" y="163"/>
                  </a:lnTo>
                  <a:lnTo>
                    <a:pt x="18" y="163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21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5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4" y="152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7" y="147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2" y="149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9"/>
                  </a:lnTo>
                  <a:lnTo>
                    <a:pt x="48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3" y="155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6" y="160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3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5"/>
                  </a:lnTo>
                  <a:lnTo>
                    <a:pt x="58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3"/>
                  </a:lnTo>
                  <a:lnTo>
                    <a:pt x="58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76"/>
                  </a:lnTo>
                  <a:lnTo>
                    <a:pt x="64" y="176"/>
                  </a:lnTo>
                  <a:lnTo>
                    <a:pt x="64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6" y="176"/>
                  </a:lnTo>
                  <a:lnTo>
                    <a:pt x="69" y="179"/>
                  </a:lnTo>
                  <a:lnTo>
                    <a:pt x="69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2" y="179"/>
                  </a:lnTo>
                  <a:lnTo>
                    <a:pt x="74" y="179"/>
                  </a:lnTo>
                  <a:lnTo>
                    <a:pt x="74" y="179"/>
                  </a:lnTo>
                  <a:lnTo>
                    <a:pt x="74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77" y="176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2" y="173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8" y="168"/>
                  </a:lnTo>
                  <a:lnTo>
                    <a:pt x="88" y="168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5"/>
                  </a:lnTo>
                  <a:lnTo>
                    <a:pt x="90" y="163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60"/>
                  </a:lnTo>
                  <a:lnTo>
                    <a:pt x="93" y="160"/>
                  </a:lnTo>
                  <a:lnTo>
                    <a:pt x="93" y="157"/>
                  </a:lnTo>
                  <a:lnTo>
                    <a:pt x="93" y="157"/>
                  </a:lnTo>
                  <a:lnTo>
                    <a:pt x="93" y="155"/>
                  </a:lnTo>
                  <a:lnTo>
                    <a:pt x="93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8" y="152"/>
                  </a:lnTo>
                  <a:lnTo>
                    <a:pt x="98" y="152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98" y="157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6" y="163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9" y="160"/>
                  </a:lnTo>
                  <a:lnTo>
                    <a:pt x="112" y="160"/>
                  </a:lnTo>
                  <a:lnTo>
                    <a:pt x="112" y="160"/>
                  </a:lnTo>
                  <a:lnTo>
                    <a:pt x="114" y="157"/>
                  </a:lnTo>
                  <a:lnTo>
                    <a:pt x="114" y="157"/>
                  </a:lnTo>
                  <a:lnTo>
                    <a:pt x="114" y="157"/>
                  </a:lnTo>
                  <a:lnTo>
                    <a:pt x="117" y="155"/>
                  </a:lnTo>
                  <a:lnTo>
                    <a:pt x="117" y="155"/>
                  </a:lnTo>
                  <a:lnTo>
                    <a:pt x="120" y="155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49"/>
                  </a:lnTo>
                  <a:lnTo>
                    <a:pt x="117" y="149"/>
                  </a:lnTo>
                  <a:lnTo>
                    <a:pt x="117" y="149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7" y="144"/>
                  </a:lnTo>
                  <a:lnTo>
                    <a:pt x="117" y="144"/>
                  </a:lnTo>
                  <a:lnTo>
                    <a:pt x="120" y="141"/>
                  </a:lnTo>
                  <a:lnTo>
                    <a:pt x="120" y="141"/>
                  </a:lnTo>
                  <a:lnTo>
                    <a:pt x="122" y="139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3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5" y="131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3"/>
                  </a:lnTo>
                  <a:lnTo>
                    <a:pt x="125" y="123"/>
                  </a:lnTo>
                  <a:lnTo>
                    <a:pt x="125" y="120"/>
                  </a:lnTo>
                  <a:lnTo>
                    <a:pt x="125" y="120"/>
                  </a:lnTo>
                  <a:lnTo>
                    <a:pt x="125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0" y="115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9"/>
                  </a:lnTo>
                  <a:lnTo>
                    <a:pt x="130" y="107"/>
                  </a:lnTo>
                  <a:lnTo>
                    <a:pt x="133" y="107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0" y="104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6"/>
                  </a:lnTo>
                  <a:lnTo>
                    <a:pt x="130" y="96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5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2" y="77"/>
                  </a:lnTo>
                  <a:lnTo>
                    <a:pt x="122" y="77"/>
                  </a:lnTo>
                  <a:lnTo>
                    <a:pt x="122" y="75"/>
                  </a:lnTo>
                  <a:lnTo>
                    <a:pt x="122" y="75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0" y="72"/>
                  </a:lnTo>
                  <a:lnTo>
                    <a:pt x="122" y="6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3" name="Oval 8972">
              <a:extLst>
                <a:ext uri="{FF2B5EF4-FFF2-40B4-BE49-F238E27FC236}">
                  <a16:creationId xmlns:a16="http://schemas.microsoft.com/office/drawing/2014/main" id="{2C54F8E7-19B0-FB4B-8187-E3F16D3F8A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29052" y="6234111"/>
              <a:ext cx="55562" cy="58738"/>
            </a:xfrm>
            <a:prstGeom prst="ellips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4" name="Oval 8973">
              <a:extLst>
                <a:ext uri="{FF2B5EF4-FFF2-40B4-BE49-F238E27FC236}">
                  <a16:creationId xmlns:a16="http://schemas.microsoft.com/office/drawing/2014/main" id="{8E8D6C27-874F-B142-A9F1-F86130A08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29052" y="6234108"/>
              <a:ext cx="55562" cy="58738"/>
            </a:xfrm>
            <a:prstGeom prst="ellips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  <p:sp>
          <p:nvSpPr>
            <p:cNvPr id="545" name="Freeform 8974">
              <a:extLst>
                <a:ext uri="{FF2B5EF4-FFF2-40B4-BE49-F238E27FC236}">
                  <a16:creationId xmlns:a16="http://schemas.microsoft.com/office/drawing/2014/main" id="{A1616929-6447-F54C-8BBB-603F38D2963C}"/>
                </a:ext>
              </a:extLst>
            </p:cNvPr>
            <p:cNvSpPr/>
            <p:nvPr/>
          </p:nvSpPr>
          <p:spPr bwMode="auto">
            <a:xfrm>
              <a:off x="1267620" y="5521325"/>
              <a:ext cx="215899" cy="220663"/>
            </a:xfrm>
            <a:custGeom>
              <a:avLst/>
              <a:gdLst>
                <a:gd name="T0" fmla="*/ 5 w 136"/>
                <a:gd name="T1" fmla="*/ 85 h 139"/>
                <a:gd name="T2" fmla="*/ 16 w 136"/>
                <a:gd name="T3" fmla="*/ 72 h 139"/>
                <a:gd name="T4" fmla="*/ 21 w 136"/>
                <a:gd name="T5" fmla="*/ 56 h 139"/>
                <a:gd name="T6" fmla="*/ 21 w 136"/>
                <a:gd name="T7" fmla="*/ 37 h 139"/>
                <a:gd name="T8" fmla="*/ 19 w 136"/>
                <a:gd name="T9" fmla="*/ 21 h 139"/>
                <a:gd name="T10" fmla="*/ 27 w 136"/>
                <a:gd name="T11" fmla="*/ 16 h 139"/>
                <a:gd name="T12" fmla="*/ 29 w 136"/>
                <a:gd name="T13" fmla="*/ 19 h 139"/>
                <a:gd name="T14" fmla="*/ 37 w 136"/>
                <a:gd name="T15" fmla="*/ 19 h 139"/>
                <a:gd name="T16" fmla="*/ 51 w 136"/>
                <a:gd name="T17" fmla="*/ 5 h 139"/>
                <a:gd name="T18" fmla="*/ 59 w 136"/>
                <a:gd name="T19" fmla="*/ 13 h 139"/>
                <a:gd name="T20" fmla="*/ 83 w 136"/>
                <a:gd name="T21" fmla="*/ 13 h 139"/>
                <a:gd name="T22" fmla="*/ 88 w 136"/>
                <a:gd name="T23" fmla="*/ 21 h 139"/>
                <a:gd name="T24" fmla="*/ 91 w 136"/>
                <a:gd name="T25" fmla="*/ 27 h 139"/>
                <a:gd name="T26" fmla="*/ 96 w 136"/>
                <a:gd name="T27" fmla="*/ 27 h 139"/>
                <a:gd name="T28" fmla="*/ 99 w 136"/>
                <a:gd name="T29" fmla="*/ 32 h 139"/>
                <a:gd name="T30" fmla="*/ 104 w 136"/>
                <a:gd name="T31" fmla="*/ 40 h 139"/>
                <a:gd name="T32" fmla="*/ 102 w 136"/>
                <a:gd name="T33" fmla="*/ 43 h 139"/>
                <a:gd name="T34" fmla="*/ 107 w 136"/>
                <a:gd name="T35" fmla="*/ 45 h 139"/>
                <a:gd name="T36" fmla="*/ 112 w 136"/>
                <a:gd name="T37" fmla="*/ 48 h 139"/>
                <a:gd name="T38" fmla="*/ 118 w 136"/>
                <a:gd name="T39" fmla="*/ 45 h 139"/>
                <a:gd name="T40" fmla="*/ 126 w 136"/>
                <a:gd name="T41" fmla="*/ 45 h 139"/>
                <a:gd name="T42" fmla="*/ 128 w 136"/>
                <a:gd name="T43" fmla="*/ 43 h 139"/>
                <a:gd name="T44" fmla="*/ 134 w 136"/>
                <a:gd name="T45" fmla="*/ 45 h 139"/>
                <a:gd name="T46" fmla="*/ 131 w 136"/>
                <a:gd name="T47" fmla="*/ 48 h 139"/>
                <a:gd name="T48" fmla="*/ 131 w 136"/>
                <a:gd name="T49" fmla="*/ 53 h 139"/>
                <a:gd name="T50" fmla="*/ 128 w 136"/>
                <a:gd name="T51" fmla="*/ 56 h 139"/>
                <a:gd name="T52" fmla="*/ 131 w 136"/>
                <a:gd name="T53" fmla="*/ 59 h 139"/>
                <a:gd name="T54" fmla="*/ 136 w 136"/>
                <a:gd name="T55" fmla="*/ 61 h 139"/>
                <a:gd name="T56" fmla="*/ 131 w 136"/>
                <a:gd name="T57" fmla="*/ 69 h 139"/>
                <a:gd name="T58" fmla="*/ 126 w 136"/>
                <a:gd name="T59" fmla="*/ 72 h 139"/>
                <a:gd name="T60" fmla="*/ 118 w 136"/>
                <a:gd name="T61" fmla="*/ 72 h 139"/>
                <a:gd name="T62" fmla="*/ 112 w 136"/>
                <a:gd name="T63" fmla="*/ 77 h 139"/>
                <a:gd name="T64" fmla="*/ 110 w 136"/>
                <a:gd name="T65" fmla="*/ 83 h 139"/>
                <a:gd name="T66" fmla="*/ 102 w 136"/>
                <a:gd name="T67" fmla="*/ 85 h 139"/>
                <a:gd name="T68" fmla="*/ 99 w 136"/>
                <a:gd name="T69" fmla="*/ 91 h 139"/>
                <a:gd name="T70" fmla="*/ 99 w 136"/>
                <a:gd name="T71" fmla="*/ 99 h 139"/>
                <a:gd name="T72" fmla="*/ 94 w 136"/>
                <a:gd name="T73" fmla="*/ 109 h 139"/>
                <a:gd name="T74" fmla="*/ 88 w 136"/>
                <a:gd name="T75" fmla="*/ 117 h 139"/>
                <a:gd name="T76" fmla="*/ 91 w 136"/>
                <a:gd name="T77" fmla="*/ 123 h 139"/>
                <a:gd name="T78" fmla="*/ 88 w 136"/>
                <a:gd name="T79" fmla="*/ 128 h 139"/>
                <a:gd name="T80" fmla="*/ 86 w 136"/>
                <a:gd name="T81" fmla="*/ 133 h 139"/>
                <a:gd name="T82" fmla="*/ 78 w 136"/>
                <a:gd name="T83" fmla="*/ 128 h 139"/>
                <a:gd name="T84" fmla="*/ 70 w 136"/>
                <a:gd name="T85" fmla="*/ 125 h 139"/>
                <a:gd name="T86" fmla="*/ 59 w 136"/>
                <a:gd name="T87" fmla="*/ 125 h 139"/>
                <a:gd name="T88" fmla="*/ 56 w 136"/>
                <a:gd name="T89" fmla="*/ 136 h 139"/>
                <a:gd name="T90" fmla="*/ 51 w 136"/>
                <a:gd name="T91" fmla="*/ 131 h 139"/>
                <a:gd name="T92" fmla="*/ 48 w 136"/>
                <a:gd name="T93" fmla="*/ 133 h 139"/>
                <a:gd name="T94" fmla="*/ 45 w 136"/>
                <a:gd name="T95" fmla="*/ 133 h 139"/>
                <a:gd name="T96" fmla="*/ 37 w 136"/>
                <a:gd name="T97" fmla="*/ 136 h 139"/>
                <a:gd name="T98" fmla="*/ 27 w 136"/>
                <a:gd name="T99" fmla="*/ 139 h 139"/>
                <a:gd name="T100" fmla="*/ 19 w 136"/>
                <a:gd name="T101" fmla="*/ 136 h 139"/>
                <a:gd name="T102" fmla="*/ 16 w 136"/>
                <a:gd name="T103" fmla="*/ 133 h 139"/>
                <a:gd name="T104" fmla="*/ 11 w 136"/>
                <a:gd name="T105" fmla="*/ 128 h 139"/>
                <a:gd name="T106" fmla="*/ 5 w 136"/>
                <a:gd name="T107" fmla="*/ 123 h 139"/>
                <a:gd name="T108" fmla="*/ 0 w 136"/>
                <a:gd name="T109" fmla="*/ 123 h 139"/>
                <a:gd name="T110" fmla="*/ 0 w 136"/>
                <a:gd name="T111" fmla="*/ 11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6" h="139" extrusionOk="0">
                  <a:moveTo>
                    <a:pt x="0" y="99"/>
                  </a:moveTo>
                  <a:lnTo>
                    <a:pt x="3" y="96"/>
                  </a:lnTo>
                  <a:lnTo>
                    <a:pt x="5" y="93"/>
                  </a:lnTo>
                  <a:lnTo>
                    <a:pt x="5" y="85"/>
                  </a:lnTo>
                  <a:lnTo>
                    <a:pt x="8" y="85"/>
                  </a:lnTo>
                  <a:lnTo>
                    <a:pt x="11" y="80"/>
                  </a:lnTo>
                  <a:lnTo>
                    <a:pt x="13" y="75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4"/>
                  </a:lnTo>
                  <a:lnTo>
                    <a:pt x="19" y="61"/>
                  </a:lnTo>
                  <a:lnTo>
                    <a:pt x="21" y="56"/>
                  </a:lnTo>
                  <a:lnTo>
                    <a:pt x="21" y="51"/>
                  </a:lnTo>
                  <a:lnTo>
                    <a:pt x="21" y="48"/>
                  </a:lnTo>
                  <a:lnTo>
                    <a:pt x="21" y="43"/>
                  </a:lnTo>
                  <a:lnTo>
                    <a:pt x="21" y="37"/>
                  </a:lnTo>
                  <a:lnTo>
                    <a:pt x="21" y="32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19" y="21"/>
                  </a:lnTo>
                  <a:lnTo>
                    <a:pt x="21" y="19"/>
                  </a:lnTo>
                  <a:lnTo>
                    <a:pt x="27" y="16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6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3" y="0"/>
                  </a:lnTo>
                  <a:lnTo>
                    <a:pt x="62" y="5"/>
                  </a:lnTo>
                  <a:lnTo>
                    <a:pt x="59" y="13"/>
                  </a:lnTo>
                  <a:lnTo>
                    <a:pt x="72" y="21"/>
                  </a:lnTo>
                  <a:lnTo>
                    <a:pt x="78" y="11"/>
                  </a:lnTo>
                  <a:lnTo>
                    <a:pt x="80" y="13"/>
                  </a:lnTo>
                  <a:lnTo>
                    <a:pt x="83" y="13"/>
                  </a:lnTo>
                  <a:lnTo>
                    <a:pt x="86" y="16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1" y="27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27"/>
                  </a:lnTo>
                  <a:lnTo>
                    <a:pt x="99" y="27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2"/>
                  </a:lnTo>
                  <a:lnTo>
                    <a:pt x="110" y="37"/>
                  </a:lnTo>
                  <a:lnTo>
                    <a:pt x="107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2" y="40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4" y="48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0" y="48"/>
                  </a:lnTo>
                  <a:lnTo>
                    <a:pt x="112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8" y="45"/>
                  </a:lnTo>
                  <a:lnTo>
                    <a:pt x="118" y="45"/>
                  </a:lnTo>
                  <a:lnTo>
                    <a:pt x="118" y="43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5"/>
                  </a:lnTo>
                  <a:lnTo>
                    <a:pt x="134" y="45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3"/>
                  </a:lnTo>
                  <a:lnTo>
                    <a:pt x="128" y="53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31" y="59"/>
                  </a:lnTo>
                  <a:lnTo>
                    <a:pt x="131" y="61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6" y="61"/>
                  </a:lnTo>
                  <a:lnTo>
                    <a:pt x="136" y="64"/>
                  </a:lnTo>
                  <a:lnTo>
                    <a:pt x="134" y="64"/>
                  </a:lnTo>
                  <a:lnTo>
                    <a:pt x="134" y="67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8" y="69"/>
                  </a:lnTo>
                  <a:lnTo>
                    <a:pt x="128" y="69"/>
                  </a:lnTo>
                  <a:lnTo>
                    <a:pt x="126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0" y="72"/>
                  </a:lnTo>
                  <a:lnTo>
                    <a:pt x="118" y="72"/>
                  </a:lnTo>
                  <a:lnTo>
                    <a:pt x="118" y="75"/>
                  </a:lnTo>
                  <a:lnTo>
                    <a:pt x="115" y="77"/>
                  </a:lnTo>
                  <a:lnTo>
                    <a:pt x="115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0" y="83"/>
                  </a:lnTo>
                  <a:lnTo>
                    <a:pt x="110" y="83"/>
                  </a:lnTo>
                  <a:lnTo>
                    <a:pt x="107" y="83"/>
                  </a:lnTo>
                  <a:lnTo>
                    <a:pt x="104" y="85"/>
                  </a:lnTo>
                  <a:lnTo>
                    <a:pt x="102" y="85"/>
                  </a:lnTo>
                  <a:lnTo>
                    <a:pt x="102" y="85"/>
                  </a:lnTo>
                  <a:lnTo>
                    <a:pt x="102" y="85"/>
                  </a:lnTo>
                  <a:lnTo>
                    <a:pt x="99" y="88"/>
                  </a:lnTo>
                  <a:lnTo>
                    <a:pt x="99" y="91"/>
                  </a:lnTo>
                  <a:lnTo>
                    <a:pt x="99" y="91"/>
                  </a:lnTo>
                  <a:lnTo>
                    <a:pt x="99" y="93"/>
                  </a:lnTo>
                  <a:lnTo>
                    <a:pt x="99" y="96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4" y="109"/>
                  </a:lnTo>
                  <a:lnTo>
                    <a:pt x="91" y="109"/>
                  </a:lnTo>
                  <a:lnTo>
                    <a:pt x="91" y="112"/>
                  </a:lnTo>
                  <a:lnTo>
                    <a:pt x="88" y="115"/>
                  </a:lnTo>
                  <a:lnTo>
                    <a:pt x="88" y="117"/>
                  </a:lnTo>
                  <a:lnTo>
                    <a:pt x="91" y="117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1" y="123"/>
                  </a:lnTo>
                  <a:lnTo>
                    <a:pt x="91" y="123"/>
                  </a:lnTo>
                  <a:lnTo>
                    <a:pt x="88" y="125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78" y="133"/>
                  </a:lnTo>
                  <a:lnTo>
                    <a:pt x="78" y="128"/>
                  </a:lnTo>
                  <a:lnTo>
                    <a:pt x="75" y="125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0" y="125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2" y="125"/>
                  </a:lnTo>
                  <a:lnTo>
                    <a:pt x="59" y="125"/>
                  </a:lnTo>
                  <a:lnTo>
                    <a:pt x="59" y="128"/>
                  </a:lnTo>
                  <a:lnTo>
                    <a:pt x="59" y="131"/>
                  </a:lnTo>
                  <a:lnTo>
                    <a:pt x="59" y="133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3" y="133"/>
                  </a:lnTo>
                  <a:lnTo>
                    <a:pt x="51" y="133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3"/>
                  </a:lnTo>
                  <a:lnTo>
                    <a:pt x="48" y="133"/>
                  </a:lnTo>
                  <a:lnTo>
                    <a:pt x="48" y="131"/>
                  </a:lnTo>
                  <a:lnTo>
                    <a:pt x="48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6"/>
                  </a:lnTo>
                  <a:lnTo>
                    <a:pt x="40" y="139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5" y="136"/>
                  </a:lnTo>
                  <a:lnTo>
                    <a:pt x="35" y="139"/>
                  </a:lnTo>
                  <a:lnTo>
                    <a:pt x="32" y="139"/>
                  </a:lnTo>
                  <a:lnTo>
                    <a:pt x="27" y="139"/>
                  </a:lnTo>
                  <a:lnTo>
                    <a:pt x="24" y="139"/>
                  </a:lnTo>
                  <a:lnTo>
                    <a:pt x="24" y="139"/>
                  </a:lnTo>
                  <a:lnTo>
                    <a:pt x="21" y="139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3"/>
                  </a:lnTo>
                  <a:lnTo>
                    <a:pt x="16" y="133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3" y="128"/>
                  </a:lnTo>
                  <a:lnTo>
                    <a:pt x="11" y="128"/>
                  </a:lnTo>
                  <a:lnTo>
                    <a:pt x="11" y="125"/>
                  </a:lnTo>
                  <a:lnTo>
                    <a:pt x="8" y="125"/>
                  </a:lnTo>
                  <a:lnTo>
                    <a:pt x="8" y="123"/>
                  </a:lnTo>
                  <a:lnTo>
                    <a:pt x="5" y="123"/>
                  </a:lnTo>
                  <a:lnTo>
                    <a:pt x="5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0" y="123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7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2"/>
                  </a:lnTo>
                  <a:lnTo>
                    <a:pt x="0" y="99"/>
                  </a:lnTo>
                  <a:close/>
                </a:path>
              </a:pathLst>
            </a:cu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>
                <a:defRPr sz="1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7">
                <a:defRPr/>
              </a:pPr>
              <a:endParaRPr lang="ru-RU" kern="0">
                <a:solidFill>
                  <a:srgbClr val="3C3C3C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/>
              </a:endParaRPr>
            </a:p>
          </p:txBody>
        </p:sp>
      </p:grpSp>
      <p:sp>
        <p:nvSpPr>
          <p:cNvPr id="546" name="Прямоугольник 545">
            <a:extLst>
              <a:ext uri="{FF2B5EF4-FFF2-40B4-BE49-F238E27FC236}">
                <a16:creationId xmlns:a16="http://schemas.microsoft.com/office/drawing/2014/main" id="{09874F72-41E6-4C4F-B7A2-2684C057C47F}"/>
              </a:ext>
            </a:extLst>
          </p:cNvPr>
          <p:cNvSpPr/>
          <p:nvPr/>
        </p:nvSpPr>
        <p:spPr>
          <a:xfrm>
            <a:off x="811212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138299D2-035D-314C-9633-19BBE60F62F7}"/>
              </a:ext>
            </a:extLst>
          </p:cNvPr>
          <p:cNvSpPr txBox="1"/>
          <p:nvPr/>
        </p:nvSpPr>
        <p:spPr>
          <a:xfrm>
            <a:off x="8240926" y="1326252"/>
            <a:ext cx="1196084" cy="2693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%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8" name="Прямоугольник 547">
            <a:extLst>
              <a:ext uri="{FF2B5EF4-FFF2-40B4-BE49-F238E27FC236}">
                <a16:creationId xmlns:a16="http://schemas.microsoft.com/office/drawing/2014/main" id="{C78E55D5-0F63-0043-8004-0E9AD0AD1E04}"/>
              </a:ext>
            </a:extLst>
          </p:cNvPr>
          <p:cNvSpPr/>
          <p:nvPr/>
        </p:nvSpPr>
        <p:spPr>
          <a:xfrm>
            <a:off x="8240926" y="1694447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49" name="Прямоугольник 548">
            <a:extLst>
              <a:ext uri="{FF2B5EF4-FFF2-40B4-BE49-F238E27FC236}">
                <a16:creationId xmlns:a16="http://schemas.microsoft.com/office/drawing/2014/main" id="{2C71C810-8637-D247-A8EF-63C5AB92AE22}"/>
              </a:ext>
            </a:extLst>
          </p:cNvPr>
          <p:cNvSpPr/>
          <p:nvPr/>
        </p:nvSpPr>
        <p:spPr>
          <a:xfrm>
            <a:off x="10067925" y="1125537"/>
            <a:ext cx="1800747" cy="1439863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dirty="0" err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3C977B02-D08F-8243-8E12-E1A3231CF4DB}"/>
              </a:ext>
            </a:extLst>
          </p:cNvPr>
          <p:cNvSpPr txBox="1"/>
          <p:nvPr/>
        </p:nvSpPr>
        <p:spPr>
          <a:xfrm>
            <a:off x="10196726" y="1326252"/>
            <a:ext cx="1196084" cy="26930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1203321">
              <a:lnSpc>
                <a:spcPts val="2133"/>
              </a:lnSpc>
            </a:pPr>
            <a:r>
              <a:rPr lang="en-US" sz="3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%</a:t>
            </a: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1" name="Прямоугольник 550">
            <a:extLst>
              <a:ext uri="{FF2B5EF4-FFF2-40B4-BE49-F238E27FC236}">
                <a16:creationId xmlns:a16="http://schemas.microsoft.com/office/drawing/2014/main" id="{D21E241C-0561-C746-9D55-A7AF9F1C662D}"/>
              </a:ext>
            </a:extLst>
          </p:cNvPr>
          <p:cNvSpPr/>
          <p:nvPr/>
        </p:nvSpPr>
        <p:spPr>
          <a:xfrm>
            <a:off x="10196726" y="1694447"/>
            <a:ext cx="160843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400"/>
              </a:spcBef>
              <a:buClr>
                <a:srgbClr val="0070BA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aphicFrame>
        <p:nvGraphicFramePr>
          <p:cNvPr id="553" name="Таблица 552">
            <a:extLst>
              <a:ext uri="{FF2B5EF4-FFF2-40B4-BE49-F238E27FC236}">
                <a16:creationId xmlns:a16="http://schemas.microsoft.com/office/drawing/2014/main" id="{63016EBE-ADB7-1F43-9163-197B084C447D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6440176"/>
              </p:ext>
            </p:extLst>
          </p:nvPr>
        </p:nvGraphicFramePr>
        <p:xfrm>
          <a:off x="8122574" y="2708275"/>
          <a:ext cx="3746098" cy="349250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25038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2271">
                  <a:extLst>
                    <a:ext uri="{9D8B030D-6E8A-4147-A177-3AD203B41FA5}">
                      <a16:colId xmlns:a16="http://schemas.microsoft.com/office/drawing/2014/main" val="404444048"/>
                    </a:ext>
                  </a:extLst>
                </a:gridCol>
              </a:tblGrid>
              <a:tr h="658953"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400" b="1" i="0" spc="30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+mn-cs"/>
                      </a:endParaRPr>
                    </a:p>
                  </a:txBody>
                  <a:tcPr marL="36000" marR="36000" marT="360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7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3133790"/>
                  </a:ext>
                </a:extLst>
              </a:tr>
              <a:tr h="541546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4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8382577"/>
                  </a:ext>
                </a:extLst>
              </a:tr>
              <a:tr h="541546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35 501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414003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1</a:t>
                      </a:r>
                      <a:r>
                        <a:rPr lang="ru-RU" sz="1200" b="0" i="0" kern="120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 034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DIN Pro Cond Medium" panose="020B0606020101010102" pitchFamily="34" charset="-52"/>
                      </a:endParaRP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0,8%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7828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  <a:spcBef>
                          <a:spcPts val="300"/>
                        </a:spcBef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260 000</a:t>
                      </a:r>
                    </a:p>
                  </a:txBody>
                  <a:tcPr marL="180000" marR="180000" marT="72000" marB="72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388620"/>
                  </a:ext>
                </a:extLst>
              </a:tr>
              <a:tr h="616971">
                <a:tc>
                  <a:txBody>
                    <a:bodyPr/>
                    <a:lstStyle/>
                    <a:p>
                      <a:pPr algn="l">
                        <a:lnSpc>
                          <a:spcPts val="18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" panose="020B0506020101010102" pitchFamily="34" charset="-52"/>
                        </a:rPr>
                        <a:t>Текст</a:t>
                      </a:r>
                    </a:p>
                  </a:txBody>
                  <a:tcPr marL="144000" marR="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47</a:t>
                      </a:r>
                      <a:r>
                        <a:rPr lang="en-US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,</a:t>
                      </a: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DIN Pro Cond Medium" panose="020B0606020101010102" pitchFamily="34" charset="-52"/>
                        </a:rPr>
                        <a:t>5%</a:t>
                      </a:r>
                    </a:p>
                  </a:txBody>
                  <a:tcPr marL="180000" marR="180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148108"/>
                  </a:ext>
                </a:extLst>
              </a:tr>
            </a:tbl>
          </a:graphicData>
        </a:graphic>
      </p:graphicFrame>
      <p:sp>
        <p:nvSpPr>
          <p:cNvPr id="554" name="TextBox 553">
            <a:extLst>
              <a:ext uri="{FF2B5EF4-FFF2-40B4-BE49-F238E27FC236}">
                <a16:creationId xmlns:a16="http://schemas.microsoft.com/office/drawing/2014/main" id="{B5544279-8724-EA44-B651-7AB3968D10B8}"/>
              </a:ext>
            </a:extLst>
          </p:cNvPr>
          <p:cNvSpPr txBox="1"/>
          <p:nvPr/>
        </p:nvSpPr>
        <p:spPr>
          <a:xfrm>
            <a:off x="1912167" y="1919567"/>
            <a:ext cx="1800747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443C8A08-BE30-E649-BB3C-23FD9183FA50}"/>
              </a:ext>
            </a:extLst>
          </p:cNvPr>
          <p:cNvSpPr txBox="1"/>
          <p:nvPr/>
        </p:nvSpPr>
        <p:spPr>
          <a:xfrm>
            <a:off x="3079115" y="5308563"/>
            <a:ext cx="1800747" cy="5078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cap="all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558" name="Прямая соединительная линия 278">
            <a:extLst>
              <a:ext uri="{FF2B5EF4-FFF2-40B4-BE49-F238E27FC236}">
                <a16:creationId xmlns:a16="http://schemas.microsoft.com/office/drawing/2014/main" id="{BD2D91BA-A58E-6E4F-8DEA-84E6880D110B}"/>
              </a:ext>
            </a:extLst>
          </p:cNvPr>
          <p:cNvCxnSpPr>
            <a:cxnSpLocks/>
          </p:cNvCxnSpPr>
          <p:nvPr/>
        </p:nvCxnSpPr>
        <p:spPr bwMode="auto">
          <a:xfrm flipV="1">
            <a:off x="1836892" y="1916113"/>
            <a:ext cx="0" cy="84961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9" name="Прямая соединительная линия 278">
            <a:extLst>
              <a:ext uri="{FF2B5EF4-FFF2-40B4-BE49-F238E27FC236}">
                <a16:creationId xmlns:a16="http://schemas.microsoft.com/office/drawing/2014/main" id="{E009C082-D0C9-6848-82E3-C2BF6907AADB}"/>
              </a:ext>
            </a:extLst>
          </p:cNvPr>
          <p:cNvCxnSpPr>
            <a:cxnSpLocks/>
          </p:cNvCxnSpPr>
          <p:nvPr/>
        </p:nvCxnSpPr>
        <p:spPr bwMode="auto">
          <a:xfrm flipV="1">
            <a:off x="3019897" y="4922203"/>
            <a:ext cx="0" cy="84961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13A6820-CB53-C801-1DE5-2CBA935CE8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312087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ПИСКИ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FE1341-AE62-1099-2280-B4F7755D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4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47998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2" hidden="1">
            <a:extLst>
              <a:ext uri="{FF2B5EF4-FFF2-40B4-BE49-F238E27FC236}">
                <a16:creationId xmlns:a16="http://schemas.microsoft.com/office/drawing/2014/main" id="{94B1BD51-5B5A-7854-6CFA-947AD64046AF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13" name="Group 1">
              <a:extLst>
                <a:ext uri="{FF2B5EF4-FFF2-40B4-BE49-F238E27FC236}">
                  <a16:creationId xmlns:a16="http://schemas.microsoft.com/office/drawing/2014/main" id="{7F534828-59DD-F5C4-639D-90065A53EBD4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98" name="Freeform: Shape 15">
                <a:extLst>
                  <a:ext uri="{FF2B5EF4-FFF2-40B4-BE49-F238E27FC236}">
                    <a16:creationId xmlns:a16="http://schemas.microsoft.com/office/drawing/2014/main" id="{75CBCA22-C913-92B7-629A-9F708D697B0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16">
                <a:extLst>
                  <a:ext uri="{FF2B5EF4-FFF2-40B4-BE49-F238E27FC236}">
                    <a16:creationId xmlns:a16="http://schemas.microsoft.com/office/drawing/2014/main" id="{F8C12BC9-3B4E-C3CE-6CE1-0770741873C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17">
                <a:extLst>
                  <a:ext uri="{FF2B5EF4-FFF2-40B4-BE49-F238E27FC236}">
                    <a16:creationId xmlns:a16="http://schemas.microsoft.com/office/drawing/2014/main" id="{03E38B0B-D866-5644-49FE-83F98C3ECD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8">
                <a:extLst>
                  <a:ext uri="{FF2B5EF4-FFF2-40B4-BE49-F238E27FC236}">
                    <a16:creationId xmlns:a16="http://schemas.microsoft.com/office/drawing/2014/main" id="{5EA6FEAA-71D9-A563-AE21-8B48863D0F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9">
                <a:extLst>
                  <a:ext uri="{FF2B5EF4-FFF2-40B4-BE49-F238E27FC236}">
                    <a16:creationId xmlns:a16="http://schemas.microsoft.com/office/drawing/2014/main" id="{B2827946-F1E6-6736-1E22-E8C24B093B9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20">
                <a:extLst>
                  <a:ext uri="{FF2B5EF4-FFF2-40B4-BE49-F238E27FC236}">
                    <a16:creationId xmlns:a16="http://schemas.microsoft.com/office/drawing/2014/main" id="{63732A93-0052-0314-F122-FA3C18F441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21">
                <a:extLst>
                  <a:ext uri="{FF2B5EF4-FFF2-40B4-BE49-F238E27FC236}">
                    <a16:creationId xmlns:a16="http://schemas.microsoft.com/office/drawing/2014/main" id="{CFD51A93-BF8F-2F4E-FB2F-1716FCDFA1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22">
                <a:extLst>
                  <a:ext uri="{FF2B5EF4-FFF2-40B4-BE49-F238E27FC236}">
                    <a16:creationId xmlns:a16="http://schemas.microsoft.com/office/drawing/2014/main" id="{5A853361-34AB-580F-BC2A-9B48F62D22C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23">
                <a:extLst>
                  <a:ext uri="{FF2B5EF4-FFF2-40B4-BE49-F238E27FC236}">
                    <a16:creationId xmlns:a16="http://schemas.microsoft.com/office/drawing/2014/main" id="{98EDBFEF-0510-31D8-FD0E-42D7D150213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24">
                <a:extLst>
                  <a:ext uri="{FF2B5EF4-FFF2-40B4-BE49-F238E27FC236}">
                    <a16:creationId xmlns:a16="http://schemas.microsoft.com/office/drawing/2014/main" id="{494ED83A-610B-A58B-D4A7-3D683901830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25">
                <a:extLst>
                  <a:ext uri="{FF2B5EF4-FFF2-40B4-BE49-F238E27FC236}">
                    <a16:creationId xmlns:a16="http://schemas.microsoft.com/office/drawing/2014/main" id="{C58A771C-9B81-39DF-DB36-71799200982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26">
                <a:extLst>
                  <a:ext uri="{FF2B5EF4-FFF2-40B4-BE49-F238E27FC236}">
                    <a16:creationId xmlns:a16="http://schemas.microsoft.com/office/drawing/2014/main" id="{D92B27B7-AD4F-A35B-C2CF-D8597943F4E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Freeform: Shape 27">
              <a:extLst>
                <a:ext uri="{FF2B5EF4-FFF2-40B4-BE49-F238E27FC236}">
                  <a16:creationId xmlns:a16="http://schemas.microsoft.com/office/drawing/2014/main" id="{DB10138E-1DA1-9477-A641-C3CAC650E16B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28">
              <a:extLst>
                <a:ext uri="{FF2B5EF4-FFF2-40B4-BE49-F238E27FC236}">
                  <a16:creationId xmlns:a16="http://schemas.microsoft.com/office/drawing/2014/main" id="{8FEECBDF-8677-BB9C-6283-19CFB515F21B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29">
              <a:extLst>
                <a:ext uri="{FF2B5EF4-FFF2-40B4-BE49-F238E27FC236}">
                  <a16:creationId xmlns:a16="http://schemas.microsoft.com/office/drawing/2014/main" id="{1F9B1F63-080C-1DCE-D847-8BB27B7A5776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30">
              <a:extLst>
                <a:ext uri="{FF2B5EF4-FFF2-40B4-BE49-F238E27FC236}">
                  <a16:creationId xmlns:a16="http://schemas.microsoft.com/office/drawing/2014/main" id="{90FC0C75-CBD2-0403-16F9-5F60B93D196E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31">
              <a:extLst>
                <a:ext uri="{FF2B5EF4-FFF2-40B4-BE49-F238E27FC236}">
                  <a16:creationId xmlns:a16="http://schemas.microsoft.com/office/drawing/2014/main" id="{A6AFB60E-91A4-DC4D-9437-C813ADF9F534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32">
              <a:extLst>
                <a:ext uri="{FF2B5EF4-FFF2-40B4-BE49-F238E27FC236}">
                  <a16:creationId xmlns:a16="http://schemas.microsoft.com/office/drawing/2014/main" id="{4E37CC69-08D6-9D7F-A7FF-B96C9975FA2F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33">
              <a:extLst>
                <a:ext uri="{FF2B5EF4-FFF2-40B4-BE49-F238E27FC236}">
                  <a16:creationId xmlns:a16="http://schemas.microsoft.com/office/drawing/2014/main" id="{23065F33-1F4E-D412-1843-4C8C6A091043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34">
              <a:extLst>
                <a:ext uri="{FF2B5EF4-FFF2-40B4-BE49-F238E27FC236}">
                  <a16:creationId xmlns:a16="http://schemas.microsoft.com/office/drawing/2014/main" id="{D9821898-0200-35C8-7BA5-8E09C2575605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35">
              <a:extLst>
                <a:ext uri="{FF2B5EF4-FFF2-40B4-BE49-F238E27FC236}">
                  <a16:creationId xmlns:a16="http://schemas.microsoft.com/office/drawing/2014/main" id="{10DF89CC-1A63-7CEB-147E-CD258404F29B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6">
              <a:extLst>
                <a:ext uri="{FF2B5EF4-FFF2-40B4-BE49-F238E27FC236}">
                  <a16:creationId xmlns:a16="http://schemas.microsoft.com/office/drawing/2014/main" id="{1F190741-E0E0-5292-B5C7-ADF54696109A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37">
              <a:extLst>
                <a:ext uri="{FF2B5EF4-FFF2-40B4-BE49-F238E27FC236}">
                  <a16:creationId xmlns:a16="http://schemas.microsoft.com/office/drawing/2014/main" id="{17B5ED8D-A1E1-AC8A-5372-10B6B6A5DFB7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38">
              <a:extLst>
                <a:ext uri="{FF2B5EF4-FFF2-40B4-BE49-F238E27FC236}">
                  <a16:creationId xmlns:a16="http://schemas.microsoft.com/office/drawing/2014/main" id="{01869EAA-134C-8238-B4FB-4621821E1D12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39">
              <a:extLst>
                <a:ext uri="{FF2B5EF4-FFF2-40B4-BE49-F238E27FC236}">
                  <a16:creationId xmlns:a16="http://schemas.microsoft.com/office/drawing/2014/main" id="{03A22EEE-A549-5E17-66EE-3948F20C66C8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40">
              <a:extLst>
                <a:ext uri="{FF2B5EF4-FFF2-40B4-BE49-F238E27FC236}">
                  <a16:creationId xmlns:a16="http://schemas.microsoft.com/office/drawing/2014/main" id="{3AE3BFE5-895C-1543-051E-B7EE73508BB7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41">
              <a:extLst>
                <a:ext uri="{FF2B5EF4-FFF2-40B4-BE49-F238E27FC236}">
                  <a16:creationId xmlns:a16="http://schemas.microsoft.com/office/drawing/2014/main" id="{428C5045-0169-6DFB-C2C1-05A9E03DB7CB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42">
              <a:extLst>
                <a:ext uri="{FF2B5EF4-FFF2-40B4-BE49-F238E27FC236}">
                  <a16:creationId xmlns:a16="http://schemas.microsoft.com/office/drawing/2014/main" id="{06E2F1D0-D7DC-9BC6-B36F-4F1360635DD9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43">
              <a:extLst>
                <a:ext uri="{FF2B5EF4-FFF2-40B4-BE49-F238E27FC236}">
                  <a16:creationId xmlns:a16="http://schemas.microsoft.com/office/drawing/2014/main" id="{2CB0DCF6-8113-4C3D-9C64-3290366E8DEB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44">
              <a:extLst>
                <a:ext uri="{FF2B5EF4-FFF2-40B4-BE49-F238E27FC236}">
                  <a16:creationId xmlns:a16="http://schemas.microsoft.com/office/drawing/2014/main" id="{48640BB3-B92D-78AD-F03A-32F661B4B391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45">
              <a:extLst>
                <a:ext uri="{FF2B5EF4-FFF2-40B4-BE49-F238E27FC236}">
                  <a16:creationId xmlns:a16="http://schemas.microsoft.com/office/drawing/2014/main" id="{0DC9BC95-D115-3C31-6769-EED020D75A49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46">
              <a:extLst>
                <a:ext uri="{FF2B5EF4-FFF2-40B4-BE49-F238E27FC236}">
                  <a16:creationId xmlns:a16="http://schemas.microsoft.com/office/drawing/2014/main" id="{B88F48A6-D3CA-C2A8-C76B-4D75F9B1F9B8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47">
              <a:extLst>
                <a:ext uri="{FF2B5EF4-FFF2-40B4-BE49-F238E27FC236}">
                  <a16:creationId xmlns:a16="http://schemas.microsoft.com/office/drawing/2014/main" id="{1434C6B9-76B7-DB92-72EE-7AFBAAB19322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48">
              <a:extLst>
                <a:ext uri="{FF2B5EF4-FFF2-40B4-BE49-F238E27FC236}">
                  <a16:creationId xmlns:a16="http://schemas.microsoft.com/office/drawing/2014/main" id="{E27481C8-B915-73D8-9942-F1BAE6BA48A6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49">
              <a:extLst>
                <a:ext uri="{FF2B5EF4-FFF2-40B4-BE49-F238E27FC236}">
                  <a16:creationId xmlns:a16="http://schemas.microsoft.com/office/drawing/2014/main" id="{38207234-35C4-A438-53D0-2AD25CC40D9D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50">
              <a:extLst>
                <a:ext uri="{FF2B5EF4-FFF2-40B4-BE49-F238E27FC236}">
                  <a16:creationId xmlns:a16="http://schemas.microsoft.com/office/drawing/2014/main" id="{EAB2F04C-3694-FBC4-C905-0596B377CE55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51">
              <a:extLst>
                <a:ext uri="{FF2B5EF4-FFF2-40B4-BE49-F238E27FC236}">
                  <a16:creationId xmlns:a16="http://schemas.microsoft.com/office/drawing/2014/main" id="{7F482E8D-B841-6F17-33F6-4CBE6693366C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52">
              <a:extLst>
                <a:ext uri="{FF2B5EF4-FFF2-40B4-BE49-F238E27FC236}">
                  <a16:creationId xmlns:a16="http://schemas.microsoft.com/office/drawing/2014/main" id="{D576452A-8F4B-1B79-06CE-BE2DC81C60C1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53">
              <a:extLst>
                <a:ext uri="{FF2B5EF4-FFF2-40B4-BE49-F238E27FC236}">
                  <a16:creationId xmlns:a16="http://schemas.microsoft.com/office/drawing/2014/main" id="{E1384DD6-29B6-A8E1-C597-424853405B4C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54">
              <a:extLst>
                <a:ext uri="{FF2B5EF4-FFF2-40B4-BE49-F238E27FC236}">
                  <a16:creationId xmlns:a16="http://schemas.microsoft.com/office/drawing/2014/main" id="{DEA0A874-EA62-BB35-3D9E-2C9818EF8A5A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55">
              <a:extLst>
                <a:ext uri="{FF2B5EF4-FFF2-40B4-BE49-F238E27FC236}">
                  <a16:creationId xmlns:a16="http://schemas.microsoft.com/office/drawing/2014/main" id="{C46D632A-1E5F-857F-42F8-93A45017C5A1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56">
              <a:extLst>
                <a:ext uri="{FF2B5EF4-FFF2-40B4-BE49-F238E27FC236}">
                  <a16:creationId xmlns:a16="http://schemas.microsoft.com/office/drawing/2014/main" id="{CC48952B-7DD4-6D4F-DD50-46328150195B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57">
              <a:extLst>
                <a:ext uri="{FF2B5EF4-FFF2-40B4-BE49-F238E27FC236}">
                  <a16:creationId xmlns:a16="http://schemas.microsoft.com/office/drawing/2014/main" id="{253E4083-3FE1-853C-BCE5-37963487244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58">
              <a:extLst>
                <a:ext uri="{FF2B5EF4-FFF2-40B4-BE49-F238E27FC236}">
                  <a16:creationId xmlns:a16="http://schemas.microsoft.com/office/drawing/2014/main" id="{5A42EE7D-403B-958C-9785-9B9408BB8427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59">
              <a:extLst>
                <a:ext uri="{FF2B5EF4-FFF2-40B4-BE49-F238E27FC236}">
                  <a16:creationId xmlns:a16="http://schemas.microsoft.com/office/drawing/2014/main" id="{C72AF2C9-B87E-6C66-9300-B1231E2E4BFF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60">
              <a:extLst>
                <a:ext uri="{FF2B5EF4-FFF2-40B4-BE49-F238E27FC236}">
                  <a16:creationId xmlns:a16="http://schemas.microsoft.com/office/drawing/2014/main" id="{C9ADB3BB-7CF7-52F6-E5EE-F2EB31CF43CC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61">
              <a:extLst>
                <a:ext uri="{FF2B5EF4-FFF2-40B4-BE49-F238E27FC236}">
                  <a16:creationId xmlns:a16="http://schemas.microsoft.com/office/drawing/2014/main" id="{5F730610-5FEC-9BD1-62A4-51BFB61970CB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62">
              <a:extLst>
                <a:ext uri="{FF2B5EF4-FFF2-40B4-BE49-F238E27FC236}">
                  <a16:creationId xmlns:a16="http://schemas.microsoft.com/office/drawing/2014/main" id="{476A0EFF-52F0-F19F-DEBC-9A1BAD22299A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64">
              <a:extLst>
                <a:ext uri="{FF2B5EF4-FFF2-40B4-BE49-F238E27FC236}">
                  <a16:creationId xmlns:a16="http://schemas.microsoft.com/office/drawing/2014/main" id="{73F4CAF9-581E-AD56-95AA-3B69BC563EDE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65">
              <a:extLst>
                <a:ext uri="{FF2B5EF4-FFF2-40B4-BE49-F238E27FC236}">
                  <a16:creationId xmlns:a16="http://schemas.microsoft.com/office/drawing/2014/main" id="{2584AE9F-9CC5-275A-ADAC-8DD7CCD9A30D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66">
              <a:extLst>
                <a:ext uri="{FF2B5EF4-FFF2-40B4-BE49-F238E27FC236}">
                  <a16:creationId xmlns:a16="http://schemas.microsoft.com/office/drawing/2014/main" id="{2E088773-E94D-0154-873B-C1A786CBC972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67">
              <a:extLst>
                <a:ext uri="{FF2B5EF4-FFF2-40B4-BE49-F238E27FC236}">
                  <a16:creationId xmlns:a16="http://schemas.microsoft.com/office/drawing/2014/main" id="{2D660402-546D-A30D-FDD2-892812347E61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68">
              <a:extLst>
                <a:ext uri="{FF2B5EF4-FFF2-40B4-BE49-F238E27FC236}">
                  <a16:creationId xmlns:a16="http://schemas.microsoft.com/office/drawing/2014/main" id="{09C2D135-ACA4-4A2F-C101-9542B0EB9F69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69">
              <a:extLst>
                <a:ext uri="{FF2B5EF4-FFF2-40B4-BE49-F238E27FC236}">
                  <a16:creationId xmlns:a16="http://schemas.microsoft.com/office/drawing/2014/main" id="{16B0EB98-66E0-E417-FA59-8A6FB22F4E03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70">
              <a:extLst>
                <a:ext uri="{FF2B5EF4-FFF2-40B4-BE49-F238E27FC236}">
                  <a16:creationId xmlns:a16="http://schemas.microsoft.com/office/drawing/2014/main" id="{E020003B-3E60-8230-7BBC-6006EAAA8765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71">
              <a:extLst>
                <a:ext uri="{FF2B5EF4-FFF2-40B4-BE49-F238E27FC236}">
                  <a16:creationId xmlns:a16="http://schemas.microsoft.com/office/drawing/2014/main" id="{D00ACDFB-B402-49FA-4F9D-0B4FCE50BF0F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72">
              <a:extLst>
                <a:ext uri="{FF2B5EF4-FFF2-40B4-BE49-F238E27FC236}">
                  <a16:creationId xmlns:a16="http://schemas.microsoft.com/office/drawing/2014/main" id="{20FD5D68-3ED1-C30F-C9B2-F195C9B80167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73">
              <a:extLst>
                <a:ext uri="{FF2B5EF4-FFF2-40B4-BE49-F238E27FC236}">
                  <a16:creationId xmlns:a16="http://schemas.microsoft.com/office/drawing/2014/main" id="{5AC8E89A-0D34-AE86-01FD-B661632E470F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74">
              <a:extLst>
                <a:ext uri="{FF2B5EF4-FFF2-40B4-BE49-F238E27FC236}">
                  <a16:creationId xmlns:a16="http://schemas.microsoft.com/office/drawing/2014/main" id="{F3AC0887-1341-1FA5-464A-182E8FE2D65C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75">
              <a:extLst>
                <a:ext uri="{FF2B5EF4-FFF2-40B4-BE49-F238E27FC236}">
                  <a16:creationId xmlns:a16="http://schemas.microsoft.com/office/drawing/2014/main" id="{31C00C54-0AE9-E2B5-6ECB-CC7B1D6417BF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76">
              <a:extLst>
                <a:ext uri="{FF2B5EF4-FFF2-40B4-BE49-F238E27FC236}">
                  <a16:creationId xmlns:a16="http://schemas.microsoft.com/office/drawing/2014/main" id="{A2D4790E-D77A-1934-8B00-51C5D7882044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77">
              <a:extLst>
                <a:ext uri="{FF2B5EF4-FFF2-40B4-BE49-F238E27FC236}">
                  <a16:creationId xmlns:a16="http://schemas.microsoft.com/office/drawing/2014/main" id="{746212C2-E228-72F7-F763-C2152EDB6859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78">
              <a:extLst>
                <a:ext uri="{FF2B5EF4-FFF2-40B4-BE49-F238E27FC236}">
                  <a16:creationId xmlns:a16="http://schemas.microsoft.com/office/drawing/2014/main" id="{7FC56084-F2CF-A3E5-8BB1-456DB3AB2EBE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79">
              <a:extLst>
                <a:ext uri="{FF2B5EF4-FFF2-40B4-BE49-F238E27FC236}">
                  <a16:creationId xmlns:a16="http://schemas.microsoft.com/office/drawing/2014/main" id="{D6D8F75E-1DDF-5334-243F-3AA23AF1A07B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80">
              <a:extLst>
                <a:ext uri="{FF2B5EF4-FFF2-40B4-BE49-F238E27FC236}">
                  <a16:creationId xmlns:a16="http://schemas.microsoft.com/office/drawing/2014/main" id="{7B2A0F18-F843-3D6C-F412-BB4834684189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81">
              <a:extLst>
                <a:ext uri="{FF2B5EF4-FFF2-40B4-BE49-F238E27FC236}">
                  <a16:creationId xmlns:a16="http://schemas.microsoft.com/office/drawing/2014/main" id="{C9423A65-D9C2-55C0-91F4-A5FC1B1B7F5B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82">
              <a:extLst>
                <a:ext uri="{FF2B5EF4-FFF2-40B4-BE49-F238E27FC236}">
                  <a16:creationId xmlns:a16="http://schemas.microsoft.com/office/drawing/2014/main" id="{F8B47258-4481-BC88-FD0F-364856168350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83">
              <a:extLst>
                <a:ext uri="{FF2B5EF4-FFF2-40B4-BE49-F238E27FC236}">
                  <a16:creationId xmlns:a16="http://schemas.microsoft.com/office/drawing/2014/main" id="{EA15710C-F901-8B20-4568-58193725FD60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84">
              <a:extLst>
                <a:ext uri="{FF2B5EF4-FFF2-40B4-BE49-F238E27FC236}">
                  <a16:creationId xmlns:a16="http://schemas.microsoft.com/office/drawing/2014/main" id="{8B3BF7E6-B3FA-7B98-33C2-261A89F08D3A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85">
              <a:extLst>
                <a:ext uri="{FF2B5EF4-FFF2-40B4-BE49-F238E27FC236}">
                  <a16:creationId xmlns:a16="http://schemas.microsoft.com/office/drawing/2014/main" id="{BDC9CADC-6FDE-3DEC-BE5A-51CF33103D8C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86">
              <a:extLst>
                <a:ext uri="{FF2B5EF4-FFF2-40B4-BE49-F238E27FC236}">
                  <a16:creationId xmlns:a16="http://schemas.microsoft.com/office/drawing/2014/main" id="{8FC46C00-3665-E7F9-5941-97E42CDDB3E0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87">
              <a:extLst>
                <a:ext uri="{FF2B5EF4-FFF2-40B4-BE49-F238E27FC236}">
                  <a16:creationId xmlns:a16="http://schemas.microsoft.com/office/drawing/2014/main" id="{85C36190-CDA8-93AD-5D07-A1B2A7BF641F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88">
              <a:extLst>
                <a:ext uri="{FF2B5EF4-FFF2-40B4-BE49-F238E27FC236}">
                  <a16:creationId xmlns:a16="http://schemas.microsoft.com/office/drawing/2014/main" id="{BB92C533-12F1-21CD-89B6-BF918D72941B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89">
              <a:extLst>
                <a:ext uri="{FF2B5EF4-FFF2-40B4-BE49-F238E27FC236}">
                  <a16:creationId xmlns:a16="http://schemas.microsoft.com/office/drawing/2014/main" id="{CE339378-341E-D989-86B5-33A92E002B8B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90">
              <a:extLst>
                <a:ext uri="{FF2B5EF4-FFF2-40B4-BE49-F238E27FC236}">
                  <a16:creationId xmlns:a16="http://schemas.microsoft.com/office/drawing/2014/main" id="{E74D9871-A04F-7F13-B823-E5CFA9E051B9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91">
              <a:extLst>
                <a:ext uri="{FF2B5EF4-FFF2-40B4-BE49-F238E27FC236}">
                  <a16:creationId xmlns:a16="http://schemas.microsoft.com/office/drawing/2014/main" id="{4B32A483-0132-2944-EBED-347AC7AE3B6F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92">
              <a:extLst>
                <a:ext uri="{FF2B5EF4-FFF2-40B4-BE49-F238E27FC236}">
                  <a16:creationId xmlns:a16="http://schemas.microsoft.com/office/drawing/2014/main" id="{67580DFE-FCCB-1175-B432-9135090D1EC3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93">
              <a:extLst>
                <a:ext uri="{FF2B5EF4-FFF2-40B4-BE49-F238E27FC236}">
                  <a16:creationId xmlns:a16="http://schemas.microsoft.com/office/drawing/2014/main" id="{473F3AD6-98FA-3B28-08D4-6A580A822D32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94">
              <a:extLst>
                <a:ext uri="{FF2B5EF4-FFF2-40B4-BE49-F238E27FC236}">
                  <a16:creationId xmlns:a16="http://schemas.microsoft.com/office/drawing/2014/main" id="{F5FB8B2C-94D9-088A-2999-E6654C6BAEBD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95">
              <a:extLst>
                <a:ext uri="{FF2B5EF4-FFF2-40B4-BE49-F238E27FC236}">
                  <a16:creationId xmlns:a16="http://schemas.microsoft.com/office/drawing/2014/main" id="{863829D8-3D72-C728-8AE5-9B056AA66A5F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96">
              <a:extLst>
                <a:ext uri="{FF2B5EF4-FFF2-40B4-BE49-F238E27FC236}">
                  <a16:creationId xmlns:a16="http://schemas.microsoft.com/office/drawing/2014/main" id="{F07D5C08-B9BE-6728-C491-20683856F464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97">
              <a:extLst>
                <a:ext uri="{FF2B5EF4-FFF2-40B4-BE49-F238E27FC236}">
                  <a16:creationId xmlns:a16="http://schemas.microsoft.com/office/drawing/2014/main" id="{C68D0169-4156-3A91-CF17-9936742D8A82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98">
              <a:extLst>
                <a:ext uri="{FF2B5EF4-FFF2-40B4-BE49-F238E27FC236}">
                  <a16:creationId xmlns:a16="http://schemas.microsoft.com/office/drawing/2014/main" id="{C0428B8C-8ABD-17AF-D247-D01878F867BD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05">
              <a:extLst>
                <a:ext uri="{FF2B5EF4-FFF2-40B4-BE49-F238E27FC236}">
                  <a16:creationId xmlns:a16="http://schemas.microsoft.com/office/drawing/2014/main" id="{FD4A06A0-14B2-98C6-165D-FAD7AEE448B0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06">
              <a:extLst>
                <a:ext uri="{FF2B5EF4-FFF2-40B4-BE49-F238E27FC236}">
                  <a16:creationId xmlns:a16="http://schemas.microsoft.com/office/drawing/2014/main" id="{DC933CF0-56C7-2EB4-6565-0181C436BCC1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07">
              <a:extLst>
                <a:ext uri="{FF2B5EF4-FFF2-40B4-BE49-F238E27FC236}">
                  <a16:creationId xmlns:a16="http://schemas.microsoft.com/office/drawing/2014/main" id="{B96B5890-89E2-A236-3103-BEA6677DDA7C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108">
              <a:extLst>
                <a:ext uri="{FF2B5EF4-FFF2-40B4-BE49-F238E27FC236}">
                  <a16:creationId xmlns:a16="http://schemas.microsoft.com/office/drawing/2014/main" id="{D8A2266C-D511-1122-4223-810AC4D38584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109">
              <a:extLst>
                <a:ext uri="{FF2B5EF4-FFF2-40B4-BE49-F238E27FC236}">
                  <a16:creationId xmlns:a16="http://schemas.microsoft.com/office/drawing/2014/main" id="{2977DFB7-EBFB-FCC6-118D-AE18DD0B2798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110">
              <a:extLst>
                <a:ext uri="{FF2B5EF4-FFF2-40B4-BE49-F238E27FC236}">
                  <a16:creationId xmlns:a16="http://schemas.microsoft.com/office/drawing/2014/main" id="{E6C85081-35A2-74B5-D287-CA0AC54D3471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111">
              <a:extLst>
                <a:ext uri="{FF2B5EF4-FFF2-40B4-BE49-F238E27FC236}">
                  <a16:creationId xmlns:a16="http://schemas.microsoft.com/office/drawing/2014/main" id="{EB47B9EB-ABD2-C82F-130C-5FEA00CEF075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112">
              <a:extLst>
                <a:ext uri="{FF2B5EF4-FFF2-40B4-BE49-F238E27FC236}">
                  <a16:creationId xmlns:a16="http://schemas.microsoft.com/office/drawing/2014/main" id="{EB06CD03-7260-5699-1C05-ED7399589C41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113">
              <a:extLst>
                <a:ext uri="{FF2B5EF4-FFF2-40B4-BE49-F238E27FC236}">
                  <a16:creationId xmlns:a16="http://schemas.microsoft.com/office/drawing/2014/main" id="{6C720CAF-E163-D300-14FD-550C075F8CB3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114">
              <a:extLst>
                <a:ext uri="{FF2B5EF4-FFF2-40B4-BE49-F238E27FC236}">
                  <a16:creationId xmlns:a16="http://schemas.microsoft.com/office/drawing/2014/main" id="{7173A10E-6A2A-4400-B50F-38C464AE9961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: Shape 115">
              <a:extLst>
                <a:ext uri="{FF2B5EF4-FFF2-40B4-BE49-F238E27FC236}">
                  <a16:creationId xmlns:a16="http://schemas.microsoft.com/office/drawing/2014/main" id="{BECFFD66-ACDC-1537-41F6-D2E1DFB2594B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116">
              <a:extLst>
                <a:ext uri="{FF2B5EF4-FFF2-40B4-BE49-F238E27FC236}">
                  <a16:creationId xmlns:a16="http://schemas.microsoft.com/office/drawing/2014/main" id="{5DB8E2CA-DC0D-AB4F-6C32-E2B990E3472D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125">
              <a:extLst>
                <a:ext uri="{FF2B5EF4-FFF2-40B4-BE49-F238E27FC236}">
                  <a16:creationId xmlns:a16="http://schemas.microsoft.com/office/drawing/2014/main" id="{10796CA6-B04A-B476-2B8A-E8C1031D58F2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Freeform: Shape 156">
            <a:extLst>
              <a:ext uri="{FF2B5EF4-FFF2-40B4-BE49-F238E27FC236}">
                <a16:creationId xmlns:a16="http://schemas.microsoft.com/office/drawing/2014/main" id="{21C03C0D-6097-0850-6CB8-C4E377A1E159}"/>
              </a:ext>
            </a:extLst>
          </p:cNvPr>
          <p:cNvSpPr>
            <a:spLocks/>
          </p:cNvSpPr>
          <p:nvPr/>
        </p:nvSpPr>
        <p:spPr>
          <a:xfrm>
            <a:off x="338374" y="1130172"/>
            <a:ext cx="3746017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ЦЕЛЬ ПРОЕКТА</a:t>
            </a:r>
          </a:p>
        </p:txBody>
      </p:sp>
      <p:sp>
        <p:nvSpPr>
          <p:cNvPr id="7" name="Freeform: Shape 156">
            <a:extLst>
              <a:ext uri="{FF2B5EF4-FFF2-40B4-BE49-F238E27FC236}">
                <a16:creationId xmlns:a16="http://schemas.microsoft.com/office/drawing/2014/main" id="{4278CA5C-01C2-9157-2BDE-7B047D39AF79}"/>
              </a:ext>
            </a:extLst>
          </p:cNvPr>
          <p:cNvSpPr>
            <a:spLocks/>
          </p:cNvSpPr>
          <p:nvPr/>
        </p:nvSpPr>
        <p:spPr>
          <a:xfrm>
            <a:off x="4221885" y="1130172"/>
            <a:ext cx="3746017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ИЧИНЫ ИНИЦИИРОВАНИЯ</a:t>
            </a:r>
            <a:b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</a:t>
            </a: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ПРОЕКТА</a:t>
            </a:r>
          </a:p>
        </p:txBody>
      </p:sp>
      <p:sp>
        <p:nvSpPr>
          <p:cNvPr id="10" name="Freeform: Shape 156">
            <a:extLst>
              <a:ext uri="{FF2B5EF4-FFF2-40B4-BE49-F238E27FC236}">
                <a16:creationId xmlns:a16="http://schemas.microsoft.com/office/drawing/2014/main" id="{81340ECF-70A1-2AB9-5773-A0C1DB726B81}"/>
              </a:ext>
            </a:extLst>
          </p:cNvPr>
          <p:cNvSpPr>
            <a:spLocks/>
          </p:cNvSpPr>
          <p:nvPr/>
        </p:nvSpPr>
        <p:spPr>
          <a:xfrm>
            <a:off x="8112125" y="1130172"/>
            <a:ext cx="3739190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ЗАДАЧИ</a:t>
            </a:r>
          </a:p>
        </p:txBody>
      </p:sp>
      <p:pic>
        <p:nvPicPr>
          <p:cNvPr id="111" name="Рисунок 110">
            <a:extLst>
              <a:ext uri="{FF2B5EF4-FFF2-40B4-BE49-F238E27FC236}">
                <a16:creationId xmlns:a16="http://schemas.microsoft.com/office/drawing/2014/main" id="{2242D063-C945-D4F7-2410-4C4CB09BEA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61016" y="1295487"/>
            <a:ext cx="299265" cy="299265"/>
          </a:xfrm>
          <a:prstGeom prst="rect">
            <a:avLst/>
          </a:prstGeom>
        </p:spPr>
      </p:pic>
      <p:pic>
        <p:nvPicPr>
          <p:cNvPr id="113" name="Рисунок 112">
            <a:extLst>
              <a:ext uri="{FF2B5EF4-FFF2-40B4-BE49-F238E27FC236}">
                <a16:creationId xmlns:a16="http://schemas.microsoft.com/office/drawing/2014/main" id="{24177820-9457-940A-3A21-90462407C0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19928" y="1295487"/>
            <a:ext cx="299265" cy="299265"/>
          </a:xfrm>
          <a:prstGeom prst="rect">
            <a:avLst/>
          </a:prstGeom>
        </p:spPr>
      </p:pic>
      <p:pic>
        <p:nvPicPr>
          <p:cNvPr id="115" name="Рисунок 114">
            <a:extLst>
              <a:ext uri="{FF2B5EF4-FFF2-40B4-BE49-F238E27FC236}">
                <a16:creationId xmlns:a16="http://schemas.microsoft.com/office/drawing/2014/main" id="{747F57FC-6240-EA74-9CBD-FADE284BAB2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4830" y="1295487"/>
            <a:ext cx="299265" cy="299265"/>
          </a:xfrm>
          <a:prstGeom prst="rect">
            <a:avLst/>
          </a:prstGeom>
        </p:spPr>
      </p:pic>
      <p:sp>
        <p:nvSpPr>
          <p:cNvPr id="114" name="TextBox 113">
            <a:extLst>
              <a:ext uri="{FF2B5EF4-FFF2-40B4-BE49-F238E27FC236}">
                <a16:creationId xmlns:a16="http://schemas.microsoft.com/office/drawing/2014/main" id="{56BC2CEB-9D1D-757A-81E6-014C8895D357}"/>
              </a:ext>
            </a:extLst>
          </p:cNvPr>
          <p:cNvSpPr txBox="1"/>
          <p:nvPr/>
        </p:nvSpPr>
        <p:spPr>
          <a:xfrm>
            <a:off x="337044" y="470549"/>
            <a:ext cx="9717010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2" name="Freeform: Shape 130">
            <a:extLst>
              <a:ext uri="{FF2B5EF4-FFF2-40B4-BE49-F238E27FC236}">
                <a16:creationId xmlns:a16="http://schemas.microsoft.com/office/drawing/2014/main" id="{81AE7A3E-C5A2-E9EF-3CF3-317E6C0CCB6E}"/>
              </a:ext>
            </a:extLst>
          </p:cNvPr>
          <p:cNvSpPr>
            <a:spLocks/>
          </p:cNvSpPr>
          <p:nvPr/>
        </p:nvSpPr>
        <p:spPr>
          <a:xfrm>
            <a:off x="338375" y="1776391"/>
            <a:ext cx="3746016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23" name="Freeform: Shape 130">
            <a:extLst>
              <a:ext uri="{FF2B5EF4-FFF2-40B4-BE49-F238E27FC236}">
                <a16:creationId xmlns:a16="http://schemas.microsoft.com/office/drawing/2014/main" id="{83939756-0DE1-51D5-E787-83B2CC192247}"/>
              </a:ext>
            </a:extLst>
          </p:cNvPr>
          <p:cNvSpPr>
            <a:spLocks/>
          </p:cNvSpPr>
          <p:nvPr/>
        </p:nvSpPr>
        <p:spPr>
          <a:xfrm>
            <a:off x="8107285" y="1776391"/>
            <a:ext cx="3746016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124" name="Freeform: Shape 130">
            <a:extLst>
              <a:ext uri="{FF2B5EF4-FFF2-40B4-BE49-F238E27FC236}">
                <a16:creationId xmlns:a16="http://schemas.microsoft.com/office/drawing/2014/main" id="{9E39F0A9-86C6-A63E-2156-95C9148546F0}"/>
              </a:ext>
            </a:extLst>
          </p:cNvPr>
          <p:cNvSpPr>
            <a:spLocks/>
          </p:cNvSpPr>
          <p:nvPr/>
        </p:nvSpPr>
        <p:spPr>
          <a:xfrm>
            <a:off x="4221884" y="1776391"/>
            <a:ext cx="3743471" cy="4424383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CF3589-50A6-D942-804D-70D703253CCA}"/>
              </a:ext>
            </a:extLst>
          </p:cNvPr>
          <p:cNvSpPr txBox="1"/>
          <p:nvPr/>
        </p:nvSpPr>
        <p:spPr>
          <a:xfrm>
            <a:off x="8882743" y="760911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BED2B2-0EC5-F39F-B00A-9CF4C2A1C5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680210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Box 133">
            <a:extLst>
              <a:ext uri="{FF2B5EF4-FFF2-40B4-BE49-F238E27FC236}">
                <a16:creationId xmlns:a16="http://schemas.microsoft.com/office/drawing/2014/main" id="{813F49EC-21B1-1F01-B886-42BA915856AC}"/>
              </a:ext>
            </a:extLst>
          </p:cNvPr>
          <p:cNvSpPr txBox="1"/>
          <p:nvPr/>
        </p:nvSpPr>
        <p:spPr>
          <a:xfrm>
            <a:off x="337045" y="285883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826F107D-2B77-DF48-095B-71221DB319D7}"/>
              </a:ext>
            </a:extLst>
          </p:cNvPr>
          <p:cNvSpPr/>
          <p:nvPr/>
        </p:nvSpPr>
        <p:spPr>
          <a:xfrm>
            <a:off x="337044" y="1132030"/>
            <a:ext cx="374283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 / ЗАДАЧА / ПРЕДПОСЫЛКИ</a:t>
            </a:r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1E98CA19-D4F1-3978-A36F-1AAD88485D5C}"/>
              </a:ext>
            </a:extLst>
          </p:cNvPr>
          <p:cNvSpPr/>
          <p:nvPr/>
        </p:nvSpPr>
        <p:spPr>
          <a:xfrm>
            <a:off x="342484" y="1783193"/>
            <a:ext cx="3737392" cy="44130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1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2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блематика 3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5BD23C7F-5D24-BCD6-3FD7-AC6373268067}"/>
              </a:ext>
            </a:extLst>
          </p:cNvPr>
          <p:cNvSpPr/>
          <p:nvPr/>
        </p:nvSpPr>
        <p:spPr>
          <a:xfrm>
            <a:off x="4224338" y="1132030"/>
            <a:ext cx="3743325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ШЕНИЕ / ИНИЦИАТИВА / ПРОЕКТ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AADC7823-DCE2-CBBC-7656-6EB7DE7CCE92}"/>
              </a:ext>
            </a:extLst>
          </p:cNvPr>
          <p:cNvSpPr/>
          <p:nvPr/>
        </p:nvSpPr>
        <p:spPr>
          <a:xfrm>
            <a:off x="4224285" y="1783193"/>
            <a:ext cx="3743378" cy="44130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1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2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243450" indent="-17145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3 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–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 ОПИСАНИЕ ОПИСАНИЕ</a:t>
            </a:r>
            <a:endParaRPr lang="ru-RU" sz="1400" cap="all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  <a:p>
            <a:pPr marL="176400" indent="-17640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писание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570D964C-14A2-0F96-8465-10FC75CC2912}"/>
              </a:ext>
            </a:extLst>
          </p:cNvPr>
          <p:cNvSpPr/>
          <p:nvPr/>
        </p:nvSpPr>
        <p:spPr>
          <a:xfrm>
            <a:off x="8118970" y="1128391"/>
            <a:ext cx="3743377" cy="301992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endParaRPr lang="ru-RU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B4ACBC86-5D36-C689-630B-FF7446045F82}"/>
              </a:ext>
            </a:extLst>
          </p:cNvPr>
          <p:cNvSpPr txBox="1"/>
          <p:nvPr/>
        </p:nvSpPr>
        <p:spPr>
          <a:xfrm>
            <a:off x="8292956" y="1630585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XX </a:t>
            </a: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D402CBF4-2CDE-E22A-E2D6-7C30C40BE380}"/>
              </a:ext>
            </a:extLst>
          </p:cNvPr>
          <p:cNvSpPr txBox="1"/>
          <p:nvPr/>
        </p:nvSpPr>
        <p:spPr>
          <a:xfrm>
            <a:off x="8292956" y="2755891"/>
            <a:ext cx="1853595" cy="8902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Bef>
                <a:spcPts val="600"/>
              </a:spcBef>
            </a:pPr>
            <a: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 </a:t>
            </a:r>
            <a:r>
              <a:rPr lang="en-US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XX </a:t>
            </a:r>
            <a:r>
              <a:rPr lang="en-GB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  <a:br>
              <a:rPr lang="ru-RU" sz="3000" cap="all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араметр и описание</a:t>
            </a:r>
          </a:p>
          <a:p>
            <a:pPr algn="l">
              <a:spcBef>
                <a:spcPts val="600"/>
              </a:spcBef>
            </a:pPr>
            <a:endParaRPr lang="ru-RU" sz="2000" cap="all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44" name="Рисунок 143">
            <a:extLst>
              <a:ext uri="{FF2B5EF4-FFF2-40B4-BE49-F238E27FC236}">
                <a16:creationId xmlns:a16="http://schemas.microsoft.com/office/drawing/2014/main" id="{C3F25F33-04A0-F84F-5021-F01CCB8E45B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5554" y="4294627"/>
            <a:ext cx="3743378" cy="190162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381C8-DF32-3FB9-86E8-7360D4F341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4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23518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8BC074-5265-7597-0138-8C7656AC7EF6}"/>
              </a:ext>
            </a:extLst>
          </p:cNvPr>
          <p:cNvSpPr txBox="1"/>
          <p:nvPr/>
        </p:nvSpPr>
        <p:spPr>
          <a:xfrm>
            <a:off x="337044" y="463773"/>
            <a:ext cx="979578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55">
            <a:extLst>
              <a:ext uri="{FF2B5EF4-FFF2-40B4-BE49-F238E27FC236}">
                <a16:creationId xmlns:a16="http://schemas.microsoft.com/office/drawing/2014/main" id="{7C37C1A7-0D3B-0B85-A7CA-5AA53C2FE04D}"/>
              </a:ext>
            </a:extLst>
          </p:cNvPr>
          <p:cNvSpPr/>
          <p:nvPr/>
        </p:nvSpPr>
        <p:spPr>
          <a:xfrm>
            <a:off x="339378" y="1128383"/>
            <a:ext cx="37404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5" name="Прямоугольник 162">
            <a:extLst>
              <a:ext uri="{FF2B5EF4-FFF2-40B4-BE49-F238E27FC236}">
                <a16:creationId xmlns:a16="http://schemas.microsoft.com/office/drawing/2014/main" id="{CEF87FD4-CA9A-70AB-24BB-EC2845E191AB}"/>
              </a:ext>
            </a:extLst>
          </p:cNvPr>
          <p:cNvSpPr/>
          <p:nvPr/>
        </p:nvSpPr>
        <p:spPr>
          <a:xfrm>
            <a:off x="339378" y="1919016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  <a:defRPr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6" name="Прямоугольник 138">
            <a:extLst>
              <a:ext uri="{FF2B5EF4-FFF2-40B4-BE49-F238E27FC236}">
                <a16:creationId xmlns:a16="http://schemas.microsoft.com/office/drawing/2014/main" id="{FAD2D103-7AE9-4ADF-F883-0C82DCAC2D17}"/>
              </a:ext>
            </a:extLst>
          </p:cNvPr>
          <p:cNvSpPr/>
          <p:nvPr/>
        </p:nvSpPr>
        <p:spPr>
          <a:xfrm>
            <a:off x="339378" y="3500320"/>
            <a:ext cx="3740400" cy="14454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7" name="Прямоугольник 139">
            <a:extLst>
              <a:ext uri="{FF2B5EF4-FFF2-40B4-BE49-F238E27FC236}">
                <a16:creationId xmlns:a16="http://schemas.microsoft.com/office/drawing/2014/main" id="{EC09AE34-E9CE-253F-B3F8-4D1FB02E6CC1}"/>
              </a:ext>
            </a:extLst>
          </p:cNvPr>
          <p:cNvSpPr/>
          <p:nvPr/>
        </p:nvSpPr>
        <p:spPr>
          <a:xfrm>
            <a:off x="339378" y="5082633"/>
            <a:ext cx="3740400" cy="11262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8" name="Прямоугольник 140">
            <a:extLst>
              <a:ext uri="{FF2B5EF4-FFF2-40B4-BE49-F238E27FC236}">
                <a16:creationId xmlns:a16="http://schemas.microsoft.com/office/drawing/2014/main" id="{AA568D52-9FED-696F-03F6-3A46BEC6BB3E}"/>
              </a:ext>
            </a:extLst>
          </p:cNvPr>
          <p:cNvSpPr/>
          <p:nvPr/>
        </p:nvSpPr>
        <p:spPr>
          <a:xfrm>
            <a:off x="4233460" y="1128383"/>
            <a:ext cx="37404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Прямоугольник 141">
            <a:extLst>
              <a:ext uri="{FF2B5EF4-FFF2-40B4-BE49-F238E27FC236}">
                <a16:creationId xmlns:a16="http://schemas.microsoft.com/office/drawing/2014/main" id="{ACC64AE2-AF50-7B0A-DD13-8D2C1C98B6BA}"/>
              </a:ext>
            </a:extLst>
          </p:cNvPr>
          <p:cNvSpPr/>
          <p:nvPr/>
        </p:nvSpPr>
        <p:spPr>
          <a:xfrm>
            <a:off x="4233460" y="1919016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10" name="Прямоугольник 142">
            <a:extLst>
              <a:ext uri="{FF2B5EF4-FFF2-40B4-BE49-F238E27FC236}">
                <a16:creationId xmlns:a16="http://schemas.microsoft.com/office/drawing/2014/main" id="{80FC2F5C-52DC-FB64-2D00-45687A9FF2D4}"/>
              </a:ext>
            </a:extLst>
          </p:cNvPr>
          <p:cNvSpPr/>
          <p:nvPr/>
        </p:nvSpPr>
        <p:spPr>
          <a:xfrm>
            <a:off x="4233460" y="3500320"/>
            <a:ext cx="3740400" cy="14454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</a:t>
            </a:r>
          </a:p>
        </p:txBody>
      </p:sp>
      <p:sp>
        <p:nvSpPr>
          <p:cNvPr id="11" name="Прямоугольник 143">
            <a:extLst>
              <a:ext uri="{FF2B5EF4-FFF2-40B4-BE49-F238E27FC236}">
                <a16:creationId xmlns:a16="http://schemas.microsoft.com/office/drawing/2014/main" id="{51804489-5088-9598-BB77-E9F52A0C5F1C}"/>
              </a:ext>
            </a:extLst>
          </p:cNvPr>
          <p:cNvSpPr/>
          <p:nvPr/>
        </p:nvSpPr>
        <p:spPr>
          <a:xfrm>
            <a:off x="4233460" y="5082633"/>
            <a:ext cx="3740400" cy="11262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  <a:defRPr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..</a:t>
            </a:r>
          </a:p>
        </p:txBody>
      </p:sp>
      <p:sp>
        <p:nvSpPr>
          <p:cNvPr id="12" name="Блок-схема: процесс 17">
            <a:extLst>
              <a:ext uri="{FF2B5EF4-FFF2-40B4-BE49-F238E27FC236}">
                <a16:creationId xmlns:a16="http://schemas.microsoft.com/office/drawing/2014/main" id="{28436DFF-025C-8CA5-A4B4-18725C77EDD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183033"/>
            <a:ext cx="8343121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b"/>
          <a:lstStyle/>
          <a:p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r>
              <a:rPr lang="en-GB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полнительная информация</a:t>
            </a:r>
          </a:p>
        </p:txBody>
      </p:sp>
      <p:sp>
        <p:nvSpPr>
          <p:cNvPr id="13" name="Прямоугольник 265">
            <a:extLst>
              <a:ext uri="{FF2B5EF4-FFF2-40B4-BE49-F238E27FC236}">
                <a16:creationId xmlns:a16="http://schemas.microsoft.com/office/drawing/2014/main" id="{4B5893D1-4313-F9F9-F527-24447324E3C9}"/>
              </a:ext>
            </a:extLst>
          </p:cNvPr>
          <p:cNvSpPr/>
          <p:nvPr/>
        </p:nvSpPr>
        <p:spPr>
          <a:xfrm>
            <a:off x="8105372" y="1128383"/>
            <a:ext cx="3751666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266">
            <a:extLst>
              <a:ext uri="{FF2B5EF4-FFF2-40B4-BE49-F238E27FC236}">
                <a16:creationId xmlns:a16="http://schemas.microsoft.com/office/drawing/2014/main" id="{1D7A35C7-4B17-1FF4-10A5-2BDAFF9A0349}"/>
              </a:ext>
            </a:extLst>
          </p:cNvPr>
          <p:cNvSpPr/>
          <p:nvPr/>
        </p:nvSpPr>
        <p:spPr>
          <a:xfrm>
            <a:off x="8105372" y="1919016"/>
            <a:ext cx="3751666" cy="427723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72000" bIns="144000" rtlCol="0" anchor="t"/>
          <a:lstStyle/>
          <a:p>
            <a:pPr marL="176400" indent="-176400" eaLnBrk="0" fontAlgn="base" hangingPunct="0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  <a:latin typeface="GPN_DIN Regular" panose="020B0504020202020204" pitchFamily="34" charset="0"/>
                <a:ea typeface="GPN_DIN Regular" panose="020B0504020202020204" pitchFamily="34" charset="0"/>
              </a:rPr>
              <a:t>…..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30152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Box 133">
            <a:extLst>
              <a:ext uri="{FF2B5EF4-FFF2-40B4-BE49-F238E27FC236}">
                <a16:creationId xmlns:a16="http://schemas.microsoft.com/office/drawing/2014/main" id="{C8E6C732-6F45-E957-91E3-73C989737782}"/>
              </a:ext>
            </a:extLst>
          </p:cNvPr>
          <p:cNvSpPr txBox="1"/>
          <p:nvPr/>
        </p:nvSpPr>
        <p:spPr>
          <a:xfrm>
            <a:off x="337045" y="285883"/>
            <a:ext cx="6990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id="{34487A0D-5D8D-2447-98FB-23943ECD8AAE}"/>
              </a:ext>
            </a:extLst>
          </p:cNvPr>
          <p:cNvSpPr/>
          <p:nvPr/>
        </p:nvSpPr>
        <p:spPr>
          <a:xfrm>
            <a:off x="332686" y="1132030"/>
            <a:ext cx="27756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1</a:t>
            </a:r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23999AC0-45EA-DCE1-CCC3-EC2842047FF7}"/>
              </a:ext>
            </a:extLst>
          </p:cNvPr>
          <p:cNvSpPr/>
          <p:nvPr/>
        </p:nvSpPr>
        <p:spPr>
          <a:xfrm>
            <a:off x="3251200" y="1132029"/>
            <a:ext cx="2781798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2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CB92FBAC-1B39-5171-78C3-4885DE1334E0}"/>
              </a:ext>
            </a:extLst>
          </p:cNvPr>
          <p:cNvSpPr/>
          <p:nvPr/>
        </p:nvSpPr>
        <p:spPr>
          <a:xfrm>
            <a:off x="6167438" y="1132029"/>
            <a:ext cx="277336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3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9A5F5E76-6E1B-2E41-B65D-ECDD0FDD399D}"/>
              </a:ext>
            </a:extLst>
          </p:cNvPr>
          <p:cNvSpPr/>
          <p:nvPr/>
        </p:nvSpPr>
        <p:spPr>
          <a:xfrm>
            <a:off x="9082198" y="1132029"/>
            <a:ext cx="27748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4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02687529-8A81-B3F6-8E45-F4DBCC44BCA3}"/>
              </a:ext>
            </a:extLst>
          </p:cNvPr>
          <p:cNvSpPr/>
          <p:nvPr/>
        </p:nvSpPr>
        <p:spPr>
          <a:xfrm>
            <a:off x="344464" y="3501157"/>
            <a:ext cx="2768400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5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id="{0E54F8E1-A671-6448-9CFE-2554F2B9C911}"/>
              </a:ext>
            </a:extLst>
          </p:cNvPr>
          <p:cNvSpPr/>
          <p:nvPr/>
        </p:nvSpPr>
        <p:spPr>
          <a:xfrm>
            <a:off x="3247600" y="3501156"/>
            <a:ext cx="2785398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6</a:t>
            </a: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id="{F0D73452-C0D6-1F08-3168-72BDA464E90D}"/>
              </a:ext>
            </a:extLst>
          </p:cNvPr>
          <p:cNvSpPr/>
          <p:nvPr/>
        </p:nvSpPr>
        <p:spPr>
          <a:xfrm>
            <a:off x="6164108" y="3501156"/>
            <a:ext cx="2776692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7</a:t>
            </a: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7EDFF852-F3D9-29BF-E0FD-29D7C38B4E36}"/>
              </a:ext>
            </a:extLst>
          </p:cNvPr>
          <p:cNvSpPr/>
          <p:nvPr/>
        </p:nvSpPr>
        <p:spPr>
          <a:xfrm>
            <a:off x="9082198" y="3501156"/>
            <a:ext cx="2774839" cy="6444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АПРАВЛЕНИЕ 8</a:t>
            </a: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CFC1F40F-77BE-9CCF-A1E3-7048C943AF0A}"/>
              </a:ext>
            </a:extLst>
          </p:cNvPr>
          <p:cNvSpPr/>
          <p:nvPr/>
        </p:nvSpPr>
        <p:spPr>
          <a:xfrm>
            <a:off x="342484" y="1783194"/>
            <a:ext cx="2772000" cy="15736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E23178E3-D9A3-08AB-F7BA-8A97A4243739}"/>
              </a:ext>
            </a:extLst>
          </p:cNvPr>
          <p:cNvSpPr/>
          <p:nvPr/>
        </p:nvSpPr>
        <p:spPr>
          <a:xfrm>
            <a:off x="3251200" y="1783193"/>
            <a:ext cx="2785398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BAB5D693-7AAA-F87E-0F13-C7F9F6A01656}"/>
              </a:ext>
            </a:extLst>
          </p:cNvPr>
          <p:cNvSpPr/>
          <p:nvPr/>
        </p:nvSpPr>
        <p:spPr>
          <a:xfrm>
            <a:off x="6167438" y="1783193"/>
            <a:ext cx="2768670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FDB4D00F-CA19-AD60-6A29-02D9F2E92A21}"/>
              </a:ext>
            </a:extLst>
          </p:cNvPr>
          <p:cNvSpPr/>
          <p:nvPr/>
        </p:nvSpPr>
        <p:spPr>
          <a:xfrm>
            <a:off x="9082199" y="1783193"/>
            <a:ext cx="2772000" cy="157365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E1D26E72-CFB8-1FCB-999B-DA45E12E7F26}"/>
              </a:ext>
            </a:extLst>
          </p:cNvPr>
          <p:cNvSpPr/>
          <p:nvPr/>
        </p:nvSpPr>
        <p:spPr>
          <a:xfrm>
            <a:off x="342484" y="4145557"/>
            <a:ext cx="2772000" cy="15884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A2C61545-EE1C-C4A9-4FBF-B957B0538DC1}"/>
              </a:ext>
            </a:extLst>
          </p:cNvPr>
          <p:cNvSpPr/>
          <p:nvPr/>
        </p:nvSpPr>
        <p:spPr>
          <a:xfrm>
            <a:off x="3251200" y="4145557"/>
            <a:ext cx="2785398" cy="158849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66076E9F-543A-4C84-052A-75AC24CA5E92}"/>
              </a:ext>
            </a:extLst>
          </p:cNvPr>
          <p:cNvSpPr/>
          <p:nvPr/>
        </p:nvSpPr>
        <p:spPr>
          <a:xfrm>
            <a:off x="6164108" y="4145557"/>
            <a:ext cx="2772000" cy="15884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0C540747-2522-5150-071D-567855EB0C65}"/>
              </a:ext>
            </a:extLst>
          </p:cNvPr>
          <p:cNvSpPr/>
          <p:nvPr/>
        </p:nvSpPr>
        <p:spPr>
          <a:xfrm>
            <a:off x="9082199" y="4145557"/>
            <a:ext cx="2772000" cy="158849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1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2</a:t>
            </a:r>
          </a:p>
          <a:p>
            <a:pPr marL="176400" indent="-17640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цесс 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A4E74D5-3A6B-A233-853E-30DDA99E0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92761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BCE91B-2459-8746-982C-F282E9A9A6DA}"/>
              </a:ext>
            </a:extLst>
          </p:cNvPr>
          <p:cNvSpPr/>
          <p:nvPr/>
        </p:nvSpPr>
        <p:spPr>
          <a:xfrm>
            <a:off x="337046" y="1125538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B877C84-ADA9-134A-9E98-3169A15B9D7C}"/>
              </a:ext>
            </a:extLst>
          </p:cNvPr>
          <p:cNvSpPr/>
          <p:nvPr/>
        </p:nvSpPr>
        <p:spPr>
          <a:xfrm>
            <a:off x="337046" y="1917700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4C57F71-D375-E64C-A1E7-701736426DDE}"/>
              </a:ext>
            </a:extLst>
          </p:cNvPr>
          <p:cNvSpPr/>
          <p:nvPr/>
        </p:nvSpPr>
        <p:spPr>
          <a:xfrm>
            <a:off x="337046" y="2709863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FEE2B24-E579-CA47-9594-0FFC03AF5BAA}"/>
              </a:ext>
            </a:extLst>
          </p:cNvPr>
          <p:cNvSpPr/>
          <p:nvPr/>
        </p:nvSpPr>
        <p:spPr>
          <a:xfrm>
            <a:off x="337046" y="3502025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9A7D740-013A-B44C-9469-F8207B162B9B}"/>
              </a:ext>
            </a:extLst>
          </p:cNvPr>
          <p:cNvSpPr/>
          <p:nvPr/>
        </p:nvSpPr>
        <p:spPr>
          <a:xfrm>
            <a:off x="337046" y="4292600"/>
            <a:ext cx="11519991" cy="6477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FEF8B6E-B727-5F49-BA29-3355D85D3F5C}"/>
              </a:ext>
            </a:extLst>
          </p:cNvPr>
          <p:cNvSpPr/>
          <p:nvPr/>
        </p:nvSpPr>
        <p:spPr>
          <a:xfrm>
            <a:off x="337046" y="5084762"/>
            <a:ext cx="11519991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B8F8188D-AE81-4C4B-8172-078AA00684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2095166"/>
            <a:ext cx="288000" cy="28800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ACA1024-467D-AE48-9F65-5B97E1140B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1296269"/>
            <a:ext cx="288000" cy="2880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76097BA3-5040-FA41-911E-0BA41CD719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2884437"/>
            <a:ext cx="288000" cy="288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3F85586-0316-7A4C-AFEB-6C0C47E962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3668896"/>
            <a:ext cx="288000" cy="2880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34C29BC4-5814-2740-925B-FFC986F6F5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4477418"/>
            <a:ext cx="288000" cy="288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F31ACE3-C1E0-0C4A-B445-C09DABD297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3146" y="5252252"/>
            <a:ext cx="288000" cy="28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A58CE9-4CF4-DF1B-DED5-8B1A62D9AF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865598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ЭЛЕМЕНТАМИ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153858-F5D3-8548-7B97-8B2187100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584068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ТАБЛИЦ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78E628-1486-6131-DE89-5D1A1589AE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160684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1" name="TextBox 230">
            <a:extLst>
              <a:ext uri="{FF2B5EF4-FFF2-40B4-BE49-F238E27FC236}">
                <a16:creationId xmlns:a16="http://schemas.microsoft.com/office/drawing/2014/main" id="{4B1157C8-A504-8946-8A34-25066FAEC2B8}"/>
              </a:ext>
            </a:extLst>
          </p:cNvPr>
          <p:cNvSpPr txBox="1"/>
          <p:nvPr/>
        </p:nvSpPr>
        <p:spPr>
          <a:xfrm>
            <a:off x="337044" y="282072"/>
            <a:ext cx="530884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32" name="Прямоугольник 231">
            <a:extLst>
              <a:ext uri="{FF2B5EF4-FFF2-40B4-BE49-F238E27FC236}">
                <a16:creationId xmlns:a16="http://schemas.microsoft.com/office/drawing/2014/main" id="{17C1B00F-8DC3-1549-883F-440751F34514}"/>
              </a:ext>
            </a:extLst>
          </p:cNvPr>
          <p:cNvSpPr/>
          <p:nvPr/>
        </p:nvSpPr>
        <p:spPr>
          <a:xfrm>
            <a:off x="7139349" y="5084103"/>
            <a:ext cx="4717689" cy="1116671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33" name="Таблица 3">
            <a:extLst>
              <a:ext uri="{FF2B5EF4-FFF2-40B4-BE49-F238E27FC236}">
                <a16:creationId xmlns:a16="http://schemas.microsoft.com/office/drawing/2014/main" id="{B4BAE63A-7EF0-624B-841A-F990183615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404646"/>
              </p:ext>
            </p:extLst>
          </p:nvPr>
        </p:nvGraphicFramePr>
        <p:xfrm>
          <a:off x="337046" y="1128393"/>
          <a:ext cx="6665776" cy="51324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3200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654650">
                  <a:extLst>
                    <a:ext uri="{9D8B030D-6E8A-4147-A177-3AD203B41FA5}">
                      <a16:colId xmlns:a16="http://schemas.microsoft.com/office/drawing/2014/main" val="327790344"/>
                    </a:ext>
                  </a:extLst>
                </a:gridCol>
                <a:gridCol w="1470904">
                  <a:extLst>
                    <a:ext uri="{9D8B030D-6E8A-4147-A177-3AD203B41FA5}">
                      <a16:colId xmlns:a16="http://schemas.microsoft.com/office/drawing/2014/main" val="3590360416"/>
                    </a:ext>
                  </a:extLst>
                </a:gridCol>
                <a:gridCol w="169400">
                  <a:extLst>
                    <a:ext uri="{9D8B030D-6E8A-4147-A177-3AD203B41FA5}">
                      <a16:colId xmlns:a16="http://schemas.microsoft.com/office/drawing/2014/main" val="1206481462"/>
                    </a:ext>
                  </a:extLst>
                </a:gridCol>
                <a:gridCol w="1177622">
                  <a:extLst>
                    <a:ext uri="{9D8B030D-6E8A-4147-A177-3AD203B41FA5}">
                      <a16:colId xmlns:a16="http://schemas.microsoft.com/office/drawing/2014/main" val="3503865545"/>
                    </a:ext>
                  </a:extLst>
                </a:gridCol>
              </a:tblGrid>
              <a:tr h="65509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0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ЭТАП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GB" sz="10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%</a:t>
                      </a:r>
                      <a:endParaRPr lang="ru-RU" sz="10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АТ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АТА </a:t>
                      </a:r>
                      <a:br>
                        <a:rPr lang="en-GB" sz="9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</a:br>
                      <a:endParaRPr lang="ru-RU" sz="9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bg1"/>
                        </a:solidFill>
                        <a:latin typeface="GPN_DIN Condensed Bold" panose="020B0506020202020204" pitchFamily="34" charset="0"/>
                        <a:ea typeface="GPN_DIN Condensed Bold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352834">
                <a:tc gridSpan="5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1257736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Май 2024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Февраль 2024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343972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9110798"/>
                  </a:ext>
                </a:extLst>
              </a:tr>
              <a:tr h="34107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н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352793"/>
                  </a:ext>
                </a:extLst>
              </a:tr>
              <a:tr h="34107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477654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.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9119071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Июл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6780167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4225173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1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Август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643035"/>
                  </a:ext>
                </a:extLst>
              </a:tr>
              <a:tr h="343972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rgbClr val="004596"/>
                        </a:solidFill>
                        <a:latin typeface="GPN_DIN Condensed Regular" panose="020B0506020202020204" pitchFamily="34" charset="0"/>
                        <a:ea typeface="GPN_DIN Condensed Regular" panose="020B0506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7200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6564598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Декабрь 2022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Сентябрь 2022</a:t>
                      </a: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2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34893"/>
                  </a:ext>
                </a:extLst>
              </a:tr>
              <a:tr h="344434">
                <a:tc gridSpan="5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kern="1200" dirty="0">
                          <a:solidFill>
                            <a:srgbClr val="00459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.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1"/>
                        </a:solidFill>
                        <a:latin typeface="GPN_DIN Regular" panose="020B0504020202020204" pitchFamily="34" charset="0"/>
                        <a:ea typeface="GPN_DIN Regular" panose="020B0504020202020204" pitchFamily="34" charset="0"/>
                        <a:cs typeface="Arial Narrow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7E7E7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6443232"/>
                  </a:ext>
                </a:extLst>
              </a:tr>
              <a:tr h="335704">
                <a:tc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…</a:t>
                      </a:r>
                    </a:p>
                  </a:txBody>
                  <a:tcPr marL="144000" marR="144000" marT="0" marB="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Август 2023</a:t>
                      </a:r>
                      <a:endParaRPr lang="ru-RU" sz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b="0" i="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976836"/>
                  </a:ext>
                </a:extLst>
              </a:tr>
            </a:tbl>
          </a:graphicData>
        </a:graphic>
      </p:graphicFrame>
      <p:pic>
        <p:nvPicPr>
          <p:cNvPr id="234" name="Picture 2" descr="white tower">
            <a:extLst>
              <a:ext uri="{FF2B5EF4-FFF2-40B4-BE49-F238E27FC236}">
                <a16:creationId xmlns:a16="http://schemas.microsoft.com/office/drawing/2014/main" id="{C2D6BB00-A69E-7F49-A413-88D799BE65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37680" y="1125538"/>
            <a:ext cx="4719358" cy="381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CB9B03-ED39-7FC9-80C2-AC3E71859F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772315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A11D205B-4352-3746-9A01-CF0324A74569}"/>
              </a:ext>
            </a:extLst>
          </p:cNvPr>
          <p:cNvSpPr txBox="1"/>
          <p:nvPr/>
        </p:nvSpPr>
        <p:spPr>
          <a:xfrm>
            <a:off x="337044" y="466738"/>
            <a:ext cx="736561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D7818B11-BD0C-E646-8164-4EB1AE01C3A2}"/>
              </a:ext>
            </a:extLst>
          </p:cNvPr>
          <p:cNvSpPr txBox="1"/>
          <p:nvPr/>
        </p:nvSpPr>
        <p:spPr>
          <a:xfrm>
            <a:off x="812115" y="2119646"/>
            <a:ext cx="1352615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FA67EC83-51E0-324C-826D-13E9120D0499}"/>
              </a:ext>
            </a:extLst>
          </p:cNvPr>
          <p:cNvSpPr txBox="1"/>
          <p:nvPr/>
        </p:nvSpPr>
        <p:spPr>
          <a:xfrm>
            <a:off x="3136927" y="2119646"/>
            <a:ext cx="1305698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FDD0E65-C0C6-8048-9B88-6AADB674FD7C}"/>
              </a:ext>
            </a:extLst>
          </p:cNvPr>
          <p:cNvSpPr txBox="1"/>
          <p:nvPr/>
        </p:nvSpPr>
        <p:spPr>
          <a:xfrm>
            <a:off x="5196051" y="2119646"/>
            <a:ext cx="1790159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D80DBEC-9C0F-FD4B-8215-DD3C3576AC20}"/>
              </a:ext>
            </a:extLst>
          </p:cNvPr>
          <p:cNvSpPr txBox="1"/>
          <p:nvPr/>
        </p:nvSpPr>
        <p:spPr>
          <a:xfrm>
            <a:off x="9761095" y="2119646"/>
            <a:ext cx="1865489" cy="673573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 Narrow" panose="020B0604020202020204" pitchFamily="34" charset="0"/>
            </a:endParaRPr>
          </a:p>
        </p:txBody>
      </p:sp>
      <p:graphicFrame>
        <p:nvGraphicFramePr>
          <p:cNvPr id="124" name="Таблица 3">
            <a:extLst>
              <a:ext uri="{FF2B5EF4-FFF2-40B4-BE49-F238E27FC236}">
                <a16:creationId xmlns:a16="http://schemas.microsoft.com/office/drawing/2014/main" id="{160C675E-9712-5240-A360-8197AFBE90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9089845"/>
              </p:ext>
            </p:extLst>
          </p:nvPr>
        </p:nvGraphicFramePr>
        <p:xfrm>
          <a:off x="340454" y="1137732"/>
          <a:ext cx="11516584" cy="425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4283">
                  <a:extLst>
                    <a:ext uri="{9D8B030D-6E8A-4147-A177-3AD203B41FA5}">
                      <a16:colId xmlns:a16="http://schemas.microsoft.com/office/drawing/2014/main" val="832154020"/>
                    </a:ext>
                  </a:extLst>
                </a:gridCol>
                <a:gridCol w="3240506">
                  <a:extLst>
                    <a:ext uri="{9D8B030D-6E8A-4147-A177-3AD203B41FA5}">
                      <a16:colId xmlns:a16="http://schemas.microsoft.com/office/drawing/2014/main" val="2606923257"/>
                    </a:ext>
                  </a:extLst>
                </a:gridCol>
                <a:gridCol w="2534652">
                  <a:extLst>
                    <a:ext uri="{9D8B030D-6E8A-4147-A177-3AD203B41FA5}">
                      <a16:colId xmlns:a16="http://schemas.microsoft.com/office/drawing/2014/main" val="2341043200"/>
                    </a:ext>
                  </a:extLst>
                </a:gridCol>
                <a:gridCol w="3287143">
                  <a:extLst>
                    <a:ext uri="{9D8B030D-6E8A-4147-A177-3AD203B41FA5}">
                      <a16:colId xmlns:a16="http://schemas.microsoft.com/office/drawing/2014/main" val="3243597802"/>
                    </a:ext>
                  </a:extLst>
                </a:gridCol>
              </a:tblGrid>
              <a:tr h="5940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5941831"/>
                  </a:ext>
                </a:extLst>
              </a:tr>
              <a:tr h="516252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1377812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83441751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7515992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65496137"/>
                  </a:ext>
                </a:extLst>
              </a:tr>
              <a:tr h="339409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buFontTx/>
                        <a:buNone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XX</a:t>
                      </a:r>
                      <a:endParaRPr lang="ru-RU" sz="1200" b="0" i="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 Narrow" panose="020B060402020202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4290066"/>
                  </a:ext>
                </a:extLst>
              </a:tr>
              <a:tr h="1787813">
                <a:tc>
                  <a:txBody>
                    <a:bodyPr/>
                    <a:lstStyle/>
                    <a:p>
                      <a:pPr indent="-342900" eaLnBrk="0" fontAlgn="base" hangingPunct="0">
                        <a:spcAft>
                          <a:spcPct val="0"/>
                        </a:spcAft>
                        <a:buClr>
                          <a:srgbClr val="004077"/>
                        </a:buClr>
                        <a:buSzPct val="90000"/>
                        <a:defRPr/>
                      </a:pPr>
                      <a:r>
                        <a:rPr lang="ru-RU" sz="1200" b="0" i="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 Narrow" panose="020B060402020202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6213" marR="0" lvl="1" indent="-1762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>
                          <a:srgbClr val="000000"/>
                        </a:buClr>
                        <a:buSzPct val="100000"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26780167"/>
                  </a:ext>
                </a:extLst>
              </a:tr>
            </a:tbl>
          </a:graphicData>
        </a:graphic>
      </p:graphicFrame>
      <p:sp>
        <p:nvSpPr>
          <p:cNvPr id="231" name="Прямоугольник 230">
            <a:extLst>
              <a:ext uri="{FF2B5EF4-FFF2-40B4-BE49-F238E27FC236}">
                <a16:creationId xmlns:a16="http://schemas.microsoft.com/office/drawing/2014/main" id="{700A0187-D9E1-3A49-B2A0-9B3FCCC99408}"/>
              </a:ext>
            </a:extLst>
          </p:cNvPr>
          <p:cNvSpPr/>
          <p:nvPr/>
        </p:nvSpPr>
        <p:spPr>
          <a:xfrm>
            <a:off x="336423" y="5500893"/>
            <a:ext cx="11515124" cy="69535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…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BDB657-A959-089C-B4DA-9384EAEDB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110579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F4B2F51C-5E39-8A47-8FAA-5C07D8818A6A}"/>
              </a:ext>
            </a:extLst>
          </p:cNvPr>
          <p:cNvSpPr txBox="1"/>
          <p:nvPr/>
        </p:nvSpPr>
        <p:spPr>
          <a:xfrm>
            <a:off x="337044" y="287648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117" name="Таблица 116">
            <a:extLst>
              <a:ext uri="{FF2B5EF4-FFF2-40B4-BE49-F238E27FC236}">
                <a16:creationId xmlns:a16="http://schemas.microsoft.com/office/drawing/2014/main" id="{B4D6965F-8120-9549-A881-0F0DFB31E7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3542251"/>
              </p:ext>
            </p:extLst>
          </p:nvPr>
        </p:nvGraphicFramePr>
        <p:xfrm>
          <a:off x="338362" y="1129002"/>
          <a:ext cx="11515265" cy="5071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88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9043">
                  <a:extLst>
                    <a:ext uri="{9D8B030D-6E8A-4147-A177-3AD203B41FA5}">
                      <a16:colId xmlns:a16="http://schemas.microsoft.com/office/drawing/2014/main" val="2219724807"/>
                    </a:ext>
                  </a:extLst>
                </a:gridCol>
                <a:gridCol w="920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330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61457">
                  <a:extLst>
                    <a:ext uri="{9D8B030D-6E8A-4147-A177-3AD203B41FA5}">
                      <a16:colId xmlns:a16="http://schemas.microsoft.com/office/drawing/2014/main" val="292671388"/>
                    </a:ext>
                  </a:extLst>
                </a:gridCol>
                <a:gridCol w="2372170">
                  <a:extLst>
                    <a:ext uri="{9D8B030D-6E8A-4147-A177-3AD203B41FA5}">
                      <a16:colId xmlns:a16="http://schemas.microsoft.com/office/drawing/2014/main" val="1359187543"/>
                    </a:ext>
                  </a:extLst>
                </a:gridCol>
              </a:tblGrid>
              <a:tr h="629011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 err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конкИ</a:t>
                      </a:r>
                      <a:endParaRPr lang="ru-RU" sz="1000" b="1" i="0" cap="all" baseline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араметры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татус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писок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Циф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741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араметр 1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indent="-1728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арья</a:t>
                      </a:r>
                    </a:p>
                    <a:p>
                      <a:pPr marL="244800" indent="-172800">
                        <a:lnSpc>
                          <a:spcPct val="100000"/>
                        </a:lnSpc>
                        <a:spcBef>
                          <a:spcPts val="600"/>
                        </a:spcBef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7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33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2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2 </a:t>
                      </a:r>
                      <a:r>
                        <a:rPr lang="ru-RU" sz="2000" kern="1200" cap="all" dirty="0" err="1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п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335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3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- 13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1741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4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E9E2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E9E2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kern="1200" cap="none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x</a:t>
                      </a:r>
                      <a:r>
                        <a:rPr lang="en-GB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3106443"/>
                  </a:ext>
                </a:extLst>
              </a:tr>
              <a:tr h="98121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араметр 5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CD222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Дарья</a:t>
                      </a:r>
                    </a:p>
                    <a:p>
                      <a:pPr marL="244800" marR="0" lvl="0" indent="-172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Васил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+</a:t>
                      </a:r>
                      <a:r>
                        <a:rPr lang="en-GB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33</a:t>
                      </a:r>
                      <a:r>
                        <a:rPr lang="ru-RU" sz="2000" kern="1200" cap="all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% ПАРАМЕТР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332598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0EF509-2488-C7E5-0E7E-3E60D5CB1C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6</a:t>
            </a:fld>
            <a:endParaRPr lang="ru-RU" dirty="0"/>
          </a:p>
        </p:txBody>
      </p:sp>
      <p:pic>
        <p:nvPicPr>
          <p:cNvPr id="232" name="Рисунок 231">
            <a:extLst>
              <a:ext uri="{FF2B5EF4-FFF2-40B4-BE49-F238E27FC236}">
                <a16:creationId xmlns:a16="http://schemas.microsoft.com/office/drawing/2014/main" id="{66C4BB31-67F1-8540-B75E-163886D2828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2038010"/>
            <a:ext cx="183226" cy="303467"/>
          </a:xfrm>
          <a:prstGeom prst="rect">
            <a:avLst/>
          </a:prstGeom>
        </p:spPr>
      </p:pic>
      <p:pic>
        <p:nvPicPr>
          <p:cNvPr id="233" name="Рисунок 232">
            <a:extLst>
              <a:ext uri="{FF2B5EF4-FFF2-40B4-BE49-F238E27FC236}">
                <a16:creationId xmlns:a16="http://schemas.microsoft.com/office/drawing/2014/main" id="{E6E17A5B-9D46-3F44-B50E-055B1D972F2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2889936"/>
            <a:ext cx="183226" cy="303467"/>
          </a:xfrm>
          <a:prstGeom prst="rect">
            <a:avLst/>
          </a:prstGeom>
        </p:spPr>
      </p:pic>
      <p:pic>
        <p:nvPicPr>
          <p:cNvPr id="234" name="Рисунок 233">
            <a:extLst>
              <a:ext uri="{FF2B5EF4-FFF2-40B4-BE49-F238E27FC236}">
                <a16:creationId xmlns:a16="http://schemas.microsoft.com/office/drawing/2014/main" id="{277DF7F3-8292-7D4B-A3B2-E36764470F9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3792977"/>
            <a:ext cx="183226" cy="303467"/>
          </a:xfrm>
          <a:prstGeom prst="rect">
            <a:avLst/>
          </a:prstGeom>
        </p:spPr>
      </p:pic>
      <p:pic>
        <p:nvPicPr>
          <p:cNvPr id="235" name="Рисунок 234">
            <a:extLst>
              <a:ext uri="{FF2B5EF4-FFF2-40B4-BE49-F238E27FC236}">
                <a16:creationId xmlns:a16="http://schemas.microsoft.com/office/drawing/2014/main" id="{B2709C46-57BE-094F-857A-189002184DE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4684659"/>
            <a:ext cx="183226" cy="303467"/>
          </a:xfrm>
          <a:prstGeom prst="rect">
            <a:avLst/>
          </a:prstGeom>
        </p:spPr>
      </p:pic>
      <p:pic>
        <p:nvPicPr>
          <p:cNvPr id="236" name="Рисунок 235">
            <a:extLst>
              <a:ext uri="{FF2B5EF4-FFF2-40B4-BE49-F238E27FC236}">
                <a16:creationId xmlns:a16="http://schemas.microsoft.com/office/drawing/2014/main" id="{BE8F3D0E-F1F2-9745-92C4-660F2B4EC3A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6464" y="5542264"/>
            <a:ext cx="183226" cy="303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37043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116" name="Table 3">
            <a:extLst>
              <a:ext uri="{FF2B5EF4-FFF2-40B4-BE49-F238E27FC236}">
                <a16:creationId xmlns:a16="http://schemas.microsoft.com/office/drawing/2014/main" id="{2278FA28-C4F6-DA49-B8AF-12372BF64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793893"/>
              </p:ext>
            </p:extLst>
          </p:nvPr>
        </p:nvGraphicFramePr>
        <p:xfrm>
          <a:off x="336201" y="1128390"/>
          <a:ext cx="11517425" cy="4601217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6625547">
                  <a:extLst>
                    <a:ext uri="{9D8B030D-6E8A-4147-A177-3AD203B41FA5}">
                      <a16:colId xmlns:a16="http://schemas.microsoft.com/office/drawing/2014/main" val="1211493876"/>
                    </a:ext>
                  </a:extLst>
                </a:gridCol>
                <a:gridCol w="2445939">
                  <a:extLst>
                    <a:ext uri="{9D8B030D-6E8A-4147-A177-3AD203B41FA5}">
                      <a16:colId xmlns:a16="http://schemas.microsoft.com/office/drawing/2014/main" val="1580326998"/>
                    </a:ext>
                  </a:extLst>
                </a:gridCol>
                <a:gridCol w="2445939">
                  <a:extLst>
                    <a:ext uri="{9D8B030D-6E8A-4147-A177-3AD203B41FA5}">
                      <a16:colId xmlns:a16="http://schemas.microsoft.com/office/drawing/2014/main" val="2536878079"/>
                    </a:ext>
                  </a:extLst>
                </a:gridCol>
              </a:tblGrid>
              <a:tr h="654017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Расходы, тыс. руб.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лан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т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21 378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21 378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03 08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03 08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39 413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539 413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Статья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2 40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ru-RU" sz="1200" b="0" i="0" u="none" strike="noStrike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2 400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7894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BE46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ИТОГО БЮДЖЕ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ru-RU" sz="2000" b="1" i="0" u="none" strike="noStrike" baseline="0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 166 271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ru-RU" sz="2000" b="1" i="0" u="none" strike="noStrike" baseline="0" dirty="0">
                          <a:solidFill>
                            <a:srgbClr val="28BE46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itchFamily="34" charset="0"/>
                        </a:rPr>
                        <a:t>1 166 271</a:t>
                      </a:r>
                    </a:p>
                  </a:txBody>
                  <a:tcPr marL="144000" marR="144000" marT="72000" marB="7200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</a:tbl>
          </a:graphicData>
        </a:graphic>
      </p:graphicFrame>
      <p:sp>
        <p:nvSpPr>
          <p:cNvPr id="117" name="TextBox 116">
            <a:extLst>
              <a:ext uri="{FF2B5EF4-FFF2-40B4-BE49-F238E27FC236}">
                <a16:creationId xmlns:a16="http://schemas.microsoft.com/office/drawing/2014/main" id="{237D5582-9302-7A47-BB85-8033F850507D}"/>
              </a:ext>
            </a:extLst>
          </p:cNvPr>
          <p:cNvSpPr txBox="1"/>
          <p:nvPr/>
        </p:nvSpPr>
        <p:spPr>
          <a:xfrm>
            <a:off x="337044" y="282072"/>
            <a:ext cx="665873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9A78A20-43CF-E6A4-5EFE-13BEC8CC1D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800421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3" hidden="1">
            <a:extLst>
              <a:ext uri="{FF2B5EF4-FFF2-40B4-BE49-F238E27FC236}">
                <a16:creationId xmlns:a16="http://schemas.microsoft.com/office/drawing/2014/main" id="{1EAB36F4-5405-9121-9FE8-4C970AF3BE85}"/>
              </a:ext>
            </a:extLst>
          </p:cNvPr>
          <p:cNvGrpSpPr/>
          <p:nvPr/>
        </p:nvGrpSpPr>
        <p:grpSpPr>
          <a:xfrm>
            <a:off x="338374" y="337748"/>
            <a:ext cx="11515252" cy="6182504"/>
            <a:chOff x="338374" y="337748"/>
            <a:chExt cx="11515252" cy="6182504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id="{AAE69DD5-D7DB-4736-5D8B-2AEB11B8B7B4}"/>
                </a:ext>
              </a:extLst>
            </p:cNvPr>
            <p:cNvGrpSpPr/>
            <p:nvPr/>
          </p:nvGrpSpPr>
          <p:grpSpPr>
            <a:xfrm>
              <a:off x="338374" y="1128391"/>
              <a:ext cx="11515252" cy="5391861"/>
              <a:chOff x="338374" y="1128391"/>
              <a:chExt cx="11515252" cy="5391861"/>
            </a:xfrm>
          </p:grpSpPr>
          <p:grpSp>
            <p:nvGrpSpPr>
              <p:cNvPr id="134" name="Group 1">
                <a:extLst>
                  <a:ext uri="{FF2B5EF4-FFF2-40B4-BE49-F238E27FC236}">
                    <a16:creationId xmlns:a16="http://schemas.microsoft.com/office/drawing/2014/main" id="{17B87F19-50B6-5A92-40F2-C1241A63DEFB}"/>
                  </a:ext>
                </a:extLst>
              </p:cNvPr>
              <p:cNvGrpSpPr/>
              <p:nvPr/>
            </p:nvGrpSpPr>
            <p:grpSpPr>
              <a:xfrm>
                <a:off x="338374" y="6196252"/>
                <a:ext cx="11515252" cy="324000"/>
                <a:chOff x="338374" y="6196252"/>
                <a:chExt cx="11515252" cy="324000"/>
              </a:xfrm>
            </p:grpSpPr>
            <p:sp>
              <p:nvSpPr>
                <p:cNvPr id="219" name="Freeform: Shape 101">
                  <a:extLst>
                    <a:ext uri="{FF2B5EF4-FFF2-40B4-BE49-F238E27FC236}">
                      <a16:creationId xmlns:a16="http://schemas.microsoft.com/office/drawing/2014/main" id="{DA37BD14-0B85-D20E-A95B-3F1139ADA0C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3837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: Shape 102">
                  <a:extLst>
                    <a:ext uri="{FF2B5EF4-FFF2-40B4-BE49-F238E27FC236}">
                      <a16:creationId xmlns:a16="http://schemas.microsoft.com/office/drawing/2014/main" id="{976806C5-A78E-FBE3-C6E2-E7582043931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30994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1" name="Freeform: Shape 103">
                  <a:extLst>
                    <a:ext uri="{FF2B5EF4-FFF2-40B4-BE49-F238E27FC236}">
                      <a16:creationId xmlns:a16="http://schemas.microsoft.com/office/drawing/2014/main" id="{B5413D94-A221-72D0-8BBA-6F3D2EC3AE1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228151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2" name="Freeform: Shape 104">
                  <a:extLst>
                    <a:ext uri="{FF2B5EF4-FFF2-40B4-BE49-F238E27FC236}">
                      <a16:creationId xmlns:a16="http://schemas.microsoft.com/office/drawing/2014/main" id="{60872443-563C-FD4A-2BC5-C811261A690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325307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3" name="Freeform: Shape 105">
                  <a:extLst>
                    <a:ext uri="{FF2B5EF4-FFF2-40B4-BE49-F238E27FC236}">
                      <a16:creationId xmlns:a16="http://schemas.microsoft.com/office/drawing/2014/main" id="{C6EF5162-5B44-8022-D273-1E2E45C8321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22464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4" name="Freeform: Shape 106">
                  <a:extLst>
                    <a:ext uri="{FF2B5EF4-FFF2-40B4-BE49-F238E27FC236}">
                      <a16:creationId xmlns:a16="http://schemas.microsoft.com/office/drawing/2014/main" id="{513E0CA2-E6CC-0239-9D0A-D3BFFC22CE0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19621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5" name="Freeform: Shape 107">
                  <a:extLst>
                    <a:ext uri="{FF2B5EF4-FFF2-40B4-BE49-F238E27FC236}">
                      <a16:creationId xmlns:a16="http://schemas.microsoft.com/office/drawing/2014/main" id="{8AEFF64D-B6F4-BE57-3C07-E29534226BC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6167782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6" name="Freeform: Shape 108">
                  <a:extLst>
                    <a:ext uri="{FF2B5EF4-FFF2-40B4-BE49-F238E27FC236}">
                      <a16:creationId xmlns:a16="http://schemas.microsoft.com/office/drawing/2014/main" id="{32726A68-6F26-3559-E396-11F218256E5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139350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7" name="Freeform: Shape 109">
                  <a:extLst>
                    <a:ext uri="{FF2B5EF4-FFF2-40B4-BE49-F238E27FC236}">
                      <a16:creationId xmlns:a16="http://schemas.microsoft.com/office/drawing/2014/main" id="{51770880-50B9-80DC-5B2F-48405D0397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8110918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8" name="Freeform: Shape 110">
                  <a:extLst>
                    <a:ext uri="{FF2B5EF4-FFF2-40B4-BE49-F238E27FC236}">
                      <a16:creationId xmlns:a16="http://schemas.microsoft.com/office/drawing/2014/main" id="{D22D28A3-D057-4FD0-48CB-888AFBFD080A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8248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29" name="Freeform: Shape 111">
                  <a:extLst>
                    <a:ext uri="{FF2B5EF4-FFF2-40B4-BE49-F238E27FC236}">
                      <a16:creationId xmlns:a16="http://schemas.microsoft.com/office/drawing/2014/main" id="{34D744DA-B988-9C6F-7F34-0C495C187512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1025626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30" name="Freeform: Shape 112">
                  <a:extLst>
                    <a:ext uri="{FF2B5EF4-FFF2-40B4-BE49-F238E27FC236}">
                      <a16:creationId xmlns:a16="http://schemas.microsoft.com/office/drawing/2014/main" id="{D99CE7B1-4B4F-205B-607E-01756E6DC834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10054054" y="6196252"/>
                  <a:ext cx="828000" cy="324000"/>
                </a:xfrm>
                <a:custGeom>
                  <a:avLst/>
                  <a:gdLst>
                    <a:gd name="connsiteX0" fmla="*/ 0 w 824589"/>
                    <a:gd name="connsiteY0" fmla="*/ 0 h 643327"/>
                    <a:gd name="connsiteX1" fmla="*/ 824589 w 824589"/>
                    <a:gd name="connsiteY1" fmla="*/ 0 h 643327"/>
                    <a:gd name="connsiteX2" fmla="*/ 824589 w 824589"/>
                    <a:gd name="connsiteY2" fmla="*/ 643327 h 643327"/>
                    <a:gd name="connsiteX3" fmla="*/ 0 w 824589"/>
                    <a:gd name="connsiteY3" fmla="*/ 643327 h 6433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4589" h="643327">
                      <a:moveTo>
                        <a:pt x="0" y="0"/>
                      </a:moveTo>
                      <a:lnTo>
                        <a:pt x="824589" y="0"/>
                      </a:lnTo>
                      <a:lnTo>
                        <a:pt x="824589" y="643327"/>
                      </a:lnTo>
                      <a:lnTo>
                        <a:pt x="0" y="643327"/>
                      </a:lnTo>
                      <a:close/>
                    </a:path>
                  </a:pathLst>
                </a:custGeom>
                <a:solidFill>
                  <a:srgbClr val="00B0F0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5" name="Freeform: Shape 4">
                <a:extLst>
                  <a:ext uri="{FF2B5EF4-FFF2-40B4-BE49-F238E27FC236}">
                    <a16:creationId xmlns:a16="http://schemas.microsoft.com/office/drawing/2014/main" id="{9F0EF7C5-F2A6-FAEF-6EDF-7CEC26A0AA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5">
                <a:extLst>
                  <a:ext uri="{FF2B5EF4-FFF2-40B4-BE49-F238E27FC236}">
                    <a16:creationId xmlns:a16="http://schemas.microsoft.com/office/drawing/2014/main" id="{B842281A-4FA6-5838-D328-186EA671B4A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6">
                <a:extLst>
                  <a:ext uri="{FF2B5EF4-FFF2-40B4-BE49-F238E27FC236}">
                    <a16:creationId xmlns:a16="http://schemas.microsoft.com/office/drawing/2014/main" id="{6E86BA0E-1BD1-2923-6D45-43AF9AD3B93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7">
                <a:extLst>
                  <a:ext uri="{FF2B5EF4-FFF2-40B4-BE49-F238E27FC236}">
                    <a16:creationId xmlns:a16="http://schemas.microsoft.com/office/drawing/2014/main" id="{0F2CE1ED-039A-6C59-3862-F3E9E267E33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8">
                <a:extLst>
                  <a:ext uri="{FF2B5EF4-FFF2-40B4-BE49-F238E27FC236}">
                    <a16:creationId xmlns:a16="http://schemas.microsoft.com/office/drawing/2014/main" id="{08545C84-F504-CAAC-CB10-EEB5CC55551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9">
                <a:extLst>
                  <a:ext uri="{FF2B5EF4-FFF2-40B4-BE49-F238E27FC236}">
                    <a16:creationId xmlns:a16="http://schemas.microsoft.com/office/drawing/2014/main" id="{D703B35E-A190-F092-531F-027C67DD4B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0">
                <a:extLst>
                  <a:ext uri="{FF2B5EF4-FFF2-40B4-BE49-F238E27FC236}">
                    <a16:creationId xmlns:a16="http://schemas.microsoft.com/office/drawing/2014/main" id="{BC0905C8-B08D-C1B0-4E25-A039C366F00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1">
                <a:extLst>
                  <a:ext uri="{FF2B5EF4-FFF2-40B4-BE49-F238E27FC236}">
                    <a16:creationId xmlns:a16="http://schemas.microsoft.com/office/drawing/2014/main" id="{3B4498F9-4AE2-C077-6BD1-AA1447C36C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2">
                <a:extLst>
                  <a:ext uri="{FF2B5EF4-FFF2-40B4-BE49-F238E27FC236}">
                    <a16:creationId xmlns:a16="http://schemas.microsoft.com/office/drawing/2014/main" id="{5AED7350-D190-6AE9-07B3-58BC469E574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3">
                <a:extLst>
                  <a:ext uri="{FF2B5EF4-FFF2-40B4-BE49-F238E27FC236}">
                    <a16:creationId xmlns:a16="http://schemas.microsoft.com/office/drawing/2014/main" id="{DB1B3856-4C9B-ECA2-051F-8A634C744CB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">
                <a:extLst>
                  <a:ext uri="{FF2B5EF4-FFF2-40B4-BE49-F238E27FC236}">
                    <a16:creationId xmlns:a16="http://schemas.microsoft.com/office/drawing/2014/main" id="{1A038217-120E-59BD-7404-081683926C7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5">
                <a:extLst>
                  <a:ext uri="{FF2B5EF4-FFF2-40B4-BE49-F238E27FC236}">
                    <a16:creationId xmlns:a16="http://schemas.microsoft.com/office/drawing/2014/main" id="{CC612CA9-C8AE-D33E-A9B5-EE239DBD3B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872252"/>
                <a:ext cx="828000" cy="324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6">
                <a:extLst>
                  <a:ext uri="{FF2B5EF4-FFF2-40B4-BE49-F238E27FC236}">
                    <a16:creationId xmlns:a16="http://schemas.microsoft.com/office/drawing/2014/main" id="{38409939-FAB3-6A8A-FE38-5FB6057FB98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7">
                <a:extLst>
                  <a:ext uri="{FF2B5EF4-FFF2-40B4-BE49-F238E27FC236}">
                    <a16:creationId xmlns:a16="http://schemas.microsoft.com/office/drawing/2014/main" id="{49FD6571-4FB0-BE2D-D005-F37F301B914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8">
                <a:extLst>
                  <a:ext uri="{FF2B5EF4-FFF2-40B4-BE49-F238E27FC236}">
                    <a16:creationId xmlns:a16="http://schemas.microsoft.com/office/drawing/2014/main" id="{91D23192-237A-0B65-97A4-F2A8CA7F356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9">
                <a:extLst>
                  <a:ext uri="{FF2B5EF4-FFF2-40B4-BE49-F238E27FC236}">
                    <a16:creationId xmlns:a16="http://schemas.microsoft.com/office/drawing/2014/main" id="{0B374899-15A7-C115-CB94-FFEB47EDA1B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20">
                <a:extLst>
                  <a:ext uri="{FF2B5EF4-FFF2-40B4-BE49-F238E27FC236}">
                    <a16:creationId xmlns:a16="http://schemas.microsoft.com/office/drawing/2014/main" id="{000034ED-B4E7-939B-1FE9-F3DC6AC246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21">
                <a:extLst>
                  <a:ext uri="{FF2B5EF4-FFF2-40B4-BE49-F238E27FC236}">
                    <a16:creationId xmlns:a16="http://schemas.microsoft.com/office/drawing/2014/main" id="{35B0D465-1329-E370-D532-F59B9193F8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22">
                <a:extLst>
                  <a:ext uri="{FF2B5EF4-FFF2-40B4-BE49-F238E27FC236}">
                    <a16:creationId xmlns:a16="http://schemas.microsoft.com/office/drawing/2014/main" id="{820E2903-34E5-0728-35A8-BEE4AD6C0D0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23">
                <a:extLst>
                  <a:ext uri="{FF2B5EF4-FFF2-40B4-BE49-F238E27FC236}">
                    <a16:creationId xmlns:a16="http://schemas.microsoft.com/office/drawing/2014/main" id="{21F42379-21BB-FFBA-A434-B2BDE8EA9A2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24">
                <a:extLst>
                  <a:ext uri="{FF2B5EF4-FFF2-40B4-BE49-F238E27FC236}">
                    <a16:creationId xmlns:a16="http://schemas.microsoft.com/office/drawing/2014/main" id="{999EAFF2-514B-2E55-A3B3-7E39C103FF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25">
                <a:extLst>
                  <a:ext uri="{FF2B5EF4-FFF2-40B4-BE49-F238E27FC236}">
                    <a16:creationId xmlns:a16="http://schemas.microsoft.com/office/drawing/2014/main" id="{A45F8037-BF4E-2BE6-5413-2187C680A26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26">
                <a:extLst>
                  <a:ext uri="{FF2B5EF4-FFF2-40B4-BE49-F238E27FC236}">
                    <a16:creationId xmlns:a16="http://schemas.microsoft.com/office/drawing/2014/main" id="{3DE60B02-D7E6-CA49-7616-D6DC5F4210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27">
                <a:extLst>
                  <a:ext uri="{FF2B5EF4-FFF2-40B4-BE49-F238E27FC236}">
                    <a16:creationId xmlns:a16="http://schemas.microsoft.com/office/drawing/2014/main" id="{632ED29B-6719-775E-BCF1-3CC82E76E58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128391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28">
                <a:extLst>
                  <a:ext uri="{FF2B5EF4-FFF2-40B4-BE49-F238E27FC236}">
                    <a16:creationId xmlns:a16="http://schemas.microsoft.com/office/drawing/2014/main" id="{B3EA2C26-8BF7-76DA-1303-C0CAB15625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29">
                <a:extLst>
                  <a:ext uri="{FF2B5EF4-FFF2-40B4-BE49-F238E27FC236}">
                    <a16:creationId xmlns:a16="http://schemas.microsoft.com/office/drawing/2014/main" id="{32BFD514-3532-F2F0-3D5B-14087884609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30">
                <a:extLst>
                  <a:ext uri="{FF2B5EF4-FFF2-40B4-BE49-F238E27FC236}">
                    <a16:creationId xmlns:a16="http://schemas.microsoft.com/office/drawing/2014/main" id="{9D84C9FD-FB43-3270-BC88-41651221B7B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31">
                <a:extLst>
                  <a:ext uri="{FF2B5EF4-FFF2-40B4-BE49-F238E27FC236}">
                    <a16:creationId xmlns:a16="http://schemas.microsoft.com/office/drawing/2014/main" id="{304D9A9A-073B-B1A8-4471-DF21344AB21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32">
                <a:extLst>
                  <a:ext uri="{FF2B5EF4-FFF2-40B4-BE49-F238E27FC236}">
                    <a16:creationId xmlns:a16="http://schemas.microsoft.com/office/drawing/2014/main" id="{40F9821B-EC3D-D2E9-E7A0-670B3F43119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33">
                <a:extLst>
                  <a:ext uri="{FF2B5EF4-FFF2-40B4-BE49-F238E27FC236}">
                    <a16:creationId xmlns:a16="http://schemas.microsoft.com/office/drawing/2014/main" id="{FB8FDF6E-47AF-ABA1-5A78-797829BE574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34">
                <a:extLst>
                  <a:ext uri="{FF2B5EF4-FFF2-40B4-BE49-F238E27FC236}">
                    <a16:creationId xmlns:a16="http://schemas.microsoft.com/office/drawing/2014/main" id="{F0220381-DDB2-FD56-AD4E-0F515404070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35">
                <a:extLst>
                  <a:ext uri="{FF2B5EF4-FFF2-40B4-BE49-F238E27FC236}">
                    <a16:creationId xmlns:a16="http://schemas.microsoft.com/office/drawing/2014/main" id="{B2295EE7-76E6-D644-43BC-60C885F4CB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36">
                <a:extLst>
                  <a:ext uri="{FF2B5EF4-FFF2-40B4-BE49-F238E27FC236}">
                    <a16:creationId xmlns:a16="http://schemas.microsoft.com/office/drawing/2014/main" id="{D05E8849-7972-0A99-0A1E-85AC264A69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37">
                <a:extLst>
                  <a:ext uri="{FF2B5EF4-FFF2-40B4-BE49-F238E27FC236}">
                    <a16:creationId xmlns:a16="http://schemas.microsoft.com/office/drawing/2014/main" id="{BA3E7A83-D0E3-DF65-8D7D-432BEE7592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38">
                <a:extLst>
                  <a:ext uri="{FF2B5EF4-FFF2-40B4-BE49-F238E27FC236}">
                    <a16:creationId xmlns:a16="http://schemas.microsoft.com/office/drawing/2014/main" id="{54FEF8A8-3A98-A7BE-E72C-3D0991937FF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39">
                <a:extLst>
                  <a:ext uri="{FF2B5EF4-FFF2-40B4-BE49-F238E27FC236}">
                    <a16:creationId xmlns:a16="http://schemas.microsoft.com/office/drawing/2014/main" id="{D5597DA9-BBB5-1711-D055-CA23869EF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1919034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40">
                <a:extLst>
                  <a:ext uri="{FF2B5EF4-FFF2-40B4-BE49-F238E27FC236}">
                    <a16:creationId xmlns:a16="http://schemas.microsoft.com/office/drawing/2014/main" id="{E9EB3CE3-E7D0-5BEC-6CAF-A630E4B5AD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41">
                <a:extLst>
                  <a:ext uri="{FF2B5EF4-FFF2-40B4-BE49-F238E27FC236}">
                    <a16:creationId xmlns:a16="http://schemas.microsoft.com/office/drawing/2014/main" id="{8D06B01B-A2C0-A1C4-3A7E-7FB0205FDFA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42">
                <a:extLst>
                  <a:ext uri="{FF2B5EF4-FFF2-40B4-BE49-F238E27FC236}">
                    <a16:creationId xmlns:a16="http://schemas.microsoft.com/office/drawing/2014/main" id="{888AB9D1-B3FC-2AEB-49F4-714D082F68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43">
                <a:extLst>
                  <a:ext uri="{FF2B5EF4-FFF2-40B4-BE49-F238E27FC236}">
                    <a16:creationId xmlns:a16="http://schemas.microsoft.com/office/drawing/2014/main" id="{22341F32-8265-9650-BFDE-6015F8EF4E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44">
                <a:extLst>
                  <a:ext uri="{FF2B5EF4-FFF2-40B4-BE49-F238E27FC236}">
                    <a16:creationId xmlns:a16="http://schemas.microsoft.com/office/drawing/2014/main" id="{9659CB68-45EA-4BA7-5E3A-F36ABC2FD6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45">
                <a:extLst>
                  <a:ext uri="{FF2B5EF4-FFF2-40B4-BE49-F238E27FC236}">
                    <a16:creationId xmlns:a16="http://schemas.microsoft.com/office/drawing/2014/main" id="{4938FD73-C198-AF79-C9F1-0E0D098988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46">
                <a:extLst>
                  <a:ext uri="{FF2B5EF4-FFF2-40B4-BE49-F238E27FC236}">
                    <a16:creationId xmlns:a16="http://schemas.microsoft.com/office/drawing/2014/main" id="{EE75D94F-25A6-803F-62FF-0FCF793BC1F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47">
                <a:extLst>
                  <a:ext uri="{FF2B5EF4-FFF2-40B4-BE49-F238E27FC236}">
                    <a16:creationId xmlns:a16="http://schemas.microsoft.com/office/drawing/2014/main" id="{67D96A76-8E9C-AB1B-D48E-FE191268496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48">
                <a:extLst>
                  <a:ext uri="{FF2B5EF4-FFF2-40B4-BE49-F238E27FC236}">
                    <a16:creationId xmlns:a16="http://schemas.microsoft.com/office/drawing/2014/main" id="{6A962551-54A6-A047-64D0-89C7486AFF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49">
                <a:extLst>
                  <a:ext uri="{FF2B5EF4-FFF2-40B4-BE49-F238E27FC236}">
                    <a16:creationId xmlns:a16="http://schemas.microsoft.com/office/drawing/2014/main" id="{5DC7335A-57E1-E84D-4F29-456F475E7B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50">
                <a:extLst>
                  <a:ext uri="{FF2B5EF4-FFF2-40B4-BE49-F238E27FC236}">
                    <a16:creationId xmlns:a16="http://schemas.microsoft.com/office/drawing/2014/main" id="{6C2D756C-4DC4-B283-8F06-9ACE994253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51">
                <a:extLst>
                  <a:ext uri="{FF2B5EF4-FFF2-40B4-BE49-F238E27FC236}">
                    <a16:creationId xmlns:a16="http://schemas.microsoft.com/office/drawing/2014/main" id="{F38D8A7B-6184-4499-F605-E235CA3A377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2709677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52">
                <a:extLst>
                  <a:ext uri="{FF2B5EF4-FFF2-40B4-BE49-F238E27FC236}">
                    <a16:creationId xmlns:a16="http://schemas.microsoft.com/office/drawing/2014/main" id="{86D0ED00-7F40-C7FA-2416-6D3AEB6EDE2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53">
                <a:extLst>
                  <a:ext uri="{FF2B5EF4-FFF2-40B4-BE49-F238E27FC236}">
                    <a16:creationId xmlns:a16="http://schemas.microsoft.com/office/drawing/2014/main" id="{5459CC11-DA94-355A-5363-ABEBCCC3FCA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54">
                <a:extLst>
                  <a:ext uri="{FF2B5EF4-FFF2-40B4-BE49-F238E27FC236}">
                    <a16:creationId xmlns:a16="http://schemas.microsoft.com/office/drawing/2014/main" id="{49535FC0-2FCE-D464-833B-25B90DEDF4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55">
                <a:extLst>
                  <a:ext uri="{FF2B5EF4-FFF2-40B4-BE49-F238E27FC236}">
                    <a16:creationId xmlns:a16="http://schemas.microsoft.com/office/drawing/2014/main" id="{142D80B7-E110-56A8-62FD-27B71B42AA1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56">
                <a:extLst>
                  <a:ext uri="{FF2B5EF4-FFF2-40B4-BE49-F238E27FC236}">
                    <a16:creationId xmlns:a16="http://schemas.microsoft.com/office/drawing/2014/main" id="{7F5292AD-5C0B-B753-DAB2-516D9C52B9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57">
                <a:extLst>
                  <a:ext uri="{FF2B5EF4-FFF2-40B4-BE49-F238E27FC236}">
                    <a16:creationId xmlns:a16="http://schemas.microsoft.com/office/drawing/2014/main" id="{DF5E8B44-3BD6-1813-FF3A-CE8690FB884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58">
                <a:extLst>
                  <a:ext uri="{FF2B5EF4-FFF2-40B4-BE49-F238E27FC236}">
                    <a16:creationId xmlns:a16="http://schemas.microsoft.com/office/drawing/2014/main" id="{50A8608E-1901-C874-5DEB-BEC31E23EF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59">
                <a:extLst>
                  <a:ext uri="{FF2B5EF4-FFF2-40B4-BE49-F238E27FC236}">
                    <a16:creationId xmlns:a16="http://schemas.microsoft.com/office/drawing/2014/main" id="{69F3E33A-31D3-DAB9-E0C4-3B64C8BDF99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60">
                <a:extLst>
                  <a:ext uri="{FF2B5EF4-FFF2-40B4-BE49-F238E27FC236}">
                    <a16:creationId xmlns:a16="http://schemas.microsoft.com/office/drawing/2014/main" id="{679EA4EB-CC16-C654-1D6D-1957DDA13F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61">
                <a:extLst>
                  <a:ext uri="{FF2B5EF4-FFF2-40B4-BE49-F238E27FC236}">
                    <a16:creationId xmlns:a16="http://schemas.microsoft.com/office/drawing/2014/main" id="{B5948F62-25EE-8C9C-463B-D4775D17EDA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62">
                <a:extLst>
                  <a:ext uri="{FF2B5EF4-FFF2-40B4-BE49-F238E27FC236}">
                    <a16:creationId xmlns:a16="http://schemas.microsoft.com/office/drawing/2014/main" id="{EB449FFD-0AB6-23B1-9D35-E3365E3FF53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63">
                <a:extLst>
                  <a:ext uri="{FF2B5EF4-FFF2-40B4-BE49-F238E27FC236}">
                    <a16:creationId xmlns:a16="http://schemas.microsoft.com/office/drawing/2014/main" id="{0E81841E-2F5C-3529-474E-466F3BF7553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500320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64">
                <a:extLst>
                  <a:ext uri="{FF2B5EF4-FFF2-40B4-BE49-F238E27FC236}">
                    <a16:creationId xmlns:a16="http://schemas.microsoft.com/office/drawing/2014/main" id="{2D5FE90E-DDE7-A23A-1B4F-377E226248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65">
                <a:extLst>
                  <a:ext uri="{FF2B5EF4-FFF2-40B4-BE49-F238E27FC236}">
                    <a16:creationId xmlns:a16="http://schemas.microsoft.com/office/drawing/2014/main" id="{5C5FE971-4827-07CF-86C6-3C9D67AD7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66">
                <a:extLst>
                  <a:ext uri="{FF2B5EF4-FFF2-40B4-BE49-F238E27FC236}">
                    <a16:creationId xmlns:a16="http://schemas.microsoft.com/office/drawing/2014/main" id="{ADCA3240-3BF3-25E3-E361-874E1D824C7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67">
                <a:extLst>
                  <a:ext uri="{FF2B5EF4-FFF2-40B4-BE49-F238E27FC236}">
                    <a16:creationId xmlns:a16="http://schemas.microsoft.com/office/drawing/2014/main" id="{344FBD79-151B-E583-1A50-2D91682500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68">
                <a:extLst>
                  <a:ext uri="{FF2B5EF4-FFF2-40B4-BE49-F238E27FC236}">
                    <a16:creationId xmlns:a16="http://schemas.microsoft.com/office/drawing/2014/main" id="{49DE6045-80B3-A10F-8CC2-155501C8EE7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69">
                <a:extLst>
                  <a:ext uri="{FF2B5EF4-FFF2-40B4-BE49-F238E27FC236}">
                    <a16:creationId xmlns:a16="http://schemas.microsoft.com/office/drawing/2014/main" id="{D588ADEB-A331-8A3F-CA18-B4D54D344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70">
                <a:extLst>
                  <a:ext uri="{FF2B5EF4-FFF2-40B4-BE49-F238E27FC236}">
                    <a16:creationId xmlns:a16="http://schemas.microsoft.com/office/drawing/2014/main" id="{5D708248-8873-9918-A708-9ED696FBFB1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71">
                <a:extLst>
                  <a:ext uri="{FF2B5EF4-FFF2-40B4-BE49-F238E27FC236}">
                    <a16:creationId xmlns:a16="http://schemas.microsoft.com/office/drawing/2014/main" id="{67C197ED-0451-3A1B-0E7C-B49ABE9171D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72">
                <a:extLst>
                  <a:ext uri="{FF2B5EF4-FFF2-40B4-BE49-F238E27FC236}">
                    <a16:creationId xmlns:a16="http://schemas.microsoft.com/office/drawing/2014/main" id="{B756A210-17C9-C322-9140-571B88D3EC3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73">
                <a:extLst>
                  <a:ext uri="{FF2B5EF4-FFF2-40B4-BE49-F238E27FC236}">
                    <a16:creationId xmlns:a16="http://schemas.microsoft.com/office/drawing/2014/main" id="{DFFDB579-806A-F0FC-023E-5084008A4A3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74">
                <a:extLst>
                  <a:ext uri="{FF2B5EF4-FFF2-40B4-BE49-F238E27FC236}">
                    <a16:creationId xmlns:a16="http://schemas.microsoft.com/office/drawing/2014/main" id="{CD47E6FF-FCBC-48EB-1F5D-2429A15AB07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75">
                <a:extLst>
                  <a:ext uri="{FF2B5EF4-FFF2-40B4-BE49-F238E27FC236}">
                    <a16:creationId xmlns:a16="http://schemas.microsoft.com/office/drawing/2014/main" id="{343A7E6D-A338-DE94-2E62-FA76C730A9A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4290963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76">
                <a:extLst>
                  <a:ext uri="{FF2B5EF4-FFF2-40B4-BE49-F238E27FC236}">
                    <a16:creationId xmlns:a16="http://schemas.microsoft.com/office/drawing/2014/main" id="{8EF4AA90-EA87-9022-F590-4A3A350FF7F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77">
                <a:extLst>
                  <a:ext uri="{FF2B5EF4-FFF2-40B4-BE49-F238E27FC236}">
                    <a16:creationId xmlns:a16="http://schemas.microsoft.com/office/drawing/2014/main" id="{3353B0F2-B7DD-1356-8C7E-2BFEF508FC1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78">
                <a:extLst>
                  <a:ext uri="{FF2B5EF4-FFF2-40B4-BE49-F238E27FC236}">
                    <a16:creationId xmlns:a16="http://schemas.microsoft.com/office/drawing/2014/main" id="{1C187BA7-C69A-5C5C-127A-263E2259C74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79">
                <a:extLst>
                  <a:ext uri="{FF2B5EF4-FFF2-40B4-BE49-F238E27FC236}">
                    <a16:creationId xmlns:a16="http://schemas.microsoft.com/office/drawing/2014/main" id="{119BDA33-D168-0176-2A92-C468E1D52D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80">
                <a:extLst>
                  <a:ext uri="{FF2B5EF4-FFF2-40B4-BE49-F238E27FC236}">
                    <a16:creationId xmlns:a16="http://schemas.microsoft.com/office/drawing/2014/main" id="{94B2EC88-BDBD-F799-9FEB-21975FC566A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81">
                <a:extLst>
                  <a:ext uri="{FF2B5EF4-FFF2-40B4-BE49-F238E27FC236}">
                    <a16:creationId xmlns:a16="http://schemas.microsoft.com/office/drawing/2014/main" id="{5E61CC91-F3D7-6CEB-A61B-03164DCC446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82">
                <a:extLst>
                  <a:ext uri="{FF2B5EF4-FFF2-40B4-BE49-F238E27FC236}">
                    <a16:creationId xmlns:a16="http://schemas.microsoft.com/office/drawing/2014/main" id="{56AA7AE5-1644-F085-BBA9-D8C7B79018D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83">
                <a:extLst>
                  <a:ext uri="{FF2B5EF4-FFF2-40B4-BE49-F238E27FC236}">
                    <a16:creationId xmlns:a16="http://schemas.microsoft.com/office/drawing/2014/main" id="{F9D665C8-BD0E-70C2-D7F0-AB74260224D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84">
                <a:extLst>
                  <a:ext uri="{FF2B5EF4-FFF2-40B4-BE49-F238E27FC236}">
                    <a16:creationId xmlns:a16="http://schemas.microsoft.com/office/drawing/2014/main" id="{6547A77C-A086-5D0C-66C9-7DC53E16E6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85">
                <a:extLst>
                  <a:ext uri="{FF2B5EF4-FFF2-40B4-BE49-F238E27FC236}">
                    <a16:creationId xmlns:a16="http://schemas.microsoft.com/office/drawing/2014/main" id="{ACA90E1F-4F12-7155-E252-A468496EE8F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86">
                <a:extLst>
                  <a:ext uri="{FF2B5EF4-FFF2-40B4-BE49-F238E27FC236}">
                    <a16:creationId xmlns:a16="http://schemas.microsoft.com/office/drawing/2014/main" id="{89CF6EFA-DCA1-87BB-F35E-E5A58D22542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87">
                <a:extLst>
                  <a:ext uri="{FF2B5EF4-FFF2-40B4-BE49-F238E27FC236}">
                    <a16:creationId xmlns:a16="http://schemas.microsoft.com/office/drawing/2014/main" id="{FBA3AA9E-4F66-6E42-832C-F182BC8854E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5081606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Group 88">
              <a:extLst>
                <a:ext uri="{FF2B5EF4-FFF2-40B4-BE49-F238E27FC236}">
                  <a16:creationId xmlns:a16="http://schemas.microsoft.com/office/drawing/2014/main" id="{0688B387-4B52-BE66-6BC2-F55800045466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  <a:solidFill>
              <a:schemeClr val="accent2">
                <a:lumMod val="60000"/>
                <a:lumOff val="40000"/>
                <a:alpha val="63000"/>
              </a:schemeClr>
            </a:solidFill>
          </p:grpSpPr>
          <p:sp>
            <p:nvSpPr>
              <p:cNvPr id="119" name="Freeform: Shape 89">
                <a:extLst>
                  <a:ext uri="{FF2B5EF4-FFF2-40B4-BE49-F238E27FC236}">
                    <a16:creationId xmlns:a16="http://schemas.microsoft.com/office/drawing/2014/main" id="{91BB8D19-8F0D-A233-2912-5778803E306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Freeform: Shape 90">
                <a:extLst>
                  <a:ext uri="{FF2B5EF4-FFF2-40B4-BE49-F238E27FC236}">
                    <a16:creationId xmlns:a16="http://schemas.microsoft.com/office/drawing/2014/main" id="{DB3D5BCB-B3F7-59C3-24EA-E7F8E88B0DC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91">
                <a:extLst>
                  <a:ext uri="{FF2B5EF4-FFF2-40B4-BE49-F238E27FC236}">
                    <a16:creationId xmlns:a16="http://schemas.microsoft.com/office/drawing/2014/main" id="{C00FE586-922D-C97D-9A11-1167732762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5" name="Freeform: Shape 92">
                <a:extLst>
                  <a:ext uri="{FF2B5EF4-FFF2-40B4-BE49-F238E27FC236}">
                    <a16:creationId xmlns:a16="http://schemas.microsoft.com/office/drawing/2014/main" id="{587D1FDA-A9C2-F39C-020E-E9BC75383A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6" name="Freeform: Shape 93">
                <a:extLst>
                  <a:ext uri="{FF2B5EF4-FFF2-40B4-BE49-F238E27FC236}">
                    <a16:creationId xmlns:a16="http://schemas.microsoft.com/office/drawing/2014/main" id="{8A3C120F-FE4E-A279-8260-440036537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7" name="Freeform: Shape 94">
                <a:extLst>
                  <a:ext uri="{FF2B5EF4-FFF2-40B4-BE49-F238E27FC236}">
                    <a16:creationId xmlns:a16="http://schemas.microsoft.com/office/drawing/2014/main" id="{B81D7A97-69E4-BF35-7B82-6CCC5256573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8" name="Freeform: Shape 95">
                <a:extLst>
                  <a:ext uri="{FF2B5EF4-FFF2-40B4-BE49-F238E27FC236}">
                    <a16:creationId xmlns:a16="http://schemas.microsoft.com/office/drawing/2014/main" id="{6F28AC7F-B6A8-3F5D-8A2F-7F1A175DA41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96">
                <a:extLst>
                  <a:ext uri="{FF2B5EF4-FFF2-40B4-BE49-F238E27FC236}">
                    <a16:creationId xmlns:a16="http://schemas.microsoft.com/office/drawing/2014/main" id="{A1F5B1CA-7348-D681-9B51-BB343E4C07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0" name="Freeform: Shape 97">
                <a:extLst>
                  <a:ext uri="{FF2B5EF4-FFF2-40B4-BE49-F238E27FC236}">
                    <a16:creationId xmlns:a16="http://schemas.microsoft.com/office/drawing/2014/main" id="{BA52A795-7CBC-A6AC-A232-93194648612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98">
                <a:extLst>
                  <a:ext uri="{FF2B5EF4-FFF2-40B4-BE49-F238E27FC236}">
                    <a16:creationId xmlns:a16="http://schemas.microsoft.com/office/drawing/2014/main" id="{5777E0AA-A37D-2DF9-C55B-E6EFD6BABE6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Freeform: Shape 99">
                <a:extLst>
                  <a:ext uri="{FF2B5EF4-FFF2-40B4-BE49-F238E27FC236}">
                    <a16:creationId xmlns:a16="http://schemas.microsoft.com/office/drawing/2014/main" id="{C88D7B65-7EF8-EB6D-2727-1796A932305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3" name="Freeform: Shape 100">
                <a:extLst>
                  <a:ext uri="{FF2B5EF4-FFF2-40B4-BE49-F238E27FC236}">
                    <a16:creationId xmlns:a16="http://schemas.microsoft.com/office/drawing/2014/main" id="{FDBE92F9-33DC-39FB-42EF-539A67CABDE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FE769C14-3C0A-5943-A1DC-8661DBFBC2CB}"/>
              </a:ext>
            </a:extLst>
          </p:cNvPr>
          <p:cNvSpPr txBox="1"/>
          <p:nvPr/>
        </p:nvSpPr>
        <p:spPr>
          <a:xfrm>
            <a:off x="337044" y="282072"/>
            <a:ext cx="10981832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117" name="Таблица 116">
            <a:extLst>
              <a:ext uri="{FF2B5EF4-FFF2-40B4-BE49-F238E27FC236}">
                <a16:creationId xmlns:a16="http://schemas.microsoft.com/office/drawing/2014/main" id="{1CFF0496-E3EA-9649-8899-9C359B1C0A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672128"/>
              </p:ext>
            </p:extLst>
          </p:nvPr>
        </p:nvGraphicFramePr>
        <p:xfrm>
          <a:off x="338362" y="1129002"/>
          <a:ext cx="11515264" cy="51640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74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940">
                  <a:extLst>
                    <a:ext uri="{9D8B030D-6E8A-4147-A177-3AD203B41FA5}">
                      <a16:colId xmlns:a16="http://schemas.microsoft.com/office/drawing/2014/main" val="2219724807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32279">
                  <a:extLst>
                    <a:ext uri="{9D8B030D-6E8A-4147-A177-3AD203B41FA5}">
                      <a16:colId xmlns:a16="http://schemas.microsoft.com/office/drawing/2014/main" val="292671388"/>
                    </a:ext>
                  </a:extLst>
                </a:gridCol>
              </a:tblGrid>
              <a:tr h="64289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ЦЕЛИ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ЛА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АКТ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ТАТУС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1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ОММЕНТАРИЙ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977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977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29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4%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4%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00+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900+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47A044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47A044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489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4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,5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,4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E9E2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E9E2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3106443"/>
                  </a:ext>
                </a:extLst>
              </a:tr>
              <a:tr h="10190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Цель 5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0 мл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 млн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D222C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Wingdings" panose="05000000000000000000" pitchFamily="2" charset="2"/>
                        </a:rPr>
                        <a:t></a:t>
                      </a:r>
                      <a:endParaRPr lang="ru-RU" sz="2000" dirty="0">
                        <a:solidFill>
                          <a:srgbClr val="CD222C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овое описание параметра текстовое описание текстовое описание</a:t>
                      </a:r>
                    </a:p>
                  </a:txBody>
                  <a:tcPr marL="144000" marR="144000" marT="72000" marB="720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1332598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85BDDB-CD97-E4A7-3799-4D0324DF7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5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007783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ХЕМ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4D2E2-8EC2-D025-2C11-5DF089AC7A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5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49863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C0C5C987-E498-257C-8206-5B4B0A2E32D3}"/>
              </a:ext>
            </a:extLst>
          </p:cNvPr>
          <p:cNvSpPr/>
          <p:nvPr/>
        </p:nvSpPr>
        <p:spPr>
          <a:xfrm>
            <a:off x="338374" y="1918267"/>
            <a:ext cx="5685835" cy="2230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base">
              <a:spcBef>
                <a:spcPts val="600"/>
              </a:spcBef>
              <a:spcAft>
                <a:spcPts val="100"/>
              </a:spcAft>
              <a:buClr>
                <a:srgbClr val="000000"/>
              </a:buClr>
              <a:buSzPct val="90000"/>
              <a:defRPr/>
            </a:pPr>
            <a:r>
              <a:rPr lang="ru-RU" sz="1400" cap="all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13">
            <a:extLst>
              <a:ext uri="{FF2B5EF4-FFF2-40B4-BE49-F238E27FC236}">
                <a16:creationId xmlns:a16="http://schemas.microsoft.com/office/drawing/2014/main" id="{F24AEF62-76A0-2826-03EB-06ED47A476B8}"/>
              </a:ext>
            </a:extLst>
          </p:cNvPr>
          <p:cNvSpPr/>
          <p:nvPr/>
        </p:nvSpPr>
        <p:spPr>
          <a:xfrm>
            <a:off x="6167782" y="1918268"/>
            <a:ext cx="5685835" cy="2230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cap="all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EBBD51F8-2826-54AB-4BF9-5A709B4276FF}"/>
              </a:ext>
            </a:extLst>
          </p:cNvPr>
          <p:cNvSpPr>
            <a:spLocks/>
          </p:cNvSpPr>
          <p:nvPr/>
        </p:nvSpPr>
        <p:spPr>
          <a:xfrm>
            <a:off x="338374" y="1128391"/>
            <a:ext cx="11518664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6" name="Рисунок 461">
            <a:extLst>
              <a:ext uri="{FF2B5EF4-FFF2-40B4-BE49-F238E27FC236}">
                <a16:creationId xmlns:a16="http://schemas.microsoft.com/office/drawing/2014/main" id="{F0281AE3-B80A-1F17-3987-4F0DB52BD71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044" y="4290304"/>
            <a:ext cx="11519994" cy="19008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F367A6E-5813-2827-4972-0AC050B6FAF7}"/>
              </a:ext>
            </a:extLst>
          </p:cNvPr>
          <p:cNvSpPr txBox="1"/>
          <p:nvPr/>
        </p:nvSpPr>
        <p:spPr>
          <a:xfrm>
            <a:off x="337043" y="463773"/>
            <a:ext cx="9125933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2057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A24FF61-B152-DE45-8CC7-88B87ED103C3}"/>
              </a:ext>
            </a:extLst>
          </p:cNvPr>
          <p:cNvSpPr/>
          <p:nvPr/>
        </p:nvSpPr>
        <p:spPr>
          <a:xfrm>
            <a:off x="579912" y="1125538"/>
            <a:ext cx="11008426" cy="2232025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F42F7C59-8782-4045-9788-79CCCFAB224B}"/>
              </a:ext>
            </a:extLst>
          </p:cNvPr>
          <p:cNvSpPr/>
          <p:nvPr/>
        </p:nvSpPr>
        <p:spPr>
          <a:xfrm>
            <a:off x="598400" y="5732461"/>
            <a:ext cx="10995200" cy="46831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51A89CC-2825-9D4F-8FAC-35BBD7B8DBBB}"/>
              </a:ext>
            </a:extLst>
          </p:cNvPr>
          <p:cNvSpPr/>
          <p:nvPr/>
        </p:nvSpPr>
        <p:spPr>
          <a:xfrm>
            <a:off x="6457352" y="3500438"/>
            <a:ext cx="5119740" cy="207210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4AF8C5A-D788-D34E-99EE-20D7B7A94A76}"/>
              </a:ext>
            </a:extLst>
          </p:cNvPr>
          <p:cNvSpPr/>
          <p:nvPr/>
        </p:nvSpPr>
        <p:spPr>
          <a:xfrm>
            <a:off x="577933" y="3500438"/>
            <a:ext cx="5059716" cy="207210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8A1ADAEA-798B-E84D-852F-1E1600426771}"/>
              </a:ext>
            </a:extLst>
          </p:cNvPr>
          <p:cNvCxnSpPr>
            <a:cxnSpLocks/>
          </p:cNvCxnSpPr>
          <p:nvPr/>
        </p:nvCxnSpPr>
        <p:spPr>
          <a:xfrm>
            <a:off x="5637649" y="4536489"/>
            <a:ext cx="819703" cy="0"/>
          </a:xfrm>
          <a:prstGeom prst="straightConnector1">
            <a:avLst/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ACBD7B23-516C-CF43-9C3D-F46A28478F6B}"/>
              </a:ext>
            </a:extLst>
          </p:cNvPr>
          <p:cNvCxnSpPr>
            <a:cxnSpLocks/>
          </p:cNvCxnSpPr>
          <p:nvPr/>
        </p:nvCxnSpPr>
        <p:spPr>
          <a:xfrm>
            <a:off x="6041563" y="3357563"/>
            <a:ext cx="11875" cy="237489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3463061E-E0FD-0044-95E6-4E666BE722DC}"/>
              </a:ext>
            </a:extLst>
          </p:cNvPr>
          <p:cNvCxnSpPr>
            <a:cxnSpLocks/>
            <a:stCxn id="25" idx="1"/>
            <a:endCxn id="17" idx="1"/>
          </p:cNvCxnSpPr>
          <p:nvPr/>
        </p:nvCxnSpPr>
        <p:spPr>
          <a:xfrm rot="10800000" flipH="1" flipV="1">
            <a:off x="577932" y="4536488"/>
            <a:ext cx="20467" cy="1430129"/>
          </a:xfrm>
          <a:prstGeom prst="bentConnector3">
            <a:avLst>
              <a:gd name="adj1" fmla="val -111692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>
            <a:extLst>
              <a:ext uri="{FF2B5EF4-FFF2-40B4-BE49-F238E27FC236}">
                <a16:creationId xmlns:a16="http://schemas.microsoft.com/office/drawing/2014/main" id="{3EE8E9A3-752E-CC4A-81C6-390B967CE70E}"/>
              </a:ext>
            </a:extLst>
          </p:cNvPr>
          <p:cNvCxnSpPr>
            <a:cxnSpLocks/>
            <a:stCxn id="16" idx="1"/>
            <a:endCxn id="25" idx="1"/>
          </p:cNvCxnSpPr>
          <p:nvPr/>
        </p:nvCxnSpPr>
        <p:spPr>
          <a:xfrm rot="10800000" flipV="1">
            <a:off x="577934" y="2241551"/>
            <a:ext cx="1979" cy="2294938"/>
          </a:xfrm>
          <a:prstGeom prst="bentConnector3">
            <a:avLst>
              <a:gd name="adj1" fmla="val 11651289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35">
            <a:extLst>
              <a:ext uri="{FF2B5EF4-FFF2-40B4-BE49-F238E27FC236}">
                <a16:creationId xmlns:a16="http://schemas.microsoft.com/office/drawing/2014/main" id="{50CDBE8D-AFFA-A343-B194-8BB847B2AC61}"/>
              </a:ext>
            </a:extLst>
          </p:cNvPr>
          <p:cNvCxnSpPr>
            <a:cxnSpLocks/>
            <a:stCxn id="16" idx="3"/>
            <a:endCxn id="18" idx="3"/>
          </p:cNvCxnSpPr>
          <p:nvPr/>
        </p:nvCxnSpPr>
        <p:spPr>
          <a:xfrm flipH="1">
            <a:off x="11577092" y="2241551"/>
            <a:ext cx="11246" cy="2294938"/>
          </a:xfrm>
          <a:prstGeom prst="bentConnector3">
            <a:avLst>
              <a:gd name="adj1" fmla="val -2032723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>
            <a:extLst>
              <a:ext uri="{FF2B5EF4-FFF2-40B4-BE49-F238E27FC236}">
                <a16:creationId xmlns:a16="http://schemas.microsoft.com/office/drawing/2014/main" id="{FCE47062-7A53-2846-B919-7B2AF6CF2BE7}"/>
              </a:ext>
            </a:extLst>
          </p:cNvPr>
          <p:cNvCxnSpPr>
            <a:cxnSpLocks/>
            <a:stCxn id="17" idx="3"/>
            <a:endCxn id="18" idx="3"/>
          </p:cNvCxnSpPr>
          <p:nvPr/>
        </p:nvCxnSpPr>
        <p:spPr>
          <a:xfrm flipH="1" flipV="1">
            <a:off x="11577092" y="4536489"/>
            <a:ext cx="16508" cy="1430129"/>
          </a:xfrm>
          <a:prstGeom prst="bentConnector3">
            <a:avLst>
              <a:gd name="adj1" fmla="val -1384783"/>
            </a:avLst>
          </a:prstGeom>
          <a:ln w="12700">
            <a:solidFill>
              <a:srgbClr val="7E7E7E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300C498A-63FB-F845-989C-A2B248213A3A}"/>
              </a:ext>
            </a:extLst>
          </p:cNvPr>
          <p:cNvSpPr txBox="1"/>
          <p:nvPr/>
        </p:nvSpPr>
        <p:spPr>
          <a:xfrm>
            <a:off x="5933066" y="1691329"/>
            <a:ext cx="4651395" cy="166199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PN_DIN Condensed Regular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8E8E950-D6A2-2A4B-9341-33A26FFF3A66}"/>
              </a:ext>
            </a:extLst>
          </p:cNvPr>
          <p:cNvSpPr txBox="1"/>
          <p:nvPr/>
        </p:nvSpPr>
        <p:spPr>
          <a:xfrm>
            <a:off x="4290321" y="5844774"/>
            <a:ext cx="366346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65" name="Блок-схема: процесс 17">
            <a:extLst>
              <a:ext uri="{FF2B5EF4-FFF2-40B4-BE49-F238E27FC236}">
                <a16:creationId xmlns:a16="http://schemas.microsoft.com/office/drawing/2014/main" id="{13EDD64A-A924-CA48-9F08-E5440B25B56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9930A5-6AED-8612-CEEB-CEEEFA9F1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592085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957250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DEF37CE-41EA-8B40-B774-DAE8B9582C69}"/>
              </a:ext>
            </a:extLst>
          </p:cNvPr>
          <p:cNvSpPr/>
          <p:nvPr/>
        </p:nvSpPr>
        <p:spPr>
          <a:xfrm>
            <a:off x="337046" y="1152637"/>
            <a:ext cx="11523394" cy="6476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CCDBB98-167A-0642-8EA4-EB6B610F74DA}"/>
              </a:ext>
            </a:extLst>
          </p:cNvPr>
          <p:cNvSpPr/>
          <p:nvPr/>
        </p:nvSpPr>
        <p:spPr>
          <a:xfrm>
            <a:off x="337046" y="1928426"/>
            <a:ext cx="11523394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 …</a:t>
            </a:r>
          </a:p>
        </p:txBody>
      </p:sp>
      <p:graphicFrame>
        <p:nvGraphicFramePr>
          <p:cNvPr id="21" name="114">
            <a:extLst>
              <a:ext uri="{FF2B5EF4-FFF2-40B4-BE49-F238E27FC236}">
                <a16:creationId xmlns:a16="http://schemas.microsoft.com/office/drawing/2014/main" id="{EB57F3E6-4D06-D04B-BE5F-273E721FBC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6963402"/>
              </p:ext>
            </p:extLst>
          </p:nvPr>
        </p:nvGraphicFramePr>
        <p:xfrm>
          <a:off x="-284911" y="2706540"/>
          <a:ext cx="6219645" cy="3494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2" name="114">
            <a:extLst>
              <a:ext uri="{FF2B5EF4-FFF2-40B4-BE49-F238E27FC236}">
                <a16:creationId xmlns:a16="http://schemas.microsoft.com/office/drawing/2014/main" id="{38A666F9-3211-9D4C-AE03-24E46BE169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9590387"/>
              </p:ext>
            </p:extLst>
          </p:nvPr>
        </p:nvGraphicFramePr>
        <p:xfrm>
          <a:off x="5547418" y="2706540"/>
          <a:ext cx="6219645" cy="3494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A8A139-4CF1-B294-0CBD-5A9BFF0D3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48161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861695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EA89A5D-641C-3B4D-A86D-DC516A16F09E}"/>
              </a:ext>
            </a:extLst>
          </p:cNvPr>
          <p:cNvGrpSpPr/>
          <p:nvPr/>
        </p:nvGrpSpPr>
        <p:grpSpPr>
          <a:xfrm>
            <a:off x="344480" y="1125537"/>
            <a:ext cx="5229476" cy="5075237"/>
            <a:chOff x="2552536" y="924945"/>
            <a:chExt cx="5176064" cy="5023400"/>
          </a:xfrm>
        </p:grpSpPr>
        <p:grpSp>
          <p:nvGrpSpPr>
            <p:cNvPr id="19" name="Grupo 2">
              <a:extLst>
                <a:ext uri="{FF2B5EF4-FFF2-40B4-BE49-F238E27FC236}">
                  <a16:creationId xmlns:a16="http://schemas.microsoft.com/office/drawing/2014/main" id="{DBCA98A9-F023-F44A-990B-D1639AF9E77D}"/>
                </a:ext>
              </a:extLst>
            </p:cNvPr>
            <p:cNvGrpSpPr/>
            <p:nvPr/>
          </p:nvGrpSpPr>
          <p:grpSpPr>
            <a:xfrm>
              <a:off x="2663180" y="924945"/>
              <a:ext cx="5065420" cy="5023400"/>
              <a:chOff x="5318302" y="4505015"/>
              <a:chExt cx="1549394" cy="1536541"/>
            </a:xfrm>
            <a:solidFill>
              <a:srgbClr val="004596"/>
            </a:solidFill>
          </p:grpSpPr>
          <p:sp>
            <p:nvSpPr>
              <p:cNvPr id="20" name="Forma libre 18">
                <a:extLst>
                  <a:ext uri="{FF2B5EF4-FFF2-40B4-BE49-F238E27FC236}">
                    <a16:creationId xmlns:a16="http://schemas.microsoft.com/office/drawing/2014/main" id="{D4E58419-A8C1-644C-B64D-BF41299AA128}"/>
                  </a:ext>
                </a:extLst>
              </p:cNvPr>
              <p:cNvSpPr/>
              <p:nvPr/>
            </p:nvSpPr>
            <p:spPr>
              <a:xfrm>
                <a:off x="6404781" y="4933604"/>
                <a:ext cx="462915" cy="685800"/>
              </a:xfrm>
              <a:custGeom>
                <a:avLst/>
                <a:gdLst>
                  <a:gd name="connsiteX0" fmla="*/ 311953 w 462915"/>
                  <a:gd name="connsiteY0" fmla="*/ 14872 h 685800"/>
                  <a:gd name="connsiteX1" fmla="*/ 35404 w 462915"/>
                  <a:gd name="connsiteY1" fmla="*/ 174578 h 685800"/>
                  <a:gd name="connsiteX2" fmla="*/ 72695 w 462915"/>
                  <a:gd name="connsiteY2" fmla="*/ 305480 h 685800"/>
                  <a:gd name="connsiteX3" fmla="*/ 6429 w 462915"/>
                  <a:gd name="connsiteY3" fmla="*/ 343713 h 685800"/>
                  <a:gd name="connsiteX4" fmla="*/ 72695 w 462915"/>
                  <a:gd name="connsiteY4" fmla="*/ 381946 h 685800"/>
                  <a:gd name="connsiteX5" fmla="*/ 35404 w 462915"/>
                  <a:gd name="connsiteY5" fmla="*/ 512849 h 685800"/>
                  <a:gd name="connsiteX6" fmla="*/ 311953 w 462915"/>
                  <a:gd name="connsiteY6" fmla="*/ 672811 h 685800"/>
                  <a:gd name="connsiteX7" fmla="*/ 399386 w 462915"/>
                  <a:gd name="connsiteY7" fmla="*/ 648751 h 685800"/>
                  <a:gd name="connsiteX8" fmla="*/ 402736 w 462915"/>
                  <a:gd name="connsiteY8" fmla="*/ 641950 h 685800"/>
                  <a:gd name="connsiteX9" fmla="*/ 402736 w 462915"/>
                  <a:gd name="connsiteY9" fmla="*/ 45476 h 685800"/>
                  <a:gd name="connsiteX10" fmla="*/ 318635 w 462915"/>
                  <a:gd name="connsiteY10" fmla="*/ 11559 h 685800"/>
                  <a:gd name="connsiteX11" fmla="*/ 311953 w 462915"/>
                  <a:gd name="connsiteY11" fmla="*/ 14872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2915" h="685800">
                    <a:moveTo>
                      <a:pt x="311953" y="14872"/>
                    </a:moveTo>
                    <a:lnTo>
                      <a:pt x="35404" y="174578"/>
                    </a:lnTo>
                    <a:cubicBezTo>
                      <a:pt x="55609" y="215612"/>
                      <a:pt x="68242" y="259957"/>
                      <a:pt x="72695" y="305480"/>
                    </a:cubicBezTo>
                    <a:lnTo>
                      <a:pt x="6429" y="343713"/>
                    </a:lnTo>
                    <a:lnTo>
                      <a:pt x="72695" y="381946"/>
                    </a:lnTo>
                    <a:cubicBezTo>
                      <a:pt x="68231" y="427466"/>
                      <a:pt x="55599" y="471810"/>
                      <a:pt x="35404" y="512849"/>
                    </a:cubicBezTo>
                    <a:lnTo>
                      <a:pt x="311953" y="672811"/>
                    </a:lnTo>
                    <a:cubicBezTo>
                      <a:pt x="342741" y="690311"/>
                      <a:pt x="381886" y="679539"/>
                      <a:pt x="399386" y="648751"/>
                    </a:cubicBezTo>
                    <a:cubicBezTo>
                      <a:pt x="400636" y="646552"/>
                      <a:pt x="401755" y="644281"/>
                      <a:pt x="402736" y="641950"/>
                    </a:cubicBezTo>
                    <a:cubicBezTo>
                      <a:pt x="482404" y="451106"/>
                      <a:pt x="482404" y="236320"/>
                      <a:pt x="402736" y="45476"/>
                    </a:cubicBezTo>
                    <a:cubicBezTo>
                      <a:pt x="388878" y="12886"/>
                      <a:pt x="351225" y="-2299"/>
                      <a:pt x="318635" y="11559"/>
                    </a:cubicBezTo>
                    <a:cubicBezTo>
                      <a:pt x="316345" y="12533"/>
                      <a:pt x="314115" y="13639"/>
                      <a:pt x="311953" y="14872"/>
                    </a:cubicBezTo>
                    <a:close/>
                  </a:path>
                </a:pathLst>
              </a:custGeom>
              <a:solidFill>
                <a:srgbClr val="0097D8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1" name="Forma libre 19">
                <a:extLst>
                  <a:ext uri="{FF2B5EF4-FFF2-40B4-BE49-F238E27FC236}">
                    <a16:creationId xmlns:a16="http://schemas.microsoft.com/office/drawing/2014/main" id="{6AB0B536-137D-BC42-BF2F-C2EB9A03A76D}"/>
                  </a:ext>
                </a:extLst>
              </p:cNvPr>
              <p:cNvSpPr/>
              <p:nvPr/>
            </p:nvSpPr>
            <p:spPr>
              <a:xfrm>
                <a:off x="6115288" y="4505180"/>
                <a:ext cx="608648" cy="557213"/>
              </a:xfrm>
              <a:custGeom>
                <a:avLst/>
                <a:gdLst>
                  <a:gd name="connsiteX0" fmla="*/ 6429 w 608647"/>
                  <a:gd name="connsiteY0" fmla="*/ 70306 h 557212"/>
                  <a:gd name="connsiteX1" fmla="*/ 6429 w 608647"/>
                  <a:gd name="connsiteY1" fmla="*/ 389717 h 557212"/>
                  <a:gd name="connsiteX2" fmla="*/ 139389 w 608647"/>
                  <a:gd name="connsiteY2" fmla="*/ 423150 h 557212"/>
                  <a:gd name="connsiteX3" fmla="*/ 139389 w 608647"/>
                  <a:gd name="connsiteY3" fmla="*/ 501160 h 557212"/>
                  <a:gd name="connsiteX4" fmla="*/ 206426 w 608647"/>
                  <a:gd name="connsiteY4" fmla="*/ 462498 h 557212"/>
                  <a:gd name="connsiteX5" fmla="*/ 299352 w 608647"/>
                  <a:gd name="connsiteY5" fmla="*/ 558938 h 557212"/>
                  <a:gd name="connsiteX6" fmla="*/ 575729 w 608647"/>
                  <a:gd name="connsiteY6" fmla="*/ 399319 h 557212"/>
                  <a:gd name="connsiteX7" fmla="*/ 599326 w 608647"/>
                  <a:gd name="connsiteY7" fmla="*/ 312011 h 557212"/>
                  <a:gd name="connsiteX8" fmla="*/ 594675 w 608647"/>
                  <a:gd name="connsiteY8" fmla="*/ 305021 h 557212"/>
                  <a:gd name="connsiteX9" fmla="*/ 78782 w 608647"/>
                  <a:gd name="connsiteY9" fmla="*/ 6955 h 557212"/>
                  <a:gd name="connsiteX10" fmla="*/ 6947 w 608647"/>
                  <a:gd name="connsiteY10" fmla="*/ 62499 h 557212"/>
                  <a:gd name="connsiteX11" fmla="*/ 6430 w 608647"/>
                  <a:gd name="connsiteY11" fmla="*/ 70305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6429" y="70306"/>
                    </a:moveTo>
                    <a:lnTo>
                      <a:pt x="6429" y="389717"/>
                    </a:lnTo>
                    <a:cubicBezTo>
                      <a:pt x="52404" y="392743"/>
                      <a:pt x="97451" y="404070"/>
                      <a:pt x="139389" y="423150"/>
                    </a:cubicBezTo>
                    <a:lnTo>
                      <a:pt x="139389" y="501160"/>
                    </a:lnTo>
                    <a:lnTo>
                      <a:pt x="206426" y="462498"/>
                    </a:lnTo>
                    <a:cubicBezTo>
                      <a:pt x="242835" y="488926"/>
                      <a:pt x="274293" y="521573"/>
                      <a:pt x="299352" y="558938"/>
                    </a:cubicBezTo>
                    <a:lnTo>
                      <a:pt x="575729" y="399319"/>
                    </a:lnTo>
                    <a:cubicBezTo>
                      <a:pt x="606355" y="381725"/>
                      <a:pt x="616919" y="342636"/>
                      <a:pt x="599326" y="312011"/>
                    </a:cubicBezTo>
                    <a:cubicBezTo>
                      <a:pt x="597930" y="309581"/>
                      <a:pt x="596376" y="307246"/>
                      <a:pt x="594675" y="305021"/>
                    </a:cubicBezTo>
                    <a:cubicBezTo>
                      <a:pt x="469617" y="140529"/>
                      <a:pt x="283748" y="33140"/>
                      <a:pt x="78782" y="6955"/>
                    </a:cubicBezTo>
                    <a:cubicBezTo>
                      <a:pt x="43607" y="2457"/>
                      <a:pt x="11446" y="27325"/>
                      <a:pt x="6947" y="62499"/>
                    </a:cubicBezTo>
                    <a:cubicBezTo>
                      <a:pt x="6616" y="65088"/>
                      <a:pt x="6443" y="67696"/>
                      <a:pt x="6430" y="70305"/>
                    </a:cubicBezTo>
                    <a:close/>
                  </a:path>
                </a:pathLst>
              </a:custGeom>
              <a:solidFill>
                <a:srgbClr val="28BE46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2" name="Forma libre 20">
                <a:extLst>
                  <a:ext uri="{FF2B5EF4-FFF2-40B4-BE49-F238E27FC236}">
                    <a16:creationId xmlns:a16="http://schemas.microsoft.com/office/drawing/2014/main" id="{B8BD3B10-1980-5546-9D69-9DF06CF1FD76}"/>
                  </a:ext>
                </a:extLst>
              </p:cNvPr>
              <p:cNvSpPr/>
              <p:nvPr/>
            </p:nvSpPr>
            <p:spPr>
              <a:xfrm>
                <a:off x="5462527" y="4505016"/>
                <a:ext cx="608648" cy="557213"/>
              </a:xfrm>
              <a:custGeom>
                <a:avLst/>
                <a:gdLst>
                  <a:gd name="connsiteX0" fmla="*/ 38542 w 608647"/>
                  <a:gd name="connsiteY0" fmla="*/ 399226 h 557212"/>
                  <a:gd name="connsiteX1" fmla="*/ 314919 w 608647"/>
                  <a:gd name="connsiteY1" fmla="*/ 558846 h 557212"/>
                  <a:gd name="connsiteX2" fmla="*/ 409645 w 608647"/>
                  <a:gd name="connsiteY2" fmla="*/ 461119 h 557212"/>
                  <a:gd name="connsiteX3" fmla="*/ 479168 w 608647"/>
                  <a:gd name="connsiteY3" fmla="*/ 501324 h 557212"/>
                  <a:gd name="connsiteX4" fmla="*/ 479168 w 608647"/>
                  <a:gd name="connsiteY4" fmla="*/ 421600 h 557212"/>
                  <a:gd name="connsiteX5" fmla="*/ 607756 w 608647"/>
                  <a:gd name="connsiteY5" fmla="*/ 389882 h 557212"/>
                  <a:gd name="connsiteX6" fmla="*/ 607756 w 608647"/>
                  <a:gd name="connsiteY6" fmla="*/ 70470 h 557212"/>
                  <a:gd name="connsiteX7" fmla="*/ 543381 w 608647"/>
                  <a:gd name="connsiteY7" fmla="*/ 6430 h 557212"/>
                  <a:gd name="connsiteX8" fmla="*/ 535404 w 608647"/>
                  <a:gd name="connsiteY8" fmla="*/ 6948 h 557212"/>
                  <a:gd name="connsiteX9" fmla="*/ 19511 w 608647"/>
                  <a:gd name="connsiteY9" fmla="*/ 305014 h 557212"/>
                  <a:gd name="connsiteX10" fmla="*/ 31632 w 608647"/>
                  <a:gd name="connsiteY10" fmla="*/ 394638 h 557212"/>
                  <a:gd name="connsiteX11" fmla="*/ 38542 w 608647"/>
                  <a:gd name="connsiteY11" fmla="*/ 399226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38542" y="399226"/>
                    </a:moveTo>
                    <a:lnTo>
                      <a:pt x="314919" y="558846"/>
                    </a:lnTo>
                    <a:cubicBezTo>
                      <a:pt x="340432" y="520896"/>
                      <a:pt x="372510" y="487802"/>
                      <a:pt x="409645" y="461119"/>
                    </a:cubicBezTo>
                    <a:lnTo>
                      <a:pt x="479168" y="501324"/>
                    </a:lnTo>
                    <a:lnTo>
                      <a:pt x="479168" y="421600"/>
                    </a:lnTo>
                    <a:cubicBezTo>
                      <a:pt x="519852" y="403606"/>
                      <a:pt x="563371" y="392871"/>
                      <a:pt x="607756" y="389882"/>
                    </a:cubicBezTo>
                    <a:lnTo>
                      <a:pt x="607756" y="70470"/>
                    </a:lnTo>
                    <a:cubicBezTo>
                      <a:pt x="607664" y="35009"/>
                      <a:pt x="578842" y="6337"/>
                      <a:pt x="543381" y="6430"/>
                    </a:cubicBezTo>
                    <a:cubicBezTo>
                      <a:pt x="540714" y="6436"/>
                      <a:pt x="538050" y="6610"/>
                      <a:pt x="535404" y="6948"/>
                    </a:cubicBezTo>
                    <a:cubicBezTo>
                      <a:pt x="330438" y="33133"/>
                      <a:pt x="144569" y="140522"/>
                      <a:pt x="19511" y="305014"/>
                    </a:cubicBezTo>
                    <a:cubicBezTo>
                      <a:pt x="-1891" y="333110"/>
                      <a:pt x="3536" y="373236"/>
                      <a:pt x="31632" y="394638"/>
                    </a:cubicBezTo>
                    <a:cubicBezTo>
                      <a:pt x="33834" y="396315"/>
                      <a:pt x="36142" y="397848"/>
                      <a:pt x="38542" y="399226"/>
                    </a:cubicBezTo>
                    <a:close/>
                  </a:path>
                </a:pathLst>
              </a:custGeom>
              <a:solidFill>
                <a:srgbClr val="7957B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3" name="Forma libre 21">
                <a:extLst>
                  <a:ext uri="{FF2B5EF4-FFF2-40B4-BE49-F238E27FC236}">
                    <a16:creationId xmlns:a16="http://schemas.microsoft.com/office/drawing/2014/main" id="{FBB9C768-8F8F-054D-8D1B-DEB7547940E4}"/>
                  </a:ext>
                </a:extLst>
              </p:cNvPr>
              <p:cNvSpPr/>
              <p:nvPr/>
            </p:nvSpPr>
            <p:spPr>
              <a:xfrm>
                <a:off x="5318303" y="4933678"/>
                <a:ext cx="471488" cy="685800"/>
              </a:xfrm>
              <a:custGeom>
                <a:avLst/>
                <a:gdLst>
                  <a:gd name="connsiteX0" fmla="*/ 466516 w 471487"/>
                  <a:gd name="connsiteY0" fmla="*/ 343638 h 685800"/>
                  <a:gd name="connsiteX1" fmla="*/ 396478 w 471487"/>
                  <a:gd name="connsiteY1" fmla="*/ 303176 h 685800"/>
                  <a:gd name="connsiteX2" fmla="*/ 433512 w 471487"/>
                  <a:gd name="connsiteY2" fmla="*/ 174589 h 685800"/>
                  <a:gd name="connsiteX3" fmla="*/ 156963 w 471487"/>
                  <a:gd name="connsiteY3" fmla="*/ 14883 h 685800"/>
                  <a:gd name="connsiteX4" fmla="*/ 69480 w 471487"/>
                  <a:gd name="connsiteY4" fmla="*/ 38759 h 685800"/>
                  <a:gd name="connsiteX5" fmla="*/ 66180 w 471487"/>
                  <a:gd name="connsiteY5" fmla="*/ 45401 h 685800"/>
                  <a:gd name="connsiteX6" fmla="*/ 66180 w 471487"/>
                  <a:gd name="connsiteY6" fmla="*/ 641876 h 685800"/>
                  <a:gd name="connsiteX7" fmla="*/ 149998 w 471487"/>
                  <a:gd name="connsiteY7" fmla="*/ 676168 h 685800"/>
                  <a:gd name="connsiteX8" fmla="*/ 156963 w 471487"/>
                  <a:gd name="connsiteY8" fmla="*/ 672737 h 685800"/>
                  <a:gd name="connsiteX9" fmla="*/ 433512 w 471487"/>
                  <a:gd name="connsiteY9" fmla="*/ 513117 h 685800"/>
                  <a:gd name="connsiteX10" fmla="*/ 396478 w 471487"/>
                  <a:gd name="connsiteY10" fmla="*/ 384529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1487" h="685800">
                    <a:moveTo>
                      <a:pt x="466516" y="343638"/>
                    </a:moveTo>
                    <a:lnTo>
                      <a:pt x="396478" y="303176"/>
                    </a:lnTo>
                    <a:cubicBezTo>
                      <a:pt x="401134" y="258464"/>
                      <a:pt x="413672" y="214929"/>
                      <a:pt x="433512" y="174589"/>
                    </a:cubicBezTo>
                    <a:lnTo>
                      <a:pt x="156963" y="14883"/>
                    </a:lnTo>
                    <a:cubicBezTo>
                      <a:pt x="126212" y="-2682"/>
                      <a:pt x="87044" y="8008"/>
                      <a:pt x="69480" y="38759"/>
                    </a:cubicBezTo>
                    <a:cubicBezTo>
                      <a:pt x="68252" y="40908"/>
                      <a:pt x="67151" y="43126"/>
                      <a:pt x="66180" y="45401"/>
                    </a:cubicBezTo>
                    <a:cubicBezTo>
                      <a:pt x="-13487" y="236246"/>
                      <a:pt x="-13487" y="451032"/>
                      <a:pt x="66180" y="641876"/>
                    </a:cubicBezTo>
                    <a:cubicBezTo>
                      <a:pt x="79856" y="674491"/>
                      <a:pt x="117383" y="689844"/>
                      <a:pt x="149998" y="676168"/>
                    </a:cubicBezTo>
                    <a:cubicBezTo>
                      <a:pt x="152387" y="675166"/>
                      <a:pt x="154713" y="674021"/>
                      <a:pt x="156963" y="672737"/>
                    </a:cubicBezTo>
                    <a:lnTo>
                      <a:pt x="433512" y="513117"/>
                    </a:lnTo>
                    <a:cubicBezTo>
                      <a:pt x="413672" y="472777"/>
                      <a:pt x="401134" y="429242"/>
                      <a:pt x="396478" y="384529"/>
                    </a:cubicBezTo>
                    <a:close/>
                  </a:path>
                </a:pathLst>
              </a:custGeom>
              <a:solidFill>
                <a:srgbClr val="472A7A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4" name="Forma libre 22">
                <a:extLst>
                  <a:ext uri="{FF2B5EF4-FFF2-40B4-BE49-F238E27FC236}">
                    <a16:creationId xmlns:a16="http://schemas.microsoft.com/office/drawing/2014/main" id="{1071E5C8-BFD4-6642-9900-27946D5D70A9}"/>
                  </a:ext>
                </a:extLst>
              </p:cNvPr>
              <p:cNvSpPr/>
              <p:nvPr/>
            </p:nvSpPr>
            <p:spPr>
              <a:xfrm>
                <a:off x="5462534" y="5484342"/>
                <a:ext cx="608648" cy="557213"/>
              </a:xfrm>
              <a:custGeom>
                <a:avLst/>
                <a:gdLst>
                  <a:gd name="connsiteX0" fmla="*/ 479162 w 608647"/>
                  <a:gd name="connsiteY0" fmla="*/ 143933 h 557212"/>
                  <a:gd name="connsiteX1" fmla="*/ 479162 w 608647"/>
                  <a:gd name="connsiteY1" fmla="*/ 64208 h 557212"/>
                  <a:gd name="connsiteX2" fmla="*/ 409896 w 608647"/>
                  <a:gd name="connsiteY2" fmla="*/ 104156 h 557212"/>
                  <a:gd name="connsiteX3" fmla="*/ 315170 w 608647"/>
                  <a:gd name="connsiteY3" fmla="*/ 6429 h 557212"/>
                  <a:gd name="connsiteX4" fmla="*/ 38535 w 608647"/>
                  <a:gd name="connsiteY4" fmla="*/ 166050 h 557212"/>
                  <a:gd name="connsiteX5" fmla="*/ 14939 w 608647"/>
                  <a:gd name="connsiteY5" fmla="*/ 253358 h 557212"/>
                  <a:gd name="connsiteX6" fmla="*/ 19590 w 608647"/>
                  <a:gd name="connsiteY6" fmla="*/ 260347 h 557212"/>
                  <a:gd name="connsiteX7" fmla="*/ 535483 w 608647"/>
                  <a:gd name="connsiteY7" fmla="*/ 558328 h 557212"/>
                  <a:gd name="connsiteX8" fmla="*/ 607305 w 608647"/>
                  <a:gd name="connsiteY8" fmla="*/ 502965 h 557212"/>
                  <a:gd name="connsiteX9" fmla="*/ 607835 w 608647"/>
                  <a:gd name="connsiteY9" fmla="*/ 494891 h 557212"/>
                  <a:gd name="connsiteX10" fmla="*/ 607835 w 608647"/>
                  <a:gd name="connsiteY10" fmla="*/ 175479 h 557212"/>
                  <a:gd name="connsiteX11" fmla="*/ 479162 w 608647"/>
                  <a:gd name="connsiteY11" fmla="*/ 143933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8647" h="557212">
                    <a:moveTo>
                      <a:pt x="479162" y="143933"/>
                    </a:moveTo>
                    <a:lnTo>
                      <a:pt x="479162" y="64208"/>
                    </a:lnTo>
                    <a:lnTo>
                      <a:pt x="409896" y="104156"/>
                    </a:lnTo>
                    <a:cubicBezTo>
                      <a:pt x="372760" y="77473"/>
                      <a:pt x="340683" y="44379"/>
                      <a:pt x="315170" y="6429"/>
                    </a:cubicBezTo>
                    <a:lnTo>
                      <a:pt x="38535" y="166050"/>
                    </a:lnTo>
                    <a:cubicBezTo>
                      <a:pt x="7910" y="183643"/>
                      <a:pt x="-2654" y="222732"/>
                      <a:pt x="14939" y="253358"/>
                    </a:cubicBezTo>
                    <a:cubicBezTo>
                      <a:pt x="16334" y="255787"/>
                      <a:pt x="17888" y="258122"/>
                      <a:pt x="19590" y="260347"/>
                    </a:cubicBezTo>
                    <a:cubicBezTo>
                      <a:pt x="144631" y="424844"/>
                      <a:pt x="330514" y="532210"/>
                      <a:pt x="535483" y="558328"/>
                    </a:cubicBezTo>
                    <a:cubicBezTo>
                      <a:pt x="570604" y="562873"/>
                      <a:pt x="602760" y="538086"/>
                      <a:pt x="607305" y="502965"/>
                    </a:cubicBezTo>
                    <a:cubicBezTo>
                      <a:pt x="607651" y="500288"/>
                      <a:pt x="607828" y="497591"/>
                      <a:pt x="607835" y="494891"/>
                    </a:cubicBezTo>
                    <a:lnTo>
                      <a:pt x="607835" y="175479"/>
                    </a:lnTo>
                    <a:cubicBezTo>
                      <a:pt x="563431" y="172555"/>
                      <a:pt x="519883" y="161878"/>
                      <a:pt x="479162" y="143933"/>
                    </a:cubicBezTo>
                    <a:close/>
                  </a:path>
                </a:pathLst>
              </a:custGeom>
              <a:solidFill>
                <a:srgbClr val="0B2944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6" name="Forma libre 23">
                <a:extLst>
                  <a:ext uri="{FF2B5EF4-FFF2-40B4-BE49-F238E27FC236}">
                    <a16:creationId xmlns:a16="http://schemas.microsoft.com/office/drawing/2014/main" id="{FBC4BE58-9B8A-A644-8BEB-0F1DCEA14985}"/>
                  </a:ext>
                </a:extLst>
              </p:cNvPr>
              <p:cNvSpPr/>
              <p:nvPr/>
            </p:nvSpPr>
            <p:spPr>
              <a:xfrm>
                <a:off x="6115202" y="5484343"/>
                <a:ext cx="608648" cy="557213"/>
              </a:xfrm>
              <a:custGeom>
                <a:avLst/>
                <a:gdLst>
                  <a:gd name="connsiteX0" fmla="*/ 299352 w 608647"/>
                  <a:gd name="connsiteY0" fmla="*/ 6429 h 557212"/>
                  <a:gd name="connsiteX1" fmla="*/ 206426 w 608647"/>
                  <a:gd name="connsiteY1" fmla="*/ 102870 h 557212"/>
                  <a:gd name="connsiteX2" fmla="*/ 139389 w 608647"/>
                  <a:gd name="connsiteY2" fmla="*/ 64208 h 557212"/>
                  <a:gd name="connsiteX3" fmla="*/ 139389 w 608647"/>
                  <a:gd name="connsiteY3" fmla="*/ 142046 h 557212"/>
                  <a:gd name="connsiteX4" fmla="*/ 6429 w 608647"/>
                  <a:gd name="connsiteY4" fmla="*/ 175479 h 557212"/>
                  <a:gd name="connsiteX5" fmla="*/ 6429 w 608647"/>
                  <a:gd name="connsiteY5" fmla="*/ 494804 h 557212"/>
                  <a:gd name="connsiteX6" fmla="*/ 70707 w 608647"/>
                  <a:gd name="connsiteY6" fmla="*/ 558771 h 557212"/>
                  <a:gd name="connsiteX7" fmla="*/ 78781 w 608647"/>
                  <a:gd name="connsiteY7" fmla="*/ 558241 h 557212"/>
                  <a:gd name="connsiteX8" fmla="*/ 594674 w 608647"/>
                  <a:gd name="connsiteY8" fmla="*/ 260261 h 557212"/>
                  <a:gd name="connsiteX9" fmla="*/ 582719 w 608647"/>
                  <a:gd name="connsiteY9" fmla="*/ 170614 h 557212"/>
                  <a:gd name="connsiteX10" fmla="*/ 575729 w 608647"/>
                  <a:gd name="connsiteY10" fmla="*/ 165963 h 55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8647" h="557212">
                    <a:moveTo>
                      <a:pt x="299352" y="6429"/>
                    </a:moveTo>
                    <a:cubicBezTo>
                      <a:pt x="274270" y="43775"/>
                      <a:pt x="242815" y="76419"/>
                      <a:pt x="206426" y="102870"/>
                    </a:cubicBezTo>
                    <a:lnTo>
                      <a:pt x="139389" y="64208"/>
                    </a:lnTo>
                    <a:lnTo>
                      <a:pt x="139389" y="142046"/>
                    </a:lnTo>
                    <a:cubicBezTo>
                      <a:pt x="97451" y="161127"/>
                      <a:pt x="52404" y="172454"/>
                      <a:pt x="6429" y="175479"/>
                    </a:cubicBezTo>
                    <a:lnTo>
                      <a:pt x="6429" y="494804"/>
                    </a:lnTo>
                    <a:cubicBezTo>
                      <a:pt x="6515" y="530218"/>
                      <a:pt x="35293" y="558857"/>
                      <a:pt x="70707" y="558771"/>
                    </a:cubicBezTo>
                    <a:cubicBezTo>
                      <a:pt x="73407" y="558764"/>
                      <a:pt x="76104" y="558588"/>
                      <a:pt x="78781" y="558241"/>
                    </a:cubicBezTo>
                    <a:cubicBezTo>
                      <a:pt x="283750" y="532124"/>
                      <a:pt x="469633" y="424757"/>
                      <a:pt x="594674" y="260261"/>
                    </a:cubicBezTo>
                    <a:cubicBezTo>
                      <a:pt x="616128" y="232204"/>
                      <a:pt x="610775" y="192068"/>
                      <a:pt x="582719" y="170614"/>
                    </a:cubicBezTo>
                    <a:cubicBezTo>
                      <a:pt x="580493" y="168913"/>
                      <a:pt x="578158" y="167359"/>
                      <a:pt x="575729" y="165963"/>
                    </a:cubicBezTo>
                    <a:close/>
                  </a:path>
                </a:pathLst>
              </a:custGeom>
              <a:solidFill>
                <a:srgbClr val="124C88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MX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</p:grpSp>
        <p:sp>
          <p:nvSpPr>
            <p:cNvPr id="28" name="TextBox 75">
              <a:extLst>
                <a:ext uri="{FF2B5EF4-FFF2-40B4-BE49-F238E27FC236}">
                  <a16:creationId xmlns:a16="http://schemas.microsoft.com/office/drawing/2014/main" id="{DA6A7F9E-DF78-CE45-A5B2-2D05821F4A01}"/>
                </a:ext>
              </a:extLst>
            </p:cNvPr>
            <p:cNvSpPr txBox="1"/>
            <p:nvPr/>
          </p:nvSpPr>
          <p:spPr>
            <a:xfrm>
              <a:off x="5552343" y="4828777"/>
              <a:ext cx="1308793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0" name="TextBox 78">
              <a:extLst>
                <a:ext uri="{FF2B5EF4-FFF2-40B4-BE49-F238E27FC236}">
                  <a16:creationId xmlns:a16="http://schemas.microsoft.com/office/drawing/2014/main" id="{B34C8564-68FF-1246-BF60-58E1B2E5C315}"/>
                </a:ext>
              </a:extLst>
            </p:cNvPr>
            <p:cNvSpPr txBox="1"/>
            <p:nvPr/>
          </p:nvSpPr>
          <p:spPr>
            <a:xfrm>
              <a:off x="6518418" y="3232403"/>
              <a:ext cx="119914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lvl="0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1" name="TextBox 81">
              <a:extLst>
                <a:ext uri="{FF2B5EF4-FFF2-40B4-BE49-F238E27FC236}">
                  <a16:creationId xmlns:a16="http://schemas.microsoft.com/office/drawing/2014/main" id="{2A1AA9D8-1C89-1B46-B3E4-6DAA4CC186C1}"/>
                </a:ext>
              </a:extLst>
            </p:cNvPr>
            <p:cNvSpPr txBox="1"/>
            <p:nvPr/>
          </p:nvSpPr>
          <p:spPr>
            <a:xfrm>
              <a:off x="3455126" y="4843257"/>
              <a:ext cx="1606155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3" name="TextBox 84">
              <a:extLst>
                <a:ext uri="{FF2B5EF4-FFF2-40B4-BE49-F238E27FC236}">
                  <a16:creationId xmlns:a16="http://schemas.microsoft.com/office/drawing/2014/main" id="{B77D2F10-2B30-D148-B28F-8089D55D3BF0}"/>
                </a:ext>
              </a:extLst>
            </p:cNvPr>
            <p:cNvSpPr txBox="1"/>
            <p:nvPr/>
          </p:nvSpPr>
          <p:spPr>
            <a:xfrm>
              <a:off x="2552536" y="3201637"/>
              <a:ext cx="154143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4" name="TextBox 84">
              <a:extLst>
                <a:ext uri="{FF2B5EF4-FFF2-40B4-BE49-F238E27FC236}">
                  <a16:creationId xmlns:a16="http://schemas.microsoft.com/office/drawing/2014/main" id="{B7754E52-1D70-D74B-A11B-D5CFB6AD4366}"/>
                </a:ext>
              </a:extLst>
            </p:cNvPr>
            <p:cNvSpPr txBox="1"/>
            <p:nvPr/>
          </p:nvSpPr>
          <p:spPr>
            <a:xfrm>
              <a:off x="5585094" y="1585449"/>
              <a:ext cx="119914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lvl="0">
                <a:defRPr/>
              </a:pPr>
              <a:r>
                <a:rPr lang="ru-RU" sz="12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39" name="TextBox 81">
              <a:extLst>
                <a:ext uri="{FF2B5EF4-FFF2-40B4-BE49-F238E27FC236}">
                  <a16:creationId xmlns:a16="http://schemas.microsoft.com/office/drawing/2014/main" id="{1315910A-0B89-FA45-A2D1-5FF260FEC75B}"/>
                </a:ext>
              </a:extLst>
            </p:cNvPr>
            <p:cNvSpPr txBox="1"/>
            <p:nvPr/>
          </p:nvSpPr>
          <p:spPr>
            <a:xfrm>
              <a:off x="3574237" y="1583722"/>
              <a:ext cx="1405991" cy="274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400">
                  <a:solidFill>
                    <a:schemeClr val="bg1"/>
                  </a:solidFill>
                  <a:latin typeface="DINPro-Light" panose="02000504040000020003" pitchFamily="50" charset="0"/>
                  <a:ea typeface="Lato" panose="020F0502020204030203" pitchFamily="34" charset="0"/>
                  <a:cs typeface="Poppins Medium" pitchFamily="2" charset="77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CD23C942-AE31-6341-9410-832E7EF0AAEA}"/>
                </a:ext>
              </a:extLst>
            </p:cNvPr>
            <p:cNvSpPr/>
            <p:nvPr/>
          </p:nvSpPr>
          <p:spPr>
            <a:xfrm>
              <a:off x="4660316" y="3275792"/>
              <a:ext cx="928496" cy="3655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3C3C3C">
                      <a:lumMod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</a:rPr>
                <a:t>ТЕКСТ</a:t>
              </a:r>
            </a:p>
          </p:txBody>
        </p:sp>
      </p:grpSp>
      <p:sp>
        <p:nvSpPr>
          <p:cNvPr id="71" name="Пятиугольник 70">
            <a:extLst>
              <a:ext uri="{FF2B5EF4-FFF2-40B4-BE49-F238E27FC236}">
                <a16:creationId xmlns:a16="http://schemas.microsoft.com/office/drawing/2014/main" id="{70B41A70-06E0-3943-B6BB-2FF886BD00D6}"/>
              </a:ext>
            </a:extLst>
          </p:cNvPr>
          <p:cNvSpPr/>
          <p:nvPr/>
        </p:nvSpPr>
        <p:spPr>
          <a:xfrm flipH="1">
            <a:off x="6167438" y="1122310"/>
            <a:ext cx="5687960" cy="65092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algn="ctr">
              <a:spcBef>
                <a:spcPts val="600"/>
              </a:spcBef>
              <a:defRPr/>
            </a:pPr>
            <a:r>
              <a:rPr lang="ru-RU" sz="2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7DE7076C-C66C-0545-8A5E-DE31105B5B38}"/>
              </a:ext>
            </a:extLst>
          </p:cNvPr>
          <p:cNvSpPr/>
          <p:nvPr/>
        </p:nvSpPr>
        <p:spPr>
          <a:xfrm>
            <a:off x="6167438" y="1916113"/>
            <a:ext cx="5689600" cy="22336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81" name="Freeform: Shape 130">
            <a:extLst>
              <a:ext uri="{FF2B5EF4-FFF2-40B4-BE49-F238E27FC236}">
                <a16:creationId xmlns:a16="http://schemas.microsoft.com/office/drawing/2014/main" id="{D32F6590-6DDB-FB4B-81A9-88EF393AB044}"/>
              </a:ext>
            </a:extLst>
          </p:cNvPr>
          <p:cNvSpPr>
            <a:spLocks/>
          </p:cNvSpPr>
          <p:nvPr/>
        </p:nvSpPr>
        <p:spPr>
          <a:xfrm>
            <a:off x="6167438" y="4932916"/>
            <a:ext cx="5683877" cy="1267856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marR="0" lvl="0" indent="-176213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82" name="Freeform: Shape 156">
            <a:extLst>
              <a:ext uri="{FF2B5EF4-FFF2-40B4-BE49-F238E27FC236}">
                <a16:creationId xmlns:a16="http://schemas.microsoft.com/office/drawing/2014/main" id="{CD25C713-9CDA-8C41-894B-B051E65D85DA}"/>
              </a:ext>
            </a:extLst>
          </p:cNvPr>
          <p:cNvSpPr>
            <a:spLocks/>
          </p:cNvSpPr>
          <p:nvPr/>
        </p:nvSpPr>
        <p:spPr>
          <a:xfrm>
            <a:off x="6167438" y="4292600"/>
            <a:ext cx="5686187" cy="633687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021-202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09483E-FB24-71A3-17C4-5471A6C85D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469192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47680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2F879D0-EC90-AF4F-8D27-24CE3918A5D2}"/>
              </a:ext>
            </a:extLst>
          </p:cNvPr>
          <p:cNvSpPr/>
          <p:nvPr/>
        </p:nvSpPr>
        <p:spPr>
          <a:xfrm>
            <a:off x="338375" y="1129660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EE9B28-1072-DE45-BECE-6F71EA6E04DB}"/>
              </a:ext>
            </a:extLst>
          </p:cNvPr>
          <p:cNvSpPr/>
          <p:nvPr/>
        </p:nvSpPr>
        <p:spPr>
          <a:xfrm>
            <a:off x="338375" y="2709675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AB85B26-D86B-A346-9A36-063DA31B949E}"/>
              </a:ext>
            </a:extLst>
          </p:cNvPr>
          <p:cNvSpPr/>
          <p:nvPr/>
        </p:nvSpPr>
        <p:spPr>
          <a:xfrm>
            <a:off x="338375" y="4290970"/>
            <a:ext cx="2771132" cy="143610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BFFCF1C-6482-3345-BB98-DBA1C8BC4261}"/>
              </a:ext>
            </a:extLst>
          </p:cNvPr>
          <p:cNvSpPr/>
          <p:nvPr/>
        </p:nvSpPr>
        <p:spPr>
          <a:xfrm>
            <a:off x="9082836" y="1128391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E1CE8F9-CF58-864A-9205-E66D8E5477EB}"/>
              </a:ext>
            </a:extLst>
          </p:cNvPr>
          <p:cNvSpPr/>
          <p:nvPr/>
        </p:nvSpPr>
        <p:spPr>
          <a:xfrm>
            <a:off x="9082836" y="2708405"/>
            <a:ext cx="2771132" cy="144132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0847261-AC43-4147-A053-1FCB1E623B61}"/>
              </a:ext>
            </a:extLst>
          </p:cNvPr>
          <p:cNvSpPr/>
          <p:nvPr/>
        </p:nvSpPr>
        <p:spPr>
          <a:xfrm>
            <a:off x="9082836" y="4289700"/>
            <a:ext cx="2771132" cy="14373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302B83-758D-9F40-B1CB-49C19BE0AEFF}"/>
              </a:ext>
            </a:extLst>
          </p:cNvPr>
          <p:cNvSpPr txBox="1"/>
          <p:nvPr/>
        </p:nvSpPr>
        <p:spPr>
          <a:xfrm>
            <a:off x="4608297" y="2912097"/>
            <a:ext cx="2966796" cy="553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487538" y="1854187"/>
            <a:ext cx="3207552" cy="3207552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AEE6733-1C05-2143-992C-D8E209542297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1683276"/>
            <a:ext cx="327600" cy="32760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85889A6-7168-C247-A233-C88C85913B7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3263290"/>
            <a:ext cx="327600" cy="32760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24373F2-66F3-1D4B-8032-B93AE6BC5550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57050" y="4844585"/>
            <a:ext cx="327600" cy="327600"/>
          </a:xfrm>
          <a:prstGeom prst="rect">
            <a:avLst/>
          </a:prstGeom>
        </p:spPr>
      </p:pic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7145B0DB-B4B4-7E42-8B41-B3A0C73EC003}"/>
              </a:ext>
            </a:extLst>
          </p:cNvPr>
          <p:cNvCxnSpPr/>
          <p:nvPr/>
        </p:nvCxnSpPr>
        <p:spPr>
          <a:xfrm>
            <a:off x="7957983" y="3427090"/>
            <a:ext cx="599067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Соединительная линия уступом 25">
            <a:extLst>
              <a:ext uri="{FF2B5EF4-FFF2-40B4-BE49-F238E27FC236}">
                <a16:creationId xmlns:a16="http://schemas.microsoft.com/office/drawing/2014/main" id="{89A413F3-F7B7-9049-9E33-C91C6582F1DB}"/>
              </a:ext>
            </a:extLst>
          </p:cNvPr>
          <p:cNvCxnSpPr>
            <a:cxnSpLocks/>
          </p:cNvCxnSpPr>
          <p:nvPr/>
        </p:nvCxnSpPr>
        <p:spPr>
          <a:xfrm>
            <a:off x="7405837" y="4809507"/>
            <a:ext cx="1152000" cy="201600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Соединительная линия уступом 26">
            <a:extLst>
              <a:ext uri="{FF2B5EF4-FFF2-40B4-BE49-F238E27FC236}">
                <a16:creationId xmlns:a16="http://schemas.microsoft.com/office/drawing/2014/main" id="{28BC4E6B-C5E5-F04E-AD5B-05443929761C}"/>
              </a:ext>
            </a:extLst>
          </p:cNvPr>
          <p:cNvCxnSpPr>
            <a:cxnSpLocks/>
          </p:cNvCxnSpPr>
          <p:nvPr/>
        </p:nvCxnSpPr>
        <p:spPr>
          <a:xfrm flipV="1">
            <a:off x="7411248" y="1847076"/>
            <a:ext cx="1145802" cy="274979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E922ED30-905A-B040-89EA-152AB141C48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1683276"/>
            <a:ext cx="327600" cy="3276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A7FBF91-F4C6-FB4D-B9C3-7ABCC951553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3263290"/>
            <a:ext cx="327600" cy="3276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4BB9A0D-6521-C546-95AC-B4F602408B4A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21372" y="4844585"/>
            <a:ext cx="327600" cy="327600"/>
          </a:xfrm>
          <a:prstGeom prst="rect">
            <a:avLst/>
          </a:prstGeom>
        </p:spPr>
      </p:pic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ED4AD225-0A3C-9D47-9530-A6BE386B1815}"/>
              </a:ext>
            </a:extLst>
          </p:cNvPr>
          <p:cNvCxnSpPr>
            <a:cxnSpLocks/>
          </p:cNvCxnSpPr>
          <p:nvPr/>
        </p:nvCxnSpPr>
        <p:spPr>
          <a:xfrm flipH="1">
            <a:off x="3640327" y="3427090"/>
            <a:ext cx="599067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0932F8C8-B16D-1F47-AE9D-891EF623C1AD}"/>
              </a:ext>
            </a:extLst>
          </p:cNvPr>
          <p:cNvCxnSpPr>
            <a:cxnSpLocks/>
          </p:cNvCxnSpPr>
          <p:nvPr/>
        </p:nvCxnSpPr>
        <p:spPr>
          <a:xfrm flipH="1">
            <a:off x="3643032" y="4809508"/>
            <a:ext cx="1145802" cy="198877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ная линия уступом 32">
            <a:extLst>
              <a:ext uri="{FF2B5EF4-FFF2-40B4-BE49-F238E27FC236}">
                <a16:creationId xmlns:a16="http://schemas.microsoft.com/office/drawing/2014/main" id="{35386CC3-0A1A-704B-9D4B-9E32E0C50B2D}"/>
              </a:ext>
            </a:extLst>
          </p:cNvPr>
          <p:cNvCxnSpPr>
            <a:cxnSpLocks/>
          </p:cNvCxnSpPr>
          <p:nvPr/>
        </p:nvCxnSpPr>
        <p:spPr>
          <a:xfrm flipH="1" flipV="1">
            <a:off x="3643032" y="1847076"/>
            <a:ext cx="1145802" cy="274979"/>
          </a:xfrm>
          <a:prstGeom prst="bentConnector3">
            <a:avLst>
              <a:gd name="adj1" fmla="val 50000"/>
            </a:avLst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224646" y="1591295"/>
            <a:ext cx="3733337" cy="3733337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AB002D5-32A7-7945-9C30-F456B5AA4BBD}"/>
              </a:ext>
            </a:extLst>
          </p:cNvPr>
          <p:cNvSpPr/>
          <p:nvPr/>
        </p:nvSpPr>
        <p:spPr>
          <a:xfrm>
            <a:off x="338375" y="3497887"/>
            <a:ext cx="2771132" cy="6518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8FBA285-A245-5240-B7C7-72E9AF8BD10E}"/>
              </a:ext>
            </a:extLst>
          </p:cNvPr>
          <p:cNvSpPr/>
          <p:nvPr/>
        </p:nvSpPr>
        <p:spPr>
          <a:xfrm>
            <a:off x="337043" y="5876925"/>
            <a:ext cx="11500436" cy="323849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….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4562796" y="3320542"/>
            <a:ext cx="304892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541080F-A1B3-9716-30BC-82678796AF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623042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3" name="Прямая со стрелкой 82">
            <a:extLst>
              <a:ext uri="{FF2B5EF4-FFF2-40B4-BE49-F238E27FC236}">
                <a16:creationId xmlns:a16="http://schemas.microsoft.com/office/drawing/2014/main" id="{972A79ED-E813-F04E-B354-43676269E244}"/>
              </a:ext>
            </a:extLst>
          </p:cNvPr>
          <p:cNvCxnSpPr>
            <a:cxnSpLocks/>
            <a:stCxn id="34" idx="6"/>
          </p:cNvCxnSpPr>
          <p:nvPr/>
        </p:nvCxnSpPr>
        <p:spPr>
          <a:xfrm flipV="1">
            <a:off x="7504519" y="3039909"/>
            <a:ext cx="1579156" cy="37583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D42BFF93-0F45-7141-8ECC-0516B16D392C}"/>
              </a:ext>
            </a:extLst>
          </p:cNvPr>
          <p:cNvCxnSpPr>
            <a:cxnSpLocks/>
            <a:stCxn id="34" idx="6"/>
            <a:endCxn id="40" idx="1"/>
          </p:cNvCxnSpPr>
          <p:nvPr/>
        </p:nvCxnSpPr>
        <p:spPr>
          <a:xfrm>
            <a:off x="7504519" y="3415741"/>
            <a:ext cx="1577968" cy="41654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>
            <a:extLst>
              <a:ext uri="{FF2B5EF4-FFF2-40B4-BE49-F238E27FC236}">
                <a16:creationId xmlns:a16="http://schemas.microsoft.com/office/drawing/2014/main" id="{3C838B70-8CA2-714F-96DA-C924C91CC420}"/>
              </a:ext>
            </a:extLst>
          </p:cNvPr>
          <p:cNvCxnSpPr>
            <a:cxnSpLocks/>
            <a:stCxn id="34" idx="6"/>
            <a:endCxn id="41" idx="1"/>
          </p:cNvCxnSpPr>
          <p:nvPr/>
        </p:nvCxnSpPr>
        <p:spPr>
          <a:xfrm>
            <a:off x="7504519" y="3415741"/>
            <a:ext cx="1577968" cy="1204761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 стрелкой 83">
            <a:extLst>
              <a:ext uri="{FF2B5EF4-FFF2-40B4-BE49-F238E27FC236}">
                <a16:creationId xmlns:a16="http://schemas.microsoft.com/office/drawing/2014/main" id="{8E1EF672-6827-5247-B3D1-627E11810258}"/>
              </a:ext>
            </a:extLst>
          </p:cNvPr>
          <p:cNvCxnSpPr>
            <a:cxnSpLocks/>
            <a:stCxn id="34" idx="6"/>
            <a:endCxn id="42" idx="1"/>
          </p:cNvCxnSpPr>
          <p:nvPr/>
        </p:nvCxnSpPr>
        <p:spPr>
          <a:xfrm flipV="1">
            <a:off x="7504519" y="2240057"/>
            <a:ext cx="1577968" cy="1175684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ED4AD225-0A3C-9D47-9530-A6BE386B1815}"/>
              </a:ext>
            </a:extLst>
          </p:cNvPr>
          <p:cNvCxnSpPr>
            <a:cxnSpLocks/>
            <a:stCxn id="34" idx="2"/>
          </p:cNvCxnSpPr>
          <p:nvPr/>
        </p:nvCxnSpPr>
        <p:spPr>
          <a:xfrm flipH="1" flipV="1">
            <a:off x="3109510" y="3039909"/>
            <a:ext cx="1577970" cy="37583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 стрелкой 79">
            <a:extLst>
              <a:ext uri="{FF2B5EF4-FFF2-40B4-BE49-F238E27FC236}">
                <a16:creationId xmlns:a16="http://schemas.microsoft.com/office/drawing/2014/main" id="{87C73F81-DE24-8E41-94C1-D21602DE9EEF}"/>
              </a:ext>
            </a:extLst>
          </p:cNvPr>
          <p:cNvCxnSpPr>
            <a:cxnSpLocks/>
            <a:stCxn id="34" idx="2"/>
          </p:cNvCxnSpPr>
          <p:nvPr/>
        </p:nvCxnSpPr>
        <p:spPr>
          <a:xfrm flipH="1" flipV="1">
            <a:off x="3109512" y="2231017"/>
            <a:ext cx="1577968" cy="1184724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23C36E99-A0D6-1E41-A130-1477FDF4B6C1}"/>
              </a:ext>
            </a:extLst>
          </p:cNvPr>
          <p:cNvCxnSpPr>
            <a:cxnSpLocks/>
            <a:stCxn id="34" idx="2"/>
          </p:cNvCxnSpPr>
          <p:nvPr/>
        </p:nvCxnSpPr>
        <p:spPr>
          <a:xfrm flipH="1">
            <a:off x="3109510" y="3415741"/>
            <a:ext cx="1577970" cy="416548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 стрелкой 81">
            <a:extLst>
              <a:ext uri="{FF2B5EF4-FFF2-40B4-BE49-F238E27FC236}">
                <a16:creationId xmlns:a16="http://schemas.microsoft.com/office/drawing/2014/main" id="{98E318D1-038C-4B4E-B3B3-EDC04842B3AE}"/>
              </a:ext>
            </a:extLst>
          </p:cNvPr>
          <p:cNvCxnSpPr>
            <a:cxnSpLocks/>
            <a:stCxn id="34" idx="2"/>
          </p:cNvCxnSpPr>
          <p:nvPr/>
        </p:nvCxnSpPr>
        <p:spPr>
          <a:xfrm flipH="1">
            <a:off x="3109512" y="3415741"/>
            <a:ext cx="1577968" cy="1207427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61418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EE9B28-1072-DE45-BECE-6F71EA6E04DB}"/>
              </a:ext>
            </a:extLst>
          </p:cNvPr>
          <p:cNvSpPr/>
          <p:nvPr/>
        </p:nvSpPr>
        <p:spPr>
          <a:xfrm>
            <a:off x="338375" y="3508345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885849" y="2205590"/>
            <a:ext cx="2420301" cy="2420301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687480" y="2007221"/>
            <a:ext cx="2817039" cy="2817039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BAB002D5-32A7-7945-9C30-F456B5AA4BBD}"/>
              </a:ext>
            </a:extLst>
          </p:cNvPr>
          <p:cNvSpPr/>
          <p:nvPr/>
        </p:nvSpPr>
        <p:spPr>
          <a:xfrm>
            <a:off x="338375" y="4296558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5006132" y="3090454"/>
            <a:ext cx="217254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49508FF-AF1F-C64F-908E-B1D0826110A2}"/>
              </a:ext>
            </a:extLst>
          </p:cNvPr>
          <p:cNvSpPr/>
          <p:nvPr/>
        </p:nvSpPr>
        <p:spPr>
          <a:xfrm>
            <a:off x="338375" y="1916113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E283826-4417-7944-A126-8DCADF962E13}"/>
              </a:ext>
            </a:extLst>
          </p:cNvPr>
          <p:cNvSpPr/>
          <p:nvPr/>
        </p:nvSpPr>
        <p:spPr>
          <a:xfrm>
            <a:off x="338375" y="2709470"/>
            <a:ext cx="2771132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265C718D-1534-AC43-AFAA-D25081D86CEE}"/>
              </a:ext>
            </a:extLst>
          </p:cNvPr>
          <p:cNvSpPr/>
          <p:nvPr/>
        </p:nvSpPr>
        <p:spPr>
          <a:xfrm>
            <a:off x="9082487" y="3508345"/>
            <a:ext cx="278633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B8496999-0913-9D42-9F3A-FA2ADF5CF26F}"/>
              </a:ext>
            </a:extLst>
          </p:cNvPr>
          <p:cNvSpPr/>
          <p:nvPr/>
        </p:nvSpPr>
        <p:spPr>
          <a:xfrm>
            <a:off x="9082487" y="4296558"/>
            <a:ext cx="278633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7C94ACEE-D49B-BE45-8C8A-D702B5280120}"/>
              </a:ext>
            </a:extLst>
          </p:cNvPr>
          <p:cNvSpPr/>
          <p:nvPr/>
        </p:nvSpPr>
        <p:spPr>
          <a:xfrm>
            <a:off x="9082487" y="1916113"/>
            <a:ext cx="2777953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93A41F70-ADD4-884B-80AA-E18179E5632C}"/>
              </a:ext>
            </a:extLst>
          </p:cNvPr>
          <p:cNvSpPr/>
          <p:nvPr/>
        </p:nvSpPr>
        <p:spPr>
          <a:xfrm>
            <a:off x="9083675" y="2709470"/>
            <a:ext cx="2776765" cy="6478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tIns="72000" rIns="144000" bIns="72000" rtlCol="0" anchor="ctr"/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E3ECDD2B-D2A2-3349-AC09-1BF2F927F39A}"/>
              </a:ext>
            </a:extLst>
          </p:cNvPr>
          <p:cNvSpPr/>
          <p:nvPr/>
        </p:nvSpPr>
        <p:spPr>
          <a:xfrm>
            <a:off x="337042" y="5086049"/>
            <a:ext cx="11519995" cy="111472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F7B11E9C-B32D-7943-AE31-4FBA83AF7B50}"/>
              </a:ext>
            </a:extLst>
          </p:cNvPr>
          <p:cNvSpPr/>
          <p:nvPr/>
        </p:nvSpPr>
        <p:spPr>
          <a:xfrm>
            <a:off x="337046" y="1125538"/>
            <a:ext cx="11523394" cy="647699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A88F99B-47F0-D84B-A51C-5A94616DFAA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2091153"/>
            <a:ext cx="303905" cy="303905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45BB126A-BDEB-BA46-A611-51D1020A56E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2895088"/>
            <a:ext cx="303905" cy="303905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96D87295-CFA2-704E-8117-CB95A837214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3662202"/>
            <a:ext cx="303905" cy="303905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B1B3A171-524F-7943-B740-34193ADAACC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8231" y="4453864"/>
            <a:ext cx="303905" cy="303905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439E09B1-A1B3-5540-8123-519E07A4AD4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2091153"/>
            <a:ext cx="303905" cy="303905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2683C3E6-F2F3-114A-9F80-13D6333CB45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2895088"/>
            <a:ext cx="303905" cy="303905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39905AE4-E5FF-F545-8319-430750D7A0A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3662202"/>
            <a:ext cx="303905" cy="303905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47B5319F-C6F2-AA4F-915F-AA6AD7F08D2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4762" y="4453864"/>
            <a:ext cx="303905" cy="3039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BE49B94-D64E-894A-BD7F-8898D888C8F0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0183" y="5271393"/>
            <a:ext cx="524868" cy="52486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24DCD9-940F-44F1-E2FA-EDA8129919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433549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32A8317-F7FF-E14D-A1E7-1F3674D9670E}"/>
              </a:ext>
            </a:extLst>
          </p:cNvPr>
          <p:cNvSpPr/>
          <p:nvPr/>
        </p:nvSpPr>
        <p:spPr>
          <a:xfrm>
            <a:off x="9085906" y="1124062"/>
            <a:ext cx="2771132" cy="14413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F8B973A8-1726-3842-A9FF-976233D2F265}"/>
              </a:ext>
            </a:extLst>
          </p:cNvPr>
          <p:cNvSpPr/>
          <p:nvPr/>
        </p:nvSpPr>
        <p:spPr>
          <a:xfrm>
            <a:off x="9085906" y="2713445"/>
            <a:ext cx="2771132" cy="222844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99780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4EE1D5E-3879-324D-B1E8-39EE203F3B2E}"/>
              </a:ext>
            </a:extLst>
          </p:cNvPr>
          <p:cNvSpPr/>
          <p:nvPr/>
        </p:nvSpPr>
        <p:spPr>
          <a:xfrm>
            <a:off x="4885849" y="1413540"/>
            <a:ext cx="2420301" cy="2420301"/>
          </a:xfrm>
          <a:prstGeom prst="ellipse">
            <a:avLst/>
          </a:prstGeom>
          <a:noFill/>
          <a:ln w="12700">
            <a:solidFill>
              <a:srgbClr val="7E7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037C7A-E03D-6B42-8594-0381CA686207}"/>
              </a:ext>
            </a:extLst>
          </p:cNvPr>
          <p:cNvSpPr txBox="1"/>
          <p:nvPr/>
        </p:nvSpPr>
        <p:spPr>
          <a:xfrm>
            <a:off x="5006132" y="2298404"/>
            <a:ext cx="217254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749508FF-AF1F-C64F-908E-B1D0826110A2}"/>
              </a:ext>
            </a:extLst>
          </p:cNvPr>
          <p:cNvSpPr/>
          <p:nvPr/>
        </p:nvSpPr>
        <p:spPr>
          <a:xfrm>
            <a:off x="338375" y="1124062"/>
            <a:ext cx="2771132" cy="1441337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.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E3ECDD2B-D2A2-3349-AC09-1BF2F927F39A}"/>
              </a:ext>
            </a:extLst>
          </p:cNvPr>
          <p:cNvSpPr/>
          <p:nvPr/>
        </p:nvSpPr>
        <p:spPr>
          <a:xfrm>
            <a:off x="337042" y="5086049"/>
            <a:ext cx="11519995" cy="111472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 ….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AD92E7F-349F-A34C-9D73-7F6A8466B68E}"/>
              </a:ext>
            </a:extLst>
          </p:cNvPr>
          <p:cNvSpPr/>
          <p:nvPr/>
        </p:nvSpPr>
        <p:spPr>
          <a:xfrm>
            <a:off x="338375" y="2713445"/>
            <a:ext cx="2771132" cy="222844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Соединительная линия уступом 12">
            <a:extLst>
              <a:ext uri="{FF2B5EF4-FFF2-40B4-BE49-F238E27FC236}">
                <a16:creationId xmlns:a16="http://schemas.microsoft.com/office/drawing/2014/main" id="{6EAA1CF6-2033-AF49-9484-CD17E35C9347}"/>
              </a:ext>
            </a:extLst>
          </p:cNvPr>
          <p:cNvCxnSpPr>
            <a:stCxn id="34" idx="6"/>
            <a:endCxn id="30" idx="1"/>
          </p:cNvCxnSpPr>
          <p:nvPr/>
        </p:nvCxnSpPr>
        <p:spPr>
          <a:xfrm flipV="1">
            <a:off x="7504519" y="1844731"/>
            <a:ext cx="1581387" cy="778960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ная линия уступом 14">
            <a:extLst>
              <a:ext uri="{FF2B5EF4-FFF2-40B4-BE49-F238E27FC236}">
                <a16:creationId xmlns:a16="http://schemas.microsoft.com/office/drawing/2014/main" id="{02636837-FB4C-D149-AF51-559C93EF0A71}"/>
              </a:ext>
            </a:extLst>
          </p:cNvPr>
          <p:cNvCxnSpPr>
            <a:stCxn id="34" idx="6"/>
            <a:endCxn id="32" idx="1"/>
          </p:cNvCxnSpPr>
          <p:nvPr/>
        </p:nvCxnSpPr>
        <p:spPr>
          <a:xfrm>
            <a:off x="7504519" y="2623691"/>
            <a:ext cx="1581387" cy="1203976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Соединительная линия уступом 43">
            <a:extLst>
              <a:ext uri="{FF2B5EF4-FFF2-40B4-BE49-F238E27FC236}">
                <a16:creationId xmlns:a16="http://schemas.microsoft.com/office/drawing/2014/main" id="{89A1633C-1E26-DE44-8747-2DD8737880AC}"/>
              </a:ext>
            </a:extLst>
          </p:cNvPr>
          <p:cNvCxnSpPr>
            <a:cxnSpLocks/>
          </p:cNvCxnSpPr>
          <p:nvPr/>
        </p:nvCxnSpPr>
        <p:spPr>
          <a:xfrm flipH="1" flipV="1">
            <a:off x="3108325" y="1844731"/>
            <a:ext cx="1581387" cy="778960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ная линия уступом 44">
            <a:extLst>
              <a:ext uri="{FF2B5EF4-FFF2-40B4-BE49-F238E27FC236}">
                <a16:creationId xmlns:a16="http://schemas.microsoft.com/office/drawing/2014/main" id="{E63114F9-894C-1949-A6E3-43796EDBEF1A}"/>
              </a:ext>
            </a:extLst>
          </p:cNvPr>
          <p:cNvCxnSpPr>
            <a:cxnSpLocks/>
          </p:cNvCxnSpPr>
          <p:nvPr/>
        </p:nvCxnSpPr>
        <p:spPr>
          <a:xfrm flipH="1">
            <a:off x="3108325" y="2623691"/>
            <a:ext cx="1581387" cy="1203976"/>
          </a:xfrm>
          <a:prstGeom prst="bentConnector3">
            <a:avLst/>
          </a:prstGeom>
          <a:ln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Овал 33">
            <a:extLst>
              <a:ext uri="{FF2B5EF4-FFF2-40B4-BE49-F238E27FC236}">
                <a16:creationId xmlns:a16="http://schemas.microsoft.com/office/drawing/2014/main" id="{603B7537-C527-C346-AECC-F370A79C85EA}"/>
              </a:ext>
            </a:extLst>
          </p:cNvPr>
          <p:cNvSpPr/>
          <p:nvPr/>
        </p:nvSpPr>
        <p:spPr>
          <a:xfrm>
            <a:off x="4687480" y="1215171"/>
            <a:ext cx="2817039" cy="2817039"/>
          </a:xfrm>
          <a:prstGeom prst="ellipse">
            <a:avLst/>
          </a:prstGeom>
          <a:noFill/>
          <a:ln w="190500">
            <a:solidFill>
              <a:srgbClr val="28BE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041FC6-7B0B-B8D4-51D1-0421E4B33A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365370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7F75D0-A043-8D53-C0DA-0FA58E2348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6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CD4C18-4FA6-9150-0B41-03C908718967}"/>
              </a:ext>
            </a:extLst>
          </p:cNvPr>
          <p:cNvSpPr txBox="1"/>
          <p:nvPr/>
        </p:nvSpPr>
        <p:spPr>
          <a:xfrm>
            <a:off x="337043" y="285883"/>
            <a:ext cx="838737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0">
            <a:extLst>
              <a:ext uri="{FF2B5EF4-FFF2-40B4-BE49-F238E27FC236}">
                <a16:creationId xmlns:a16="http://schemas.microsoft.com/office/drawing/2014/main" id="{1F1E7633-7CF8-C0BF-293B-182E04140291}"/>
              </a:ext>
            </a:extLst>
          </p:cNvPr>
          <p:cNvSpPr/>
          <p:nvPr/>
        </p:nvSpPr>
        <p:spPr>
          <a:xfrm>
            <a:off x="337046" y="1125538"/>
            <a:ext cx="11523394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:</a:t>
            </a:r>
          </a:p>
        </p:txBody>
      </p:sp>
      <p:sp>
        <p:nvSpPr>
          <p:cNvPr id="5" name="TextBox 28">
            <a:extLst>
              <a:ext uri="{FF2B5EF4-FFF2-40B4-BE49-F238E27FC236}">
                <a16:creationId xmlns:a16="http://schemas.microsoft.com/office/drawing/2014/main" id="{047A1F55-118C-6A00-E132-094239E82362}"/>
              </a:ext>
            </a:extLst>
          </p:cNvPr>
          <p:cNvSpPr txBox="1"/>
          <p:nvPr/>
        </p:nvSpPr>
        <p:spPr>
          <a:xfrm>
            <a:off x="647941" y="5425393"/>
            <a:ext cx="2923286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6" name="TextBox 29">
            <a:extLst>
              <a:ext uri="{FF2B5EF4-FFF2-40B4-BE49-F238E27FC236}">
                <a16:creationId xmlns:a16="http://schemas.microsoft.com/office/drawing/2014/main" id="{F77B52D6-DA58-17BA-5C91-7455941C0088}"/>
              </a:ext>
            </a:extLst>
          </p:cNvPr>
          <p:cNvSpPr txBox="1"/>
          <p:nvPr/>
        </p:nvSpPr>
        <p:spPr>
          <a:xfrm>
            <a:off x="4556295" y="5427568"/>
            <a:ext cx="2641503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lvl="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7" name="TextBox 30">
            <a:extLst>
              <a:ext uri="{FF2B5EF4-FFF2-40B4-BE49-F238E27FC236}">
                <a16:creationId xmlns:a16="http://schemas.microsoft.com/office/drawing/2014/main" id="{B32A07E1-BEA1-DAFB-06D2-FD2D68BEFD97}"/>
              </a:ext>
            </a:extLst>
          </p:cNvPr>
          <p:cNvSpPr txBox="1"/>
          <p:nvPr/>
        </p:nvSpPr>
        <p:spPr>
          <a:xfrm>
            <a:off x="5541147" y="2295295"/>
            <a:ext cx="2229485" cy="238672"/>
          </a:xfrm>
          <a:prstGeom prst="rect">
            <a:avLst/>
          </a:prstGeom>
          <a:noFill/>
        </p:spPr>
        <p:txBody>
          <a:bodyPr wrap="square" lIns="83964" tIns="41982" rIns="83964" bIns="41982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9" name="Полилиния 12">
            <a:extLst>
              <a:ext uri="{FF2B5EF4-FFF2-40B4-BE49-F238E27FC236}">
                <a16:creationId xmlns:a16="http://schemas.microsoft.com/office/drawing/2014/main" id="{40367870-E1E9-66F1-D630-02869B1578C4}"/>
              </a:ext>
            </a:extLst>
          </p:cNvPr>
          <p:cNvSpPr/>
          <p:nvPr/>
        </p:nvSpPr>
        <p:spPr>
          <a:xfrm>
            <a:off x="3587761" y="3663315"/>
            <a:ext cx="304108" cy="311106"/>
          </a:xfrm>
          <a:custGeom>
            <a:avLst/>
            <a:gdLst>
              <a:gd name="connsiteX0" fmla="*/ 110947 w 221894"/>
              <a:gd name="connsiteY0" fmla="*/ 10973 h 899770"/>
              <a:gd name="connsiteX1" fmla="*/ 1219 w 221894"/>
              <a:gd name="connsiteY1" fmla="*/ 479146 h 899770"/>
              <a:gd name="connsiteX2" fmla="*/ 118263 w 221894"/>
              <a:gd name="connsiteY2" fmla="*/ 888797 h 899770"/>
              <a:gd name="connsiteX3" fmla="*/ 220675 w 221894"/>
              <a:gd name="connsiteY3" fmla="*/ 413309 h 899770"/>
              <a:gd name="connsiteX4" fmla="*/ 110947 w 221894"/>
              <a:gd name="connsiteY4" fmla="*/ 10973 h 899770"/>
              <a:gd name="connsiteX0" fmla="*/ 110947 w 198512"/>
              <a:gd name="connsiteY0" fmla="*/ 516 h 878856"/>
              <a:gd name="connsiteX1" fmla="*/ 1219 w 198512"/>
              <a:gd name="connsiteY1" fmla="*/ 468689 h 878856"/>
              <a:gd name="connsiteX2" fmla="*/ 118263 w 198512"/>
              <a:gd name="connsiteY2" fmla="*/ 878340 h 878856"/>
              <a:gd name="connsiteX3" fmla="*/ 197293 w 198512"/>
              <a:gd name="connsiteY3" fmla="*/ 465595 h 878856"/>
              <a:gd name="connsiteX4" fmla="*/ 110947 w 198512"/>
              <a:gd name="connsiteY4" fmla="*/ 516 h 878856"/>
              <a:gd name="connsiteX0" fmla="*/ 110947 w 234516"/>
              <a:gd name="connsiteY0" fmla="*/ 516 h 878856"/>
              <a:gd name="connsiteX1" fmla="*/ 1219 w 234516"/>
              <a:gd name="connsiteY1" fmla="*/ 468689 h 878856"/>
              <a:gd name="connsiteX2" fmla="*/ 118263 w 234516"/>
              <a:gd name="connsiteY2" fmla="*/ 878340 h 878856"/>
              <a:gd name="connsiteX3" fmla="*/ 233297 w 234516"/>
              <a:gd name="connsiteY3" fmla="*/ 465595 h 878856"/>
              <a:gd name="connsiteX4" fmla="*/ 110947 w 234516"/>
              <a:gd name="connsiteY4" fmla="*/ 516 h 878856"/>
              <a:gd name="connsiteX0" fmla="*/ 110947 w 233297"/>
              <a:gd name="connsiteY0" fmla="*/ 516 h 878856"/>
              <a:gd name="connsiteX1" fmla="*/ 1219 w 233297"/>
              <a:gd name="connsiteY1" fmla="*/ 468689 h 878856"/>
              <a:gd name="connsiteX2" fmla="*/ 118263 w 233297"/>
              <a:gd name="connsiteY2" fmla="*/ 878340 h 878856"/>
              <a:gd name="connsiteX3" fmla="*/ 233297 w 233297"/>
              <a:gd name="connsiteY3" fmla="*/ 465595 h 878856"/>
              <a:gd name="connsiteX4" fmla="*/ 110947 w 233297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10947 w 197294"/>
              <a:gd name="connsiteY0" fmla="*/ 516 h 878856"/>
              <a:gd name="connsiteX1" fmla="*/ 1219 w 197294"/>
              <a:gd name="connsiteY1" fmla="*/ 468689 h 878856"/>
              <a:gd name="connsiteX2" fmla="*/ 118263 w 197294"/>
              <a:gd name="connsiteY2" fmla="*/ 878340 h 878856"/>
              <a:gd name="connsiteX3" fmla="*/ 197294 w 197294"/>
              <a:gd name="connsiteY3" fmla="*/ 465595 h 878856"/>
              <a:gd name="connsiteX4" fmla="*/ 110947 w 197294"/>
              <a:gd name="connsiteY4" fmla="*/ 516 h 878856"/>
              <a:gd name="connsiteX0" fmla="*/ 104746 w 198534"/>
              <a:gd name="connsiteY0" fmla="*/ 516 h 872283"/>
              <a:gd name="connsiteX1" fmla="*/ 2459 w 198534"/>
              <a:gd name="connsiteY1" fmla="*/ 462116 h 872283"/>
              <a:gd name="connsiteX2" fmla="*/ 119503 w 198534"/>
              <a:gd name="connsiteY2" fmla="*/ 871767 h 872283"/>
              <a:gd name="connsiteX3" fmla="*/ 198534 w 198534"/>
              <a:gd name="connsiteY3" fmla="*/ 459022 h 872283"/>
              <a:gd name="connsiteX4" fmla="*/ 104746 w 198534"/>
              <a:gd name="connsiteY4" fmla="*/ 516 h 872283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03506 w 199101"/>
              <a:gd name="connsiteY0" fmla="*/ 516 h 874392"/>
              <a:gd name="connsiteX1" fmla="*/ 1219 w 199101"/>
              <a:gd name="connsiteY1" fmla="*/ 462116 h 874392"/>
              <a:gd name="connsiteX2" fmla="*/ 110822 w 199101"/>
              <a:gd name="connsiteY2" fmla="*/ 873876 h 874392"/>
              <a:gd name="connsiteX3" fmla="*/ 197294 w 199101"/>
              <a:gd name="connsiteY3" fmla="*/ 459022 h 874392"/>
              <a:gd name="connsiteX4" fmla="*/ 103506 w 199101"/>
              <a:gd name="connsiteY4" fmla="*/ 516 h 874392"/>
              <a:gd name="connsiteX0" fmla="*/ 103506 w 199518"/>
              <a:gd name="connsiteY0" fmla="*/ 516 h 874392"/>
              <a:gd name="connsiteX1" fmla="*/ 1219 w 199518"/>
              <a:gd name="connsiteY1" fmla="*/ 462116 h 874392"/>
              <a:gd name="connsiteX2" fmla="*/ 110822 w 199518"/>
              <a:gd name="connsiteY2" fmla="*/ 873876 h 874392"/>
              <a:gd name="connsiteX3" fmla="*/ 197294 w 199518"/>
              <a:gd name="connsiteY3" fmla="*/ 459022 h 874392"/>
              <a:gd name="connsiteX4" fmla="*/ 103506 w 199518"/>
              <a:gd name="connsiteY4" fmla="*/ 516 h 874392"/>
              <a:gd name="connsiteX0" fmla="*/ 103506 w 199518"/>
              <a:gd name="connsiteY0" fmla="*/ 516 h 874392"/>
              <a:gd name="connsiteX1" fmla="*/ 1219 w 199518"/>
              <a:gd name="connsiteY1" fmla="*/ 462116 h 874392"/>
              <a:gd name="connsiteX2" fmla="*/ 110822 w 199518"/>
              <a:gd name="connsiteY2" fmla="*/ 873876 h 874392"/>
              <a:gd name="connsiteX3" fmla="*/ 197294 w 199518"/>
              <a:gd name="connsiteY3" fmla="*/ 459022 h 874392"/>
              <a:gd name="connsiteX4" fmla="*/ 103506 w 199518"/>
              <a:gd name="connsiteY4" fmla="*/ 516 h 874392"/>
              <a:gd name="connsiteX0" fmla="*/ 103506 w 197294"/>
              <a:gd name="connsiteY0" fmla="*/ 516 h 874392"/>
              <a:gd name="connsiteX1" fmla="*/ 1219 w 197294"/>
              <a:gd name="connsiteY1" fmla="*/ 462116 h 874392"/>
              <a:gd name="connsiteX2" fmla="*/ 110822 w 197294"/>
              <a:gd name="connsiteY2" fmla="*/ 873876 h 874392"/>
              <a:gd name="connsiteX3" fmla="*/ 197294 w 197294"/>
              <a:gd name="connsiteY3" fmla="*/ 459022 h 874392"/>
              <a:gd name="connsiteX4" fmla="*/ 103506 w 197294"/>
              <a:gd name="connsiteY4" fmla="*/ 516 h 874392"/>
              <a:gd name="connsiteX0" fmla="*/ 124495 w 290421"/>
              <a:gd name="connsiteY0" fmla="*/ 516 h 1312104"/>
              <a:gd name="connsiteX1" fmla="*/ 22208 w 290421"/>
              <a:gd name="connsiteY1" fmla="*/ 462116 h 1312104"/>
              <a:gd name="connsiteX2" fmla="*/ 257742 w 290421"/>
              <a:gd name="connsiteY2" fmla="*/ 1311588 h 1312104"/>
              <a:gd name="connsiteX3" fmla="*/ 218283 w 290421"/>
              <a:gd name="connsiteY3" fmla="*/ 459022 h 1312104"/>
              <a:gd name="connsiteX4" fmla="*/ 124495 w 290421"/>
              <a:gd name="connsiteY4" fmla="*/ 516 h 1312104"/>
              <a:gd name="connsiteX0" fmla="*/ 155915 w 324237"/>
              <a:gd name="connsiteY0" fmla="*/ 516 h 1584325"/>
              <a:gd name="connsiteX1" fmla="*/ 53628 w 324237"/>
              <a:gd name="connsiteY1" fmla="*/ 462116 h 1584325"/>
              <a:gd name="connsiteX2" fmla="*/ 39256 w 324237"/>
              <a:gd name="connsiteY2" fmla="*/ 1442747 h 1584325"/>
              <a:gd name="connsiteX3" fmla="*/ 289162 w 324237"/>
              <a:gd name="connsiteY3" fmla="*/ 1311588 h 1584325"/>
              <a:gd name="connsiteX4" fmla="*/ 249703 w 324237"/>
              <a:gd name="connsiteY4" fmla="*/ 459022 h 1584325"/>
              <a:gd name="connsiteX5" fmla="*/ 155915 w 324237"/>
              <a:gd name="connsiteY5" fmla="*/ 516 h 1584325"/>
              <a:gd name="connsiteX0" fmla="*/ 155915 w 304507"/>
              <a:gd name="connsiteY0" fmla="*/ 516 h 1616438"/>
              <a:gd name="connsiteX1" fmla="*/ 53628 w 304507"/>
              <a:gd name="connsiteY1" fmla="*/ 462116 h 1616438"/>
              <a:gd name="connsiteX2" fmla="*/ 39256 w 304507"/>
              <a:gd name="connsiteY2" fmla="*/ 1442747 h 1616438"/>
              <a:gd name="connsiteX3" fmla="*/ 157632 w 304507"/>
              <a:gd name="connsiteY3" fmla="*/ 1399027 h 1616438"/>
              <a:gd name="connsiteX4" fmla="*/ 289162 w 304507"/>
              <a:gd name="connsiteY4" fmla="*/ 1311588 h 1616438"/>
              <a:gd name="connsiteX5" fmla="*/ 249703 w 304507"/>
              <a:gd name="connsiteY5" fmla="*/ 459022 h 1616438"/>
              <a:gd name="connsiteX6" fmla="*/ 155915 w 304507"/>
              <a:gd name="connsiteY6" fmla="*/ 516 h 1616438"/>
              <a:gd name="connsiteX0" fmla="*/ 155915 w 304507"/>
              <a:gd name="connsiteY0" fmla="*/ 516 h 1528998"/>
              <a:gd name="connsiteX1" fmla="*/ 53628 w 304507"/>
              <a:gd name="connsiteY1" fmla="*/ 462116 h 1528998"/>
              <a:gd name="connsiteX2" fmla="*/ 39256 w 304507"/>
              <a:gd name="connsiteY2" fmla="*/ 1355307 h 1528998"/>
              <a:gd name="connsiteX3" fmla="*/ 157632 w 304507"/>
              <a:gd name="connsiteY3" fmla="*/ 1399027 h 1528998"/>
              <a:gd name="connsiteX4" fmla="*/ 289162 w 304507"/>
              <a:gd name="connsiteY4" fmla="*/ 1311588 h 1528998"/>
              <a:gd name="connsiteX5" fmla="*/ 249703 w 304507"/>
              <a:gd name="connsiteY5" fmla="*/ 459022 h 1528998"/>
              <a:gd name="connsiteX6" fmla="*/ 155915 w 304507"/>
              <a:gd name="connsiteY6" fmla="*/ 516 h 1528998"/>
              <a:gd name="connsiteX0" fmla="*/ 155915 w 304507"/>
              <a:gd name="connsiteY0" fmla="*/ 516 h 1581192"/>
              <a:gd name="connsiteX1" fmla="*/ 53628 w 304507"/>
              <a:gd name="connsiteY1" fmla="*/ 462116 h 1581192"/>
              <a:gd name="connsiteX2" fmla="*/ 39256 w 304507"/>
              <a:gd name="connsiteY2" fmla="*/ 1355307 h 1581192"/>
              <a:gd name="connsiteX3" fmla="*/ 157632 w 304507"/>
              <a:gd name="connsiteY3" fmla="*/ 1573905 h 1581192"/>
              <a:gd name="connsiteX4" fmla="*/ 289162 w 304507"/>
              <a:gd name="connsiteY4" fmla="*/ 1311588 h 1581192"/>
              <a:gd name="connsiteX5" fmla="*/ 249703 w 304507"/>
              <a:gd name="connsiteY5" fmla="*/ 459022 h 1581192"/>
              <a:gd name="connsiteX6" fmla="*/ 155915 w 304507"/>
              <a:gd name="connsiteY6" fmla="*/ 516 h 1581192"/>
              <a:gd name="connsiteX0" fmla="*/ 165173 w 313765"/>
              <a:gd name="connsiteY0" fmla="*/ 54655 h 1635331"/>
              <a:gd name="connsiteX1" fmla="*/ 22208 w 313765"/>
              <a:gd name="connsiteY1" fmla="*/ 841091 h 1635331"/>
              <a:gd name="connsiteX2" fmla="*/ 48514 w 313765"/>
              <a:gd name="connsiteY2" fmla="*/ 1409446 h 1635331"/>
              <a:gd name="connsiteX3" fmla="*/ 166890 w 313765"/>
              <a:gd name="connsiteY3" fmla="*/ 1628044 h 1635331"/>
              <a:gd name="connsiteX4" fmla="*/ 298420 w 313765"/>
              <a:gd name="connsiteY4" fmla="*/ 1365727 h 1635331"/>
              <a:gd name="connsiteX5" fmla="*/ 258961 w 313765"/>
              <a:gd name="connsiteY5" fmla="*/ 513161 h 1635331"/>
              <a:gd name="connsiteX6" fmla="*/ 165173 w 313765"/>
              <a:gd name="connsiteY6" fmla="*/ 54655 h 1635331"/>
              <a:gd name="connsiteX0" fmla="*/ 182221 w 330813"/>
              <a:gd name="connsiteY0" fmla="*/ 54655 h 1635331"/>
              <a:gd name="connsiteX1" fmla="*/ 39256 w 330813"/>
              <a:gd name="connsiteY1" fmla="*/ 841091 h 1635331"/>
              <a:gd name="connsiteX2" fmla="*/ 39256 w 330813"/>
              <a:gd name="connsiteY2" fmla="*/ 1322007 h 1635331"/>
              <a:gd name="connsiteX3" fmla="*/ 183938 w 330813"/>
              <a:gd name="connsiteY3" fmla="*/ 1628044 h 1635331"/>
              <a:gd name="connsiteX4" fmla="*/ 315468 w 330813"/>
              <a:gd name="connsiteY4" fmla="*/ 1365727 h 1635331"/>
              <a:gd name="connsiteX5" fmla="*/ 276009 w 330813"/>
              <a:gd name="connsiteY5" fmla="*/ 513161 h 1635331"/>
              <a:gd name="connsiteX6" fmla="*/ 182221 w 330813"/>
              <a:gd name="connsiteY6" fmla="*/ 54655 h 1635331"/>
              <a:gd name="connsiteX0" fmla="*/ 182221 w 330813"/>
              <a:gd name="connsiteY0" fmla="*/ 54655 h 1635331"/>
              <a:gd name="connsiteX1" fmla="*/ 39256 w 330813"/>
              <a:gd name="connsiteY1" fmla="*/ 841091 h 1635331"/>
              <a:gd name="connsiteX2" fmla="*/ 39256 w 330813"/>
              <a:gd name="connsiteY2" fmla="*/ 1322007 h 1635331"/>
              <a:gd name="connsiteX3" fmla="*/ 183938 w 330813"/>
              <a:gd name="connsiteY3" fmla="*/ 1628044 h 1635331"/>
              <a:gd name="connsiteX4" fmla="*/ 315468 w 330813"/>
              <a:gd name="connsiteY4" fmla="*/ 1365727 h 1635331"/>
              <a:gd name="connsiteX5" fmla="*/ 276009 w 330813"/>
              <a:gd name="connsiteY5" fmla="*/ 513161 h 1635331"/>
              <a:gd name="connsiteX6" fmla="*/ 182221 w 330813"/>
              <a:gd name="connsiteY6" fmla="*/ 54655 h 1635331"/>
              <a:gd name="connsiteX0" fmla="*/ 182221 w 330813"/>
              <a:gd name="connsiteY0" fmla="*/ 54655 h 1628044"/>
              <a:gd name="connsiteX1" fmla="*/ 39256 w 330813"/>
              <a:gd name="connsiteY1" fmla="*/ 841091 h 1628044"/>
              <a:gd name="connsiteX2" fmla="*/ 39256 w 330813"/>
              <a:gd name="connsiteY2" fmla="*/ 1365727 h 1628044"/>
              <a:gd name="connsiteX3" fmla="*/ 183938 w 330813"/>
              <a:gd name="connsiteY3" fmla="*/ 1628044 h 1628044"/>
              <a:gd name="connsiteX4" fmla="*/ 315468 w 330813"/>
              <a:gd name="connsiteY4" fmla="*/ 1365727 h 1628044"/>
              <a:gd name="connsiteX5" fmla="*/ 276009 w 330813"/>
              <a:gd name="connsiteY5" fmla="*/ 513161 h 1628044"/>
              <a:gd name="connsiteX6" fmla="*/ 182221 w 330813"/>
              <a:gd name="connsiteY6" fmla="*/ 54655 h 1628044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53167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53167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96886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39418"/>
              <a:gd name="connsiteX1" fmla="*/ 39256 w 333005"/>
              <a:gd name="connsiteY1" fmla="*/ 841091 h 1539418"/>
              <a:gd name="connsiteX2" fmla="*/ 39256 w 333005"/>
              <a:gd name="connsiteY2" fmla="*/ 1365727 h 1539418"/>
              <a:gd name="connsiteX3" fmla="*/ 170785 w 333005"/>
              <a:gd name="connsiteY3" fmla="*/ 1496886 h 1539418"/>
              <a:gd name="connsiteX4" fmla="*/ 315468 w 333005"/>
              <a:gd name="connsiteY4" fmla="*/ 1365727 h 1539418"/>
              <a:gd name="connsiteX5" fmla="*/ 276009 w 333005"/>
              <a:gd name="connsiteY5" fmla="*/ 513161 h 1539418"/>
              <a:gd name="connsiteX6" fmla="*/ 182221 w 333005"/>
              <a:gd name="connsiteY6" fmla="*/ 54655 h 1539418"/>
              <a:gd name="connsiteX0" fmla="*/ 182221 w 333005"/>
              <a:gd name="connsiteY0" fmla="*/ 54655 h 1529681"/>
              <a:gd name="connsiteX1" fmla="*/ 39256 w 333005"/>
              <a:gd name="connsiteY1" fmla="*/ 841091 h 1529681"/>
              <a:gd name="connsiteX2" fmla="*/ 39256 w 333005"/>
              <a:gd name="connsiteY2" fmla="*/ 1365727 h 1529681"/>
              <a:gd name="connsiteX3" fmla="*/ 170785 w 333005"/>
              <a:gd name="connsiteY3" fmla="*/ 1496886 h 1529681"/>
              <a:gd name="connsiteX4" fmla="*/ 315468 w 333005"/>
              <a:gd name="connsiteY4" fmla="*/ 1365727 h 1529681"/>
              <a:gd name="connsiteX5" fmla="*/ 276009 w 333005"/>
              <a:gd name="connsiteY5" fmla="*/ 513161 h 1529681"/>
              <a:gd name="connsiteX6" fmla="*/ 182221 w 333005"/>
              <a:gd name="connsiteY6" fmla="*/ 54655 h 1529681"/>
              <a:gd name="connsiteX0" fmla="*/ 182221 w 333005"/>
              <a:gd name="connsiteY0" fmla="*/ 54655 h 1522395"/>
              <a:gd name="connsiteX1" fmla="*/ 39256 w 333005"/>
              <a:gd name="connsiteY1" fmla="*/ 841091 h 1522395"/>
              <a:gd name="connsiteX2" fmla="*/ 39256 w 333005"/>
              <a:gd name="connsiteY2" fmla="*/ 1365727 h 1522395"/>
              <a:gd name="connsiteX3" fmla="*/ 170785 w 333005"/>
              <a:gd name="connsiteY3" fmla="*/ 1453168 h 1522395"/>
              <a:gd name="connsiteX4" fmla="*/ 315468 w 333005"/>
              <a:gd name="connsiteY4" fmla="*/ 1365727 h 1522395"/>
              <a:gd name="connsiteX5" fmla="*/ 276009 w 333005"/>
              <a:gd name="connsiteY5" fmla="*/ 513161 h 1522395"/>
              <a:gd name="connsiteX6" fmla="*/ 182221 w 333005"/>
              <a:gd name="connsiteY6" fmla="*/ 54655 h 1522395"/>
              <a:gd name="connsiteX0" fmla="*/ 182221 w 333005"/>
              <a:gd name="connsiteY0" fmla="*/ 54655 h 1522395"/>
              <a:gd name="connsiteX1" fmla="*/ 39256 w 333005"/>
              <a:gd name="connsiteY1" fmla="*/ 841091 h 1522395"/>
              <a:gd name="connsiteX2" fmla="*/ 39256 w 333005"/>
              <a:gd name="connsiteY2" fmla="*/ 1365727 h 1522395"/>
              <a:gd name="connsiteX3" fmla="*/ 170785 w 333005"/>
              <a:gd name="connsiteY3" fmla="*/ 1453168 h 1522395"/>
              <a:gd name="connsiteX4" fmla="*/ 315468 w 333005"/>
              <a:gd name="connsiteY4" fmla="*/ 1365727 h 1522395"/>
              <a:gd name="connsiteX5" fmla="*/ 276009 w 333005"/>
              <a:gd name="connsiteY5" fmla="*/ 513161 h 1522395"/>
              <a:gd name="connsiteX6" fmla="*/ 182221 w 333005"/>
              <a:gd name="connsiteY6" fmla="*/ 54655 h 1522395"/>
              <a:gd name="connsiteX0" fmla="*/ 182221 w 333005"/>
              <a:gd name="connsiteY0" fmla="*/ 54655 h 1478537"/>
              <a:gd name="connsiteX1" fmla="*/ 39256 w 333005"/>
              <a:gd name="connsiteY1" fmla="*/ 841091 h 1478537"/>
              <a:gd name="connsiteX2" fmla="*/ 39256 w 333005"/>
              <a:gd name="connsiteY2" fmla="*/ 1365727 h 1478537"/>
              <a:gd name="connsiteX3" fmla="*/ 170785 w 333005"/>
              <a:gd name="connsiteY3" fmla="*/ 1453168 h 1478537"/>
              <a:gd name="connsiteX4" fmla="*/ 315468 w 333005"/>
              <a:gd name="connsiteY4" fmla="*/ 1365727 h 1478537"/>
              <a:gd name="connsiteX5" fmla="*/ 276009 w 333005"/>
              <a:gd name="connsiteY5" fmla="*/ 513161 h 1478537"/>
              <a:gd name="connsiteX6" fmla="*/ 182221 w 333005"/>
              <a:gd name="connsiteY6" fmla="*/ 54655 h 1478537"/>
              <a:gd name="connsiteX0" fmla="*/ 182221 w 333005"/>
              <a:gd name="connsiteY0" fmla="*/ 54655 h 1459915"/>
              <a:gd name="connsiteX1" fmla="*/ 39256 w 333005"/>
              <a:gd name="connsiteY1" fmla="*/ 841091 h 1459915"/>
              <a:gd name="connsiteX2" fmla="*/ 39256 w 333005"/>
              <a:gd name="connsiteY2" fmla="*/ 1365727 h 1459915"/>
              <a:gd name="connsiteX3" fmla="*/ 170785 w 333005"/>
              <a:gd name="connsiteY3" fmla="*/ 1453168 h 1459915"/>
              <a:gd name="connsiteX4" fmla="*/ 315468 w 333005"/>
              <a:gd name="connsiteY4" fmla="*/ 1365727 h 1459915"/>
              <a:gd name="connsiteX5" fmla="*/ 276009 w 333005"/>
              <a:gd name="connsiteY5" fmla="*/ 513161 h 1459915"/>
              <a:gd name="connsiteX6" fmla="*/ 182221 w 333005"/>
              <a:gd name="connsiteY6" fmla="*/ 54655 h 1459915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39256 w 333005"/>
              <a:gd name="connsiteY1" fmla="*/ 801009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82221 w 333005"/>
              <a:gd name="connsiteY0" fmla="*/ 14573 h 1419832"/>
              <a:gd name="connsiteX1" fmla="*/ 26103 w 333005"/>
              <a:gd name="connsiteY1" fmla="*/ 801013 h 1419832"/>
              <a:gd name="connsiteX2" fmla="*/ 39256 w 333005"/>
              <a:gd name="connsiteY2" fmla="*/ 1325645 h 1419832"/>
              <a:gd name="connsiteX3" fmla="*/ 170785 w 333005"/>
              <a:gd name="connsiteY3" fmla="*/ 1413086 h 1419832"/>
              <a:gd name="connsiteX4" fmla="*/ 315468 w 333005"/>
              <a:gd name="connsiteY4" fmla="*/ 1325645 h 1419832"/>
              <a:gd name="connsiteX5" fmla="*/ 315468 w 333005"/>
              <a:gd name="connsiteY5" fmla="*/ 713573 h 1419832"/>
              <a:gd name="connsiteX6" fmla="*/ 182221 w 333005"/>
              <a:gd name="connsiteY6" fmla="*/ 14573 h 1419832"/>
              <a:gd name="connsiteX0" fmla="*/ 161121 w 311905"/>
              <a:gd name="connsiteY0" fmla="*/ 14573 h 1419832"/>
              <a:gd name="connsiteX1" fmla="*/ 5003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2"/>
              <a:gd name="connsiteX1" fmla="*/ 18156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2"/>
              <a:gd name="connsiteX1" fmla="*/ 18156 w 311905"/>
              <a:gd name="connsiteY1" fmla="*/ 801013 h 1419832"/>
              <a:gd name="connsiteX2" fmla="*/ 18156 w 311905"/>
              <a:gd name="connsiteY2" fmla="*/ 1325645 h 1419832"/>
              <a:gd name="connsiteX3" fmla="*/ 149685 w 311905"/>
              <a:gd name="connsiteY3" fmla="*/ 1413086 h 1419832"/>
              <a:gd name="connsiteX4" fmla="*/ 294368 w 311905"/>
              <a:gd name="connsiteY4" fmla="*/ 1325645 h 1419832"/>
              <a:gd name="connsiteX5" fmla="*/ 294368 w 311905"/>
              <a:gd name="connsiteY5" fmla="*/ 713573 h 1419832"/>
              <a:gd name="connsiteX6" fmla="*/ 161121 w 311905"/>
              <a:gd name="connsiteY6" fmla="*/ 14573 h 1419832"/>
              <a:gd name="connsiteX0" fmla="*/ 161121 w 311905"/>
              <a:gd name="connsiteY0" fmla="*/ 14573 h 1419833"/>
              <a:gd name="connsiteX1" fmla="*/ 18156 w 311905"/>
              <a:gd name="connsiteY1" fmla="*/ 801013 h 1419833"/>
              <a:gd name="connsiteX2" fmla="*/ 18156 w 311905"/>
              <a:gd name="connsiteY2" fmla="*/ 1325645 h 1419833"/>
              <a:gd name="connsiteX3" fmla="*/ 149685 w 311905"/>
              <a:gd name="connsiteY3" fmla="*/ 1413087 h 1419833"/>
              <a:gd name="connsiteX4" fmla="*/ 294368 w 311905"/>
              <a:gd name="connsiteY4" fmla="*/ 1325645 h 1419833"/>
              <a:gd name="connsiteX5" fmla="*/ 294368 w 311905"/>
              <a:gd name="connsiteY5" fmla="*/ 713573 h 1419833"/>
              <a:gd name="connsiteX6" fmla="*/ 161121 w 311905"/>
              <a:gd name="connsiteY6" fmla="*/ 14573 h 1419833"/>
              <a:gd name="connsiteX0" fmla="*/ 161121 w 311905"/>
              <a:gd name="connsiteY0" fmla="*/ 14573 h 1413088"/>
              <a:gd name="connsiteX1" fmla="*/ 18156 w 311905"/>
              <a:gd name="connsiteY1" fmla="*/ 801013 h 1413088"/>
              <a:gd name="connsiteX2" fmla="*/ 18156 w 311905"/>
              <a:gd name="connsiteY2" fmla="*/ 1325645 h 1413088"/>
              <a:gd name="connsiteX3" fmla="*/ 149685 w 311905"/>
              <a:gd name="connsiteY3" fmla="*/ 1413087 h 1413088"/>
              <a:gd name="connsiteX4" fmla="*/ 294368 w 311905"/>
              <a:gd name="connsiteY4" fmla="*/ 1325645 h 1413088"/>
              <a:gd name="connsiteX5" fmla="*/ 294368 w 311905"/>
              <a:gd name="connsiteY5" fmla="*/ 713573 h 1413088"/>
              <a:gd name="connsiteX6" fmla="*/ 161121 w 311905"/>
              <a:gd name="connsiteY6" fmla="*/ 14573 h 1413088"/>
              <a:gd name="connsiteX0" fmla="*/ 161121 w 311905"/>
              <a:gd name="connsiteY0" fmla="*/ 14573 h 1413087"/>
              <a:gd name="connsiteX1" fmla="*/ 18156 w 311905"/>
              <a:gd name="connsiteY1" fmla="*/ 801013 h 1413087"/>
              <a:gd name="connsiteX2" fmla="*/ 18156 w 311905"/>
              <a:gd name="connsiteY2" fmla="*/ 1325645 h 1413087"/>
              <a:gd name="connsiteX3" fmla="*/ 149685 w 311905"/>
              <a:gd name="connsiteY3" fmla="*/ 1413087 h 1413087"/>
              <a:gd name="connsiteX4" fmla="*/ 294368 w 311905"/>
              <a:gd name="connsiteY4" fmla="*/ 1325645 h 1413087"/>
              <a:gd name="connsiteX5" fmla="*/ 294368 w 311905"/>
              <a:gd name="connsiteY5" fmla="*/ 713573 h 1413087"/>
              <a:gd name="connsiteX6" fmla="*/ 161121 w 311905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14573 h 1413087"/>
              <a:gd name="connsiteX1" fmla="*/ 10697 w 304446"/>
              <a:gd name="connsiteY1" fmla="*/ 801013 h 1413087"/>
              <a:gd name="connsiteX2" fmla="*/ 10697 w 304446"/>
              <a:gd name="connsiteY2" fmla="*/ 1325645 h 1413087"/>
              <a:gd name="connsiteX3" fmla="*/ 142226 w 304446"/>
              <a:gd name="connsiteY3" fmla="*/ 1413087 h 1413087"/>
              <a:gd name="connsiteX4" fmla="*/ 286909 w 304446"/>
              <a:gd name="connsiteY4" fmla="*/ 1325645 h 1413087"/>
              <a:gd name="connsiteX5" fmla="*/ 286909 w 304446"/>
              <a:gd name="connsiteY5" fmla="*/ 713573 h 1413087"/>
              <a:gd name="connsiteX6" fmla="*/ 153662 w 304446"/>
              <a:gd name="connsiteY6" fmla="*/ 14573 h 1413087"/>
              <a:gd name="connsiteX0" fmla="*/ 153662 w 304446"/>
              <a:gd name="connsiteY0" fmla="*/ 0 h 1398514"/>
              <a:gd name="connsiteX1" fmla="*/ 10697 w 304446"/>
              <a:gd name="connsiteY1" fmla="*/ 786440 h 1398514"/>
              <a:gd name="connsiteX2" fmla="*/ 10697 w 304446"/>
              <a:gd name="connsiteY2" fmla="*/ 1311072 h 1398514"/>
              <a:gd name="connsiteX3" fmla="*/ 142226 w 304446"/>
              <a:gd name="connsiteY3" fmla="*/ 1398514 h 1398514"/>
              <a:gd name="connsiteX4" fmla="*/ 286909 w 304446"/>
              <a:gd name="connsiteY4" fmla="*/ 1311072 h 1398514"/>
              <a:gd name="connsiteX5" fmla="*/ 286909 w 304446"/>
              <a:gd name="connsiteY5" fmla="*/ 699000 h 1398514"/>
              <a:gd name="connsiteX6" fmla="*/ 153662 w 304446"/>
              <a:gd name="connsiteY6" fmla="*/ 0 h 1398514"/>
              <a:gd name="connsiteX0" fmla="*/ 146370 w 290016"/>
              <a:gd name="connsiteY0" fmla="*/ 0 h 1398514"/>
              <a:gd name="connsiteX1" fmla="*/ 13642 w 290016"/>
              <a:gd name="connsiteY1" fmla="*/ 661663 h 1398514"/>
              <a:gd name="connsiteX2" fmla="*/ 3405 w 290016"/>
              <a:gd name="connsiteY2" fmla="*/ 1311072 h 1398514"/>
              <a:gd name="connsiteX3" fmla="*/ 134934 w 290016"/>
              <a:gd name="connsiteY3" fmla="*/ 1398514 h 1398514"/>
              <a:gd name="connsiteX4" fmla="*/ 279617 w 290016"/>
              <a:gd name="connsiteY4" fmla="*/ 1311072 h 1398514"/>
              <a:gd name="connsiteX5" fmla="*/ 279617 w 290016"/>
              <a:gd name="connsiteY5" fmla="*/ 699000 h 1398514"/>
              <a:gd name="connsiteX6" fmla="*/ 146370 w 290016"/>
              <a:gd name="connsiteY6" fmla="*/ 0 h 1398514"/>
              <a:gd name="connsiteX0" fmla="*/ 146370 w 290016"/>
              <a:gd name="connsiteY0" fmla="*/ 0 h 1398514"/>
              <a:gd name="connsiteX1" fmla="*/ 13642 w 290016"/>
              <a:gd name="connsiteY1" fmla="*/ 661663 h 1398514"/>
              <a:gd name="connsiteX2" fmla="*/ 3405 w 290016"/>
              <a:gd name="connsiteY2" fmla="*/ 1311072 h 1398514"/>
              <a:gd name="connsiteX3" fmla="*/ 134934 w 290016"/>
              <a:gd name="connsiteY3" fmla="*/ 1398514 h 1398514"/>
              <a:gd name="connsiteX4" fmla="*/ 279617 w 290016"/>
              <a:gd name="connsiteY4" fmla="*/ 1311072 h 1398514"/>
              <a:gd name="connsiteX5" fmla="*/ 279617 w 290016"/>
              <a:gd name="connsiteY5" fmla="*/ 699000 h 1398514"/>
              <a:gd name="connsiteX6" fmla="*/ 146370 w 290016"/>
              <a:gd name="connsiteY6" fmla="*/ 0 h 1398514"/>
              <a:gd name="connsiteX0" fmla="*/ 146370 w 284802"/>
              <a:gd name="connsiteY0" fmla="*/ 0 h 1398514"/>
              <a:gd name="connsiteX1" fmla="*/ 13642 w 284802"/>
              <a:gd name="connsiteY1" fmla="*/ 661663 h 1398514"/>
              <a:gd name="connsiteX2" fmla="*/ 3405 w 284802"/>
              <a:gd name="connsiteY2" fmla="*/ 1311072 h 1398514"/>
              <a:gd name="connsiteX3" fmla="*/ 134934 w 284802"/>
              <a:gd name="connsiteY3" fmla="*/ 1398514 h 1398514"/>
              <a:gd name="connsiteX4" fmla="*/ 279617 w 284802"/>
              <a:gd name="connsiteY4" fmla="*/ 1311072 h 1398514"/>
              <a:gd name="connsiteX5" fmla="*/ 255732 w 284802"/>
              <a:gd name="connsiteY5" fmla="*/ 558627 h 1398514"/>
              <a:gd name="connsiteX6" fmla="*/ 146370 w 284802"/>
              <a:gd name="connsiteY6" fmla="*/ 0 h 1398514"/>
              <a:gd name="connsiteX0" fmla="*/ 146370 w 285606"/>
              <a:gd name="connsiteY0" fmla="*/ 0 h 1398514"/>
              <a:gd name="connsiteX1" fmla="*/ 13642 w 285606"/>
              <a:gd name="connsiteY1" fmla="*/ 661663 h 1398514"/>
              <a:gd name="connsiteX2" fmla="*/ 3405 w 285606"/>
              <a:gd name="connsiteY2" fmla="*/ 1311072 h 1398514"/>
              <a:gd name="connsiteX3" fmla="*/ 134934 w 285606"/>
              <a:gd name="connsiteY3" fmla="*/ 1398514 h 1398514"/>
              <a:gd name="connsiteX4" fmla="*/ 279617 w 285606"/>
              <a:gd name="connsiteY4" fmla="*/ 1311072 h 1398514"/>
              <a:gd name="connsiteX5" fmla="*/ 255732 w 285606"/>
              <a:gd name="connsiteY5" fmla="*/ 558627 h 1398514"/>
              <a:gd name="connsiteX6" fmla="*/ 146370 w 285606"/>
              <a:gd name="connsiteY6" fmla="*/ 0 h 1398514"/>
              <a:gd name="connsiteX0" fmla="*/ 146370 w 284056"/>
              <a:gd name="connsiteY0" fmla="*/ 0 h 1398514"/>
              <a:gd name="connsiteX1" fmla="*/ 13642 w 284056"/>
              <a:gd name="connsiteY1" fmla="*/ 661663 h 1398514"/>
              <a:gd name="connsiteX2" fmla="*/ 3405 w 284056"/>
              <a:gd name="connsiteY2" fmla="*/ 1311072 h 1398514"/>
              <a:gd name="connsiteX3" fmla="*/ 134934 w 284056"/>
              <a:gd name="connsiteY3" fmla="*/ 1398514 h 1398514"/>
              <a:gd name="connsiteX4" fmla="*/ 279617 w 284056"/>
              <a:gd name="connsiteY4" fmla="*/ 1311072 h 1398514"/>
              <a:gd name="connsiteX5" fmla="*/ 255732 w 284056"/>
              <a:gd name="connsiteY5" fmla="*/ 558627 h 1398514"/>
              <a:gd name="connsiteX6" fmla="*/ 146370 w 284056"/>
              <a:gd name="connsiteY6" fmla="*/ 0 h 1398514"/>
              <a:gd name="connsiteX0" fmla="*/ 146370 w 284056"/>
              <a:gd name="connsiteY0" fmla="*/ 0 h 1398514"/>
              <a:gd name="connsiteX1" fmla="*/ 13642 w 284056"/>
              <a:gd name="connsiteY1" fmla="*/ 661663 h 1398514"/>
              <a:gd name="connsiteX2" fmla="*/ 3405 w 284056"/>
              <a:gd name="connsiteY2" fmla="*/ 1311072 h 1398514"/>
              <a:gd name="connsiteX3" fmla="*/ 134934 w 284056"/>
              <a:gd name="connsiteY3" fmla="*/ 1398514 h 1398514"/>
              <a:gd name="connsiteX4" fmla="*/ 279617 w 284056"/>
              <a:gd name="connsiteY4" fmla="*/ 1311072 h 1398514"/>
              <a:gd name="connsiteX5" fmla="*/ 255732 w 284056"/>
              <a:gd name="connsiteY5" fmla="*/ 558627 h 1398514"/>
              <a:gd name="connsiteX6" fmla="*/ 146370 w 284056"/>
              <a:gd name="connsiteY6" fmla="*/ 0 h 1398514"/>
              <a:gd name="connsiteX0" fmla="*/ 153333 w 291019"/>
              <a:gd name="connsiteY0" fmla="*/ 0 h 1398514"/>
              <a:gd name="connsiteX1" fmla="*/ 20605 w 291019"/>
              <a:gd name="connsiteY1" fmla="*/ 661663 h 1398514"/>
              <a:gd name="connsiteX2" fmla="*/ 10368 w 291019"/>
              <a:gd name="connsiteY2" fmla="*/ 1311072 h 1398514"/>
              <a:gd name="connsiteX3" fmla="*/ 141897 w 291019"/>
              <a:gd name="connsiteY3" fmla="*/ 1398514 h 1398514"/>
              <a:gd name="connsiteX4" fmla="*/ 286580 w 291019"/>
              <a:gd name="connsiteY4" fmla="*/ 1311072 h 1398514"/>
              <a:gd name="connsiteX5" fmla="*/ 262695 w 291019"/>
              <a:gd name="connsiteY5" fmla="*/ 558627 h 1398514"/>
              <a:gd name="connsiteX6" fmla="*/ 153333 w 291019"/>
              <a:gd name="connsiteY6" fmla="*/ 0 h 1398514"/>
              <a:gd name="connsiteX0" fmla="*/ 149263 w 286949"/>
              <a:gd name="connsiteY0" fmla="*/ 0 h 1398514"/>
              <a:gd name="connsiteX1" fmla="*/ 26772 w 286949"/>
              <a:gd name="connsiteY1" fmla="*/ 614872 h 1398514"/>
              <a:gd name="connsiteX2" fmla="*/ 6298 w 286949"/>
              <a:gd name="connsiteY2" fmla="*/ 1311072 h 1398514"/>
              <a:gd name="connsiteX3" fmla="*/ 137827 w 286949"/>
              <a:gd name="connsiteY3" fmla="*/ 1398514 h 1398514"/>
              <a:gd name="connsiteX4" fmla="*/ 282510 w 286949"/>
              <a:gd name="connsiteY4" fmla="*/ 1311072 h 1398514"/>
              <a:gd name="connsiteX5" fmla="*/ 258625 w 286949"/>
              <a:gd name="connsiteY5" fmla="*/ 558627 h 1398514"/>
              <a:gd name="connsiteX6" fmla="*/ 149263 w 286949"/>
              <a:gd name="connsiteY6" fmla="*/ 0 h 1398514"/>
              <a:gd name="connsiteX0" fmla="*/ 142965 w 280651"/>
              <a:gd name="connsiteY0" fmla="*/ 0 h 1398514"/>
              <a:gd name="connsiteX1" fmla="*/ 0 w 280651"/>
              <a:gd name="connsiteY1" fmla="*/ 1311072 h 1398514"/>
              <a:gd name="connsiteX2" fmla="*/ 131529 w 280651"/>
              <a:gd name="connsiteY2" fmla="*/ 1398514 h 1398514"/>
              <a:gd name="connsiteX3" fmla="*/ 276212 w 280651"/>
              <a:gd name="connsiteY3" fmla="*/ 1311072 h 1398514"/>
              <a:gd name="connsiteX4" fmla="*/ 252327 w 280651"/>
              <a:gd name="connsiteY4" fmla="*/ 558627 h 1398514"/>
              <a:gd name="connsiteX5" fmla="*/ 142965 w 280651"/>
              <a:gd name="connsiteY5" fmla="*/ 0 h 1398514"/>
              <a:gd name="connsiteX0" fmla="*/ 142965 w 276242"/>
              <a:gd name="connsiteY0" fmla="*/ 0 h 1398514"/>
              <a:gd name="connsiteX1" fmla="*/ 0 w 276242"/>
              <a:gd name="connsiteY1" fmla="*/ 1311072 h 1398514"/>
              <a:gd name="connsiteX2" fmla="*/ 131529 w 276242"/>
              <a:gd name="connsiteY2" fmla="*/ 1398514 h 1398514"/>
              <a:gd name="connsiteX3" fmla="*/ 276212 w 276242"/>
              <a:gd name="connsiteY3" fmla="*/ 1311072 h 1398514"/>
              <a:gd name="connsiteX4" fmla="*/ 142965 w 276242"/>
              <a:gd name="connsiteY4" fmla="*/ 0 h 1398514"/>
              <a:gd name="connsiteX0" fmla="*/ 142965 w 276242"/>
              <a:gd name="connsiteY0" fmla="*/ 0 h 1398514"/>
              <a:gd name="connsiteX1" fmla="*/ 0 w 276242"/>
              <a:gd name="connsiteY1" fmla="*/ 1311072 h 1398514"/>
              <a:gd name="connsiteX2" fmla="*/ 131529 w 276242"/>
              <a:gd name="connsiteY2" fmla="*/ 1398514 h 1398514"/>
              <a:gd name="connsiteX3" fmla="*/ 276212 w 276242"/>
              <a:gd name="connsiteY3" fmla="*/ 1311072 h 1398514"/>
              <a:gd name="connsiteX4" fmla="*/ 142965 w 276242"/>
              <a:gd name="connsiteY4" fmla="*/ 0 h 1398514"/>
              <a:gd name="connsiteX0" fmla="*/ 142965 w 278456"/>
              <a:gd name="connsiteY0" fmla="*/ 0 h 1398514"/>
              <a:gd name="connsiteX1" fmla="*/ 0 w 278456"/>
              <a:gd name="connsiteY1" fmla="*/ 1311072 h 1398514"/>
              <a:gd name="connsiteX2" fmla="*/ 131529 w 278456"/>
              <a:gd name="connsiteY2" fmla="*/ 1398514 h 1398514"/>
              <a:gd name="connsiteX3" fmla="*/ 276212 w 278456"/>
              <a:gd name="connsiteY3" fmla="*/ 1311072 h 1398514"/>
              <a:gd name="connsiteX4" fmla="*/ 142965 w 278456"/>
              <a:gd name="connsiteY4" fmla="*/ 0 h 1398514"/>
              <a:gd name="connsiteX0" fmla="*/ 142965 w 276212"/>
              <a:gd name="connsiteY0" fmla="*/ 0 h 1398514"/>
              <a:gd name="connsiteX1" fmla="*/ 0 w 276212"/>
              <a:gd name="connsiteY1" fmla="*/ 1311072 h 1398514"/>
              <a:gd name="connsiteX2" fmla="*/ 131529 w 276212"/>
              <a:gd name="connsiteY2" fmla="*/ 1398514 h 1398514"/>
              <a:gd name="connsiteX3" fmla="*/ 276212 w 276212"/>
              <a:gd name="connsiteY3" fmla="*/ 1311072 h 1398514"/>
              <a:gd name="connsiteX4" fmla="*/ 142965 w 276212"/>
              <a:gd name="connsiteY4" fmla="*/ 0 h 1398514"/>
              <a:gd name="connsiteX0" fmla="*/ 142965 w 276212"/>
              <a:gd name="connsiteY0" fmla="*/ 0 h 1398514"/>
              <a:gd name="connsiteX1" fmla="*/ 0 w 276212"/>
              <a:gd name="connsiteY1" fmla="*/ 1311072 h 1398514"/>
              <a:gd name="connsiteX2" fmla="*/ 131529 w 276212"/>
              <a:gd name="connsiteY2" fmla="*/ 1398514 h 1398514"/>
              <a:gd name="connsiteX3" fmla="*/ 276212 w 276212"/>
              <a:gd name="connsiteY3" fmla="*/ 1311072 h 1398514"/>
              <a:gd name="connsiteX4" fmla="*/ 142965 w 276212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398514"/>
              <a:gd name="connsiteX1" fmla="*/ 0 w 283036"/>
              <a:gd name="connsiteY1" fmla="*/ 1311072 h 1398514"/>
              <a:gd name="connsiteX2" fmla="*/ 131529 w 283036"/>
              <a:gd name="connsiteY2" fmla="*/ 1398514 h 1398514"/>
              <a:gd name="connsiteX3" fmla="*/ 283036 w 283036"/>
              <a:gd name="connsiteY3" fmla="*/ 1248683 h 1398514"/>
              <a:gd name="connsiteX4" fmla="*/ 142965 w 283036"/>
              <a:gd name="connsiteY4" fmla="*/ 0 h 1398514"/>
              <a:gd name="connsiteX0" fmla="*/ 142965 w 283036"/>
              <a:gd name="connsiteY0" fmla="*/ 0 h 1442709"/>
              <a:gd name="connsiteX1" fmla="*/ 0 w 283036"/>
              <a:gd name="connsiteY1" fmla="*/ 1311072 h 1442709"/>
              <a:gd name="connsiteX2" fmla="*/ 283036 w 283036"/>
              <a:gd name="connsiteY2" fmla="*/ 1248683 h 1442709"/>
              <a:gd name="connsiteX3" fmla="*/ 142965 w 283036"/>
              <a:gd name="connsiteY3" fmla="*/ 0 h 1442709"/>
              <a:gd name="connsiteX0" fmla="*/ 142965 w 283036"/>
              <a:gd name="connsiteY0" fmla="*/ 0 h 1393103"/>
              <a:gd name="connsiteX1" fmla="*/ 0 w 283036"/>
              <a:gd name="connsiteY1" fmla="*/ 1311072 h 1393103"/>
              <a:gd name="connsiteX2" fmla="*/ 283036 w 283036"/>
              <a:gd name="connsiteY2" fmla="*/ 1248683 h 1393103"/>
              <a:gd name="connsiteX3" fmla="*/ 142965 w 283036"/>
              <a:gd name="connsiteY3" fmla="*/ 0 h 1393103"/>
              <a:gd name="connsiteX0" fmla="*/ 142965 w 283036"/>
              <a:gd name="connsiteY0" fmla="*/ 0 h 1376017"/>
              <a:gd name="connsiteX1" fmla="*/ 0 w 283036"/>
              <a:gd name="connsiteY1" fmla="*/ 1311072 h 1376017"/>
              <a:gd name="connsiteX2" fmla="*/ 283036 w 283036"/>
              <a:gd name="connsiteY2" fmla="*/ 1248683 h 1376017"/>
              <a:gd name="connsiteX3" fmla="*/ 142965 w 283036"/>
              <a:gd name="connsiteY3" fmla="*/ 0 h 1376017"/>
              <a:gd name="connsiteX0" fmla="*/ 142965 w 283036"/>
              <a:gd name="connsiteY0" fmla="*/ 0 h 1361092"/>
              <a:gd name="connsiteX1" fmla="*/ 0 w 283036"/>
              <a:gd name="connsiteY1" fmla="*/ 1311072 h 1361092"/>
              <a:gd name="connsiteX2" fmla="*/ 283036 w 283036"/>
              <a:gd name="connsiteY2" fmla="*/ 1248683 h 1361092"/>
              <a:gd name="connsiteX3" fmla="*/ 142965 w 283036"/>
              <a:gd name="connsiteY3" fmla="*/ 0 h 1361092"/>
              <a:gd name="connsiteX0" fmla="*/ 142965 w 283036"/>
              <a:gd name="connsiteY0" fmla="*/ 0 h 1361092"/>
              <a:gd name="connsiteX1" fmla="*/ 0 w 283036"/>
              <a:gd name="connsiteY1" fmla="*/ 1311072 h 1361092"/>
              <a:gd name="connsiteX2" fmla="*/ 283036 w 283036"/>
              <a:gd name="connsiteY2" fmla="*/ 1248683 h 1361092"/>
              <a:gd name="connsiteX3" fmla="*/ 142965 w 283036"/>
              <a:gd name="connsiteY3" fmla="*/ 0 h 1361092"/>
              <a:gd name="connsiteX0" fmla="*/ 142965 w 283036"/>
              <a:gd name="connsiteY0" fmla="*/ 0 h 1347861"/>
              <a:gd name="connsiteX1" fmla="*/ 0 w 283036"/>
              <a:gd name="connsiteY1" fmla="*/ 1311072 h 1347861"/>
              <a:gd name="connsiteX2" fmla="*/ 283036 w 283036"/>
              <a:gd name="connsiteY2" fmla="*/ 1201891 h 1347861"/>
              <a:gd name="connsiteX3" fmla="*/ 142965 w 283036"/>
              <a:gd name="connsiteY3" fmla="*/ 0 h 1347861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01110 h 1394410"/>
              <a:gd name="connsiteX3" fmla="*/ 142965 w 293749"/>
              <a:gd name="connsiteY3" fmla="*/ 0 h 1394410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01108 h 1394410"/>
              <a:gd name="connsiteX3" fmla="*/ 142965 w 293749"/>
              <a:gd name="connsiteY3" fmla="*/ 0 h 1394410"/>
              <a:gd name="connsiteX0" fmla="*/ 142965 w 293749"/>
              <a:gd name="connsiteY0" fmla="*/ 0 h 1394410"/>
              <a:gd name="connsiteX1" fmla="*/ 0 w 293749"/>
              <a:gd name="connsiteY1" fmla="*/ 1311072 h 1394410"/>
              <a:gd name="connsiteX2" fmla="*/ 293749 w 293749"/>
              <a:gd name="connsiteY2" fmla="*/ 1264363 h 1394410"/>
              <a:gd name="connsiteX3" fmla="*/ 142965 w 293749"/>
              <a:gd name="connsiteY3" fmla="*/ 0 h 1394410"/>
              <a:gd name="connsiteX0" fmla="*/ 139822 w 290606"/>
              <a:gd name="connsiteY0" fmla="*/ 0 h 1410956"/>
              <a:gd name="connsiteX1" fmla="*/ 0 w 290606"/>
              <a:gd name="connsiteY1" fmla="*/ 1327618 h 1410956"/>
              <a:gd name="connsiteX2" fmla="*/ 290606 w 290606"/>
              <a:gd name="connsiteY2" fmla="*/ 1264363 h 1410956"/>
              <a:gd name="connsiteX3" fmla="*/ 139822 w 290606"/>
              <a:gd name="connsiteY3" fmla="*/ 0 h 1410956"/>
              <a:gd name="connsiteX0" fmla="*/ 138383 w 290606"/>
              <a:gd name="connsiteY0" fmla="*/ 0 h 1411696"/>
              <a:gd name="connsiteX1" fmla="*/ 0 w 290606"/>
              <a:gd name="connsiteY1" fmla="*/ 1328358 h 1411696"/>
              <a:gd name="connsiteX2" fmla="*/ 290606 w 290606"/>
              <a:gd name="connsiteY2" fmla="*/ 1265103 h 1411696"/>
              <a:gd name="connsiteX3" fmla="*/ 138383 w 290606"/>
              <a:gd name="connsiteY3" fmla="*/ 0 h 1411696"/>
              <a:gd name="connsiteX0" fmla="*/ 138384 w 290607"/>
              <a:gd name="connsiteY0" fmla="*/ 0 h 1390032"/>
              <a:gd name="connsiteX1" fmla="*/ 0 w 290607"/>
              <a:gd name="connsiteY1" fmla="*/ 1265104 h 1390032"/>
              <a:gd name="connsiteX2" fmla="*/ 290607 w 290607"/>
              <a:gd name="connsiteY2" fmla="*/ 1265103 h 1390032"/>
              <a:gd name="connsiteX3" fmla="*/ 138384 w 290607"/>
              <a:gd name="connsiteY3" fmla="*/ 0 h 1390032"/>
              <a:gd name="connsiteX0" fmla="*/ 138383 w 290606"/>
              <a:gd name="connsiteY0" fmla="*/ 0 h 1390032"/>
              <a:gd name="connsiteX1" fmla="*/ 0 w 290606"/>
              <a:gd name="connsiteY1" fmla="*/ 1265105 h 1390032"/>
              <a:gd name="connsiteX2" fmla="*/ 290606 w 290606"/>
              <a:gd name="connsiteY2" fmla="*/ 1265103 h 1390032"/>
              <a:gd name="connsiteX3" fmla="*/ 138383 w 290606"/>
              <a:gd name="connsiteY3" fmla="*/ 0 h 1390032"/>
              <a:gd name="connsiteX0" fmla="*/ 138383 w 290606"/>
              <a:gd name="connsiteY0" fmla="*/ 0 h 1390032"/>
              <a:gd name="connsiteX1" fmla="*/ 0 w 290606"/>
              <a:gd name="connsiteY1" fmla="*/ 1265105 h 1390032"/>
              <a:gd name="connsiteX2" fmla="*/ 290606 w 290606"/>
              <a:gd name="connsiteY2" fmla="*/ 1265103 h 1390032"/>
              <a:gd name="connsiteX3" fmla="*/ 138383 w 290606"/>
              <a:gd name="connsiteY3" fmla="*/ 0 h 139003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2"/>
              <a:gd name="connsiteX1" fmla="*/ 0 w 290606"/>
              <a:gd name="connsiteY1" fmla="*/ 1265103 h 1420542"/>
              <a:gd name="connsiteX2" fmla="*/ 290606 w 290606"/>
              <a:gd name="connsiteY2" fmla="*/ 1265101 h 1420542"/>
              <a:gd name="connsiteX3" fmla="*/ 138383 w 290606"/>
              <a:gd name="connsiteY3" fmla="*/ 0 h 142054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2"/>
              <a:gd name="connsiteX1" fmla="*/ 0 w 290606"/>
              <a:gd name="connsiteY1" fmla="*/ 1265103 h 1420542"/>
              <a:gd name="connsiteX2" fmla="*/ 290606 w 290606"/>
              <a:gd name="connsiteY2" fmla="*/ 1265101 h 1420542"/>
              <a:gd name="connsiteX3" fmla="*/ 138383 w 290606"/>
              <a:gd name="connsiteY3" fmla="*/ 0 h 1420542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3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01850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  <a:gd name="connsiteX0" fmla="*/ 138383 w 290606"/>
              <a:gd name="connsiteY0" fmla="*/ 0 h 1420544"/>
              <a:gd name="connsiteX1" fmla="*/ 0 w 290606"/>
              <a:gd name="connsiteY1" fmla="*/ 1265105 h 1420544"/>
              <a:gd name="connsiteX2" fmla="*/ 290606 w 290606"/>
              <a:gd name="connsiteY2" fmla="*/ 1265105 h 1420544"/>
              <a:gd name="connsiteX3" fmla="*/ 138383 w 290606"/>
              <a:gd name="connsiteY3" fmla="*/ 0 h 1420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0606" h="1420544">
                <a:moveTo>
                  <a:pt x="138383" y="0"/>
                </a:moveTo>
                <a:cubicBezTo>
                  <a:pt x="61796" y="331115"/>
                  <a:pt x="13493" y="526936"/>
                  <a:pt x="0" y="1265105"/>
                </a:cubicBezTo>
                <a:cubicBezTo>
                  <a:pt x="65009" y="1420544"/>
                  <a:pt x="215596" y="1390034"/>
                  <a:pt x="290606" y="1265105"/>
                </a:cubicBezTo>
                <a:cubicBezTo>
                  <a:pt x="278863" y="704481"/>
                  <a:pt x="236783" y="275966"/>
                  <a:pt x="138383" y="0"/>
                </a:cubicBezTo>
                <a:close/>
              </a:path>
            </a:pathLst>
          </a:custGeom>
          <a:solidFill>
            <a:schemeClr val="accent1">
              <a:alpha val="55294"/>
            </a:schemeClr>
          </a:solidFill>
          <a:ln w="19050" cap="flat" cmpd="sng" algn="ctr">
            <a:noFill/>
            <a:prstDash val="dash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Овал 16">
            <a:extLst>
              <a:ext uri="{FF2B5EF4-FFF2-40B4-BE49-F238E27FC236}">
                <a16:creationId xmlns:a16="http://schemas.microsoft.com/office/drawing/2014/main" id="{76465414-0F8A-3AE9-859E-1A7AAEA65EFF}"/>
              </a:ext>
            </a:extLst>
          </p:cNvPr>
          <p:cNvSpPr/>
          <p:nvPr/>
        </p:nvSpPr>
        <p:spPr>
          <a:xfrm>
            <a:off x="2748671" y="1965883"/>
            <a:ext cx="1988586" cy="2010108"/>
          </a:xfrm>
          <a:prstGeom prst="ellipse">
            <a:avLst/>
          </a:prstGeom>
          <a:solidFill>
            <a:srgbClr val="FFFFFF">
              <a:alpha val="61000"/>
            </a:srgbClr>
          </a:solidFill>
          <a:ln w="57150" cap="flat" cmpd="sng" algn="ctr">
            <a:solidFill>
              <a:srgbClr val="124C88"/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Овал 18">
            <a:extLst>
              <a:ext uri="{FF2B5EF4-FFF2-40B4-BE49-F238E27FC236}">
                <a16:creationId xmlns:a16="http://schemas.microsoft.com/office/drawing/2014/main" id="{963EF081-599F-EDE4-6215-A54E08C1E397}"/>
              </a:ext>
            </a:extLst>
          </p:cNvPr>
          <p:cNvSpPr/>
          <p:nvPr/>
        </p:nvSpPr>
        <p:spPr>
          <a:xfrm>
            <a:off x="1974630" y="3256877"/>
            <a:ext cx="1988586" cy="2010108"/>
          </a:xfrm>
          <a:prstGeom prst="ellipse">
            <a:avLst/>
          </a:prstGeom>
          <a:noFill/>
          <a:ln w="57150" cap="flat" cmpd="sng" algn="ctr">
            <a:solidFill>
              <a:srgbClr val="28BE46"/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Овал 19">
            <a:extLst>
              <a:ext uri="{FF2B5EF4-FFF2-40B4-BE49-F238E27FC236}">
                <a16:creationId xmlns:a16="http://schemas.microsoft.com/office/drawing/2014/main" id="{CC5AE57D-598E-799A-B89F-E7EC47F03C71}"/>
              </a:ext>
            </a:extLst>
          </p:cNvPr>
          <p:cNvSpPr/>
          <p:nvPr/>
        </p:nvSpPr>
        <p:spPr>
          <a:xfrm>
            <a:off x="3504300" y="3256877"/>
            <a:ext cx="1988586" cy="2010108"/>
          </a:xfrm>
          <a:prstGeom prst="ellipse">
            <a:avLst/>
          </a:prstGeom>
          <a:noFill/>
          <a:ln w="5715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wrap="squar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28">
            <a:extLst>
              <a:ext uri="{FF2B5EF4-FFF2-40B4-BE49-F238E27FC236}">
                <a16:creationId xmlns:a16="http://schemas.microsoft.com/office/drawing/2014/main" id="{95602B2C-4E64-DB4B-BB9E-0DFE431944AF}"/>
              </a:ext>
            </a:extLst>
          </p:cNvPr>
          <p:cNvSpPr/>
          <p:nvPr/>
        </p:nvSpPr>
        <p:spPr>
          <a:xfrm>
            <a:off x="3963216" y="4105951"/>
            <a:ext cx="1944242" cy="238672"/>
          </a:xfrm>
          <a:prstGeom prst="rect">
            <a:avLst/>
          </a:prstGeom>
          <a:noFill/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4" name="Прямоугольник 30">
            <a:extLst>
              <a:ext uri="{FF2B5EF4-FFF2-40B4-BE49-F238E27FC236}">
                <a16:creationId xmlns:a16="http://schemas.microsoft.com/office/drawing/2014/main" id="{C3918471-EDFC-9C69-0B39-8CC2D9687EDC}"/>
              </a:ext>
            </a:extLst>
          </p:cNvPr>
          <p:cNvSpPr/>
          <p:nvPr/>
        </p:nvSpPr>
        <p:spPr>
          <a:xfrm>
            <a:off x="1658055" y="4105951"/>
            <a:ext cx="1737098" cy="238672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" name="Прямоугольник 31">
            <a:extLst>
              <a:ext uri="{FF2B5EF4-FFF2-40B4-BE49-F238E27FC236}">
                <a16:creationId xmlns:a16="http://schemas.microsoft.com/office/drawing/2014/main" id="{4F85C479-5658-A714-C943-0B5A8EB133D6}"/>
              </a:ext>
            </a:extLst>
          </p:cNvPr>
          <p:cNvSpPr/>
          <p:nvPr/>
        </p:nvSpPr>
        <p:spPr>
          <a:xfrm>
            <a:off x="2968647" y="2845779"/>
            <a:ext cx="1601783" cy="238672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6" name="Прямая соединительная линия 32">
            <a:extLst>
              <a:ext uri="{FF2B5EF4-FFF2-40B4-BE49-F238E27FC236}">
                <a16:creationId xmlns:a16="http://schemas.microsoft.com/office/drawing/2014/main" id="{B01A752D-BEA5-0858-0620-C60B3D831734}"/>
              </a:ext>
            </a:extLst>
          </p:cNvPr>
          <p:cNvCxnSpPr>
            <a:cxnSpLocks/>
          </p:cNvCxnSpPr>
          <p:nvPr/>
        </p:nvCxnSpPr>
        <p:spPr>
          <a:xfrm flipV="1">
            <a:off x="4326602" y="2617463"/>
            <a:ext cx="1123622" cy="215301"/>
          </a:xfrm>
          <a:prstGeom prst="line">
            <a:avLst/>
          </a:prstGeom>
          <a:ln w="12700">
            <a:solidFill>
              <a:srgbClr val="7E7E7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Выноска 1 (с границей) 10">
            <a:extLst>
              <a:ext uri="{FF2B5EF4-FFF2-40B4-BE49-F238E27FC236}">
                <a16:creationId xmlns:a16="http://schemas.microsoft.com/office/drawing/2014/main" id="{235829E6-B06B-463F-3D44-7BE4963A0CB8}"/>
              </a:ext>
            </a:extLst>
          </p:cNvPr>
          <p:cNvSpPr/>
          <p:nvPr/>
        </p:nvSpPr>
        <p:spPr>
          <a:xfrm flipV="1">
            <a:off x="5532864" y="5050478"/>
            <a:ext cx="373587" cy="311106"/>
          </a:xfrm>
          <a:prstGeom prst="accentCallout1">
            <a:avLst>
              <a:gd name="adj1" fmla="val 99485"/>
              <a:gd name="adj2" fmla="val 77476"/>
              <a:gd name="adj3" fmla="val 198486"/>
              <a:gd name="adj4" fmla="val -206769"/>
            </a:avLst>
          </a:prstGeom>
          <a:noFill/>
          <a:ln w="12700" cap="flat" cmpd="sng" algn="ctr">
            <a:solidFill>
              <a:srgbClr val="7E7E7E"/>
            </a:solidFill>
            <a:prstDash val="solid"/>
            <a:headEnd type="none"/>
            <a:tailEnd type="oval"/>
          </a:ln>
          <a:effectLst/>
        </p:spPr>
        <p:txBody>
          <a:bodyPr wrap="square" lIns="83964" tIns="41982" rIns="83964" bIns="41982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Прямоугольник 35">
            <a:extLst>
              <a:ext uri="{FF2B5EF4-FFF2-40B4-BE49-F238E27FC236}">
                <a16:creationId xmlns:a16="http://schemas.microsoft.com/office/drawing/2014/main" id="{483E05B8-26EB-B2FB-BECE-DF43FC94197B}"/>
              </a:ext>
            </a:extLst>
          </p:cNvPr>
          <p:cNvSpPr/>
          <p:nvPr/>
        </p:nvSpPr>
        <p:spPr>
          <a:xfrm>
            <a:off x="8112124" y="1917400"/>
            <a:ext cx="3742831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" name="Прямоугольник 36">
            <a:extLst>
              <a:ext uri="{FF2B5EF4-FFF2-40B4-BE49-F238E27FC236}">
                <a16:creationId xmlns:a16="http://schemas.microsoft.com/office/drawing/2014/main" id="{299D1603-CF34-0B3C-D771-036D7EC80B7A}"/>
              </a:ext>
            </a:extLst>
          </p:cNvPr>
          <p:cNvSpPr/>
          <p:nvPr/>
        </p:nvSpPr>
        <p:spPr>
          <a:xfrm>
            <a:off x="8112124" y="2565399"/>
            <a:ext cx="3742831" cy="3635375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marR="0" lvl="0" indent="-17145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Выноска 1 (с границей) 10">
            <a:extLst>
              <a:ext uri="{FF2B5EF4-FFF2-40B4-BE49-F238E27FC236}">
                <a16:creationId xmlns:a16="http://schemas.microsoft.com/office/drawing/2014/main" id="{96643AFA-2D71-E389-F6BB-C119F677F863}"/>
              </a:ext>
            </a:extLst>
          </p:cNvPr>
          <p:cNvSpPr/>
          <p:nvPr/>
        </p:nvSpPr>
        <p:spPr>
          <a:xfrm flipH="1" flipV="1">
            <a:off x="1679575" y="5050478"/>
            <a:ext cx="373587" cy="311106"/>
          </a:xfrm>
          <a:prstGeom prst="accentCallout1">
            <a:avLst>
              <a:gd name="adj1" fmla="val 99485"/>
              <a:gd name="adj2" fmla="val 77476"/>
              <a:gd name="adj3" fmla="val 198486"/>
              <a:gd name="adj4" fmla="val -206769"/>
            </a:avLst>
          </a:prstGeom>
          <a:noFill/>
          <a:ln w="12700" cap="flat" cmpd="sng" algn="ctr">
            <a:solidFill>
              <a:srgbClr val="7E7E7E"/>
            </a:solidFill>
            <a:prstDash val="solid"/>
            <a:headEnd type="none"/>
            <a:tailEnd type="oval"/>
          </a:ln>
          <a:effectLst/>
        </p:spPr>
        <p:txBody>
          <a:bodyPr wrap="square" lIns="83964" tIns="41982" rIns="83964" bIns="41982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38">
            <a:extLst>
              <a:ext uri="{FF2B5EF4-FFF2-40B4-BE49-F238E27FC236}">
                <a16:creationId xmlns:a16="http://schemas.microsoft.com/office/drawing/2014/main" id="{1A0056B2-677A-012F-3340-684F42CF8AFB}"/>
              </a:ext>
            </a:extLst>
          </p:cNvPr>
          <p:cNvSpPr/>
          <p:nvPr/>
        </p:nvSpPr>
        <p:spPr>
          <a:xfrm>
            <a:off x="339725" y="1917400"/>
            <a:ext cx="2067454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9" name="Блок-схема: процесс 17">
            <a:extLst>
              <a:ext uri="{FF2B5EF4-FFF2-40B4-BE49-F238E27FC236}">
                <a16:creationId xmlns:a16="http://schemas.microsoft.com/office/drawing/2014/main" id="{4799A5DC-3702-AF37-2E70-4953ED411C8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800" dirty="0">
                <a:solidFill>
                  <a:srgbClr val="3C3C3C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29385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57250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0" name="Блок-схема: процесс 17">
            <a:extLst>
              <a:ext uri="{FF2B5EF4-FFF2-40B4-BE49-F238E27FC236}">
                <a16:creationId xmlns:a16="http://schemas.microsoft.com/office/drawing/2014/main" id="{3B55ECF5-56FE-9B4B-AD0A-F3CAA749974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2" y="6384034"/>
            <a:ext cx="8343121" cy="140591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A5D25B-A948-5942-9365-4E8F509E4413}"/>
              </a:ext>
            </a:extLst>
          </p:cNvPr>
          <p:cNvSpPr txBox="1"/>
          <p:nvPr/>
        </p:nvSpPr>
        <p:spPr>
          <a:xfrm>
            <a:off x="6167437" y="2222254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6B7EA50-22A5-F84F-A28A-21BF888D8215}"/>
              </a:ext>
            </a:extLst>
          </p:cNvPr>
          <p:cNvSpPr/>
          <p:nvPr/>
        </p:nvSpPr>
        <p:spPr>
          <a:xfrm>
            <a:off x="6167438" y="1133718"/>
            <a:ext cx="568751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875153-141B-4F41-84F8-00A79E704C1B}"/>
              </a:ext>
            </a:extLst>
          </p:cNvPr>
          <p:cNvSpPr txBox="1"/>
          <p:nvPr/>
        </p:nvSpPr>
        <p:spPr>
          <a:xfrm>
            <a:off x="6167437" y="3110754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1ED30-2803-9044-BFA5-9A2FF794CD88}"/>
              </a:ext>
            </a:extLst>
          </p:cNvPr>
          <p:cNvSpPr txBox="1"/>
          <p:nvPr/>
        </p:nvSpPr>
        <p:spPr>
          <a:xfrm>
            <a:off x="6167437" y="5047823"/>
            <a:ext cx="568960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DEB491CE-AA05-5443-A9D4-AB2A73AAA30C}"/>
              </a:ext>
            </a:extLst>
          </p:cNvPr>
          <p:cNvGrpSpPr/>
          <p:nvPr/>
        </p:nvGrpSpPr>
        <p:grpSpPr>
          <a:xfrm>
            <a:off x="-2867430" y="1904617"/>
            <a:ext cx="7793071" cy="4296158"/>
            <a:chOff x="582472" y="2263322"/>
            <a:chExt cx="4315968" cy="2704057"/>
          </a:xfrm>
        </p:grpSpPr>
        <p:sp>
          <p:nvSpPr>
            <p:cNvPr id="30" name="Трапеция 29">
              <a:extLst>
                <a:ext uri="{FF2B5EF4-FFF2-40B4-BE49-F238E27FC236}">
                  <a16:creationId xmlns:a16="http://schemas.microsoft.com/office/drawing/2014/main" id="{15555EBA-70DF-9848-888E-E7BC040B6C9F}"/>
                </a:ext>
              </a:extLst>
            </p:cNvPr>
            <p:cNvSpPr/>
            <p:nvPr/>
          </p:nvSpPr>
          <p:spPr>
            <a:xfrm>
              <a:off x="582472" y="4020130"/>
              <a:ext cx="4315968" cy="947249"/>
            </a:xfrm>
            <a:prstGeom prst="trapezoid">
              <a:avLst>
                <a:gd name="adj" fmla="val 81278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Трапеция 34">
              <a:extLst>
                <a:ext uri="{FF2B5EF4-FFF2-40B4-BE49-F238E27FC236}">
                  <a16:creationId xmlns:a16="http://schemas.microsoft.com/office/drawing/2014/main" id="{E6605055-F000-A64E-8FF7-E1DBD2673997}"/>
                </a:ext>
              </a:extLst>
            </p:cNvPr>
            <p:cNvSpPr/>
            <p:nvPr/>
          </p:nvSpPr>
          <p:spPr>
            <a:xfrm>
              <a:off x="1416797" y="3084609"/>
              <a:ext cx="2640395" cy="863256"/>
            </a:xfrm>
            <a:prstGeom prst="trapezoid">
              <a:avLst>
                <a:gd name="adj" fmla="val 81906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Равнобедренный треугольник 24">
              <a:extLst>
                <a:ext uri="{FF2B5EF4-FFF2-40B4-BE49-F238E27FC236}">
                  <a16:creationId xmlns:a16="http://schemas.microsoft.com/office/drawing/2014/main" id="{E50A451D-530D-6E4A-8BEF-9F6C833BD4A8}"/>
                </a:ext>
              </a:extLst>
            </p:cNvPr>
            <p:cNvSpPr/>
            <p:nvPr/>
          </p:nvSpPr>
          <p:spPr>
            <a:xfrm>
              <a:off x="2134682" y="2263322"/>
              <a:ext cx="1171488" cy="749020"/>
            </a:xfrm>
            <a:prstGeom prst="triangle">
              <a:avLst>
                <a:gd name="adj" fmla="val 50006"/>
              </a:avLst>
            </a:prstGeom>
            <a:solidFill>
              <a:srgbClr val="DADAD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99BEEE9-9089-084C-BCAB-074BF8EE0AD5}"/>
              </a:ext>
            </a:extLst>
          </p:cNvPr>
          <p:cNvSpPr/>
          <p:nvPr/>
        </p:nvSpPr>
        <p:spPr>
          <a:xfrm>
            <a:off x="1022855" y="2127836"/>
            <a:ext cx="30444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3</a:t>
            </a:r>
          </a:p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2A2A046-4021-6045-9E46-404412CDE732}"/>
              </a:ext>
            </a:extLst>
          </p:cNvPr>
          <p:cNvSpPr/>
          <p:nvPr/>
        </p:nvSpPr>
        <p:spPr>
          <a:xfrm>
            <a:off x="337046" y="1133718"/>
            <a:ext cx="5687517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8BF3293-FE80-2646-84E2-0AD8B7BCF621}"/>
              </a:ext>
            </a:extLst>
          </p:cNvPr>
          <p:cNvSpPr/>
          <p:nvPr/>
        </p:nvSpPr>
        <p:spPr>
          <a:xfrm>
            <a:off x="2233925" y="3528667"/>
            <a:ext cx="19320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2</a:t>
            </a:r>
          </a:p>
          <a:p>
            <a:pPr lvl="0" defTabSz="713903">
              <a:defRPr/>
            </a:pPr>
            <a:r>
              <a:rPr lang="ru-RU" sz="1400" kern="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BBF1925-8AB4-AE4B-88BB-630B58BACE6E}"/>
              </a:ext>
            </a:extLst>
          </p:cNvPr>
          <p:cNvSpPr/>
          <p:nvPr/>
        </p:nvSpPr>
        <p:spPr>
          <a:xfrm>
            <a:off x="3410017" y="5086004"/>
            <a:ext cx="19320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1</a:t>
            </a:r>
          </a:p>
          <a:p>
            <a:pPr lvl="0" defTabSz="713903">
              <a:defRPr/>
            </a:pPr>
            <a:r>
              <a:rPr lang="ru-RU" sz="1400" kern="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2D90902-B855-0C4E-A767-98EC7A42B2E7}"/>
              </a:ext>
            </a:extLst>
          </p:cNvPr>
          <p:cNvCxnSpPr>
            <a:cxnSpLocks/>
          </p:cNvCxnSpPr>
          <p:nvPr/>
        </p:nvCxnSpPr>
        <p:spPr>
          <a:xfrm>
            <a:off x="3803073" y="3791383"/>
            <a:ext cx="21197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D8AA604F-D6B4-ED4C-824E-6A21470C89FF}"/>
              </a:ext>
            </a:extLst>
          </p:cNvPr>
          <p:cNvCxnSpPr>
            <a:cxnSpLocks/>
          </p:cNvCxnSpPr>
          <p:nvPr/>
        </p:nvCxnSpPr>
        <p:spPr>
          <a:xfrm>
            <a:off x="3803073" y="2347047"/>
            <a:ext cx="21197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3F18BCFF-0656-F949-9A9B-40F44AD55092}"/>
              </a:ext>
            </a:extLst>
          </p:cNvPr>
          <p:cNvCxnSpPr>
            <a:cxnSpLocks/>
          </p:cNvCxnSpPr>
          <p:nvPr/>
        </p:nvCxnSpPr>
        <p:spPr>
          <a:xfrm>
            <a:off x="5060373" y="5324742"/>
            <a:ext cx="862445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2E9E22-11F1-D005-1BD3-1025407EA7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274546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80641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A5D25B-A948-5942-9365-4E8F509E4413}"/>
              </a:ext>
            </a:extLst>
          </p:cNvPr>
          <p:cNvSpPr txBox="1"/>
          <p:nvPr/>
        </p:nvSpPr>
        <p:spPr>
          <a:xfrm>
            <a:off x="8112125" y="1864147"/>
            <a:ext cx="5689601" cy="109260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 defTabSz="1219166">
              <a:spcBef>
                <a:spcPts val="600"/>
              </a:spcBef>
              <a:buClr>
                <a:srgbClr val="3C3C3C"/>
              </a:buClr>
              <a:buSzPct val="80000"/>
              <a:defRPr/>
            </a:pP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marR="0" lvl="0" indent="-17145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 typeface="Wingdings" pitchFamily="2" charset="2"/>
              <a:buChar char="§"/>
              <a:tabLst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F875153-141B-4F41-84F8-00A79E704C1B}"/>
              </a:ext>
            </a:extLst>
          </p:cNvPr>
          <p:cNvSpPr txBox="1"/>
          <p:nvPr/>
        </p:nvSpPr>
        <p:spPr>
          <a:xfrm>
            <a:off x="8112125" y="3110754"/>
            <a:ext cx="5689601" cy="132343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 defTabSz="1219166">
              <a:spcBef>
                <a:spcPts val="600"/>
              </a:spcBef>
              <a:buClr>
                <a:srgbClr val="3C3C3C"/>
              </a:buClr>
              <a:buSzPct val="80000"/>
              <a:defRPr/>
            </a:pP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241ED30-2803-9044-BFA5-9A2FF794CD88}"/>
              </a:ext>
            </a:extLst>
          </p:cNvPr>
          <p:cNvSpPr txBox="1"/>
          <p:nvPr/>
        </p:nvSpPr>
        <p:spPr>
          <a:xfrm>
            <a:off x="8112125" y="4580989"/>
            <a:ext cx="5689601" cy="10618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12191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C3C3C"/>
              </a:buClr>
              <a:buSzPct val="8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1450" lvl="0" indent="-171450" defTabSz="1219166">
              <a:spcBef>
                <a:spcPts val="600"/>
              </a:spcBef>
              <a:buClr>
                <a:srgbClr val="3C3C3C"/>
              </a:buClr>
              <a:buSzPct val="80000"/>
              <a:buFont typeface="Wingdings" pitchFamily="2" charset="2"/>
              <a:buChar char="§"/>
              <a:defRPr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DEB491CE-AA05-5443-A9D4-AB2A73AAA30C}"/>
              </a:ext>
            </a:extLst>
          </p:cNvPr>
          <p:cNvGrpSpPr/>
          <p:nvPr/>
        </p:nvGrpSpPr>
        <p:grpSpPr>
          <a:xfrm>
            <a:off x="-796958" y="1904617"/>
            <a:ext cx="7793071" cy="4296158"/>
            <a:chOff x="582472" y="2263322"/>
            <a:chExt cx="4315968" cy="2704057"/>
          </a:xfrm>
        </p:grpSpPr>
        <p:sp>
          <p:nvSpPr>
            <p:cNvPr id="30" name="Трапеция 29">
              <a:extLst>
                <a:ext uri="{FF2B5EF4-FFF2-40B4-BE49-F238E27FC236}">
                  <a16:creationId xmlns:a16="http://schemas.microsoft.com/office/drawing/2014/main" id="{15555EBA-70DF-9848-888E-E7BC040B6C9F}"/>
                </a:ext>
              </a:extLst>
            </p:cNvPr>
            <p:cNvSpPr/>
            <p:nvPr/>
          </p:nvSpPr>
          <p:spPr>
            <a:xfrm>
              <a:off x="582472" y="4020130"/>
              <a:ext cx="4315968" cy="947249"/>
            </a:xfrm>
            <a:prstGeom prst="trapezoid">
              <a:avLst>
                <a:gd name="adj" fmla="val 81278"/>
              </a:avLst>
            </a:prstGeom>
            <a:solidFill>
              <a:srgbClr val="28BE4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Трапеция 34">
              <a:extLst>
                <a:ext uri="{FF2B5EF4-FFF2-40B4-BE49-F238E27FC236}">
                  <a16:creationId xmlns:a16="http://schemas.microsoft.com/office/drawing/2014/main" id="{E6605055-F000-A64E-8FF7-E1DBD2673997}"/>
                </a:ext>
              </a:extLst>
            </p:cNvPr>
            <p:cNvSpPr/>
            <p:nvPr/>
          </p:nvSpPr>
          <p:spPr>
            <a:xfrm>
              <a:off x="1416797" y="3084609"/>
              <a:ext cx="2640395" cy="863256"/>
            </a:xfrm>
            <a:prstGeom prst="trapezoid">
              <a:avLst>
                <a:gd name="adj" fmla="val 81906"/>
              </a:avLst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Равнобедренный треугольник 24">
              <a:extLst>
                <a:ext uri="{FF2B5EF4-FFF2-40B4-BE49-F238E27FC236}">
                  <a16:creationId xmlns:a16="http://schemas.microsoft.com/office/drawing/2014/main" id="{E50A451D-530D-6E4A-8BEF-9F6C833BD4A8}"/>
                </a:ext>
              </a:extLst>
            </p:cNvPr>
            <p:cNvSpPr/>
            <p:nvPr/>
          </p:nvSpPr>
          <p:spPr>
            <a:xfrm>
              <a:off x="2134682" y="2263322"/>
              <a:ext cx="1171488" cy="749020"/>
            </a:xfrm>
            <a:prstGeom prst="triangle">
              <a:avLst>
                <a:gd name="adj" fmla="val 50006"/>
              </a:avLst>
            </a:pr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7139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49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399BEEE9-9089-084C-BCAB-074BF8EE0AD5}"/>
              </a:ext>
            </a:extLst>
          </p:cNvPr>
          <p:cNvSpPr/>
          <p:nvPr/>
        </p:nvSpPr>
        <p:spPr>
          <a:xfrm>
            <a:off x="2458896" y="2380955"/>
            <a:ext cx="12518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3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ЧЕМ?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8BF3293-FE80-2646-84E2-0AD8B7BCF621}"/>
              </a:ext>
            </a:extLst>
          </p:cNvPr>
          <p:cNvSpPr/>
          <p:nvPr/>
        </p:nvSpPr>
        <p:spPr>
          <a:xfrm>
            <a:off x="2622254" y="3687834"/>
            <a:ext cx="9546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2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ЧТО?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BBF1925-8AB4-AE4B-88BB-630B58BACE6E}"/>
              </a:ext>
            </a:extLst>
          </p:cNvPr>
          <p:cNvSpPr/>
          <p:nvPr/>
        </p:nvSpPr>
        <p:spPr>
          <a:xfrm>
            <a:off x="2488390" y="5158764"/>
            <a:ext cx="122237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УРОВЕНЬ 1</a:t>
            </a:r>
          </a:p>
          <a:p>
            <a:pPr marL="0" marR="0" lvl="0" indent="0" algn="ctr" defTabSz="7139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КАК?</a:t>
            </a:r>
          </a:p>
        </p:txBody>
      </p: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2D90902-B855-0C4E-A767-98EC7A42B2E7}"/>
              </a:ext>
            </a:extLst>
          </p:cNvPr>
          <p:cNvCxnSpPr>
            <a:cxnSpLocks/>
          </p:cNvCxnSpPr>
          <p:nvPr/>
        </p:nvCxnSpPr>
        <p:spPr>
          <a:xfrm>
            <a:off x="4583017" y="3209463"/>
            <a:ext cx="3410273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D8AA604F-D6B4-ED4C-824E-6A21470C89FF}"/>
              </a:ext>
            </a:extLst>
          </p:cNvPr>
          <p:cNvCxnSpPr>
            <a:cxnSpLocks/>
          </p:cNvCxnSpPr>
          <p:nvPr/>
        </p:nvCxnSpPr>
        <p:spPr>
          <a:xfrm>
            <a:off x="3370478" y="2011065"/>
            <a:ext cx="462281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3F18BCFF-0656-F949-9A9B-40F44AD55092}"/>
              </a:ext>
            </a:extLst>
          </p:cNvPr>
          <p:cNvCxnSpPr>
            <a:cxnSpLocks/>
          </p:cNvCxnSpPr>
          <p:nvPr/>
        </p:nvCxnSpPr>
        <p:spPr>
          <a:xfrm>
            <a:off x="6024563" y="4711126"/>
            <a:ext cx="1968727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149E45-3CAB-6278-6A24-477E3101CB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214266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D1AA7B4A-DAE6-40E1-835C-ED7409173E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D1AA7B4A-DAE6-40E1-835C-ED7409173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F95A8327-E904-458D-83CB-11A5E6F36B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old" panose="02000503030000020004" pitchFamily="50" charset="0"/>
              <a:ea typeface="+mn-ea"/>
              <a:cs typeface="DIN Pro Cond Medium" panose="020B0606020101010102" pitchFamily="34" charset="-52"/>
              <a:sym typeface="DINPro-Bold" panose="02000503030000020004" pitchFamily="50" charset="0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BDD5A357-AEA6-43BE-A852-929F605AF1C5}"/>
              </a:ext>
            </a:extLst>
          </p:cNvPr>
          <p:cNvGrpSpPr/>
          <p:nvPr/>
        </p:nvGrpSpPr>
        <p:grpSpPr>
          <a:xfrm>
            <a:off x="-2415267" y="1701542"/>
            <a:ext cx="4830534" cy="4830534"/>
            <a:chOff x="-2772697" y="1286403"/>
            <a:chExt cx="5545394" cy="5545394"/>
          </a:xfrm>
        </p:grpSpPr>
        <p:sp>
          <p:nvSpPr>
            <p:cNvPr id="19" name="Дуга 18">
              <a:extLst>
                <a:ext uri="{FF2B5EF4-FFF2-40B4-BE49-F238E27FC236}">
                  <a16:creationId xmlns:a16="http://schemas.microsoft.com/office/drawing/2014/main" id="{3D31FB59-2197-4742-AD58-F63A77859FAE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18964413"/>
                <a:gd name="adj2" fmla="val 21545315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97D8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Дуга 19">
              <a:extLst>
                <a:ext uri="{FF2B5EF4-FFF2-40B4-BE49-F238E27FC236}">
                  <a16:creationId xmlns:a16="http://schemas.microsoft.com/office/drawing/2014/main" id="{C183CEDD-4BF0-43C4-A16A-172E7593145B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79990"/>
                <a:gd name="adj2" fmla="val 2647267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70BA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Дуга 20">
              <a:extLst>
                <a:ext uri="{FF2B5EF4-FFF2-40B4-BE49-F238E27FC236}">
                  <a16:creationId xmlns:a16="http://schemas.microsoft.com/office/drawing/2014/main" id="{FB93E026-B317-4B8E-818F-94B072021FB9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2776727"/>
                <a:gd name="adj2" fmla="val 5440560"/>
              </a:avLst>
            </a:prstGeom>
            <a:solidFill>
              <a:schemeClr val="bg1">
                <a:lumMod val="95000"/>
                <a:alpha val="58000"/>
              </a:schemeClr>
            </a:solidFill>
            <a:ln w="25400">
              <a:solidFill>
                <a:srgbClr val="004077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Дуга 15">
              <a:extLst>
                <a:ext uri="{FF2B5EF4-FFF2-40B4-BE49-F238E27FC236}">
                  <a16:creationId xmlns:a16="http://schemas.microsoft.com/office/drawing/2014/main" id="{3ABFD775-7120-4728-AC43-B7AA3837C8EE}"/>
                </a:ext>
              </a:extLst>
            </p:cNvPr>
            <p:cNvSpPr/>
            <p:nvPr/>
          </p:nvSpPr>
          <p:spPr>
            <a:xfrm>
              <a:off x="-2772697" y="1286403"/>
              <a:ext cx="5545394" cy="5545394"/>
            </a:xfrm>
            <a:prstGeom prst="arc">
              <a:avLst>
                <a:gd name="adj1" fmla="val 16200000"/>
                <a:gd name="adj2" fmla="val 18827745"/>
              </a:avLst>
            </a:prstGeom>
            <a:solidFill>
              <a:schemeClr val="bg1">
                <a:lumMod val="95000"/>
              </a:schemeClr>
            </a:solidFill>
            <a:ln w="25400">
              <a:solidFill>
                <a:srgbClr val="2FB3E9">
                  <a:alpha val="99000"/>
                </a:srgbClr>
              </a:solidFill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DINPro-Bold"/>
                <a:ea typeface="+mn-ea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FD72057D-35E3-43B5-921B-5AFE88A80C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3329033"/>
              </p:ext>
            </p:extLst>
          </p:nvPr>
        </p:nvGraphicFramePr>
        <p:xfrm>
          <a:off x="-2189518" y="2196422"/>
          <a:ext cx="4385388" cy="3862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Овал 4">
            <a:extLst>
              <a:ext uri="{FF2B5EF4-FFF2-40B4-BE49-F238E27FC236}">
                <a16:creationId xmlns:a16="http://schemas.microsoft.com/office/drawing/2014/main" id="{751189F7-64CD-4055-A591-6229CD7ACA15}"/>
              </a:ext>
            </a:extLst>
          </p:cNvPr>
          <p:cNvSpPr/>
          <p:nvPr/>
        </p:nvSpPr>
        <p:spPr>
          <a:xfrm>
            <a:off x="-1268184" y="2878945"/>
            <a:ext cx="2449284" cy="2449284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2">
                <a:lumMod val="40000"/>
                <a:lumOff val="60000"/>
                <a:alpha val="99000"/>
              </a:schemeClr>
            </a:solidFill>
          </a:ln>
          <a:effectLst>
            <a:outerShdw blurRad="127000" dist="127000" dir="2700000" algn="tl" rotWithShape="0">
              <a:prstClr val="black">
                <a:alpha val="16000"/>
              </a:prstClr>
            </a:outerShdw>
          </a:effectLst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DINPro-Bold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1DB776-63DA-4F50-9361-6670CEED091D}"/>
              </a:ext>
            </a:extLst>
          </p:cNvPr>
          <p:cNvSpPr txBox="1"/>
          <p:nvPr/>
        </p:nvSpPr>
        <p:spPr>
          <a:xfrm rot="20174067">
            <a:off x="-9706" y="5377835"/>
            <a:ext cx="10641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6B6F09-28B8-402C-BCBD-F94FE62A3E39}"/>
              </a:ext>
            </a:extLst>
          </p:cNvPr>
          <p:cNvSpPr txBox="1"/>
          <p:nvPr/>
        </p:nvSpPr>
        <p:spPr>
          <a:xfrm rot="17720273">
            <a:off x="941690" y="4572461"/>
            <a:ext cx="76850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CCDDBA-3771-4C9E-B96D-F022AF521132}"/>
              </a:ext>
            </a:extLst>
          </p:cNvPr>
          <p:cNvSpPr txBox="1"/>
          <p:nvPr/>
        </p:nvSpPr>
        <p:spPr>
          <a:xfrm rot="3694729">
            <a:off x="973387" y="3458518"/>
            <a:ext cx="68821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5E5AEB7-BA38-431C-ABA8-9BF49244CCC2}"/>
              </a:ext>
            </a:extLst>
          </p:cNvPr>
          <p:cNvSpPr txBox="1"/>
          <p:nvPr/>
        </p:nvSpPr>
        <p:spPr>
          <a:xfrm rot="1643920">
            <a:off x="137221" y="2667606"/>
            <a:ext cx="7267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8B4D81F-7B0C-4B68-A483-FFA67EDA7A4B}"/>
              </a:ext>
            </a:extLst>
          </p:cNvPr>
          <p:cNvSpPr txBox="1"/>
          <p:nvPr/>
        </p:nvSpPr>
        <p:spPr>
          <a:xfrm>
            <a:off x="2365854" y="3094454"/>
            <a:ext cx="14766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b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00" dirty="0">
                <a:solidFill>
                  <a:srgbClr val="0097D8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31E2BD2-98EF-4990-9A66-0629C6F42095}"/>
              </a:ext>
            </a:extLst>
          </p:cNvPr>
          <p:cNvSpPr txBox="1"/>
          <p:nvPr/>
        </p:nvSpPr>
        <p:spPr>
          <a:xfrm>
            <a:off x="2376805" y="4795424"/>
            <a:ext cx="19684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0070B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88D006-49A4-4321-B631-A82E7329EAD3}"/>
              </a:ext>
            </a:extLst>
          </p:cNvPr>
          <p:cNvSpPr txBox="1"/>
          <p:nvPr/>
        </p:nvSpPr>
        <p:spPr>
          <a:xfrm>
            <a:off x="2145071" y="6015089"/>
            <a:ext cx="18017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GPN_DIN Regular" panose="020B0504020202020204" pitchFamily="34" charset="0"/>
                <a:ea typeface="GPN_DIN Regular" panose="020B0504020202020204" pitchFamily="34" charset="0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000" dirty="0">
                <a:solidFill>
                  <a:srgbClr val="7030A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sp>
        <p:nvSpPr>
          <p:cNvPr id="33" name="Скругленный прямоугольник 37">
            <a:extLst>
              <a:ext uri="{FF2B5EF4-FFF2-40B4-BE49-F238E27FC236}">
                <a16:creationId xmlns:a16="http://schemas.microsoft.com/office/drawing/2014/main" id="{5A4AAC4F-477C-4FD0-ADBE-08680C1FCFE1}"/>
              </a:ext>
            </a:extLst>
          </p:cNvPr>
          <p:cNvSpPr/>
          <p:nvPr/>
        </p:nvSpPr>
        <p:spPr>
          <a:xfrm>
            <a:off x="202573" y="3995865"/>
            <a:ext cx="919582" cy="2154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42822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8" name="Заголовок 1">
            <a:extLst>
              <a:ext uri="{FF2B5EF4-FFF2-40B4-BE49-F238E27FC236}">
                <a16:creationId xmlns:a16="http://schemas.microsoft.com/office/drawing/2014/main" id="{8F688119-0FF6-7960-AB89-53E03798644A}"/>
              </a:ext>
            </a:extLst>
          </p:cNvPr>
          <p:cNvSpPr txBox="1">
            <a:spLocks/>
          </p:cNvSpPr>
          <p:nvPr/>
        </p:nvSpPr>
        <p:spPr>
          <a:xfrm>
            <a:off x="337045" y="291459"/>
            <a:ext cx="957210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F5C7F99A-D42A-E7F9-74AB-F1F1CCC012D8}"/>
              </a:ext>
            </a:extLst>
          </p:cNvPr>
          <p:cNvSpPr txBox="1">
            <a:spLocks/>
          </p:cNvSpPr>
          <p:nvPr/>
        </p:nvSpPr>
        <p:spPr>
          <a:xfrm>
            <a:off x="336422" y="1100227"/>
            <a:ext cx="12226639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B361F25C-E4FC-4748-9FAD-57B8771256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2743531"/>
              </p:ext>
            </p:extLst>
          </p:nvPr>
        </p:nvGraphicFramePr>
        <p:xfrm>
          <a:off x="4224312" y="1913327"/>
          <a:ext cx="7632725" cy="4287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9076">
                  <a:extLst>
                    <a:ext uri="{9D8B030D-6E8A-4147-A177-3AD203B41FA5}">
                      <a16:colId xmlns:a16="http://schemas.microsoft.com/office/drawing/2014/main" val="211467077"/>
                    </a:ext>
                  </a:extLst>
                </a:gridCol>
                <a:gridCol w="5853649">
                  <a:extLst>
                    <a:ext uri="{9D8B030D-6E8A-4147-A177-3AD203B41FA5}">
                      <a16:colId xmlns:a16="http://schemas.microsoft.com/office/drawing/2014/main" val="660598627"/>
                    </a:ext>
                  </a:extLst>
                </a:gridCol>
              </a:tblGrid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621807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176400" lvl="0" indent="-176400" algn="l" defTabSz="914400" rtl="0" eaLnBrk="1" latinLnBrk="0" hangingPunct="1">
                        <a:spcBef>
                          <a:spcPts val="600"/>
                        </a:spcBef>
                        <a:buFont typeface="Wingdings" pitchFamily="2" charset="2"/>
                        <a:buChar char="§"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…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741222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..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037026"/>
                  </a:ext>
                </a:extLst>
              </a:tr>
              <a:tr h="10718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..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12352"/>
                  </a:ext>
                </a:extLst>
              </a:tr>
            </a:tbl>
          </a:graphicData>
        </a:graphic>
      </p:graphicFrame>
      <p:sp>
        <p:nvSpPr>
          <p:cNvPr id="191" name="TextBox 190">
            <a:extLst>
              <a:ext uri="{FF2B5EF4-FFF2-40B4-BE49-F238E27FC236}">
                <a16:creationId xmlns:a16="http://schemas.microsoft.com/office/drawing/2014/main" id="{B0C8D7C9-ACAF-FEB7-5F89-A72C87EAFEDF}"/>
              </a:ext>
            </a:extLst>
          </p:cNvPr>
          <p:cNvSpPr txBox="1"/>
          <p:nvPr/>
        </p:nvSpPr>
        <p:spPr>
          <a:xfrm>
            <a:off x="1961696" y="1917299"/>
            <a:ext cx="21378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0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…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7F9EB67-2E1B-7A41-8A15-130F13167B8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5532" y="2016924"/>
            <a:ext cx="397028" cy="32652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65A371-4EB0-CB4A-BB50-44280BAC8343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45648" y="3181032"/>
            <a:ext cx="365913" cy="30777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7162E94-0AC6-154C-83CB-818639A9DDDE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723408" y="4700461"/>
            <a:ext cx="394729" cy="39845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4210F0-A14B-63DB-F2CA-D98C728F4D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69</a:t>
            </a:fld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2080905-3995-F147-98C6-D547B33FD37C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4333" y="5808089"/>
            <a:ext cx="410167" cy="4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956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" name="Freeform: Shape 130">
            <a:extLst>
              <a:ext uri="{FF2B5EF4-FFF2-40B4-BE49-F238E27FC236}">
                <a16:creationId xmlns:a16="http://schemas.microsoft.com/office/drawing/2014/main" id="{7904496B-8ED0-3B1C-EA17-CE635EBEC4F6}"/>
              </a:ext>
            </a:extLst>
          </p:cNvPr>
          <p:cNvSpPr>
            <a:spLocks/>
          </p:cNvSpPr>
          <p:nvPr/>
        </p:nvSpPr>
        <p:spPr>
          <a:xfrm>
            <a:off x="5196210" y="1919031"/>
            <a:ext cx="6660828" cy="1438642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defRPr/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0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4" name="Freeform: Shape 130">
            <a:extLst>
              <a:ext uri="{FF2B5EF4-FFF2-40B4-BE49-F238E27FC236}">
                <a16:creationId xmlns:a16="http://schemas.microsoft.com/office/drawing/2014/main" id="{8B5642DD-2AA6-BA41-DBB4-E1893E11D9F8}"/>
              </a:ext>
            </a:extLst>
          </p:cNvPr>
          <p:cNvSpPr>
            <a:spLocks/>
          </p:cNvSpPr>
          <p:nvPr/>
        </p:nvSpPr>
        <p:spPr>
          <a:xfrm>
            <a:off x="334962" y="1919034"/>
            <a:ext cx="4717680" cy="428174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defRPr/>
            </a:pPr>
            <a:r>
              <a:rPr lang="ru-RU" sz="1400" cap="all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indent="-176213" fontAlgn="base">
              <a:spcBef>
                <a:spcPts val="600"/>
              </a:spcBef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5" name="Freeform: Shape 156">
            <a:extLst>
              <a:ext uri="{FF2B5EF4-FFF2-40B4-BE49-F238E27FC236}">
                <a16:creationId xmlns:a16="http://schemas.microsoft.com/office/drawing/2014/main" id="{2F564089-A554-9112-973F-9D71399A1F11}"/>
              </a:ext>
            </a:extLst>
          </p:cNvPr>
          <p:cNvSpPr>
            <a:spLocks/>
          </p:cNvSpPr>
          <p:nvPr/>
        </p:nvSpPr>
        <p:spPr>
          <a:xfrm>
            <a:off x="338374" y="1136457"/>
            <a:ext cx="11521210" cy="64800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F76FCED-EE29-E997-39FA-CC527C4C65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6214" y="3482981"/>
            <a:ext cx="6663370" cy="2713271"/>
          </a:xfrm>
          <a:prstGeom prst="rect">
            <a:avLst/>
          </a:prstGeom>
          <a:ln w="6350">
            <a:solidFill>
              <a:srgbClr val="7F7F7F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79F34EC-CFF0-AADA-0FDF-FD572BAD3FEE}"/>
              </a:ext>
            </a:extLst>
          </p:cNvPr>
          <p:cNvSpPr txBox="1"/>
          <p:nvPr/>
        </p:nvSpPr>
        <p:spPr>
          <a:xfrm>
            <a:off x="337044" y="469148"/>
            <a:ext cx="5861737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043313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ПРОЦЕСС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9ED112-8A91-2C01-EED5-9A26BE4A8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7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44885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9540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ПРИМЕР 2.2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F694FA13-8446-D941-B9BB-F64403D2B566}"/>
              </a:ext>
            </a:extLst>
          </p:cNvPr>
          <p:cNvSpPr/>
          <p:nvPr/>
        </p:nvSpPr>
        <p:spPr>
          <a:xfrm>
            <a:off x="337045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FB720364-F526-B544-A0C3-C954F208C8C4}"/>
              </a:ext>
            </a:extLst>
          </p:cNvPr>
          <p:cNvSpPr/>
          <p:nvPr/>
        </p:nvSpPr>
        <p:spPr>
          <a:xfrm>
            <a:off x="4224338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E7D9952-50A0-2242-953F-3C1F98164262}"/>
              </a:ext>
            </a:extLst>
          </p:cNvPr>
          <p:cNvSpPr/>
          <p:nvPr/>
        </p:nvSpPr>
        <p:spPr>
          <a:xfrm>
            <a:off x="8113009" y="1125538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50D04DB-2D0B-7246-BFB1-A46DED2EA262}"/>
              </a:ext>
            </a:extLst>
          </p:cNvPr>
          <p:cNvSpPr/>
          <p:nvPr/>
        </p:nvSpPr>
        <p:spPr>
          <a:xfrm>
            <a:off x="337045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 – 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AE47C26-F9B7-DD40-B018-E88FC5052961}"/>
              </a:ext>
            </a:extLst>
          </p:cNvPr>
          <p:cNvSpPr/>
          <p:nvPr/>
        </p:nvSpPr>
        <p:spPr>
          <a:xfrm>
            <a:off x="4224338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 –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1BB7931F-DCA3-394C-B1AE-13697C2A3D61}"/>
              </a:ext>
            </a:extLst>
          </p:cNvPr>
          <p:cNvSpPr/>
          <p:nvPr/>
        </p:nvSpPr>
        <p:spPr>
          <a:xfrm>
            <a:off x="8113009" y="3968749"/>
            <a:ext cx="3744029" cy="2232026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 –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4" name="Соединительная линия уступом 3">
            <a:extLst>
              <a:ext uri="{FF2B5EF4-FFF2-40B4-BE49-F238E27FC236}">
                <a16:creationId xmlns:a16="http://schemas.microsoft.com/office/drawing/2014/main" id="{5C6C2764-36D0-4542-AB22-314A529F5487}"/>
              </a:ext>
            </a:extLst>
          </p:cNvPr>
          <p:cNvCxnSpPr>
            <a:stCxn id="45" idx="2"/>
            <a:endCxn id="46" idx="0"/>
          </p:cNvCxnSpPr>
          <p:nvPr/>
        </p:nvCxnSpPr>
        <p:spPr>
          <a:xfrm rot="5400000">
            <a:off x="5791450" y="-224826"/>
            <a:ext cx="611185" cy="7775964"/>
          </a:xfrm>
          <a:prstGeom prst="bentConnector3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1FB3D788-0D8A-0D4D-8417-52A0C639B2B6}"/>
              </a:ext>
            </a:extLst>
          </p:cNvPr>
          <p:cNvCxnSpPr>
            <a:stCxn id="35" idx="3"/>
            <a:endCxn id="42" idx="1"/>
          </p:cNvCxnSpPr>
          <p:nvPr/>
        </p:nvCxnSpPr>
        <p:spPr>
          <a:xfrm>
            <a:off x="4081074" y="2241551"/>
            <a:ext cx="143264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6DAEB3EC-8228-674D-9392-E9AE051B480D}"/>
              </a:ext>
            </a:extLst>
          </p:cNvPr>
          <p:cNvCxnSpPr>
            <a:stCxn id="42" idx="3"/>
            <a:endCxn id="45" idx="1"/>
          </p:cNvCxnSpPr>
          <p:nvPr/>
        </p:nvCxnSpPr>
        <p:spPr>
          <a:xfrm>
            <a:off x="7968367" y="2241551"/>
            <a:ext cx="144642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92013AEF-5A72-0A4F-912C-B5D21D3D7C92}"/>
              </a:ext>
            </a:extLst>
          </p:cNvPr>
          <p:cNvCxnSpPr>
            <a:stCxn id="46" idx="3"/>
            <a:endCxn id="48" idx="1"/>
          </p:cNvCxnSpPr>
          <p:nvPr/>
        </p:nvCxnSpPr>
        <p:spPr>
          <a:xfrm>
            <a:off x="4081074" y="5084762"/>
            <a:ext cx="143264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BFD59F95-2EBA-314B-A04A-809DA81D3E38}"/>
              </a:ext>
            </a:extLst>
          </p:cNvPr>
          <p:cNvCxnSpPr>
            <a:stCxn id="48" idx="3"/>
            <a:endCxn id="49" idx="1"/>
          </p:cNvCxnSpPr>
          <p:nvPr/>
        </p:nvCxnSpPr>
        <p:spPr>
          <a:xfrm>
            <a:off x="7968367" y="5084762"/>
            <a:ext cx="144642" cy="0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C634182-2EBC-616D-9112-87030513AF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2003290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DA5209F-7EF4-0440-A15F-D781A6F07DC6}"/>
              </a:ext>
            </a:extLst>
          </p:cNvPr>
          <p:cNvSpPr/>
          <p:nvPr/>
        </p:nvSpPr>
        <p:spPr>
          <a:xfrm>
            <a:off x="337045" y="1125539"/>
            <a:ext cx="11519993" cy="64769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      Текст …</a:t>
            </a:r>
            <a:endParaRPr lang="en-US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349F4018-7037-CF42-925A-F7B95019BAAF}"/>
              </a:ext>
            </a:extLst>
          </p:cNvPr>
          <p:cNvSpPr/>
          <p:nvPr/>
        </p:nvSpPr>
        <p:spPr>
          <a:xfrm>
            <a:off x="337045" y="1916113"/>
            <a:ext cx="1151791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F2725C3-8B90-5745-8F05-D529FAFD8ED7}"/>
              </a:ext>
            </a:extLst>
          </p:cNvPr>
          <p:cNvSpPr/>
          <p:nvPr/>
        </p:nvSpPr>
        <p:spPr>
          <a:xfrm>
            <a:off x="337045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62A160E-25C2-AE4B-9D83-60DADE9C5C1D}"/>
              </a:ext>
            </a:extLst>
          </p:cNvPr>
          <p:cNvSpPr/>
          <p:nvPr/>
        </p:nvSpPr>
        <p:spPr>
          <a:xfrm>
            <a:off x="4228334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fontAlgn="t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BFEE1207-D955-FF47-88A1-93FCF14F0CD8}"/>
              </a:ext>
            </a:extLst>
          </p:cNvPr>
          <p:cNvSpPr/>
          <p:nvPr/>
        </p:nvSpPr>
        <p:spPr>
          <a:xfrm>
            <a:off x="8113009" y="3166926"/>
            <a:ext cx="3744029" cy="3029740"/>
          </a:xfrm>
          <a:prstGeom prst="rect">
            <a:avLst/>
          </a:prstGeom>
          <a:noFill/>
          <a:ln w="12700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191AD801-5491-7A43-997A-D096CDDA7E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2019596" y="2695455"/>
            <a:ext cx="378925" cy="369333"/>
          </a:xfrm>
          <a:prstGeom prst="rect">
            <a:avLst/>
          </a:prstGeom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31B32254-CF7E-7842-9EAD-590EBC4820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5906537" y="2695455"/>
            <a:ext cx="378925" cy="369333"/>
          </a:xfrm>
          <a:prstGeom prst="rect">
            <a:avLst/>
          </a:prstGeom>
        </p:spPr>
      </p:pic>
      <p:pic>
        <p:nvPicPr>
          <p:cNvPr id="72" name="Рисунок 71">
            <a:extLst>
              <a:ext uri="{FF2B5EF4-FFF2-40B4-BE49-F238E27FC236}">
                <a16:creationId xmlns:a16="http://schemas.microsoft.com/office/drawing/2014/main" id="{B36AC815-116D-6144-87DE-E3CC93276E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9793479" y="2695455"/>
            <a:ext cx="378925" cy="36933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3D4895C-0F4D-6749-9CAB-327105AD089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biLevel thresh="75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75990" y="3319162"/>
            <a:ext cx="287244" cy="40980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54C005-11D5-B5DC-1664-07E11647F5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2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5488E6-F563-264E-B433-61C8B066FDB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40" y="3402034"/>
            <a:ext cx="410400" cy="24345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139428D-723D-B642-B194-91CB39E7936D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40472" y="3318563"/>
            <a:ext cx="410400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58864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874164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1F871809-E720-F242-9FE5-B79F4095EA42}"/>
              </a:ext>
            </a:extLst>
          </p:cNvPr>
          <p:cNvSpPr/>
          <p:nvPr/>
        </p:nvSpPr>
        <p:spPr>
          <a:xfrm>
            <a:off x="337045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.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CC28C45-B1B9-2E42-B2A3-54D72A5E35B9}"/>
              </a:ext>
            </a:extLst>
          </p:cNvPr>
          <p:cNvSpPr/>
          <p:nvPr/>
        </p:nvSpPr>
        <p:spPr>
          <a:xfrm>
            <a:off x="4229424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6A18042F-D072-CC43-9ADD-CB29E3444716}"/>
              </a:ext>
            </a:extLst>
          </p:cNvPr>
          <p:cNvSpPr/>
          <p:nvPr/>
        </p:nvSpPr>
        <p:spPr>
          <a:xfrm>
            <a:off x="8109445" y="2421238"/>
            <a:ext cx="3744029" cy="252065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 fontAlgn="t">
              <a:spcBef>
                <a:spcPts val="600"/>
              </a:spcBef>
              <a:defRPr/>
            </a:pPr>
            <a: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fontAlgn="t">
              <a:spcBef>
                <a:spcPts val="600"/>
              </a:spcBef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EE256328-2A96-7743-804E-76034791D662}"/>
              </a:ext>
            </a:extLst>
          </p:cNvPr>
          <p:cNvCxnSpPr>
            <a:cxnSpLocks/>
          </p:cNvCxnSpPr>
          <p:nvPr/>
        </p:nvCxnSpPr>
        <p:spPr>
          <a:xfrm>
            <a:off x="337044" y="2052897"/>
            <a:ext cx="11516430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Овал 36">
            <a:extLst>
              <a:ext uri="{FF2B5EF4-FFF2-40B4-BE49-F238E27FC236}">
                <a16:creationId xmlns:a16="http://schemas.microsoft.com/office/drawing/2014/main" id="{61B70708-A4B9-A64C-A295-C3D4820247F4}"/>
              </a:ext>
            </a:extLst>
          </p:cNvPr>
          <p:cNvSpPr>
            <a:spLocks noChangeAspect="1"/>
          </p:cNvSpPr>
          <p:nvPr/>
        </p:nvSpPr>
        <p:spPr>
          <a:xfrm>
            <a:off x="33704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E656B925-7744-1E4E-8615-59C58EED1A60}"/>
              </a:ext>
            </a:extLst>
          </p:cNvPr>
          <p:cNvSpPr>
            <a:spLocks noChangeAspect="1"/>
          </p:cNvSpPr>
          <p:nvPr/>
        </p:nvSpPr>
        <p:spPr>
          <a:xfrm>
            <a:off x="422942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CECD169-2E4A-5B4B-9521-72D061834D25}"/>
              </a:ext>
            </a:extLst>
          </p:cNvPr>
          <p:cNvSpPr>
            <a:spLocks noChangeAspect="1"/>
          </p:cNvSpPr>
          <p:nvPr/>
        </p:nvSpPr>
        <p:spPr>
          <a:xfrm>
            <a:off x="8121804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DBC6C2-87B9-8846-951D-2092D8BD1C90}"/>
              </a:ext>
            </a:extLst>
          </p:cNvPr>
          <p:cNvSpPr txBox="1"/>
          <p:nvPr/>
        </p:nvSpPr>
        <p:spPr>
          <a:xfrm>
            <a:off x="236576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1 шаг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E767795-F509-734E-AFCD-129D3F9E95AC}"/>
              </a:ext>
            </a:extLst>
          </p:cNvPr>
          <p:cNvSpPr txBox="1"/>
          <p:nvPr/>
        </p:nvSpPr>
        <p:spPr>
          <a:xfrm>
            <a:off x="4125407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2 шаг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1A0A72B-32C1-994E-A553-98CCF63A06AD}"/>
              </a:ext>
            </a:extLst>
          </p:cNvPr>
          <p:cNvSpPr txBox="1"/>
          <p:nvPr/>
        </p:nvSpPr>
        <p:spPr>
          <a:xfrm>
            <a:off x="8024746" y="1691120"/>
            <a:ext cx="10539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3 шаг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09CE6F6-D716-7744-8BFA-4FC44C18C4C6}"/>
              </a:ext>
            </a:extLst>
          </p:cNvPr>
          <p:cNvSpPr txBox="1"/>
          <p:nvPr/>
        </p:nvSpPr>
        <p:spPr>
          <a:xfrm>
            <a:off x="409073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A89FFEF-AD18-D74C-89F0-FA9FE7EAEA9A}"/>
              </a:ext>
            </a:extLst>
          </p:cNvPr>
          <p:cNvSpPr txBox="1"/>
          <p:nvPr/>
        </p:nvSpPr>
        <p:spPr>
          <a:xfrm>
            <a:off x="4301424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2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30136C0-182E-D543-85A8-C4C8CA73D560}"/>
              </a:ext>
            </a:extLst>
          </p:cNvPr>
          <p:cNvSpPr txBox="1"/>
          <p:nvPr/>
        </p:nvSpPr>
        <p:spPr>
          <a:xfrm>
            <a:off x="8169717" y="4570101"/>
            <a:ext cx="126136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йд 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27146E-9870-FE7D-F49B-C84E23AF28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173220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85883"/>
            <a:ext cx="80068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657FC6E1-EBAC-BB4A-A2EA-6A71420574EC}"/>
              </a:ext>
            </a:extLst>
          </p:cNvPr>
          <p:cNvSpPr/>
          <p:nvPr/>
        </p:nvSpPr>
        <p:spPr>
          <a:xfrm>
            <a:off x="337045" y="1125538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ТЕКСТ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57E9870F-04EC-574A-87F8-8E4847A8B545}"/>
              </a:ext>
            </a:extLst>
          </p:cNvPr>
          <p:cNvSpPr/>
          <p:nvPr/>
        </p:nvSpPr>
        <p:spPr>
          <a:xfrm>
            <a:off x="4229423" y="1125538"/>
            <a:ext cx="374403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3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ТЕКСТ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4155E47B-0167-D241-9AFA-E4C3D5E2C92A}"/>
              </a:ext>
            </a:extLst>
          </p:cNvPr>
          <p:cNvSpPr/>
          <p:nvPr/>
        </p:nvSpPr>
        <p:spPr>
          <a:xfrm>
            <a:off x="8109445" y="1125538"/>
            <a:ext cx="3747593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300"/>
              </a:spcBef>
            </a:pPr>
            <a:r>
              <a:rPr lang="ru-RU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ТЕКСТ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83EADFBF-68C3-5741-ADE9-EB39431486B3}"/>
              </a:ext>
            </a:extLst>
          </p:cNvPr>
          <p:cNvSpPr/>
          <p:nvPr/>
        </p:nvSpPr>
        <p:spPr>
          <a:xfrm>
            <a:off x="337045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4CF951D5-C29C-9744-9BA3-EC9E1B1D4EA2}"/>
              </a:ext>
            </a:extLst>
          </p:cNvPr>
          <p:cNvSpPr/>
          <p:nvPr/>
        </p:nvSpPr>
        <p:spPr>
          <a:xfrm>
            <a:off x="4229424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45335115-B32B-AA41-9FF1-E8C92A8BC6A8}"/>
              </a:ext>
            </a:extLst>
          </p:cNvPr>
          <p:cNvSpPr/>
          <p:nvPr/>
        </p:nvSpPr>
        <p:spPr>
          <a:xfrm>
            <a:off x="8109445" y="1773538"/>
            <a:ext cx="3744029" cy="23761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 fontAlgn="t">
              <a:spcBef>
                <a:spcPts val="600"/>
              </a:spcBef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0066453-C981-7F4C-A708-28F9117D4E0D}"/>
              </a:ext>
            </a:extLst>
          </p:cNvPr>
          <p:cNvSpPr/>
          <p:nvPr/>
        </p:nvSpPr>
        <p:spPr>
          <a:xfrm>
            <a:off x="337045" y="4297081"/>
            <a:ext cx="3742830" cy="1903694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!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4933A0EF-8EBA-7442-B80B-C2746E21852D}"/>
              </a:ext>
            </a:extLst>
          </p:cNvPr>
          <p:cNvSpPr/>
          <p:nvPr/>
        </p:nvSpPr>
        <p:spPr>
          <a:xfrm>
            <a:off x="4225860" y="4297082"/>
            <a:ext cx="3747593" cy="190369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AF6D62F4-D94D-0846-97D0-E0F8B4491405}"/>
              </a:ext>
            </a:extLst>
          </p:cNvPr>
          <p:cNvSpPr/>
          <p:nvPr/>
        </p:nvSpPr>
        <p:spPr>
          <a:xfrm>
            <a:off x="8109445" y="4297081"/>
            <a:ext cx="3747593" cy="1922427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171450" indent="-171450">
              <a:spcBef>
                <a:spcPts val="600"/>
              </a:spcBef>
              <a:buFont typeface="Wingdings" pitchFamily="2" charset="2"/>
              <a:buChar char="§"/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A42DDF-43DD-37DF-811A-465CEA483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301978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4" y="291459"/>
            <a:ext cx="971197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1501ED0D-3BD2-E24D-854B-3E248B7114C6}"/>
              </a:ext>
            </a:extLst>
          </p:cNvPr>
          <p:cNvCxnSpPr>
            <a:cxnSpLocks/>
          </p:cNvCxnSpPr>
          <p:nvPr/>
        </p:nvCxnSpPr>
        <p:spPr>
          <a:xfrm>
            <a:off x="337044" y="1767282"/>
            <a:ext cx="11516430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Овал 29">
            <a:extLst>
              <a:ext uri="{FF2B5EF4-FFF2-40B4-BE49-F238E27FC236}">
                <a16:creationId xmlns:a16="http://schemas.microsoft.com/office/drawing/2014/main" id="{945CB6E7-9B0C-5D43-99A6-B2A5FAC63F46}"/>
              </a:ext>
            </a:extLst>
          </p:cNvPr>
          <p:cNvSpPr>
            <a:spLocks noChangeAspect="1"/>
          </p:cNvSpPr>
          <p:nvPr/>
        </p:nvSpPr>
        <p:spPr>
          <a:xfrm>
            <a:off x="337044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DD33D09D-1976-F544-B738-80A21D126A4A}"/>
              </a:ext>
            </a:extLst>
          </p:cNvPr>
          <p:cNvSpPr>
            <a:spLocks noChangeAspect="1"/>
          </p:cNvSpPr>
          <p:nvPr/>
        </p:nvSpPr>
        <p:spPr>
          <a:xfrm>
            <a:off x="1814828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1AC6FF99-FFE1-5743-A433-CC7AB7E52125}"/>
              </a:ext>
            </a:extLst>
          </p:cNvPr>
          <p:cNvSpPr>
            <a:spLocks noChangeAspect="1"/>
          </p:cNvSpPr>
          <p:nvPr/>
        </p:nvSpPr>
        <p:spPr>
          <a:xfrm>
            <a:off x="4175311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F750CB-521B-A740-96DE-F5DB095300F5}"/>
              </a:ext>
            </a:extLst>
          </p:cNvPr>
          <p:cNvSpPr txBox="1"/>
          <p:nvPr/>
        </p:nvSpPr>
        <p:spPr>
          <a:xfrm>
            <a:off x="236576" y="1405505"/>
            <a:ext cx="132391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D1AF303-1673-DA4B-BF71-D0A9B0EEA53B}"/>
              </a:ext>
            </a:extLst>
          </p:cNvPr>
          <p:cNvSpPr txBox="1"/>
          <p:nvPr/>
        </p:nvSpPr>
        <p:spPr>
          <a:xfrm>
            <a:off x="1710811" y="1405505"/>
            <a:ext cx="16896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988650C-9986-594D-BEF2-C31B4927546B}"/>
              </a:ext>
            </a:extLst>
          </p:cNvPr>
          <p:cNvSpPr txBox="1"/>
          <p:nvPr/>
        </p:nvSpPr>
        <p:spPr>
          <a:xfrm>
            <a:off x="4074773" y="1405505"/>
            <a:ext cx="168963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DCAFB488-A5BE-9A46-A4A7-1C03FA36687D}"/>
              </a:ext>
            </a:extLst>
          </p:cNvPr>
          <p:cNvSpPr>
            <a:spLocks noChangeAspect="1"/>
          </p:cNvSpPr>
          <p:nvPr/>
        </p:nvSpPr>
        <p:spPr>
          <a:xfrm>
            <a:off x="6367768" y="1731282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A0484F2-8C88-AB41-9A06-B97FFBB7B4F7}"/>
              </a:ext>
            </a:extLst>
          </p:cNvPr>
          <p:cNvSpPr txBox="1"/>
          <p:nvPr/>
        </p:nvSpPr>
        <p:spPr>
          <a:xfrm>
            <a:off x="6270710" y="1405505"/>
            <a:ext cx="219867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  <a:endParaRPr lang="ru-RU" sz="1400" b="1" i="0" cap="all" baseline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EDCF66FB-9C36-A148-B5B4-41B450A7B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8084075"/>
              </p:ext>
            </p:extLst>
          </p:nvPr>
        </p:nvGraphicFramePr>
        <p:xfrm>
          <a:off x="334963" y="4292600"/>
          <a:ext cx="11516432" cy="19081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9921">
                  <a:extLst>
                    <a:ext uri="{9D8B030D-6E8A-4147-A177-3AD203B41FA5}">
                      <a16:colId xmlns:a16="http://schemas.microsoft.com/office/drawing/2014/main" val="4144217220"/>
                    </a:ext>
                  </a:extLst>
                </a:gridCol>
                <a:gridCol w="2597106">
                  <a:extLst>
                    <a:ext uri="{9D8B030D-6E8A-4147-A177-3AD203B41FA5}">
                      <a16:colId xmlns:a16="http://schemas.microsoft.com/office/drawing/2014/main" val="3279072164"/>
                    </a:ext>
                  </a:extLst>
                </a:gridCol>
                <a:gridCol w="4780297">
                  <a:extLst>
                    <a:ext uri="{9D8B030D-6E8A-4147-A177-3AD203B41FA5}">
                      <a16:colId xmlns:a16="http://schemas.microsoft.com/office/drawing/2014/main" val="2951931149"/>
                    </a:ext>
                  </a:extLst>
                </a:gridCol>
                <a:gridCol w="2879108">
                  <a:extLst>
                    <a:ext uri="{9D8B030D-6E8A-4147-A177-3AD203B41FA5}">
                      <a16:colId xmlns:a16="http://schemas.microsoft.com/office/drawing/2014/main" val="1276080842"/>
                    </a:ext>
                  </a:extLst>
                </a:gridCol>
              </a:tblGrid>
              <a:tr h="1154144"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144000" marB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2805678"/>
                  </a:ext>
                </a:extLst>
              </a:tr>
              <a:tr h="754031">
                <a:tc>
                  <a:txBody>
                    <a:bodyPr/>
                    <a:lstStyle/>
                    <a:p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144000" marR="144000" marT="144000" marB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itchFamily="2" charset="2"/>
                        <a:buChar char="§"/>
                      </a:pPr>
                      <a:r>
                        <a:rPr lang="ru-RU" sz="10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…</a:t>
                      </a:r>
                    </a:p>
                  </a:txBody>
                  <a:tcPr marL="144000" marR="144000" marT="144000" marB="1440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725792"/>
                  </a:ext>
                </a:extLst>
              </a:tr>
            </a:tbl>
          </a:graphicData>
        </a:graphic>
      </p:graphicFrame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AD468542-8851-7C4A-956A-D7FB953B4387}"/>
              </a:ext>
            </a:extLst>
          </p:cNvPr>
          <p:cNvCxnSpPr>
            <a:cxnSpLocks/>
          </p:cNvCxnSpPr>
          <p:nvPr/>
        </p:nvCxnSpPr>
        <p:spPr>
          <a:xfrm>
            <a:off x="334963" y="4149725"/>
            <a:ext cx="11509277" cy="0"/>
          </a:xfrm>
          <a:prstGeom prst="straightConnector1">
            <a:avLst/>
          </a:prstGeom>
          <a:ln w="12700">
            <a:solidFill>
              <a:srgbClr val="CCCC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AE5340D1-5133-E14D-9031-79545ED3F71B}"/>
              </a:ext>
            </a:extLst>
          </p:cNvPr>
          <p:cNvGrpSpPr/>
          <p:nvPr/>
        </p:nvGrpSpPr>
        <p:grpSpPr>
          <a:xfrm>
            <a:off x="327811" y="1912710"/>
            <a:ext cx="8713817" cy="2237014"/>
            <a:chOff x="1671661" y="2018182"/>
            <a:chExt cx="6316299" cy="2834641"/>
          </a:xfrm>
        </p:grpSpPr>
        <p:cxnSp>
          <p:nvCxnSpPr>
            <p:cNvPr id="41" name="Прямая со стрелкой 40">
              <a:extLst>
                <a:ext uri="{FF2B5EF4-FFF2-40B4-BE49-F238E27FC236}">
                  <a16:creationId xmlns:a16="http://schemas.microsoft.com/office/drawing/2014/main" id="{9453CA89-B138-F24A-B937-601241A5FC00}"/>
                </a:ext>
              </a:extLst>
            </p:cNvPr>
            <p:cNvCxnSpPr/>
            <p:nvPr/>
          </p:nvCxnSpPr>
          <p:spPr>
            <a:xfrm flipV="1">
              <a:off x="1671661" y="2018183"/>
              <a:ext cx="0" cy="2834640"/>
            </a:xfrm>
            <a:prstGeom prst="straightConnector1">
              <a:avLst/>
            </a:prstGeom>
            <a:ln w="12700">
              <a:solidFill>
                <a:srgbClr val="CCCC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37C55000-ED0D-F044-8FF8-F4D53C56F0B6}"/>
                </a:ext>
              </a:extLst>
            </p:cNvPr>
            <p:cNvCxnSpPr/>
            <p:nvPr/>
          </p:nvCxnSpPr>
          <p:spPr>
            <a:xfrm>
              <a:off x="4487664" y="2018182"/>
              <a:ext cx="4729" cy="2827021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C740EDAE-7BDD-0547-9F3A-29A1AE1B5635}"/>
                </a:ext>
              </a:extLst>
            </p:cNvPr>
            <p:cNvCxnSpPr/>
            <p:nvPr/>
          </p:nvCxnSpPr>
          <p:spPr>
            <a:xfrm>
              <a:off x="6060781" y="2071523"/>
              <a:ext cx="7620" cy="2773680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1547EEFF-7EE8-0B41-A8D5-2853EAD6D9C1}"/>
                </a:ext>
              </a:extLst>
            </p:cNvPr>
            <p:cNvCxnSpPr>
              <a:cxnSpLocks/>
            </p:cNvCxnSpPr>
            <p:nvPr/>
          </p:nvCxnSpPr>
          <p:spPr>
            <a:xfrm>
              <a:off x="7987960" y="2530436"/>
              <a:ext cx="0" cy="2322387"/>
            </a:xfrm>
            <a:prstGeom prst="line">
              <a:avLst/>
            </a:prstGeom>
            <a:ln w="12700">
              <a:solidFill>
                <a:srgbClr val="CCCCC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0C4D51D5-13E0-2B4B-BFD2-6D1EF7092D20}"/>
              </a:ext>
            </a:extLst>
          </p:cNvPr>
          <p:cNvSpPr txBox="1"/>
          <p:nvPr/>
        </p:nvSpPr>
        <p:spPr>
          <a:xfrm>
            <a:off x="432482" y="1940021"/>
            <a:ext cx="190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 …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15015EF-5888-B245-A0B4-7144EA38A4F4}"/>
              </a:ext>
            </a:extLst>
          </p:cNvPr>
          <p:cNvSpPr txBox="1"/>
          <p:nvPr/>
        </p:nvSpPr>
        <p:spPr>
          <a:xfrm>
            <a:off x="4318281" y="1940021"/>
            <a:ext cx="19018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…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A9A864-8784-5F4D-A2EE-CEFCB1F5700C}"/>
              </a:ext>
            </a:extLst>
          </p:cNvPr>
          <p:cNvSpPr txBox="1"/>
          <p:nvPr/>
        </p:nvSpPr>
        <p:spPr>
          <a:xfrm>
            <a:off x="6498794" y="1940021"/>
            <a:ext cx="484623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cap="all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1400" b="1" i="0" cap="all" baseline="0" dirty="0">
                <a:latin typeface="Verdana" panose="020B0604030504040204" pitchFamily="34" charset="0"/>
                <a:ea typeface="Verdana" panose="020B0604030504040204" pitchFamily="34" charset="0"/>
              </a:rPr>
              <a:t> …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C930C9C-C54F-134B-BDEC-280C1C5DECE7}"/>
              </a:ext>
            </a:extLst>
          </p:cNvPr>
          <p:cNvSpPr txBox="1"/>
          <p:nvPr/>
        </p:nvSpPr>
        <p:spPr>
          <a:xfrm>
            <a:off x="520060" y="2514976"/>
            <a:ext cx="215631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– …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C497678-88ED-504A-A17E-E860FFB5C5E0}"/>
              </a:ext>
            </a:extLst>
          </p:cNvPr>
          <p:cNvSpPr txBox="1"/>
          <p:nvPr/>
        </p:nvSpPr>
        <p:spPr>
          <a:xfrm>
            <a:off x="4392001" y="2514977"/>
            <a:ext cx="1834119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 …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926D184-2A0B-F74B-BE4C-EC5A77F46EE9}"/>
              </a:ext>
            </a:extLst>
          </p:cNvPr>
          <p:cNvSpPr txBox="1"/>
          <p:nvPr/>
        </p:nvSpPr>
        <p:spPr>
          <a:xfrm>
            <a:off x="6585699" y="2514976"/>
            <a:ext cx="135529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3– …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58C1D46-90D2-D04B-ABF6-144FFA5C344F}"/>
              </a:ext>
            </a:extLst>
          </p:cNvPr>
          <p:cNvSpPr txBox="1"/>
          <p:nvPr/>
        </p:nvSpPr>
        <p:spPr>
          <a:xfrm>
            <a:off x="9364525" y="2514976"/>
            <a:ext cx="135529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– …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18286466-26D1-5442-AF43-DBB3C4499A59}"/>
              </a:ext>
            </a:extLst>
          </p:cNvPr>
          <p:cNvSpPr/>
          <p:nvPr/>
        </p:nvSpPr>
        <p:spPr>
          <a:xfrm>
            <a:off x="1542261" y="3088970"/>
            <a:ext cx="529200" cy="529200"/>
          </a:xfrm>
          <a:prstGeom prst="ellips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5754C490-8878-9C48-9A37-EAE3740ECE68}"/>
              </a:ext>
            </a:extLst>
          </p:cNvPr>
          <p:cNvGrpSpPr/>
          <p:nvPr/>
        </p:nvGrpSpPr>
        <p:grpSpPr>
          <a:xfrm>
            <a:off x="4537178" y="3039347"/>
            <a:ext cx="1517629" cy="706032"/>
            <a:chOff x="3727855" y="3039347"/>
            <a:chExt cx="1517629" cy="706032"/>
          </a:xfrm>
          <a:solidFill>
            <a:srgbClr val="28BE46"/>
          </a:solidFill>
        </p:grpSpPr>
        <p:sp>
          <p:nvSpPr>
            <p:cNvPr id="77" name="Овал 76">
              <a:extLst>
                <a:ext uri="{FF2B5EF4-FFF2-40B4-BE49-F238E27FC236}">
                  <a16:creationId xmlns:a16="http://schemas.microsoft.com/office/drawing/2014/main" id="{2D11306D-1494-074A-A983-A830F9C70042}"/>
                </a:ext>
              </a:extLst>
            </p:cNvPr>
            <p:cNvSpPr/>
            <p:nvPr/>
          </p:nvSpPr>
          <p:spPr>
            <a:xfrm>
              <a:off x="4383266" y="3039347"/>
              <a:ext cx="370800" cy="3708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8" name="Овал 77">
              <a:extLst>
                <a:ext uri="{FF2B5EF4-FFF2-40B4-BE49-F238E27FC236}">
                  <a16:creationId xmlns:a16="http://schemas.microsoft.com/office/drawing/2014/main" id="{948920B8-E3CB-D845-BF05-CDD127598293}"/>
                </a:ext>
              </a:extLst>
            </p:cNvPr>
            <p:cNvSpPr/>
            <p:nvPr/>
          </p:nvSpPr>
          <p:spPr>
            <a:xfrm>
              <a:off x="4619719" y="3497949"/>
              <a:ext cx="247442" cy="2474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9" name="Овал 78">
              <a:extLst>
                <a:ext uri="{FF2B5EF4-FFF2-40B4-BE49-F238E27FC236}">
                  <a16:creationId xmlns:a16="http://schemas.microsoft.com/office/drawing/2014/main" id="{1D02FEAB-DAA9-7C43-90E1-97212074868D}"/>
                </a:ext>
              </a:extLst>
            </p:cNvPr>
            <p:cNvSpPr/>
            <p:nvPr/>
          </p:nvSpPr>
          <p:spPr>
            <a:xfrm>
              <a:off x="4998042" y="3224344"/>
              <a:ext cx="247442" cy="24743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0" name="Овал 79">
              <a:extLst>
                <a:ext uri="{FF2B5EF4-FFF2-40B4-BE49-F238E27FC236}">
                  <a16:creationId xmlns:a16="http://schemas.microsoft.com/office/drawing/2014/main" id="{17DDED6B-C3E8-0B45-8CA6-B876BB06776B}"/>
                </a:ext>
              </a:extLst>
            </p:cNvPr>
            <p:cNvSpPr/>
            <p:nvPr/>
          </p:nvSpPr>
          <p:spPr>
            <a:xfrm>
              <a:off x="3727855" y="3174806"/>
              <a:ext cx="529200" cy="53040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F24B3313-523F-5A41-9BA6-EE564BA8B8AC}"/>
              </a:ext>
            </a:extLst>
          </p:cNvPr>
          <p:cNvGrpSpPr/>
          <p:nvPr/>
        </p:nvGrpSpPr>
        <p:grpSpPr>
          <a:xfrm>
            <a:off x="9842615" y="2993164"/>
            <a:ext cx="1249412" cy="852592"/>
            <a:chOff x="9595789" y="2922307"/>
            <a:chExt cx="1249412" cy="852592"/>
          </a:xfrm>
          <a:solidFill>
            <a:srgbClr val="28BE46"/>
          </a:solidFill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id="{AD31C3A3-6587-5341-A4A9-A1604730F913}"/>
                </a:ext>
              </a:extLst>
            </p:cNvPr>
            <p:cNvSpPr/>
            <p:nvPr/>
          </p:nvSpPr>
          <p:spPr>
            <a:xfrm>
              <a:off x="9712052" y="347501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69" name="Овал 68">
              <a:extLst>
                <a:ext uri="{FF2B5EF4-FFF2-40B4-BE49-F238E27FC236}">
                  <a16:creationId xmlns:a16="http://schemas.microsoft.com/office/drawing/2014/main" id="{C141BD11-77FB-8248-8E04-16B0316112AA}"/>
                </a:ext>
              </a:extLst>
            </p:cNvPr>
            <p:cNvSpPr/>
            <p:nvPr/>
          </p:nvSpPr>
          <p:spPr>
            <a:xfrm>
              <a:off x="10146576" y="358031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D62FF044-60C4-3148-9182-A14742AAE574}"/>
                </a:ext>
              </a:extLst>
            </p:cNvPr>
            <p:cNvSpPr/>
            <p:nvPr/>
          </p:nvSpPr>
          <p:spPr>
            <a:xfrm>
              <a:off x="9882347" y="365461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2" name="Овал 81">
              <a:extLst>
                <a:ext uri="{FF2B5EF4-FFF2-40B4-BE49-F238E27FC236}">
                  <a16:creationId xmlns:a16="http://schemas.microsoft.com/office/drawing/2014/main" id="{0B8481E6-8D43-EE4D-99DC-5C5AB0D29BDF}"/>
                </a:ext>
              </a:extLst>
            </p:cNvPr>
            <p:cNvSpPr/>
            <p:nvPr/>
          </p:nvSpPr>
          <p:spPr>
            <a:xfrm>
              <a:off x="9918452" y="347708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:a16="http://schemas.microsoft.com/office/drawing/2014/main" id="{F1F28A71-723E-C343-8E01-666171BB924B}"/>
                </a:ext>
              </a:extLst>
            </p:cNvPr>
            <p:cNvSpPr/>
            <p:nvPr/>
          </p:nvSpPr>
          <p:spPr>
            <a:xfrm>
              <a:off x="10451135" y="3449942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:a16="http://schemas.microsoft.com/office/drawing/2014/main" id="{A08DE042-1E71-7040-8E45-FB0AC537911A}"/>
                </a:ext>
              </a:extLst>
            </p:cNvPr>
            <p:cNvSpPr/>
            <p:nvPr/>
          </p:nvSpPr>
          <p:spPr>
            <a:xfrm>
              <a:off x="10422781" y="366689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:a16="http://schemas.microsoft.com/office/drawing/2014/main" id="{7F955D1C-4220-F748-8C23-2AD05B8B8914}"/>
                </a:ext>
              </a:extLst>
            </p:cNvPr>
            <p:cNvSpPr/>
            <p:nvPr/>
          </p:nvSpPr>
          <p:spPr>
            <a:xfrm>
              <a:off x="10669662" y="340409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id="{EF99B6A1-A58A-A947-8BE5-FED03B793C4E}"/>
                </a:ext>
              </a:extLst>
            </p:cNvPr>
            <p:cNvSpPr/>
            <p:nvPr/>
          </p:nvSpPr>
          <p:spPr>
            <a:xfrm>
              <a:off x="9595789" y="312598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7" name="Овал 86">
              <a:extLst>
                <a:ext uri="{FF2B5EF4-FFF2-40B4-BE49-F238E27FC236}">
                  <a16:creationId xmlns:a16="http://schemas.microsoft.com/office/drawing/2014/main" id="{733827DB-1313-5E40-AA56-4229A1395E7A}"/>
                </a:ext>
              </a:extLst>
            </p:cNvPr>
            <p:cNvSpPr/>
            <p:nvPr/>
          </p:nvSpPr>
          <p:spPr>
            <a:xfrm>
              <a:off x="10030313" y="323129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BF04EF15-708F-CC45-B463-AE2DFC967482}"/>
                </a:ext>
              </a:extLst>
            </p:cNvPr>
            <p:cNvSpPr/>
            <p:nvPr/>
          </p:nvSpPr>
          <p:spPr>
            <a:xfrm>
              <a:off x="9766084" y="330558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89" name="Овал 88">
              <a:extLst>
                <a:ext uri="{FF2B5EF4-FFF2-40B4-BE49-F238E27FC236}">
                  <a16:creationId xmlns:a16="http://schemas.microsoft.com/office/drawing/2014/main" id="{920577C6-AF3F-DB49-BB2D-57A0D3BB2248}"/>
                </a:ext>
              </a:extLst>
            </p:cNvPr>
            <p:cNvSpPr/>
            <p:nvPr/>
          </p:nvSpPr>
          <p:spPr>
            <a:xfrm>
              <a:off x="9802189" y="3128058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0" name="Овал 89">
              <a:extLst>
                <a:ext uri="{FF2B5EF4-FFF2-40B4-BE49-F238E27FC236}">
                  <a16:creationId xmlns:a16="http://schemas.microsoft.com/office/drawing/2014/main" id="{E902965F-F087-D241-BA42-732CD1D2B282}"/>
                </a:ext>
              </a:extLst>
            </p:cNvPr>
            <p:cNvSpPr/>
            <p:nvPr/>
          </p:nvSpPr>
          <p:spPr>
            <a:xfrm>
              <a:off x="10334872" y="3100916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1" name="Овал 90">
              <a:extLst>
                <a:ext uri="{FF2B5EF4-FFF2-40B4-BE49-F238E27FC236}">
                  <a16:creationId xmlns:a16="http://schemas.microsoft.com/office/drawing/2014/main" id="{936FB16E-612B-4C4B-9DB3-8F6F68AEAF5E}"/>
                </a:ext>
              </a:extLst>
            </p:cNvPr>
            <p:cNvSpPr/>
            <p:nvPr/>
          </p:nvSpPr>
          <p:spPr>
            <a:xfrm>
              <a:off x="10306518" y="3317873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2" name="Овал 91">
              <a:extLst>
                <a:ext uri="{FF2B5EF4-FFF2-40B4-BE49-F238E27FC236}">
                  <a16:creationId xmlns:a16="http://schemas.microsoft.com/office/drawing/2014/main" id="{5B2005FA-91E6-EB4F-8C05-0E084FA7E9E2}"/>
                </a:ext>
              </a:extLst>
            </p:cNvPr>
            <p:cNvSpPr/>
            <p:nvPr/>
          </p:nvSpPr>
          <p:spPr>
            <a:xfrm>
              <a:off x="10737201" y="3097474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7771FE3F-A049-1947-9BDA-AE23AA84A32F}"/>
                </a:ext>
              </a:extLst>
            </p:cNvPr>
            <p:cNvSpPr/>
            <p:nvPr/>
          </p:nvSpPr>
          <p:spPr>
            <a:xfrm>
              <a:off x="10191658" y="3160472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4" name="Овал 93">
              <a:extLst>
                <a:ext uri="{FF2B5EF4-FFF2-40B4-BE49-F238E27FC236}">
                  <a16:creationId xmlns:a16="http://schemas.microsoft.com/office/drawing/2014/main" id="{99E31682-E4BD-CD4B-ABD3-F7AACB973DAA}"/>
                </a:ext>
              </a:extLst>
            </p:cNvPr>
            <p:cNvSpPr/>
            <p:nvPr/>
          </p:nvSpPr>
          <p:spPr>
            <a:xfrm>
              <a:off x="10536835" y="3157030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id="{B94BF120-72F9-494A-9651-EA32BE5D001C}"/>
                </a:ext>
              </a:extLst>
            </p:cNvPr>
            <p:cNvSpPr/>
            <p:nvPr/>
          </p:nvSpPr>
          <p:spPr>
            <a:xfrm>
              <a:off x="10061107" y="2925749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CFC980DE-6CDA-8E41-B0B6-B7804D52CC7B}"/>
                </a:ext>
              </a:extLst>
            </p:cNvPr>
            <p:cNvSpPr/>
            <p:nvPr/>
          </p:nvSpPr>
          <p:spPr>
            <a:xfrm>
              <a:off x="10406284" y="2922307"/>
              <a:ext cx="108000" cy="108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089365C-B5A9-0A4B-84C1-F8BD713B251A}"/>
              </a:ext>
            </a:extLst>
          </p:cNvPr>
          <p:cNvGrpSpPr/>
          <p:nvPr/>
        </p:nvGrpSpPr>
        <p:grpSpPr>
          <a:xfrm>
            <a:off x="7023089" y="3097132"/>
            <a:ext cx="1446293" cy="699724"/>
            <a:chOff x="7023089" y="3097132"/>
            <a:chExt cx="1446293" cy="699724"/>
          </a:xfrm>
          <a:solidFill>
            <a:srgbClr val="28BE46"/>
          </a:solidFill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id="{4B1D2B7C-A261-6047-9DB9-6C7149B54442}"/>
                </a:ext>
              </a:extLst>
            </p:cNvPr>
            <p:cNvSpPr/>
            <p:nvPr/>
          </p:nvSpPr>
          <p:spPr>
            <a:xfrm>
              <a:off x="7444611" y="3309607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4" name="Овал 73">
              <a:extLst>
                <a:ext uri="{FF2B5EF4-FFF2-40B4-BE49-F238E27FC236}">
                  <a16:creationId xmlns:a16="http://schemas.microsoft.com/office/drawing/2014/main" id="{FEFAE946-002E-884D-ACF0-1B63B60A89FF}"/>
                </a:ext>
              </a:extLst>
            </p:cNvPr>
            <p:cNvSpPr/>
            <p:nvPr/>
          </p:nvSpPr>
          <p:spPr>
            <a:xfrm>
              <a:off x="7822491" y="3548456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5" name="Овал 74">
              <a:extLst>
                <a:ext uri="{FF2B5EF4-FFF2-40B4-BE49-F238E27FC236}">
                  <a16:creationId xmlns:a16="http://schemas.microsoft.com/office/drawing/2014/main" id="{8759F9BE-6D20-1A48-BF27-63EDD74CE438}"/>
                </a:ext>
              </a:extLst>
            </p:cNvPr>
            <p:cNvSpPr/>
            <p:nvPr/>
          </p:nvSpPr>
          <p:spPr>
            <a:xfrm>
              <a:off x="7023089" y="3097132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FF21B566-9A32-9544-891D-A2B7AC665B94}"/>
                </a:ext>
              </a:extLst>
            </p:cNvPr>
            <p:cNvSpPr/>
            <p:nvPr/>
          </p:nvSpPr>
          <p:spPr>
            <a:xfrm>
              <a:off x="7120969" y="3543175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2F7EF101-A260-BB42-B724-8B3639251D2F}"/>
                </a:ext>
              </a:extLst>
            </p:cNvPr>
            <p:cNvSpPr/>
            <p:nvPr/>
          </p:nvSpPr>
          <p:spPr>
            <a:xfrm>
              <a:off x="7844060" y="3180611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  <p:sp>
          <p:nvSpPr>
            <p:cNvPr id="98" name="Овал 97">
              <a:extLst>
                <a:ext uri="{FF2B5EF4-FFF2-40B4-BE49-F238E27FC236}">
                  <a16:creationId xmlns:a16="http://schemas.microsoft.com/office/drawing/2014/main" id="{B9A2316C-A42D-914C-A159-977E86AA01DD}"/>
                </a:ext>
              </a:extLst>
            </p:cNvPr>
            <p:cNvSpPr/>
            <p:nvPr/>
          </p:nvSpPr>
          <p:spPr>
            <a:xfrm>
              <a:off x="8221940" y="3419460"/>
              <a:ext cx="247442" cy="2484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Calibri"/>
              </a:endParaRPr>
            </a:p>
          </p:txBody>
        </p:sp>
      </p:grpSp>
      <p:sp>
        <p:nvSpPr>
          <p:cNvPr id="99" name="Овал 98">
            <a:extLst>
              <a:ext uri="{FF2B5EF4-FFF2-40B4-BE49-F238E27FC236}">
                <a16:creationId xmlns:a16="http://schemas.microsoft.com/office/drawing/2014/main" id="{1F2FC79F-1EC2-E04B-9307-BF2E8144FED7}"/>
              </a:ext>
            </a:extLst>
          </p:cNvPr>
          <p:cNvSpPr/>
          <p:nvPr/>
        </p:nvSpPr>
        <p:spPr>
          <a:xfrm>
            <a:off x="2213772" y="3260420"/>
            <a:ext cx="529200" cy="529200"/>
          </a:xfrm>
          <a:prstGeom prst="ellipse">
            <a:avLst/>
          </a:prstGeom>
          <a:solidFill>
            <a:srgbClr val="28BE46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Calibri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55F1ABA-B572-5643-A941-FE3364849BFB}"/>
              </a:ext>
            </a:extLst>
          </p:cNvPr>
          <p:cNvSpPr txBox="1"/>
          <p:nvPr/>
        </p:nvSpPr>
        <p:spPr>
          <a:xfrm>
            <a:off x="245256" y="6399921"/>
            <a:ext cx="61102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*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здаваемая ценность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F7B3A0E-285B-F940-85B7-C3FE3A4C6A14}"/>
              </a:ext>
            </a:extLst>
          </p:cNvPr>
          <p:cNvSpPr txBox="1"/>
          <p:nvPr/>
        </p:nvSpPr>
        <p:spPr>
          <a:xfrm>
            <a:off x="2732437" y="3246993"/>
            <a:ext cx="173077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004077"/>
              </a:buClr>
              <a:buSzPct val="90000"/>
              <a:buFontTx/>
              <a:buNone/>
              <a:tabLst/>
              <a:defRPr/>
            </a:pPr>
            <a:r>
              <a:rPr lang="en-US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4434C5-EDA8-714F-A062-0C9D8DAA5046}"/>
              </a:ext>
            </a:extLst>
          </p:cNvPr>
          <p:cNvSpPr txBox="1"/>
          <p:nvPr/>
        </p:nvSpPr>
        <p:spPr>
          <a:xfrm>
            <a:off x="11424062" y="2505694"/>
            <a:ext cx="0" cy="0"/>
          </a:xfrm>
          <a:prstGeom prst="rect">
            <a:avLst/>
          </a:prstGeom>
          <a:noFill/>
        </p:spPr>
        <p:txBody>
          <a:bodyPr wrap="none" lIns="0" tIns="0" rIns="0" bIns="36000" rtlCol="0">
            <a:noAutofit/>
          </a:bodyPr>
          <a:lstStyle/>
          <a:p>
            <a:pPr algn="l">
              <a:lnSpc>
                <a:spcPct val="80000"/>
              </a:lnSpc>
              <a:spcBef>
                <a:spcPts val="300"/>
              </a:spcBef>
            </a:pPr>
            <a:endParaRPr lang="ru-RU" sz="1100" dirty="0" err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C384F76A-715A-D34B-865D-4423B8732E07}"/>
              </a:ext>
            </a:extLst>
          </p:cNvPr>
          <p:cNvSpPr txBox="1"/>
          <p:nvPr/>
        </p:nvSpPr>
        <p:spPr>
          <a:xfrm>
            <a:off x="354238" y="3886158"/>
            <a:ext cx="2682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Q</a:t>
            </a:r>
            <a:endParaRPr lang="ru-RU" sz="800" dirty="0">
              <a:solidFill>
                <a:srgbClr val="7E7E7E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5D926F41-B70F-074A-82A8-2746430035E6}"/>
              </a:ext>
            </a:extLst>
          </p:cNvPr>
          <p:cNvSpPr txBox="1"/>
          <p:nvPr/>
        </p:nvSpPr>
        <p:spPr>
          <a:xfrm>
            <a:off x="11340298" y="3886158"/>
            <a:ext cx="48785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ремя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5570B2-CA6A-63F7-7D1F-14722E6FC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7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04843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43B145A-9244-4F70-DD7A-67621D41E5B0}"/>
              </a:ext>
            </a:extLst>
          </p:cNvPr>
          <p:cNvSpPr txBox="1"/>
          <p:nvPr/>
        </p:nvSpPr>
        <p:spPr>
          <a:xfrm>
            <a:off x="337043" y="285883"/>
            <a:ext cx="946531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id="{DFD3695D-2C75-664A-B94F-ED306A0AA52A}"/>
              </a:ext>
            </a:extLst>
          </p:cNvPr>
          <p:cNvSpPr/>
          <p:nvPr/>
        </p:nvSpPr>
        <p:spPr>
          <a:xfrm>
            <a:off x="337045" y="1125538"/>
            <a:ext cx="2771279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2" name="Прямоугольник 151">
            <a:extLst>
              <a:ext uri="{FF2B5EF4-FFF2-40B4-BE49-F238E27FC236}">
                <a16:creationId xmlns:a16="http://schemas.microsoft.com/office/drawing/2014/main" id="{B9066A7F-E2E6-EC4C-99F3-AEEAB9C062E4}"/>
              </a:ext>
            </a:extLst>
          </p:cNvPr>
          <p:cNvSpPr/>
          <p:nvPr/>
        </p:nvSpPr>
        <p:spPr>
          <a:xfrm>
            <a:off x="337045" y="1773538"/>
            <a:ext cx="2771280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id="{F432E0F4-FE78-6947-9759-51D0DCD554D8}"/>
              </a:ext>
            </a:extLst>
          </p:cNvPr>
          <p:cNvSpPr/>
          <p:nvPr/>
        </p:nvSpPr>
        <p:spPr>
          <a:xfrm>
            <a:off x="3251200" y="1125538"/>
            <a:ext cx="277544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ШАГ 1</a:t>
            </a:r>
          </a:p>
        </p:txBody>
      </p:sp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83C75857-15A7-5B4C-AF48-B2A9DA6CC440}"/>
              </a:ext>
            </a:extLst>
          </p:cNvPr>
          <p:cNvSpPr/>
          <p:nvPr/>
        </p:nvSpPr>
        <p:spPr>
          <a:xfrm>
            <a:off x="3251200" y="1773538"/>
            <a:ext cx="2775449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1.  </a:t>
            </a:r>
          </a:p>
          <a:p>
            <a:pPr lvl="0" fontAlgn="t">
              <a:spcBef>
                <a:spcPts val="600"/>
              </a:spcBef>
              <a:defRPr/>
            </a:pP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42212B9E-8C64-D741-BEF8-5D96DC645264}"/>
              </a:ext>
            </a:extLst>
          </p:cNvPr>
          <p:cNvSpPr/>
          <p:nvPr/>
        </p:nvSpPr>
        <p:spPr>
          <a:xfrm>
            <a:off x="6167437" y="1125538"/>
            <a:ext cx="2775448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2</a:t>
            </a:r>
          </a:p>
        </p:txBody>
      </p: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5D7EDD43-3DE4-4649-8707-0F950D8ADA21}"/>
              </a:ext>
            </a:extLst>
          </p:cNvPr>
          <p:cNvSpPr/>
          <p:nvPr/>
        </p:nvSpPr>
        <p:spPr>
          <a:xfrm>
            <a:off x="6167438" y="1773538"/>
            <a:ext cx="2775068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2. ………  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0DFFF7BF-6388-514D-95FF-35C6068F100E}"/>
              </a:ext>
            </a:extLst>
          </p:cNvPr>
          <p:cNvSpPr/>
          <p:nvPr/>
        </p:nvSpPr>
        <p:spPr>
          <a:xfrm>
            <a:off x="9086738" y="1125538"/>
            <a:ext cx="2770300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lvl="0">
              <a:spcBef>
                <a:spcPts val="300"/>
              </a:spcBef>
              <a:defRPr/>
            </a:pPr>
            <a:r>
              <a:rPr lang="ru-RU" sz="14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62747242-E020-EA47-9F4F-CA7163D72CF6}"/>
              </a:ext>
            </a:extLst>
          </p:cNvPr>
          <p:cNvSpPr/>
          <p:nvPr/>
        </p:nvSpPr>
        <p:spPr>
          <a:xfrm>
            <a:off x="9086737" y="1773538"/>
            <a:ext cx="2768218" cy="3960512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Шаг 3.  </a:t>
            </a:r>
          </a:p>
          <a:p>
            <a:pPr marL="171450" lvl="0" indent="-171450" fontAlgn="t">
              <a:spcBef>
                <a:spcPts val="600"/>
              </a:spcBef>
              <a:buFont typeface="Wingdings" pitchFamily="2" charset="2"/>
              <a:buChar char="§"/>
              <a:defRPr/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D44E9EBE-7E62-AF46-987B-CA4D2C8C65B1}"/>
              </a:ext>
            </a:extLst>
          </p:cNvPr>
          <p:cNvSpPr/>
          <p:nvPr/>
        </p:nvSpPr>
        <p:spPr>
          <a:xfrm>
            <a:off x="3411928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1971DA1B-B12C-6D4C-A3CB-2BCA99FFA3E2}"/>
              </a:ext>
            </a:extLst>
          </p:cNvPr>
          <p:cNvSpPr/>
          <p:nvPr/>
        </p:nvSpPr>
        <p:spPr>
          <a:xfrm>
            <a:off x="3411928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A54219F4-EF4A-C844-AC6F-43E266AB89C3}"/>
              </a:ext>
            </a:extLst>
          </p:cNvPr>
          <p:cNvSpPr/>
          <p:nvPr/>
        </p:nvSpPr>
        <p:spPr>
          <a:xfrm>
            <a:off x="3411928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BF2E879F-0E89-0A49-A017-3D467A2791D7}"/>
              </a:ext>
            </a:extLst>
          </p:cNvPr>
          <p:cNvSpPr/>
          <p:nvPr/>
        </p:nvSpPr>
        <p:spPr>
          <a:xfrm>
            <a:off x="3411928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B15F817F-4CBB-1345-AA32-BE2966FF4736}"/>
              </a:ext>
            </a:extLst>
          </p:cNvPr>
          <p:cNvSpPr/>
          <p:nvPr/>
        </p:nvSpPr>
        <p:spPr>
          <a:xfrm>
            <a:off x="4756277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25" name="Соединительная линия уступом 24">
            <a:extLst>
              <a:ext uri="{FF2B5EF4-FFF2-40B4-BE49-F238E27FC236}">
                <a16:creationId xmlns:a16="http://schemas.microsoft.com/office/drawing/2014/main" id="{9AD79763-EADB-2B4D-BFB9-F21591AF94AA}"/>
              </a:ext>
            </a:extLst>
          </p:cNvPr>
          <p:cNvCxnSpPr>
            <a:stCxn id="174" idx="2"/>
            <a:endCxn id="172" idx="3"/>
          </p:cNvCxnSpPr>
          <p:nvPr/>
        </p:nvCxnSpPr>
        <p:spPr>
          <a:xfrm rot="5400000">
            <a:off x="4745177" y="3218894"/>
            <a:ext cx="348553" cy="787449"/>
          </a:xfrm>
          <a:prstGeom prst="bentConnector2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E8224C83-1E4A-D642-AF86-AF5D7FDB4325}"/>
              </a:ext>
            </a:extLst>
          </p:cNvPr>
          <p:cNvSpPr txBox="1"/>
          <p:nvPr/>
        </p:nvSpPr>
        <p:spPr>
          <a:xfrm>
            <a:off x="5392335" y="3224569"/>
            <a:ext cx="490083" cy="33855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,01%</a:t>
            </a: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AA0C6D7B-8514-F94D-890B-B0AC0A27EFAB}"/>
              </a:ext>
            </a:extLst>
          </p:cNvPr>
          <p:cNvCxnSpPr>
            <a:stCxn id="169" idx="2"/>
            <a:endCxn id="170" idx="0"/>
          </p:cNvCxnSpPr>
          <p:nvPr/>
        </p:nvCxnSpPr>
        <p:spPr>
          <a:xfrm>
            <a:off x="3968828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 стрелкой 179">
            <a:extLst>
              <a:ext uri="{FF2B5EF4-FFF2-40B4-BE49-F238E27FC236}">
                <a16:creationId xmlns:a16="http://schemas.microsoft.com/office/drawing/2014/main" id="{C5E35E2E-DE12-3643-8406-641041AFDCA7}"/>
              </a:ext>
            </a:extLst>
          </p:cNvPr>
          <p:cNvCxnSpPr/>
          <p:nvPr/>
        </p:nvCxnSpPr>
        <p:spPr>
          <a:xfrm>
            <a:off x="3968828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 стрелкой 180">
            <a:extLst>
              <a:ext uri="{FF2B5EF4-FFF2-40B4-BE49-F238E27FC236}">
                <a16:creationId xmlns:a16="http://schemas.microsoft.com/office/drawing/2014/main" id="{12614A9B-9CCE-9C48-9DA4-C55E63D67C62}"/>
              </a:ext>
            </a:extLst>
          </p:cNvPr>
          <p:cNvCxnSpPr/>
          <p:nvPr/>
        </p:nvCxnSpPr>
        <p:spPr>
          <a:xfrm>
            <a:off x="3968828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>
            <a:extLst>
              <a:ext uri="{FF2B5EF4-FFF2-40B4-BE49-F238E27FC236}">
                <a16:creationId xmlns:a16="http://schemas.microsoft.com/office/drawing/2014/main" id="{B8D41FEF-BD16-944C-9189-0F058729B4F5}"/>
              </a:ext>
            </a:extLst>
          </p:cNvPr>
          <p:cNvSpPr txBox="1"/>
          <p:nvPr/>
        </p:nvSpPr>
        <p:spPr>
          <a:xfrm>
            <a:off x="4034710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F86FF756-09E2-5C4F-9211-B60BDBB8CF19}"/>
              </a:ext>
            </a:extLst>
          </p:cNvPr>
          <p:cNvSpPr txBox="1"/>
          <p:nvPr/>
        </p:nvSpPr>
        <p:spPr>
          <a:xfrm>
            <a:off x="4034710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24DE11A2-17A7-A440-A6BB-5E744A6A15BC}"/>
              </a:ext>
            </a:extLst>
          </p:cNvPr>
          <p:cNvSpPr txBox="1"/>
          <p:nvPr/>
        </p:nvSpPr>
        <p:spPr>
          <a:xfrm>
            <a:off x="3923020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9.99%</a:t>
            </a:r>
          </a:p>
        </p:txBody>
      </p:sp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id="{8D83ABFE-1589-BB4A-B28E-8C6AC8DDE30C}"/>
              </a:ext>
            </a:extLst>
          </p:cNvPr>
          <p:cNvSpPr/>
          <p:nvPr/>
        </p:nvSpPr>
        <p:spPr>
          <a:xfrm>
            <a:off x="507861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88" name="Прямоугольник 187">
            <a:extLst>
              <a:ext uri="{FF2B5EF4-FFF2-40B4-BE49-F238E27FC236}">
                <a16:creationId xmlns:a16="http://schemas.microsoft.com/office/drawing/2014/main" id="{E007276B-0811-3B45-8F12-58D3EB26FBA4}"/>
              </a:ext>
            </a:extLst>
          </p:cNvPr>
          <p:cNvSpPr/>
          <p:nvPr/>
        </p:nvSpPr>
        <p:spPr>
          <a:xfrm>
            <a:off x="507861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89" name="Прямоугольник 188">
            <a:extLst>
              <a:ext uri="{FF2B5EF4-FFF2-40B4-BE49-F238E27FC236}">
                <a16:creationId xmlns:a16="http://schemas.microsoft.com/office/drawing/2014/main" id="{7488FBC8-0A1A-1F44-AA7C-DA9464EBC6FE}"/>
              </a:ext>
            </a:extLst>
          </p:cNvPr>
          <p:cNvSpPr/>
          <p:nvPr/>
        </p:nvSpPr>
        <p:spPr>
          <a:xfrm>
            <a:off x="507861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0BB06ED4-9D75-F746-A66E-5F0E4EAE7621}"/>
              </a:ext>
            </a:extLst>
          </p:cNvPr>
          <p:cNvSpPr/>
          <p:nvPr/>
        </p:nvSpPr>
        <p:spPr>
          <a:xfrm>
            <a:off x="507861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cxnSp>
        <p:nvCxnSpPr>
          <p:cNvPr id="191" name="Прямая со стрелкой 190">
            <a:extLst>
              <a:ext uri="{FF2B5EF4-FFF2-40B4-BE49-F238E27FC236}">
                <a16:creationId xmlns:a16="http://schemas.microsoft.com/office/drawing/2014/main" id="{545C2D9A-7A8F-F44D-BF9E-19C0DB60908E}"/>
              </a:ext>
            </a:extLst>
          </p:cNvPr>
          <p:cNvCxnSpPr>
            <a:stCxn id="187" idx="2"/>
            <a:endCxn id="188" idx="0"/>
          </p:cNvCxnSpPr>
          <p:nvPr/>
        </p:nvCxnSpPr>
        <p:spPr>
          <a:xfrm>
            <a:off x="1064761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Прямая со стрелкой 191">
            <a:extLst>
              <a:ext uri="{FF2B5EF4-FFF2-40B4-BE49-F238E27FC236}">
                <a16:creationId xmlns:a16="http://schemas.microsoft.com/office/drawing/2014/main" id="{A543E961-1882-A14F-92E0-1578399BFEF8}"/>
              </a:ext>
            </a:extLst>
          </p:cNvPr>
          <p:cNvCxnSpPr/>
          <p:nvPr/>
        </p:nvCxnSpPr>
        <p:spPr>
          <a:xfrm>
            <a:off x="1064761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Прямая со стрелкой 192">
            <a:extLst>
              <a:ext uri="{FF2B5EF4-FFF2-40B4-BE49-F238E27FC236}">
                <a16:creationId xmlns:a16="http://schemas.microsoft.com/office/drawing/2014/main" id="{402DBD1B-0DE4-214A-BC40-772C738DB818}"/>
              </a:ext>
            </a:extLst>
          </p:cNvPr>
          <p:cNvCxnSpPr/>
          <p:nvPr/>
        </p:nvCxnSpPr>
        <p:spPr>
          <a:xfrm>
            <a:off x="1064761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TextBox 194">
            <a:extLst>
              <a:ext uri="{FF2B5EF4-FFF2-40B4-BE49-F238E27FC236}">
                <a16:creationId xmlns:a16="http://schemas.microsoft.com/office/drawing/2014/main" id="{648F571A-19C5-9B4F-AD68-73BCED8181E8}"/>
              </a:ext>
            </a:extLst>
          </p:cNvPr>
          <p:cNvSpPr txBox="1"/>
          <p:nvPr/>
        </p:nvSpPr>
        <p:spPr>
          <a:xfrm>
            <a:off x="1130643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AA9E65CE-7168-AA45-BF69-3EEF15A41D30}"/>
              </a:ext>
            </a:extLst>
          </p:cNvPr>
          <p:cNvSpPr txBox="1"/>
          <p:nvPr/>
        </p:nvSpPr>
        <p:spPr>
          <a:xfrm>
            <a:off x="1130643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780B141D-8985-A249-9DED-F5E3E164604E}"/>
              </a:ext>
            </a:extLst>
          </p:cNvPr>
          <p:cNvSpPr txBox="1"/>
          <p:nvPr/>
        </p:nvSpPr>
        <p:spPr>
          <a:xfrm>
            <a:off x="1018953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99.99%</a:t>
            </a:r>
          </a:p>
        </p:txBody>
      </p:sp>
      <p:sp>
        <p:nvSpPr>
          <p:cNvPr id="198" name="Прямоугольник 197">
            <a:extLst>
              <a:ext uri="{FF2B5EF4-FFF2-40B4-BE49-F238E27FC236}">
                <a16:creationId xmlns:a16="http://schemas.microsoft.com/office/drawing/2014/main" id="{D0B12C41-E11A-BA49-9FEF-51D7E3A75BA0}"/>
              </a:ext>
            </a:extLst>
          </p:cNvPr>
          <p:cNvSpPr/>
          <p:nvPr/>
        </p:nvSpPr>
        <p:spPr>
          <a:xfrm>
            <a:off x="6307528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99" name="Прямоугольник 198">
            <a:extLst>
              <a:ext uri="{FF2B5EF4-FFF2-40B4-BE49-F238E27FC236}">
                <a16:creationId xmlns:a16="http://schemas.microsoft.com/office/drawing/2014/main" id="{47532C04-B1B0-084E-A345-FF53D4475A3D}"/>
              </a:ext>
            </a:extLst>
          </p:cNvPr>
          <p:cNvSpPr/>
          <p:nvPr/>
        </p:nvSpPr>
        <p:spPr>
          <a:xfrm>
            <a:off x="6307528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1F76E15C-4C7C-7440-9DFC-B9FF22721B79}"/>
              </a:ext>
            </a:extLst>
          </p:cNvPr>
          <p:cNvSpPr/>
          <p:nvPr/>
        </p:nvSpPr>
        <p:spPr>
          <a:xfrm>
            <a:off x="6307528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id="{E0543AF5-A4BE-7445-BB55-1A435B0A4CFE}"/>
              </a:ext>
            </a:extLst>
          </p:cNvPr>
          <p:cNvSpPr/>
          <p:nvPr/>
        </p:nvSpPr>
        <p:spPr>
          <a:xfrm>
            <a:off x="7651877" y="3078342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cxnSp>
        <p:nvCxnSpPr>
          <p:cNvPr id="205" name="Прямая со стрелкой 204">
            <a:extLst>
              <a:ext uri="{FF2B5EF4-FFF2-40B4-BE49-F238E27FC236}">
                <a16:creationId xmlns:a16="http://schemas.microsoft.com/office/drawing/2014/main" id="{92BBF3B2-D1CD-A349-94A4-665C789EF85F}"/>
              </a:ext>
            </a:extLst>
          </p:cNvPr>
          <p:cNvCxnSpPr>
            <a:stCxn id="198" idx="2"/>
            <a:endCxn id="199" idx="0"/>
          </p:cNvCxnSpPr>
          <p:nvPr/>
        </p:nvCxnSpPr>
        <p:spPr>
          <a:xfrm>
            <a:off x="6864428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Прямая со стрелкой 205">
            <a:extLst>
              <a:ext uri="{FF2B5EF4-FFF2-40B4-BE49-F238E27FC236}">
                <a16:creationId xmlns:a16="http://schemas.microsoft.com/office/drawing/2014/main" id="{02FCD107-8E8D-9049-BB9A-86131D075AF2}"/>
              </a:ext>
            </a:extLst>
          </p:cNvPr>
          <p:cNvCxnSpPr/>
          <p:nvPr/>
        </p:nvCxnSpPr>
        <p:spPr>
          <a:xfrm>
            <a:off x="6864428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Box 208">
            <a:extLst>
              <a:ext uri="{FF2B5EF4-FFF2-40B4-BE49-F238E27FC236}">
                <a16:creationId xmlns:a16="http://schemas.microsoft.com/office/drawing/2014/main" id="{74C3CCB0-F0ED-044A-8162-8D21FC07B5E2}"/>
              </a:ext>
            </a:extLst>
          </p:cNvPr>
          <p:cNvSpPr txBox="1"/>
          <p:nvPr/>
        </p:nvSpPr>
        <p:spPr>
          <a:xfrm>
            <a:off x="6930310" y="2677689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17E71D43-A87B-8F49-BB78-27B8F0F43B50}"/>
              </a:ext>
            </a:extLst>
          </p:cNvPr>
          <p:cNvSpPr txBox="1"/>
          <p:nvPr/>
        </p:nvSpPr>
        <p:spPr>
          <a:xfrm>
            <a:off x="6930310" y="3219556"/>
            <a:ext cx="490083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D160B345-1581-B34E-8823-359ABDF1D210}"/>
              </a:ext>
            </a:extLst>
          </p:cNvPr>
          <p:cNvSpPr/>
          <p:nvPr/>
        </p:nvSpPr>
        <p:spPr>
          <a:xfrm>
            <a:off x="7651877" y="2536531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1B742F92-8441-CA4E-B9CC-11862EC535B0}"/>
              </a:ext>
            </a:extLst>
          </p:cNvPr>
          <p:cNvSpPr/>
          <p:nvPr/>
        </p:nvSpPr>
        <p:spPr>
          <a:xfrm>
            <a:off x="7655398" y="3606895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BB5B15A9-149F-6D48-B49B-701EF5EF371E}"/>
              </a:ext>
            </a:extLst>
          </p:cNvPr>
          <p:cNvSpPr txBox="1"/>
          <p:nvPr/>
        </p:nvSpPr>
        <p:spPr>
          <a:xfrm>
            <a:off x="8173287" y="3744489"/>
            <a:ext cx="601774" cy="21544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cxnSp>
        <p:nvCxnSpPr>
          <p:cNvPr id="51" name="Прямая со стрелкой 50">
            <a:extLst>
              <a:ext uri="{FF2B5EF4-FFF2-40B4-BE49-F238E27FC236}">
                <a16:creationId xmlns:a16="http://schemas.microsoft.com/office/drawing/2014/main" id="{83C9253D-DBC6-FF47-9DC2-51554D180FC4}"/>
              </a:ext>
            </a:extLst>
          </p:cNvPr>
          <p:cNvCxnSpPr>
            <a:stCxn id="200" idx="3"/>
            <a:endCxn id="202" idx="1"/>
          </p:cNvCxnSpPr>
          <p:nvPr/>
        </p:nvCxnSpPr>
        <p:spPr>
          <a:xfrm>
            <a:off x="7421328" y="3258342"/>
            <a:ext cx="23054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Прямая со стрелкой 216">
            <a:extLst>
              <a:ext uri="{FF2B5EF4-FFF2-40B4-BE49-F238E27FC236}">
                <a16:creationId xmlns:a16="http://schemas.microsoft.com/office/drawing/2014/main" id="{B9DE354B-24A6-9146-904E-0CF6895FEBA1}"/>
              </a:ext>
            </a:extLst>
          </p:cNvPr>
          <p:cNvCxnSpPr/>
          <p:nvPr/>
        </p:nvCxnSpPr>
        <p:spPr>
          <a:xfrm>
            <a:off x="8227561" y="2906171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 стрелкой 217">
            <a:extLst>
              <a:ext uri="{FF2B5EF4-FFF2-40B4-BE49-F238E27FC236}">
                <a16:creationId xmlns:a16="http://schemas.microsoft.com/office/drawing/2014/main" id="{7C5A17E3-ED3E-D347-9042-58D47B03F04B}"/>
              </a:ext>
            </a:extLst>
          </p:cNvPr>
          <p:cNvCxnSpPr/>
          <p:nvPr/>
        </p:nvCxnSpPr>
        <p:spPr>
          <a:xfrm>
            <a:off x="8227561" y="3439572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6C79C899-AA83-B041-B726-82BDB8F3FCF5}"/>
              </a:ext>
            </a:extLst>
          </p:cNvPr>
          <p:cNvSpPr/>
          <p:nvPr/>
        </p:nvSpPr>
        <p:spPr>
          <a:xfrm>
            <a:off x="9245461" y="2021238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D3659A62-3D0F-1543-9BDA-320BD1858064}"/>
              </a:ext>
            </a:extLst>
          </p:cNvPr>
          <p:cNvSpPr/>
          <p:nvPr/>
        </p:nvSpPr>
        <p:spPr>
          <a:xfrm>
            <a:off x="9245461" y="2549790"/>
            <a:ext cx="1113800" cy="360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…</a:t>
            </a:r>
          </a:p>
        </p:txBody>
      </p:sp>
      <p:sp>
        <p:nvSpPr>
          <p:cNvPr id="221" name="Прямоугольник 220">
            <a:extLst>
              <a:ext uri="{FF2B5EF4-FFF2-40B4-BE49-F238E27FC236}">
                <a16:creationId xmlns:a16="http://schemas.microsoft.com/office/drawing/2014/main" id="{AE98DBD8-6DA2-5040-91E4-E8AA7FB10E41}"/>
              </a:ext>
            </a:extLst>
          </p:cNvPr>
          <p:cNvSpPr/>
          <p:nvPr/>
        </p:nvSpPr>
        <p:spPr>
          <a:xfrm>
            <a:off x="9245461" y="3078342"/>
            <a:ext cx="1113800" cy="360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tabLst>
                <a:tab pos="299085" algn="l"/>
                <a:tab pos="299720" algn="l"/>
              </a:tabLst>
            </a:pP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22" name="Прямая со стрелкой 221">
            <a:extLst>
              <a:ext uri="{FF2B5EF4-FFF2-40B4-BE49-F238E27FC236}">
                <a16:creationId xmlns:a16="http://schemas.microsoft.com/office/drawing/2014/main" id="{F3062CBA-3A28-504E-81A1-E1C5DBB11B22}"/>
              </a:ext>
            </a:extLst>
          </p:cNvPr>
          <p:cNvCxnSpPr>
            <a:stCxn id="219" idx="2"/>
            <a:endCxn id="220" idx="0"/>
          </p:cNvCxnSpPr>
          <p:nvPr/>
        </p:nvCxnSpPr>
        <p:spPr>
          <a:xfrm>
            <a:off x="9802361" y="23812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Прямая со стрелкой 222">
            <a:extLst>
              <a:ext uri="{FF2B5EF4-FFF2-40B4-BE49-F238E27FC236}">
                <a16:creationId xmlns:a16="http://schemas.microsoft.com/office/drawing/2014/main" id="{D6BD1AC2-6E2D-7642-B952-B1E9D2DE8812}"/>
              </a:ext>
            </a:extLst>
          </p:cNvPr>
          <p:cNvCxnSpPr/>
          <p:nvPr/>
        </p:nvCxnSpPr>
        <p:spPr>
          <a:xfrm>
            <a:off x="9802361" y="2914638"/>
            <a:ext cx="0" cy="168552"/>
          </a:xfrm>
          <a:prstGeom prst="straightConnector1">
            <a:avLst/>
          </a:prstGeom>
          <a:ln w="12700">
            <a:solidFill>
              <a:srgbClr val="7E7E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TextBox 223">
            <a:extLst>
              <a:ext uri="{FF2B5EF4-FFF2-40B4-BE49-F238E27FC236}">
                <a16:creationId xmlns:a16="http://schemas.microsoft.com/office/drawing/2014/main" id="{259FB3CE-50BA-AE44-86E6-AE3E49838C1F}"/>
              </a:ext>
            </a:extLst>
          </p:cNvPr>
          <p:cNvSpPr txBox="1"/>
          <p:nvPr/>
        </p:nvSpPr>
        <p:spPr>
          <a:xfrm>
            <a:off x="9868243" y="2677689"/>
            <a:ext cx="49008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00%</a:t>
            </a: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8A673D84-ADBD-ED4E-BFD2-7B55627F0D0F}"/>
              </a:ext>
            </a:extLst>
          </p:cNvPr>
          <p:cNvCxnSpPr>
            <a:cxnSpLocks/>
          </p:cNvCxnSpPr>
          <p:nvPr/>
        </p:nvCxnSpPr>
        <p:spPr>
          <a:xfrm>
            <a:off x="9245461" y="3083190"/>
            <a:ext cx="1112865" cy="34581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Прямая соединительная линия 225">
            <a:extLst>
              <a:ext uri="{FF2B5EF4-FFF2-40B4-BE49-F238E27FC236}">
                <a16:creationId xmlns:a16="http://schemas.microsoft.com/office/drawing/2014/main" id="{6684800E-9BFA-A74F-B432-AFF123791E82}"/>
              </a:ext>
            </a:extLst>
          </p:cNvPr>
          <p:cNvCxnSpPr>
            <a:cxnSpLocks/>
          </p:cNvCxnSpPr>
          <p:nvPr/>
        </p:nvCxnSpPr>
        <p:spPr>
          <a:xfrm flipV="1">
            <a:off x="9243378" y="3078342"/>
            <a:ext cx="1103336" cy="35065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C17F676-1318-CE5A-77B1-F4CEBC882F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>
                <a:solidFill>
                  <a:schemeClr val="bg1">
                    <a:lumMod val="50000"/>
                  </a:schemeClr>
                </a:solidFill>
              </a:rPr>
              <a:t>ГАЗПРОМ НЕФТЬ   </a:t>
            </a:r>
            <a:fld id="{D58DDE06-DF15-0A4F-A85A-4EB38848D8EB}" type="slidenum">
              <a:rPr lang="ru-RU" smtClean="0"/>
              <a:pPr/>
              <a:t>7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7825980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МОКАПЫ</a:t>
            </a:r>
          </a:p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E74F65-C4CC-CEEB-A44E-CCDF8EF91D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7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9861404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9F322D-1402-2A47-B9C3-7A00725FC5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DDA3BC7-6211-BA4E-86E7-107D2881D7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E9FB7F1-42CA-9E4E-9522-8FC125A2F1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643514F-1A66-464B-ABF8-B9ACF9BA7B4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E271382-55B4-8545-9F64-A523545F419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Рисунок 6">
            <a:extLst>
              <a:ext uri="{FF2B5EF4-FFF2-40B4-BE49-F238E27FC236}">
                <a16:creationId xmlns:a16="http://schemas.microsoft.com/office/drawing/2014/main" id="{B1577772-781D-CE42-9062-02BD676970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41410E99-C3F8-0D40-8722-B7B88D56C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latin typeface="Verdana" panose="020B0604030504040204" pitchFamily="34" charset="0"/>
                <a:ea typeface="Verdana" panose="020B0604030504040204" pitchFamily="34" charset="0"/>
              </a:rPr>
              <a:pPr/>
              <a:t>78</a:t>
            </a:fld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0693636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E4322C-E42C-2442-9A82-A85FDBB49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8D14BA5-93AF-344B-8BC9-EBAC6E31830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7506EFCA-94F5-2844-8783-E03C78AD38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08E7F57-8BF6-4E4C-A3DA-D2958A2806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6E029A1-0067-B142-AA48-04B51C7F1E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BE767E55-8A9F-E04F-8EC5-E71ABB05B74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46B15438-E222-C047-8338-1DF09B5497D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D56E394F-A9CC-8F45-9500-31645140C0E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DDEA7B1E-63D3-8348-8ACC-9109FEBA50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id="{027431C0-A496-EE4B-8F48-35CFB5A6CF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79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9555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4D7876-E7E8-9551-66E6-319B1B74A3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2062BD8-1CDD-8A64-F802-3393ED9774C7}"/>
              </a:ext>
            </a:extLst>
          </p:cNvPr>
          <p:cNvSpPr txBox="1"/>
          <p:nvPr/>
        </p:nvSpPr>
        <p:spPr>
          <a:xfrm>
            <a:off x="337044" y="279107"/>
            <a:ext cx="95868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Rectangle 17">
            <a:extLst>
              <a:ext uri="{FF2B5EF4-FFF2-40B4-BE49-F238E27FC236}">
                <a16:creationId xmlns:a16="http://schemas.microsoft.com/office/drawing/2014/main" id="{6888B056-2FF6-61F0-35F3-328C76F72BBA}"/>
              </a:ext>
            </a:extLst>
          </p:cNvPr>
          <p:cNvSpPr/>
          <p:nvPr/>
        </p:nvSpPr>
        <p:spPr>
          <a:xfrm>
            <a:off x="10062497" y="1128392"/>
            <a:ext cx="1794541" cy="4601212"/>
          </a:xfrm>
          <a:prstGeom prst="rect">
            <a:avLst/>
          </a:prstGeom>
          <a:solidFill>
            <a:srgbClr val="28BE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kumimoji="0" lang="ru-RU" sz="20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 </a:t>
            </a:r>
          </a:p>
          <a:p>
            <a:pPr marL="342900" lvl="0" indent="-249238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 </a:t>
            </a:r>
            <a:r>
              <a:rPr lang="ru-RU" sz="1200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р</a:t>
            </a:r>
            <a:endParaRPr lang="ru-RU" sz="12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Freeform: Shape 371">
            <a:extLst>
              <a:ext uri="{FF2B5EF4-FFF2-40B4-BE49-F238E27FC236}">
                <a16:creationId xmlns:a16="http://schemas.microsoft.com/office/drawing/2014/main" id="{EF28938A-2B3A-C4BB-0751-AEA07EF6EED4}"/>
              </a:ext>
            </a:extLst>
          </p:cNvPr>
          <p:cNvSpPr>
            <a:spLocks/>
          </p:cNvSpPr>
          <p:nvPr/>
        </p:nvSpPr>
        <p:spPr>
          <a:xfrm>
            <a:off x="1704842" y="1121812"/>
            <a:ext cx="3347800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spcBef>
                <a:spcPts val="600"/>
              </a:spcBef>
              <a:buClr>
                <a:srgbClr val="004077"/>
              </a:buClr>
              <a:buSzPct val="90000"/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ВАНОВ ИВАН ИВАНОВИЧ</a:t>
            </a:r>
            <a:br>
              <a:rPr lang="ru-RU" sz="14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 </a:t>
            </a: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лючевой экспер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  <a:p>
            <a:pPr lvl="0">
              <a:spcBef>
                <a:spcPts val="600"/>
              </a:spcBef>
              <a:buClr>
                <a:srgbClr val="004077"/>
              </a:buClr>
              <a:buSzPct val="90000"/>
              <a:defRPr/>
            </a:pPr>
            <a:endParaRPr lang="ru-RU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Freeform: Shape 407">
            <a:extLst>
              <a:ext uri="{FF2B5EF4-FFF2-40B4-BE49-F238E27FC236}">
                <a16:creationId xmlns:a16="http://schemas.microsoft.com/office/drawing/2014/main" id="{4344F966-8DE9-54AC-EA95-BDA3AC4C12D4}"/>
              </a:ext>
            </a:extLst>
          </p:cNvPr>
          <p:cNvSpPr>
            <a:spLocks/>
          </p:cNvSpPr>
          <p:nvPr/>
        </p:nvSpPr>
        <p:spPr>
          <a:xfrm>
            <a:off x="1704842" y="2714882"/>
            <a:ext cx="3347800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 lvl="0"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ЕРТОВ ПЕРТ ПЕТР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ХНИЧЕСКИЙ</a:t>
            </a:r>
            <a:r>
              <a:rPr lang="ru-RU" sz="900" dirty="0">
                <a:solidFill>
                  <a:srgbClr val="565655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ИРЕКТОР</a:t>
            </a:r>
            <a:endParaRPr lang="ru-RU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7" name="Freeform: Shape 419">
            <a:extLst>
              <a:ext uri="{FF2B5EF4-FFF2-40B4-BE49-F238E27FC236}">
                <a16:creationId xmlns:a16="http://schemas.microsoft.com/office/drawing/2014/main" id="{BF2C22DB-2E9E-6D22-B9D5-DDCA6EC1AE89}"/>
              </a:ext>
            </a:extLst>
          </p:cNvPr>
          <p:cNvSpPr>
            <a:spLocks/>
          </p:cNvSpPr>
          <p:nvPr/>
        </p:nvSpPr>
        <p:spPr>
          <a:xfrm>
            <a:off x="6571128" y="1121812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ЛЬВОВ ЛЕВ ЛЬВ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…</a:t>
            </a:r>
          </a:p>
        </p:txBody>
      </p:sp>
      <p:sp>
        <p:nvSpPr>
          <p:cNvPr id="8" name="Freeform: Shape 425">
            <a:extLst>
              <a:ext uri="{FF2B5EF4-FFF2-40B4-BE49-F238E27FC236}">
                <a16:creationId xmlns:a16="http://schemas.microsoft.com/office/drawing/2014/main" id="{445135B2-214D-242C-765E-85BE7CEE8482}"/>
              </a:ext>
            </a:extLst>
          </p:cNvPr>
          <p:cNvSpPr>
            <a:spLocks/>
          </p:cNvSpPr>
          <p:nvPr/>
        </p:nvSpPr>
        <p:spPr>
          <a:xfrm>
            <a:off x="6571128" y="2714882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ИКОЛАЕВ НИКОЛАЙ НИКОЛАЕ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en-GB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9" name="Freeform: Shape 431">
            <a:extLst>
              <a:ext uri="{FF2B5EF4-FFF2-40B4-BE49-F238E27FC236}">
                <a16:creationId xmlns:a16="http://schemas.microsoft.com/office/drawing/2014/main" id="{52ADC34F-B2B7-8C5B-4B1C-3C46E29FDBE1}"/>
              </a:ext>
            </a:extLst>
          </p:cNvPr>
          <p:cNvSpPr>
            <a:spLocks/>
          </p:cNvSpPr>
          <p:nvPr/>
        </p:nvSpPr>
        <p:spPr>
          <a:xfrm>
            <a:off x="6571128" y="4285761"/>
            <a:ext cx="334780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ЕРГЕЕВ СЕРГЕЙ СЕРГЕЕ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»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0" name="Звезда: 5 точек 4">
            <a:extLst>
              <a:ext uri="{FF2B5EF4-FFF2-40B4-BE49-F238E27FC236}">
                <a16:creationId xmlns:a16="http://schemas.microsoft.com/office/drawing/2014/main" id="{44AE4570-D0A5-95D6-B471-68DA855A8EA9}"/>
              </a:ext>
            </a:extLst>
          </p:cNvPr>
          <p:cNvSpPr/>
          <p:nvPr/>
        </p:nvSpPr>
        <p:spPr>
          <a:xfrm>
            <a:off x="4674162" y="2152317"/>
            <a:ext cx="277874" cy="277874"/>
          </a:xfrm>
          <a:prstGeom prst="star5">
            <a:avLst>
              <a:gd name="adj" fmla="val 24842"/>
              <a:gd name="hf" fmla="val 105146"/>
              <a:gd name="vf" fmla="val 110557"/>
            </a:avLst>
          </a:prstGeom>
          <a:solidFill>
            <a:srgbClr val="E65907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GPN_DIN Condensed Regular"/>
              <a:ea typeface="+mn-ea"/>
              <a:cs typeface="+mn-cs"/>
            </a:endParaRPr>
          </a:p>
        </p:txBody>
      </p:sp>
      <p:sp>
        <p:nvSpPr>
          <p:cNvPr id="11" name="Freeform: Shape 413">
            <a:extLst>
              <a:ext uri="{FF2B5EF4-FFF2-40B4-BE49-F238E27FC236}">
                <a16:creationId xmlns:a16="http://schemas.microsoft.com/office/drawing/2014/main" id="{CE0A02CA-BDB9-ED40-7419-9459FF440059}"/>
              </a:ext>
            </a:extLst>
          </p:cNvPr>
          <p:cNvSpPr>
            <a:spLocks/>
          </p:cNvSpPr>
          <p:nvPr/>
        </p:nvSpPr>
        <p:spPr>
          <a:xfrm>
            <a:off x="1711120" y="4285761"/>
            <a:ext cx="3341521" cy="143864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/>
          <a:lstStyle/>
          <a:p>
            <a:pPr>
              <a:defRPr/>
            </a:pPr>
            <a:r>
              <a:rPr lang="ru-RU" sz="1400" b="1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ИХАЙЛОВ МИХАЛ МИХАЙЛОВИЧ</a:t>
            </a:r>
            <a:br>
              <a:rPr lang="ru-RU" sz="12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9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 marL="176213" lvl="1" indent="-176213" fontAlgn="base">
              <a:spcBef>
                <a:spcPts val="6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FBB5EC6-757F-4406-AC2B-8B438024B0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8374" y="1128392"/>
            <a:ext cx="1329768" cy="141753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1CC33F7-641C-48F7-99C5-8FC7CE47D5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4962" y="2742208"/>
            <a:ext cx="1329768" cy="141753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35622739-F54D-4B6E-9BF2-DAFE80E7D7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9568" y="4296313"/>
            <a:ext cx="1329768" cy="141753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7CC015B8-7AEF-4F28-9BF7-BCE5654380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96848" y="4267212"/>
            <a:ext cx="1329768" cy="141753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F4226BC-F60C-4FC9-86C2-BB751C37C6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96210" y="2742208"/>
            <a:ext cx="1329768" cy="141753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0F9865B-4881-45E0-911B-EBFE397D2C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69576" y="1173253"/>
            <a:ext cx="1329768" cy="141753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9879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677F3C-E9DA-A042-92AD-5682465A01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F437315-6443-4044-A882-DBD00DBFE23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Рисунок 3">
            <a:extLst>
              <a:ext uri="{FF2B5EF4-FFF2-40B4-BE49-F238E27FC236}">
                <a16:creationId xmlns:a16="http://schemas.microsoft.com/office/drawing/2014/main" id="{90BE5C98-2DCA-934D-8F58-02F8C18D6F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5F8E0E7-7D8E-EB42-9DE8-F9E90DCAC9F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522AAC96-FDC4-404F-84AA-13F402E8D3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id="{32442045-7CAA-E244-A35E-557BE540923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746F55D3-90D6-C54C-8484-D49A575816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id="{4FC7EF6A-CCE5-614C-A8B9-BD904ACE0A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ru-RU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id="{A92ACFD5-06CA-C344-A309-EC6E2C19705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ru-RU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05F53E44-4BB4-9542-A7ED-272AAD94DCF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ru-RU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018F7B00-4DB3-FD42-BA2F-8C054E287F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BFB49A6F-982F-2B4F-9B8B-FA8416789B7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59A7533B-48F2-1C4F-AC01-A95B9F4329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80</a:t>
            </a:fld>
            <a:endParaRPr lang="ru-RU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49715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ЛАЙДЫ С ТАЙМИНГОМ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59F855-72C7-19A5-3EE1-354B644D53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790574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КАЛЕНДАРЬ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590604-D91E-D5D7-B9EF-763B2BA733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963451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80307"/>
            <a:ext cx="7924453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9942C9FD-1250-044F-88DB-8B4F40098B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495271"/>
              </p:ext>
            </p:extLst>
          </p:nvPr>
        </p:nvGraphicFramePr>
        <p:xfrm>
          <a:off x="334962" y="1125538"/>
          <a:ext cx="11522076" cy="507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1674">
                  <a:extLst>
                    <a:ext uri="{9D8B030D-6E8A-4147-A177-3AD203B41FA5}">
                      <a16:colId xmlns:a16="http://schemas.microsoft.com/office/drawing/2014/main" val="830170671"/>
                    </a:ext>
                  </a:extLst>
                </a:gridCol>
                <a:gridCol w="5414946">
                  <a:extLst>
                    <a:ext uri="{9D8B030D-6E8A-4147-A177-3AD203B41FA5}">
                      <a16:colId xmlns:a16="http://schemas.microsoft.com/office/drawing/2014/main" val="1477960828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443405088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2367718710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143387064"/>
                    </a:ext>
                  </a:extLst>
                </a:gridCol>
                <a:gridCol w="1016364">
                  <a:extLst>
                    <a:ext uri="{9D8B030D-6E8A-4147-A177-3AD203B41FA5}">
                      <a16:colId xmlns:a16="http://schemas.microsoft.com/office/drawing/2014/main" val="712858580"/>
                    </a:ext>
                  </a:extLst>
                </a:gridCol>
              </a:tblGrid>
              <a:tr h="33207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45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0" kern="120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1 кв.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.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. 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 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.  </a:t>
                      </a:r>
                      <a:r>
                        <a:rPr lang="en-US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09247"/>
                  </a:ext>
                </a:extLst>
              </a:tr>
              <a:tr h="279010">
                <a:tc rowSpan="4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8779889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1494856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т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827009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т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278765"/>
                  </a:ext>
                </a:extLst>
              </a:tr>
              <a:tr h="279010">
                <a:tc rowSpan="7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544913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345186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8664100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3920082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 err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б</a:t>
                      </a: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99004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665346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511088"/>
                  </a:ext>
                </a:extLst>
              </a:tr>
              <a:tr h="27901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 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096459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924950"/>
                  </a:ext>
                </a:extLst>
              </a:tr>
              <a:tr h="27901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1722954"/>
                  </a:ext>
                </a:extLst>
              </a:tr>
              <a:tr h="279010">
                <a:tc rowSpan="3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None/>
                      </a:pPr>
                      <a:r>
                        <a:rPr lang="ru-RU" sz="800" b="0" i="0" kern="1200" cap="none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235308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23F4F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ь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829531"/>
                  </a:ext>
                </a:extLst>
              </a:tr>
              <a:tr h="279010">
                <a:tc vMerge="1">
                  <a:txBody>
                    <a:bodyPr/>
                    <a:lstStyle/>
                    <a:p>
                      <a:endParaRPr lang="ru-RU" sz="800" b="0" i="0" dirty="0">
                        <a:latin typeface="GPN_DIN Regular" panose="020B0704020202020204" pitchFamily="34" charset="0"/>
                        <a:ea typeface="GPN_DIN Regular" panose="020B070402020202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23F4F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8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.</a:t>
                      </a:r>
                    </a:p>
                  </a:txBody>
                  <a:tcPr marL="72000" marR="72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832914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9563EE6D-AE20-EA4B-8EE0-58E23B7D8D04}"/>
              </a:ext>
            </a:extLst>
          </p:cNvPr>
          <p:cNvSpPr txBox="1"/>
          <p:nvPr/>
        </p:nvSpPr>
        <p:spPr>
          <a:xfrm>
            <a:off x="245256" y="638038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* Информация о факте и датах проведения мероприятий будет уточнена исходя из принятых Правительством РФ решений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A8157A-605D-ABC0-4A15-832F9239B1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001384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AA0B393F-A96A-2A81-B27B-71DA52B9457F}"/>
              </a:ext>
            </a:extLst>
          </p:cNvPr>
          <p:cNvSpPr txBox="1"/>
          <p:nvPr/>
        </p:nvSpPr>
        <p:spPr>
          <a:xfrm>
            <a:off x="337045" y="280307"/>
            <a:ext cx="803867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63EE6D-AE20-EA4B-8EE0-58E23B7D8D04}"/>
              </a:ext>
            </a:extLst>
          </p:cNvPr>
          <p:cNvSpPr txBox="1"/>
          <p:nvPr/>
        </p:nvSpPr>
        <p:spPr>
          <a:xfrm>
            <a:off x="245256" y="626239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lvl="0">
              <a:defRPr sz="800">
                <a:solidFill>
                  <a:schemeClr val="bg1">
                    <a:lumMod val="50000"/>
                  </a:schemeClr>
                </a:solidFill>
                <a:latin typeface="GPN_DIN Condensed Regular" panose="020B0704020202020204" pitchFamily="34" charset="0"/>
                <a:ea typeface="GPN_DIN Condensed Regular" panose="020B0704020202020204" pitchFamily="34" charset="0"/>
              </a:defRPr>
            </a:lvl1pPr>
          </a:lstStyle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¹ текст</a:t>
            </a:r>
          </a:p>
          <a:p>
            <a:r>
              <a:rPr lang="ru-RU" dirty="0">
                <a:latin typeface="Verdana" panose="020B0604030504040204" pitchFamily="34" charset="0"/>
                <a:ea typeface="Verdana" panose="020B0604030504040204" pitchFamily="34" charset="0"/>
              </a:rPr>
              <a:t>² текст</a:t>
            </a:r>
          </a:p>
        </p:txBody>
      </p:sp>
      <p:sp>
        <p:nvSpPr>
          <p:cNvPr id="7" name="Freeform: Shape 130">
            <a:extLst>
              <a:ext uri="{FF2B5EF4-FFF2-40B4-BE49-F238E27FC236}">
                <a16:creationId xmlns:a16="http://schemas.microsoft.com/office/drawing/2014/main" id="{E995FED4-A4E1-CE47-B37F-2B6CB2336F73}"/>
              </a:ext>
            </a:extLst>
          </p:cNvPr>
          <p:cNvSpPr>
            <a:spLocks/>
          </p:cNvSpPr>
          <p:nvPr/>
        </p:nvSpPr>
        <p:spPr>
          <a:xfrm>
            <a:off x="337044" y="4149725"/>
            <a:ext cx="3742831" cy="205105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marL="0" lvl="1">
              <a:spcBef>
                <a:spcPts val="300"/>
              </a:spcBef>
              <a:buClr>
                <a:srgbClr val="004077"/>
              </a:buClr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..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. </a:t>
            </a: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  <a:sym typeface="GPN_DIN Condensed" panose="020B0506020202020204" pitchFamily="34" charset="-52"/>
              </a:rPr>
              <a:t>.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sym typeface="GPN_DIN Condensed" panose="020B0506020202020204" pitchFamily="34" charset="-52"/>
            </a:endParaRPr>
          </a:p>
        </p:txBody>
      </p:sp>
      <p:sp>
        <p:nvSpPr>
          <p:cNvPr id="9" name="Freeform: Shape 130">
            <a:extLst>
              <a:ext uri="{FF2B5EF4-FFF2-40B4-BE49-F238E27FC236}">
                <a16:creationId xmlns:a16="http://schemas.microsoft.com/office/drawing/2014/main" id="{4C09D635-CBE8-A243-BB82-90E503810E4B}"/>
              </a:ext>
            </a:extLst>
          </p:cNvPr>
          <p:cNvSpPr>
            <a:spLocks/>
          </p:cNvSpPr>
          <p:nvPr/>
        </p:nvSpPr>
        <p:spPr>
          <a:xfrm>
            <a:off x="4224339" y="4149725"/>
            <a:ext cx="3742832" cy="2051050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lvl="0">
              <a:spcBef>
                <a:spcPts val="500"/>
              </a:spcBef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…</a:t>
            </a:r>
          </a:p>
        </p:txBody>
      </p:sp>
      <p:sp>
        <p:nvSpPr>
          <p:cNvPr id="10" name="Freeform: Shape 130">
            <a:extLst>
              <a:ext uri="{FF2B5EF4-FFF2-40B4-BE49-F238E27FC236}">
                <a16:creationId xmlns:a16="http://schemas.microsoft.com/office/drawing/2014/main" id="{EE37CA23-8E73-4A40-A111-AE87402E6F07}"/>
              </a:ext>
            </a:extLst>
          </p:cNvPr>
          <p:cNvSpPr>
            <a:spLocks/>
          </p:cNvSpPr>
          <p:nvPr/>
        </p:nvSpPr>
        <p:spPr>
          <a:xfrm>
            <a:off x="8113300" y="4148320"/>
            <a:ext cx="3754415" cy="2047931"/>
          </a:xfrm>
          <a:custGeom>
            <a:avLst/>
            <a:gdLst>
              <a:gd name="connsiteX0" fmla="*/ 0 w 824589"/>
              <a:gd name="connsiteY0" fmla="*/ 0 h 643327"/>
              <a:gd name="connsiteX1" fmla="*/ 824589 w 824589"/>
              <a:gd name="connsiteY1" fmla="*/ 0 h 643327"/>
              <a:gd name="connsiteX2" fmla="*/ 824589 w 824589"/>
              <a:gd name="connsiteY2" fmla="*/ 643327 h 643327"/>
              <a:gd name="connsiteX3" fmla="*/ 0 w 824589"/>
              <a:gd name="connsiteY3" fmla="*/ 643327 h 643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4589" h="643327">
                <a:moveTo>
                  <a:pt x="0" y="0"/>
                </a:moveTo>
                <a:lnTo>
                  <a:pt x="824589" y="0"/>
                </a:lnTo>
                <a:lnTo>
                  <a:pt x="824589" y="643327"/>
                </a:lnTo>
                <a:lnTo>
                  <a:pt x="0" y="643327"/>
                </a:lnTo>
                <a:close/>
              </a:path>
            </a:pathLst>
          </a:custGeom>
          <a:solidFill>
            <a:srgbClr val="F2F2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44000" rIns="144000" bIns="144000" rtlCol="0" anchor="t"/>
          <a:lstStyle/>
          <a:p>
            <a:pPr lvl="0">
              <a:spcBef>
                <a:spcPts val="500"/>
              </a:spcBef>
              <a:defRPr/>
            </a:pPr>
            <a:r>
              <a:rPr lang="ru-RU" sz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sym typeface="GPN_DIN Condensed" panose="020B0506020202020204" pitchFamily="34" charset="-52"/>
              </a:rPr>
              <a:t>П…</a:t>
            </a:r>
          </a:p>
        </p:txBody>
      </p:sp>
      <p:graphicFrame>
        <p:nvGraphicFramePr>
          <p:cNvPr id="12" name="Таблица 5">
            <a:extLst>
              <a:ext uri="{FF2B5EF4-FFF2-40B4-BE49-F238E27FC236}">
                <a16:creationId xmlns:a16="http://schemas.microsoft.com/office/drawing/2014/main" id="{1EC8D608-638A-0B4B-A31F-99AA1DC6ADA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3472519"/>
              </p:ext>
            </p:extLst>
          </p:nvPr>
        </p:nvGraphicFramePr>
        <p:xfrm>
          <a:off x="334962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59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graphicFrame>
        <p:nvGraphicFramePr>
          <p:cNvPr id="13" name="Таблица 5">
            <a:extLst>
              <a:ext uri="{FF2B5EF4-FFF2-40B4-BE49-F238E27FC236}">
                <a16:creationId xmlns:a16="http://schemas.microsoft.com/office/drawing/2014/main" id="{AD13B6B0-1C54-F84A-947C-907229845EF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8486852"/>
              </p:ext>
            </p:extLst>
          </p:nvPr>
        </p:nvGraphicFramePr>
        <p:xfrm>
          <a:off x="4224338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31</a:t>
                      </a: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graphicFrame>
        <p:nvGraphicFramePr>
          <p:cNvPr id="14" name="Таблица 5">
            <a:extLst>
              <a:ext uri="{FF2B5EF4-FFF2-40B4-BE49-F238E27FC236}">
                <a16:creationId xmlns:a16="http://schemas.microsoft.com/office/drawing/2014/main" id="{5E10DFD6-94AB-E341-A896-C9A3ABD73C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8112923"/>
              </p:ext>
            </p:extLst>
          </p:nvPr>
        </p:nvGraphicFramePr>
        <p:xfrm>
          <a:off x="8124885" y="1549718"/>
          <a:ext cx="3742830" cy="195072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34690">
                  <a:extLst>
                    <a:ext uri="{9D8B030D-6E8A-4147-A177-3AD203B41FA5}">
                      <a16:colId xmlns:a16="http://schemas.microsoft.com/office/drawing/2014/main" val="342536148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068086064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899639173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8547102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864847048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3695639920"/>
                    </a:ext>
                  </a:extLst>
                </a:gridCol>
                <a:gridCol w="534690">
                  <a:extLst>
                    <a:ext uri="{9D8B030D-6E8A-4147-A177-3AD203B41FA5}">
                      <a16:colId xmlns:a16="http://schemas.microsoft.com/office/drawing/2014/main" val="2034870770"/>
                    </a:ext>
                  </a:extLst>
                </a:gridCol>
              </a:tblGrid>
              <a:tr h="289160"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н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р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Ч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Пт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СБ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b="0" i="0" baseline="0" noProof="0" dirty="0"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Вс</a:t>
                      </a:r>
                      <a:endParaRPr lang="ru-RU" sz="14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159176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  <a:sym typeface="GPN_DIN Condensed" panose="020B0506020202020204" pitchFamily="34" charset="-52"/>
                        </a:rPr>
                        <a:t>1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</a:t>
                      </a:r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7525503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9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2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126119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8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1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3006734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1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2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3D1C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3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4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5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6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7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099194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8</a:t>
                      </a:r>
                      <a:endParaRPr lang="ru-RU" sz="1200" b="0" i="0" baseline="0" noProof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6B4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29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0" i="0" baseline="0" noProof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sym typeface="GPN_DIN Condensed" panose="020B0506020202020204" pitchFamily="34" charset="-52"/>
                        </a:rPr>
                        <a:t>30</a:t>
                      </a:r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644930"/>
                  </a:ext>
                </a:extLst>
              </a:tr>
              <a:tr h="266408"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200" b="0" i="0" baseline="0" noProof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  <a:sym typeface="GPN_DIN Condensed" panose="020B0506020202020204" pitchFamily="34" charset="-52"/>
                      </a:endParaRPr>
                    </a:p>
                  </a:txBody>
                  <a:tcPr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803559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CDD68F49-D261-D540-91E5-8FF2B6516670}"/>
              </a:ext>
            </a:extLst>
          </p:cNvPr>
          <p:cNvSpPr txBox="1"/>
          <p:nvPr/>
        </p:nvSpPr>
        <p:spPr>
          <a:xfrm>
            <a:off x="334960" y="1073067"/>
            <a:ext cx="3742831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ИЮЛЬ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A773B7-78A8-154D-8BC6-4B2A8AFDFB4A}"/>
              </a:ext>
            </a:extLst>
          </p:cNvPr>
          <p:cNvSpPr txBox="1"/>
          <p:nvPr/>
        </p:nvSpPr>
        <p:spPr>
          <a:xfrm>
            <a:off x="4232047" y="1073067"/>
            <a:ext cx="37351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АВГУСТ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561918-EFD7-8B4B-88AC-D1BC9CE0C354}"/>
              </a:ext>
            </a:extLst>
          </p:cNvPr>
          <p:cNvSpPr txBox="1"/>
          <p:nvPr/>
        </p:nvSpPr>
        <p:spPr>
          <a:xfrm>
            <a:off x="8118247" y="1073067"/>
            <a:ext cx="373512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</a:rPr>
              <a:t>СЕНТЯБРЬ</a:t>
            </a:r>
            <a:endParaRPr lang="ru-RU" sz="18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55D3800-3275-BF46-85D0-A7342EF728E9}"/>
              </a:ext>
            </a:extLst>
          </p:cNvPr>
          <p:cNvSpPr/>
          <p:nvPr/>
        </p:nvSpPr>
        <p:spPr>
          <a:xfrm>
            <a:off x="415919" y="4354686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A2D56D6-FCC3-1746-9615-3EA7DA7B260D}"/>
              </a:ext>
            </a:extLst>
          </p:cNvPr>
          <p:cNvSpPr/>
          <p:nvPr/>
        </p:nvSpPr>
        <p:spPr>
          <a:xfrm>
            <a:off x="415919" y="4761086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C3F742D-650E-3548-87DC-6B95D53AF6A6}"/>
              </a:ext>
            </a:extLst>
          </p:cNvPr>
          <p:cNvSpPr/>
          <p:nvPr/>
        </p:nvSpPr>
        <p:spPr>
          <a:xfrm>
            <a:off x="415919" y="5179830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933798D-461A-B04E-BCB5-702777F18B4F}"/>
              </a:ext>
            </a:extLst>
          </p:cNvPr>
          <p:cNvSpPr/>
          <p:nvPr/>
        </p:nvSpPr>
        <p:spPr>
          <a:xfrm>
            <a:off x="415919" y="5581890"/>
            <a:ext cx="195943" cy="195943"/>
          </a:xfrm>
          <a:prstGeom prst="rect">
            <a:avLst/>
          </a:prstGeom>
          <a:solidFill>
            <a:srgbClr val="00459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7E86852-C776-BA4F-A323-9CF5863FD9B5}"/>
              </a:ext>
            </a:extLst>
          </p:cNvPr>
          <p:cNvSpPr/>
          <p:nvPr/>
        </p:nvSpPr>
        <p:spPr>
          <a:xfrm>
            <a:off x="4309189" y="4465444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B8A7FA5-36BA-0F42-903E-91ADFEA25D7E}"/>
              </a:ext>
            </a:extLst>
          </p:cNvPr>
          <p:cNvSpPr/>
          <p:nvPr/>
        </p:nvSpPr>
        <p:spPr>
          <a:xfrm>
            <a:off x="4309189" y="4976342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9C3F7E49-6D92-9E46-92B0-E66C474A236C}"/>
              </a:ext>
            </a:extLst>
          </p:cNvPr>
          <p:cNvSpPr/>
          <p:nvPr/>
        </p:nvSpPr>
        <p:spPr>
          <a:xfrm>
            <a:off x="4309189" y="5489490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C09E06A-E655-6543-A4D1-E8686626122E}"/>
              </a:ext>
            </a:extLst>
          </p:cNvPr>
          <p:cNvSpPr/>
          <p:nvPr/>
        </p:nvSpPr>
        <p:spPr>
          <a:xfrm>
            <a:off x="8193032" y="4465444"/>
            <a:ext cx="195943" cy="1959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2D07C8A-F40B-4249-9A31-92B996987607}"/>
              </a:ext>
            </a:extLst>
          </p:cNvPr>
          <p:cNvSpPr/>
          <p:nvPr/>
        </p:nvSpPr>
        <p:spPr>
          <a:xfrm>
            <a:off x="8193032" y="5155726"/>
            <a:ext cx="195943" cy="195943"/>
          </a:xfrm>
          <a:prstGeom prst="rect">
            <a:avLst/>
          </a:prstGeom>
          <a:solidFill>
            <a:srgbClr val="23D1C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8981054-3070-EE46-8B71-0891194FCD7D}"/>
              </a:ext>
            </a:extLst>
          </p:cNvPr>
          <p:cNvSpPr/>
          <p:nvPr/>
        </p:nvSpPr>
        <p:spPr>
          <a:xfrm>
            <a:off x="8179780" y="5774892"/>
            <a:ext cx="195943" cy="195943"/>
          </a:xfrm>
          <a:prstGeom prst="rect">
            <a:avLst/>
          </a:prstGeom>
          <a:solidFill>
            <a:srgbClr val="46B4E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02DCF621-ED79-2D48-A1BF-566A0DD40B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2053580" y="3696509"/>
            <a:ext cx="295480" cy="2880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CA5E93BF-F25B-0840-B992-0C1D3595E5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5951210" y="3696509"/>
            <a:ext cx="295480" cy="288000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B133660D-ECA5-3640-9C3A-E444B94664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5400000">
            <a:off x="9837410" y="3696509"/>
            <a:ext cx="295480" cy="28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640BE6-40B3-6EC5-70A5-84F9B3FFDB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153478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ТАЙМЛАЙНЫ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BD906-9110-6FA9-ED1C-97B8CD5CE6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8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515117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" name="Table 3">
            <a:extLst>
              <a:ext uri="{FF2B5EF4-FFF2-40B4-BE49-F238E27FC236}">
                <a16:creationId xmlns:a16="http://schemas.microsoft.com/office/drawing/2014/main" id="{02F3FA25-DFC5-868E-DBEE-2F24A537CF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9301597"/>
              </p:ext>
            </p:extLst>
          </p:nvPr>
        </p:nvGraphicFramePr>
        <p:xfrm>
          <a:off x="338712" y="1142742"/>
          <a:ext cx="11514927" cy="391421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153967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7761411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57824823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729729137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91930541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78549425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47794833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04937816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291586515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336903046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274131342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586191826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132356530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83195181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829296854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2704742188"/>
                    </a:ext>
                  </a:extLst>
                </a:gridCol>
                <a:gridCol w="323780">
                  <a:extLst>
                    <a:ext uri="{9D8B030D-6E8A-4147-A177-3AD203B41FA5}">
                      <a16:colId xmlns:a16="http://schemas.microsoft.com/office/drawing/2014/main" val="363904503"/>
                    </a:ext>
                  </a:extLst>
                </a:gridCol>
              </a:tblGrid>
              <a:tr h="28989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ГРАФИК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144000" marR="144000" marT="46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18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9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4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5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1" i="0" kern="120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2026</a:t>
                      </a:r>
                    </a:p>
                  </a:txBody>
                  <a:tcPr marL="144000" marR="144000" marT="468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0" i="0" dirty="0">
                        <a:solidFill>
                          <a:schemeClr val="bg1"/>
                        </a:solidFill>
                        <a:latin typeface="GPN_DIN Condensed Medium" panose="020B0504020202020204" pitchFamily="34" charset="0"/>
                        <a:ea typeface="GPN_DIN Condensed Medium" panose="020B050402020202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59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endParaRPr lang="ru-RU" sz="110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1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2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3</a:t>
                      </a:r>
                      <a:endParaRPr lang="ru-RU" sz="1050" b="1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Q4</a:t>
                      </a:r>
                      <a:r>
                        <a:rPr lang="ru-RU" sz="1050" b="1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3965958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470116"/>
                  </a:ext>
                </a:extLst>
              </a:tr>
              <a:tr h="265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 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241887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4121429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2647865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452214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467990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951920"/>
                  </a:ext>
                </a:extLst>
              </a:tr>
              <a:tr h="3317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kern="120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  <a:sym typeface="+mn-lt"/>
                        </a:rPr>
                        <a:t>Этап</a:t>
                      </a:r>
                      <a:endParaRPr lang="en-US" sz="1200" b="0" i="0" kern="120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  <a:sym typeface="+mn-lt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865017"/>
                  </a:ext>
                </a:extLst>
              </a:tr>
            </a:tbl>
          </a:graphicData>
        </a:graphic>
      </p:graphicFrame>
      <p:cxnSp>
        <p:nvCxnSpPr>
          <p:cNvPr id="273" name="Прямая соединительная линия 272">
            <a:extLst>
              <a:ext uri="{FF2B5EF4-FFF2-40B4-BE49-F238E27FC236}">
                <a16:creationId xmlns:a16="http://schemas.microsoft.com/office/drawing/2014/main" id="{2CE0162D-241F-D9B5-6D18-FD44C0723A48}"/>
              </a:ext>
            </a:extLst>
          </p:cNvPr>
          <p:cNvCxnSpPr>
            <a:cxnSpLocks/>
          </p:cNvCxnSpPr>
          <p:nvPr/>
        </p:nvCxnSpPr>
        <p:spPr>
          <a:xfrm>
            <a:off x="10016317" y="1736198"/>
            <a:ext cx="0" cy="331200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Прямая соединительная линия 273">
            <a:extLst>
              <a:ext uri="{FF2B5EF4-FFF2-40B4-BE49-F238E27FC236}">
                <a16:creationId xmlns:a16="http://schemas.microsoft.com/office/drawing/2014/main" id="{2A81B47A-9D52-88C3-3F24-B69A5DDF935D}"/>
              </a:ext>
            </a:extLst>
          </p:cNvPr>
          <p:cNvCxnSpPr>
            <a:cxnSpLocks/>
          </p:cNvCxnSpPr>
          <p:nvPr/>
        </p:nvCxnSpPr>
        <p:spPr>
          <a:xfrm>
            <a:off x="10920669" y="1736198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2" hidden="1">
            <a:extLst>
              <a:ext uri="{FF2B5EF4-FFF2-40B4-BE49-F238E27FC236}">
                <a16:creationId xmlns:a16="http://schemas.microsoft.com/office/drawing/2014/main" id="{90349B56-DDAF-2D7B-FB49-18B590B8BA5C}"/>
              </a:ext>
            </a:extLst>
          </p:cNvPr>
          <p:cNvGrpSpPr/>
          <p:nvPr/>
        </p:nvGrpSpPr>
        <p:grpSpPr>
          <a:xfrm>
            <a:off x="338374" y="337748"/>
            <a:ext cx="11515252" cy="5858504"/>
            <a:chOff x="338374" y="337748"/>
            <a:chExt cx="11515252" cy="5858504"/>
          </a:xfrm>
        </p:grpSpPr>
        <p:grpSp>
          <p:nvGrpSpPr>
            <p:cNvPr id="7" name="Group 1">
              <a:extLst>
                <a:ext uri="{FF2B5EF4-FFF2-40B4-BE49-F238E27FC236}">
                  <a16:creationId xmlns:a16="http://schemas.microsoft.com/office/drawing/2014/main" id="{1737761B-44CB-6F8E-2C44-5D373C6E1E8A}"/>
                </a:ext>
              </a:extLst>
            </p:cNvPr>
            <p:cNvGrpSpPr/>
            <p:nvPr/>
          </p:nvGrpSpPr>
          <p:grpSpPr>
            <a:xfrm>
              <a:off x="338374" y="337748"/>
              <a:ext cx="11515252" cy="648000"/>
              <a:chOff x="338374" y="337748"/>
              <a:chExt cx="11515252" cy="648000"/>
            </a:xfrm>
          </p:grpSpPr>
          <p:sp>
            <p:nvSpPr>
              <p:cNvPr id="92" name="Freeform: Shape 15">
                <a:extLst>
                  <a:ext uri="{FF2B5EF4-FFF2-40B4-BE49-F238E27FC236}">
                    <a16:creationId xmlns:a16="http://schemas.microsoft.com/office/drawing/2014/main" id="{FC5D1456-7AA1-D5C5-7523-40C2039799F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837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16">
                <a:extLst>
                  <a:ext uri="{FF2B5EF4-FFF2-40B4-BE49-F238E27FC236}">
                    <a16:creationId xmlns:a16="http://schemas.microsoft.com/office/drawing/2014/main" id="{972C4CFE-3379-5B34-B7DA-EAC3B5A2F1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30994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17">
                <a:extLst>
                  <a:ext uri="{FF2B5EF4-FFF2-40B4-BE49-F238E27FC236}">
                    <a16:creationId xmlns:a16="http://schemas.microsoft.com/office/drawing/2014/main" id="{18E61904-E852-D566-987F-0B0BD4D6EE5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8151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18">
                <a:extLst>
                  <a:ext uri="{FF2B5EF4-FFF2-40B4-BE49-F238E27FC236}">
                    <a16:creationId xmlns:a16="http://schemas.microsoft.com/office/drawing/2014/main" id="{969F5E3A-86A0-BF40-8AED-4EADC08146B8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25307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19">
                <a:extLst>
                  <a:ext uri="{FF2B5EF4-FFF2-40B4-BE49-F238E27FC236}">
                    <a16:creationId xmlns:a16="http://schemas.microsoft.com/office/drawing/2014/main" id="{64567BC0-2B0C-F19E-6EC9-ACC307ADF34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2464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20">
                <a:extLst>
                  <a:ext uri="{FF2B5EF4-FFF2-40B4-BE49-F238E27FC236}">
                    <a16:creationId xmlns:a16="http://schemas.microsoft.com/office/drawing/2014/main" id="{AAFBE28B-EBC6-6902-30B6-1713817C13D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19621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21">
                <a:extLst>
                  <a:ext uri="{FF2B5EF4-FFF2-40B4-BE49-F238E27FC236}">
                    <a16:creationId xmlns:a16="http://schemas.microsoft.com/office/drawing/2014/main" id="{ECC80B88-5542-E7B5-9CE4-82331661587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67782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22">
                <a:extLst>
                  <a:ext uri="{FF2B5EF4-FFF2-40B4-BE49-F238E27FC236}">
                    <a16:creationId xmlns:a16="http://schemas.microsoft.com/office/drawing/2014/main" id="{0D71266C-F51A-347F-17FB-A03383BE1F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39350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23">
                <a:extLst>
                  <a:ext uri="{FF2B5EF4-FFF2-40B4-BE49-F238E27FC236}">
                    <a16:creationId xmlns:a16="http://schemas.microsoft.com/office/drawing/2014/main" id="{D80B4EFA-CC4E-216B-7EC9-BABBDD10C8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10918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24">
                <a:extLst>
                  <a:ext uri="{FF2B5EF4-FFF2-40B4-BE49-F238E27FC236}">
                    <a16:creationId xmlns:a16="http://schemas.microsoft.com/office/drawing/2014/main" id="{0315712C-FD31-1D4D-2B21-AB7F9950E75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248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25">
                <a:extLst>
                  <a:ext uri="{FF2B5EF4-FFF2-40B4-BE49-F238E27FC236}">
                    <a16:creationId xmlns:a16="http://schemas.microsoft.com/office/drawing/2014/main" id="{4813F980-F1C4-B118-9671-A229750816D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25626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26">
                <a:extLst>
                  <a:ext uri="{FF2B5EF4-FFF2-40B4-BE49-F238E27FC236}">
                    <a16:creationId xmlns:a16="http://schemas.microsoft.com/office/drawing/2014/main" id="{66DD5ADA-62B2-A869-3E46-D1180A8A6A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54054" y="337748"/>
                <a:ext cx="828000" cy="648000"/>
              </a:xfrm>
              <a:custGeom>
                <a:avLst/>
                <a:gdLst>
                  <a:gd name="connsiteX0" fmla="*/ 0 w 824589"/>
                  <a:gd name="connsiteY0" fmla="*/ 0 h 643327"/>
                  <a:gd name="connsiteX1" fmla="*/ 824589 w 824589"/>
                  <a:gd name="connsiteY1" fmla="*/ 0 h 643327"/>
                  <a:gd name="connsiteX2" fmla="*/ 824589 w 824589"/>
                  <a:gd name="connsiteY2" fmla="*/ 643327 h 643327"/>
                  <a:gd name="connsiteX3" fmla="*/ 0 w 824589"/>
                  <a:gd name="connsiteY3" fmla="*/ 643327 h 6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24589" h="643327">
                    <a:moveTo>
                      <a:pt x="0" y="0"/>
                    </a:moveTo>
                    <a:lnTo>
                      <a:pt x="824589" y="0"/>
                    </a:lnTo>
                    <a:lnTo>
                      <a:pt x="824589" y="643327"/>
                    </a:lnTo>
                    <a:lnTo>
                      <a:pt x="0" y="643327"/>
                    </a:lnTo>
                    <a:close/>
                  </a:path>
                </a:pathLst>
              </a:custGeom>
              <a:solidFill>
                <a:srgbClr val="7030A0">
                  <a:alpha val="2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" name="Freeform: Shape 27">
              <a:extLst>
                <a:ext uri="{FF2B5EF4-FFF2-40B4-BE49-F238E27FC236}">
                  <a16:creationId xmlns:a16="http://schemas.microsoft.com/office/drawing/2014/main" id="{4BCA9DA2-236A-2A61-B22E-64C034FBF1EF}"/>
                </a:ext>
              </a:extLst>
            </p:cNvPr>
            <p:cNvSpPr>
              <a:spLocks/>
            </p:cNvSpPr>
            <p:nvPr/>
          </p:nvSpPr>
          <p:spPr>
            <a:xfrm>
              <a:off x="33837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: Shape 28">
              <a:extLst>
                <a:ext uri="{FF2B5EF4-FFF2-40B4-BE49-F238E27FC236}">
                  <a16:creationId xmlns:a16="http://schemas.microsoft.com/office/drawing/2014/main" id="{E3F04DC1-98A8-F6D8-4BB8-FBFADF69187C}"/>
                </a:ext>
              </a:extLst>
            </p:cNvPr>
            <p:cNvSpPr>
              <a:spLocks/>
            </p:cNvSpPr>
            <p:nvPr/>
          </p:nvSpPr>
          <p:spPr>
            <a:xfrm>
              <a:off x="130994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: Shape 29">
              <a:extLst>
                <a:ext uri="{FF2B5EF4-FFF2-40B4-BE49-F238E27FC236}">
                  <a16:creationId xmlns:a16="http://schemas.microsoft.com/office/drawing/2014/main" id="{F6AACE42-4F9B-6CF2-8ECF-1207ED60D33B}"/>
                </a:ext>
              </a:extLst>
            </p:cNvPr>
            <p:cNvSpPr>
              <a:spLocks/>
            </p:cNvSpPr>
            <p:nvPr/>
          </p:nvSpPr>
          <p:spPr>
            <a:xfrm>
              <a:off x="228151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30">
              <a:extLst>
                <a:ext uri="{FF2B5EF4-FFF2-40B4-BE49-F238E27FC236}">
                  <a16:creationId xmlns:a16="http://schemas.microsoft.com/office/drawing/2014/main" id="{16BA7D86-4506-170A-68A1-66152D751EA4}"/>
                </a:ext>
              </a:extLst>
            </p:cNvPr>
            <p:cNvSpPr>
              <a:spLocks/>
            </p:cNvSpPr>
            <p:nvPr/>
          </p:nvSpPr>
          <p:spPr>
            <a:xfrm>
              <a:off x="325307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31">
              <a:extLst>
                <a:ext uri="{FF2B5EF4-FFF2-40B4-BE49-F238E27FC236}">
                  <a16:creationId xmlns:a16="http://schemas.microsoft.com/office/drawing/2014/main" id="{C7175A40-E6F1-F898-75B3-C2D42FD3E641}"/>
                </a:ext>
              </a:extLst>
            </p:cNvPr>
            <p:cNvSpPr>
              <a:spLocks/>
            </p:cNvSpPr>
            <p:nvPr/>
          </p:nvSpPr>
          <p:spPr>
            <a:xfrm>
              <a:off x="422464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32">
              <a:extLst>
                <a:ext uri="{FF2B5EF4-FFF2-40B4-BE49-F238E27FC236}">
                  <a16:creationId xmlns:a16="http://schemas.microsoft.com/office/drawing/2014/main" id="{28572CD5-F928-5491-9022-C0740CAD2CC1}"/>
                </a:ext>
              </a:extLst>
            </p:cNvPr>
            <p:cNvSpPr>
              <a:spLocks/>
            </p:cNvSpPr>
            <p:nvPr/>
          </p:nvSpPr>
          <p:spPr>
            <a:xfrm>
              <a:off x="519621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33">
              <a:extLst>
                <a:ext uri="{FF2B5EF4-FFF2-40B4-BE49-F238E27FC236}">
                  <a16:creationId xmlns:a16="http://schemas.microsoft.com/office/drawing/2014/main" id="{148E9718-6798-98A2-0AD4-D985FC837BF6}"/>
                </a:ext>
              </a:extLst>
            </p:cNvPr>
            <p:cNvSpPr>
              <a:spLocks/>
            </p:cNvSpPr>
            <p:nvPr/>
          </p:nvSpPr>
          <p:spPr>
            <a:xfrm>
              <a:off x="6167782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34">
              <a:extLst>
                <a:ext uri="{FF2B5EF4-FFF2-40B4-BE49-F238E27FC236}">
                  <a16:creationId xmlns:a16="http://schemas.microsoft.com/office/drawing/2014/main" id="{4CCE8BA4-98B2-D06E-52D1-CE23D346B62E}"/>
                </a:ext>
              </a:extLst>
            </p:cNvPr>
            <p:cNvSpPr>
              <a:spLocks/>
            </p:cNvSpPr>
            <p:nvPr/>
          </p:nvSpPr>
          <p:spPr>
            <a:xfrm>
              <a:off x="7139350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35">
              <a:extLst>
                <a:ext uri="{FF2B5EF4-FFF2-40B4-BE49-F238E27FC236}">
                  <a16:creationId xmlns:a16="http://schemas.microsoft.com/office/drawing/2014/main" id="{9AD258A3-406E-B121-AEDD-1176C90B47DD}"/>
                </a:ext>
              </a:extLst>
            </p:cNvPr>
            <p:cNvSpPr>
              <a:spLocks/>
            </p:cNvSpPr>
            <p:nvPr/>
          </p:nvSpPr>
          <p:spPr>
            <a:xfrm>
              <a:off x="8110918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: Shape 36">
              <a:extLst>
                <a:ext uri="{FF2B5EF4-FFF2-40B4-BE49-F238E27FC236}">
                  <a16:creationId xmlns:a16="http://schemas.microsoft.com/office/drawing/2014/main" id="{49286B5C-0BCB-C296-4956-D34A9422C13C}"/>
                </a:ext>
              </a:extLst>
            </p:cNvPr>
            <p:cNvSpPr>
              <a:spLocks/>
            </p:cNvSpPr>
            <p:nvPr/>
          </p:nvSpPr>
          <p:spPr>
            <a:xfrm>
              <a:off x="908248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37">
              <a:extLst>
                <a:ext uri="{FF2B5EF4-FFF2-40B4-BE49-F238E27FC236}">
                  <a16:creationId xmlns:a16="http://schemas.microsoft.com/office/drawing/2014/main" id="{B43039D9-0730-F9E8-1400-433A04020898}"/>
                </a:ext>
              </a:extLst>
            </p:cNvPr>
            <p:cNvSpPr>
              <a:spLocks/>
            </p:cNvSpPr>
            <p:nvPr/>
          </p:nvSpPr>
          <p:spPr>
            <a:xfrm>
              <a:off x="11025626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: Shape 38">
              <a:extLst>
                <a:ext uri="{FF2B5EF4-FFF2-40B4-BE49-F238E27FC236}">
                  <a16:creationId xmlns:a16="http://schemas.microsoft.com/office/drawing/2014/main" id="{EDD22F06-3614-2EE3-BF68-B6D85A6874B3}"/>
                </a:ext>
              </a:extLst>
            </p:cNvPr>
            <p:cNvSpPr>
              <a:spLocks/>
            </p:cNvSpPr>
            <p:nvPr/>
          </p:nvSpPr>
          <p:spPr>
            <a:xfrm>
              <a:off x="10054054" y="1128391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: Shape 39">
              <a:extLst>
                <a:ext uri="{FF2B5EF4-FFF2-40B4-BE49-F238E27FC236}">
                  <a16:creationId xmlns:a16="http://schemas.microsoft.com/office/drawing/2014/main" id="{8ED4CFF0-517A-7706-B7A6-A6531DCFC455}"/>
                </a:ext>
              </a:extLst>
            </p:cNvPr>
            <p:cNvSpPr>
              <a:spLocks/>
            </p:cNvSpPr>
            <p:nvPr/>
          </p:nvSpPr>
          <p:spPr>
            <a:xfrm>
              <a:off x="33837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40">
              <a:extLst>
                <a:ext uri="{FF2B5EF4-FFF2-40B4-BE49-F238E27FC236}">
                  <a16:creationId xmlns:a16="http://schemas.microsoft.com/office/drawing/2014/main" id="{7DFB9D32-8CBF-356E-38B3-10E6EBB9921E}"/>
                </a:ext>
              </a:extLst>
            </p:cNvPr>
            <p:cNvSpPr>
              <a:spLocks/>
            </p:cNvSpPr>
            <p:nvPr/>
          </p:nvSpPr>
          <p:spPr>
            <a:xfrm>
              <a:off x="130994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41">
              <a:extLst>
                <a:ext uri="{FF2B5EF4-FFF2-40B4-BE49-F238E27FC236}">
                  <a16:creationId xmlns:a16="http://schemas.microsoft.com/office/drawing/2014/main" id="{70197086-F026-CE93-666B-946BE96F372B}"/>
                </a:ext>
              </a:extLst>
            </p:cNvPr>
            <p:cNvSpPr>
              <a:spLocks/>
            </p:cNvSpPr>
            <p:nvPr/>
          </p:nvSpPr>
          <p:spPr>
            <a:xfrm>
              <a:off x="228151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42">
              <a:extLst>
                <a:ext uri="{FF2B5EF4-FFF2-40B4-BE49-F238E27FC236}">
                  <a16:creationId xmlns:a16="http://schemas.microsoft.com/office/drawing/2014/main" id="{9C5A8634-CD7A-6DF0-1D3E-CD413CD0FF8A}"/>
                </a:ext>
              </a:extLst>
            </p:cNvPr>
            <p:cNvSpPr>
              <a:spLocks/>
            </p:cNvSpPr>
            <p:nvPr/>
          </p:nvSpPr>
          <p:spPr>
            <a:xfrm>
              <a:off x="325307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: Shape 43">
              <a:extLst>
                <a:ext uri="{FF2B5EF4-FFF2-40B4-BE49-F238E27FC236}">
                  <a16:creationId xmlns:a16="http://schemas.microsoft.com/office/drawing/2014/main" id="{DE2CEFEE-3EB7-ABF4-52D8-892D5E7889BD}"/>
                </a:ext>
              </a:extLst>
            </p:cNvPr>
            <p:cNvSpPr>
              <a:spLocks/>
            </p:cNvSpPr>
            <p:nvPr/>
          </p:nvSpPr>
          <p:spPr>
            <a:xfrm>
              <a:off x="422464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: Shape 44">
              <a:extLst>
                <a:ext uri="{FF2B5EF4-FFF2-40B4-BE49-F238E27FC236}">
                  <a16:creationId xmlns:a16="http://schemas.microsoft.com/office/drawing/2014/main" id="{1373C7C2-66FA-B1DE-AA54-C92829247C56}"/>
                </a:ext>
              </a:extLst>
            </p:cNvPr>
            <p:cNvSpPr>
              <a:spLocks/>
            </p:cNvSpPr>
            <p:nvPr/>
          </p:nvSpPr>
          <p:spPr>
            <a:xfrm>
              <a:off x="519621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: Shape 45">
              <a:extLst>
                <a:ext uri="{FF2B5EF4-FFF2-40B4-BE49-F238E27FC236}">
                  <a16:creationId xmlns:a16="http://schemas.microsoft.com/office/drawing/2014/main" id="{1750D663-83EA-7A89-A0D9-645F1BA2491B}"/>
                </a:ext>
              </a:extLst>
            </p:cNvPr>
            <p:cNvSpPr>
              <a:spLocks/>
            </p:cNvSpPr>
            <p:nvPr/>
          </p:nvSpPr>
          <p:spPr>
            <a:xfrm>
              <a:off x="6167782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: Shape 46">
              <a:extLst>
                <a:ext uri="{FF2B5EF4-FFF2-40B4-BE49-F238E27FC236}">
                  <a16:creationId xmlns:a16="http://schemas.microsoft.com/office/drawing/2014/main" id="{972E13C8-00BE-86FB-016E-2B3C50191B88}"/>
                </a:ext>
              </a:extLst>
            </p:cNvPr>
            <p:cNvSpPr>
              <a:spLocks/>
            </p:cNvSpPr>
            <p:nvPr/>
          </p:nvSpPr>
          <p:spPr>
            <a:xfrm>
              <a:off x="7139350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: Shape 47">
              <a:extLst>
                <a:ext uri="{FF2B5EF4-FFF2-40B4-BE49-F238E27FC236}">
                  <a16:creationId xmlns:a16="http://schemas.microsoft.com/office/drawing/2014/main" id="{CC8C5ACB-BC79-87DB-C448-ABED7550FA3D}"/>
                </a:ext>
              </a:extLst>
            </p:cNvPr>
            <p:cNvSpPr>
              <a:spLocks/>
            </p:cNvSpPr>
            <p:nvPr/>
          </p:nvSpPr>
          <p:spPr>
            <a:xfrm>
              <a:off x="8110918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48">
              <a:extLst>
                <a:ext uri="{FF2B5EF4-FFF2-40B4-BE49-F238E27FC236}">
                  <a16:creationId xmlns:a16="http://schemas.microsoft.com/office/drawing/2014/main" id="{055A975A-BD09-068B-3DF2-B8F0E2E5C835}"/>
                </a:ext>
              </a:extLst>
            </p:cNvPr>
            <p:cNvSpPr>
              <a:spLocks/>
            </p:cNvSpPr>
            <p:nvPr/>
          </p:nvSpPr>
          <p:spPr>
            <a:xfrm>
              <a:off x="908248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: Shape 49">
              <a:extLst>
                <a:ext uri="{FF2B5EF4-FFF2-40B4-BE49-F238E27FC236}">
                  <a16:creationId xmlns:a16="http://schemas.microsoft.com/office/drawing/2014/main" id="{6D1546B8-ABB7-3C1E-6E79-CB8971EAAA15}"/>
                </a:ext>
              </a:extLst>
            </p:cNvPr>
            <p:cNvSpPr>
              <a:spLocks/>
            </p:cNvSpPr>
            <p:nvPr/>
          </p:nvSpPr>
          <p:spPr>
            <a:xfrm>
              <a:off x="11025626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: Shape 50">
              <a:extLst>
                <a:ext uri="{FF2B5EF4-FFF2-40B4-BE49-F238E27FC236}">
                  <a16:creationId xmlns:a16="http://schemas.microsoft.com/office/drawing/2014/main" id="{56B12F61-128A-A004-E642-EA12ADAC0CBD}"/>
                </a:ext>
              </a:extLst>
            </p:cNvPr>
            <p:cNvSpPr>
              <a:spLocks/>
            </p:cNvSpPr>
            <p:nvPr/>
          </p:nvSpPr>
          <p:spPr>
            <a:xfrm>
              <a:off x="10054054" y="1919034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: Shape 51">
              <a:extLst>
                <a:ext uri="{FF2B5EF4-FFF2-40B4-BE49-F238E27FC236}">
                  <a16:creationId xmlns:a16="http://schemas.microsoft.com/office/drawing/2014/main" id="{10E7A989-7A76-4189-8276-9AFB4567DE93}"/>
                </a:ext>
              </a:extLst>
            </p:cNvPr>
            <p:cNvSpPr>
              <a:spLocks/>
            </p:cNvSpPr>
            <p:nvPr/>
          </p:nvSpPr>
          <p:spPr>
            <a:xfrm>
              <a:off x="33837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52">
              <a:extLst>
                <a:ext uri="{FF2B5EF4-FFF2-40B4-BE49-F238E27FC236}">
                  <a16:creationId xmlns:a16="http://schemas.microsoft.com/office/drawing/2014/main" id="{2DE44CC4-DAD5-F536-9471-EA802B427E73}"/>
                </a:ext>
              </a:extLst>
            </p:cNvPr>
            <p:cNvSpPr>
              <a:spLocks/>
            </p:cNvSpPr>
            <p:nvPr/>
          </p:nvSpPr>
          <p:spPr>
            <a:xfrm>
              <a:off x="130994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53">
              <a:extLst>
                <a:ext uri="{FF2B5EF4-FFF2-40B4-BE49-F238E27FC236}">
                  <a16:creationId xmlns:a16="http://schemas.microsoft.com/office/drawing/2014/main" id="{AEF739F1-2305-9E19-0CEE-F0C81829F674}"/>
                </a:ext>
              </a:extLst>
            </p:cNvPr>
            <p:cNvSpPr>
              <a:spLocks/>
            </p:cNvSpPr>
            <p:nvPr/>
          </p:nvSpPr>
          <p:spPr>
            <a:xfrm>
              <a:off x="228151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54">
              <a:extLst>
                <a:ext uri="{FF2B5EF4-FFF2-40B4-BE49-F238E27FC236}">
                  <a16:creationId xmlns:a16="http://schemas.microsoft.com/office/drawing/2014/main" id="{06F05462-0E4B-42D0-7AA6-097ED4D3BFB8}"/>
                </a:ext>
              </a:extLst>
            </p:cNvPr>
            <p:cNvSpPr>
              <a:spLocks/>
            </p:cNvSpPr>
            <p:nvPr/>
          </p:nvSpPr>
          <p:spPr>
            <a:xfrm>
              <a:off x="325307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55">
              <a:extLst>
                <a:ext uri="{FF2B5EF4-FFF2-40B4-BE49-F238E27FC236}">
                  <a16:creationId xmlns:a16="http://schemas.microsoft.com/office/drawing/2014/main" id="{BC190428-8795-563C-D4A7-90EE67041567}"/>
                </a:ext>
              </a:extLst>
            </p:cNvPr>
            <p:cNvSpPr>
              <a:spLocks/>
            </p:cNvSpPr>
            <p:nvPr/>
          </p:nvSpPr>
          <p:spPr>
            <a:xfrm>
              <a:off x="422464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56">
              <a:extLst>
                <a:ext uri="{FF2B5EF4-FFF2-40B4-BE49-F238E27FC236}">
                  <a16:creationId xmlns:a16="http://schemas.microsoft.com/office/drawing/2014/main" id="{C38D948F-E9DF-1C7E-4E64-48A6F7D5F8DF}"/>
                </a:ext>
              </a:extLst>
            </p:cNvPr>
            <p:cNvSpPr>
              <a:spLocks/>
            </p:cNvSpPr>
            <p:nvPr/>
          </p:nvSpPr>
          <p:spPr>
            <a:xfrm>
              <a:off x="519621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57">
              <a:extLst>
                <a:ext uri="{FF2B5EF4-FFF2-40B4-BE49-F238E27FC236}">
                  <a16:creationId xmlns:a16="http://schemas.microsoft.com/office/drawing/2014/main" id="{53F2613E-5F30-DFB4-8256-714C3EB59DAE}"/>
                </a:ext>
              </a:extLst>
            </p:cNvPr>
            <p:cNvSpPr>
              <a:spLocks/>
            </p:cNvSpPr>
            <p:nvPr/>
          </p:nvSpPr>
          <p:spPr>
            <a:xfrm>
              <a:off x="6167782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: Shape 58">
              <a:extLst>
                <a:ext uri="{FF2B5EF4-FFF2-40B4-BE49-F238E27FC236}">
                  <a16:creationId xmlns:a16="http://schemas.microsoft.com/office/drawing/2014/main" id="{2FB3B205-8360-34E7-0A04-D186236FB0F1}"/>
                </a:ext>
              </a:extLst>
            </p:cNvPr>
            <p:cNvSpPr>
              <a:spLocks/>
            </p:cNvSpPr>
            <p:nvPr/>
          </p:nvSpPr>
          <p:spPr>
            <a:xfrm>
              <a:off x="7139350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59">
              <a:extLst>
                <a:ext uri="{FF2B5EF4-FFF2-40B4-BE49-F238E27FC236}">
                  <a16:creationId xmlns:a16="http://schemas.microsoft.com/office/drawing/2014/main" id="{BE0EB689-93F7-F49A-DE77-98EE3599FD8D}"/>
                </a:ext>
              </a:extLst>
            </p:cNvPr>
            <p:cNvSpPr>
              <a:spLocks/>
            </p:cNvSpPr>
            <p:nvPr/>
          </p:nvSpPr>
          <p:spPr>
            <a:xfrm>
              <a:off x="8110918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60">
              <a:extLst>
                <a:ext uri="{FF2B5EF4-FFF2-40B4-BE49-F238E27FC236}">
                  <a16:creationId xmlns:a16="http://schemas.microsoft.com/office/drawing/2014/main" id="{79B2BF34-96A3-04C8-845C-051B07F2B899}"/>
                </a:ext>
              </a:extLst>
            </p:cNvPr>
            <p:cNvSpPr>
              <a:spLocks/>
            </p:cNvSpPr>
            <p:nvPr/>
          </p:nvSpPr>
          <p:spPr>
            <a:xfrm>
              <a:off x="908248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61">
              <a:extLst>
                <a:ext uri="{FF2B5EF4-FFF2-40B4-BE49-F238E27FC236}">
                  <a16:creationId xmlns:a16="http://schemas.microsoft.com/office/drawing/2014/main" id="{1F022875-4461-CDF6-921C-581C4458D616}"/>
                </a:ext>
              </a:extLst>
            </p:cNvPr>
            <p:cNvSpPr>
              <a:spLocks/>
            </p:cNvSpPr>
            <p:nvPr/>
          </p:nvSpPr>
          <p:spPr>
            <a:xfrm>
              <a:off x="11025626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62">
              <a:extLst>
                <a:ext uri="{FF2B5EF4-FFF2-40B4-BE49-F238E27FC236}">
                  <a16:creationId xmlns:a16="http://schemas.microsoft.com/office/drawing/2014/main" id="{9E821EFB-BEE1-85E5-A5C8-9385728BE9F1}"/>
                </a:ext>
              </a:extLst>
            </p:cNvPr>
            <p:cNvSpPr>
              <a:spLocks/>
            </p:cNvSpPr>
            <p:nvPr/>
          </p:nvSpPr>
          <p:spPr>
            <a:xfrm>
              <a:off x="10054054" y="2709677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64">
              <a:extLst>
                <a:ext uri="{FF2B5EF4-FFF2-40B4-BE49-F238E27FC236}">
                  <a16:creationId xmlns:a16="http://schemas.microsoft.com/office/drawing/2014/main" id="{A5886C19-F684-64F7-DFD2-78F9E644829A}"/>
                </a:ext>
              </a:extLst>
            </p:cNvPr>
            <p:cNvSpPr>
              <a:spLocks/>
            </p:cNvSpPr>
            <p:nvPr/>
          </p:nvSpPr>
          <p:spPr>
            <a:xfrm>
              <a:off x="130994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65">
              <a:extLst>
                <a:ext uri="{FF2B5EF4-FFF2-40B4-BE49-F238E27FC236}">
                  <a16:creationId xmlns:a16="http://schemas.microsoft.com/office/drawing/2014/main" id="{827B6FA1-9152-0B44-1239-FCD18AE8A760}"/>
                </a:ext>
              </a:extLst>
            </p:cNvPr>
            <p:cNvSpPr>
              <a:spLocks/>
            </p:cNvSpPr>
            <p:nvPr/>
          </p:nvSpPr>
          <p:spPr>
            <a:xfrm>
              <a:off x="228151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66">
              <a:extLst>
                <a:ext uri="{FF2B5EF4-FFF2-40B4-BE49-F238E27FC236}">
                  <a16:creationId xmlns:a16="http://schemas.microsoft.com/office/drawing/2014/main" id="{027BD662-7142-9325-B6C5-A5A1DD339984}"/>
                </a:ext>
              </a:extLst>
            </p:cNvPr>
            <p:cNvSpPr>
              <a:spLocks/>
            </p:cNvSpPr>
            <p:nvPr/>
          </p:nvSpPr>
          <p:spPr>
            <a:xfrm>
              <a:off x="325307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67">
              <a:extLst>
                <a:ext uri="{FF2B5EF4-FFF2-40B4-BE49-F238E27FC236}">
                  <a16:creationId xmlns:a16="http://schemas.microsoft.com/office/drawing/2014/main" id="{D1B5046A-ED38-5801-24CD-CA8563A98E58}"/>
                </a:ext>
              </a:extLst>
            </p:cNvPr>
            <p:cNvSpPr>
              <a:spLocks/>
            </p:cNvSpPr>
            <p:nvPr/>
          </p:nvSpPr>
          <p:spPr>
            <a:xfrm>
              <a:off x="422464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68">
              <a:extLst>
                <a:ext uri="{FF2B5EF4-FFF2-40B4-BE49-F238E27FC236}">
                  <a16:creationId xmlns:a16="http://schemas.microsoft.com/office/drawing/2014/main" id="{C7AA7E61-FBBF-4C58-AE20-26EC1F03A359}"/>
                </a:ext>
              </a:extLst>
            </p:cNvPr>
            <p:cNvSpPr>
              <a:spLocks/>
            </p:cNvSpPr>
            <p:nvPr/>
          </p:nvSpPr>
          <p:spPr>
            <a:xfrm>
              <a:off x="519621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69">
              <a:extLst>
                <a:ext uri="{FF2B5EF4-FFF2-40B4-BE49-F238E27FC236}">
                  <a16:creationId xmlns:a16="http://schemas.microsoft.com/office/drawing/2014/main" id="{C52B7CE5-3EC5-1D58-B0B1-62D420F0ADC4}"/>
                </a:ext>
              </a:extLst>
            </p:cNvPr>
            <p:cNvSpPr>
              <a:spLocks/>
            </p:cNvSpPr>
            <p:nvPr/>
          </p:nvSpPr>
          <p:spPr>
            <a:xfrm>
              <a:off x="6167782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70">
              <a:extLst>
                <a:ext uri="{FF2B5EF4-FFF2-40B4-BE49-F238E27FC236}">
                  <a16:creationId xmlns:a16="http://schemas.microsoft.com/office/drawing/2014/main" id="{E3FD864A-EFF8-8818-FE35-5B46BFF5998A}"/>
                </a:ext>
              </a:extLst>
            </p:cNvPr>
            <p:cNvSpPr>
              <a:spLocks/>
            </p:cNvSpPr>
            <p:nvPr/>
          </p:nvSpPr>
          <p:spPr>
            <a:xfrm>
              <a:off x="7139350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71">
              <a:extLst>
                <a:ext uri="{FF2B5EF4-FFF2-40B4-BE49-F238E27FC236}">
                  <a16:creationId xmlns:a16="http://schemas.microsoft.com/office/drawing/2014/main" id="{FDF5AE8E-600F-673C-2F7F-554F7766BEBF}"/>
                </a:ext>
              </a:extLst>
            </p:cNvPr>
            <p:cNvSpPr>
              <a:spLocks/>
            </p:cNvSpPr>
            <p:nvPr/>
          </p:nvSpPr>
          <p:spPr>
            <a:xfrm>
              <a:off x="8110918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72">
              <a:extLst>
                <a:ext uri="{FF2B5EF4-FFF2-40B4-BE49-F238E27FC236}">
                  <a16:creationId xmlns:a16="http://schemas.microsoft.com/office/drawing/2014/main" id="{AC526448-2974-C6D7-39E9-6B82C90EAC8F}"/>
                </a:ext>
              </a:extLst>
            </p:cNvPr>
            <p:cNvSpPr>
              <a:spLocks/>
            </p:cNvSpPr>
            <p:nvPr/>
          </p:nvSpPr>
          <p:spPr>
            <a:xfrm>
              <a:off x="908248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73">
              <a:extLst>
                <a:ext uri="{FF2B5EF4-FFF2-40B4-BE49-F238E27FC236}">
                  <a16:creationId xmlns:a16="http://schemas.microsoft.com/office/drawing/2014/main" id="{80E24809-9145-2089-8590-4FFB38FA6D82}"/>
                </a:ext>
              </a:extLst>
            </p:cNvPr>
            <p:cNvSpPr>
              <a:spLocks/>
            </p:cNvSpPr>
            <p:nvPr/>
          </p:nvSpPr>
          <p:spPr>
            <a:xfrm>
              <a:off x="11025626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74">
              <a:extLst>
                <a:ext uri="{FF2B5EF4-FFF2-40B4-BE49-F238E27FC236}">
                  <a16:creationId xmlns:a16="http://schemas.microsoft.com/office/drawing/2014/main" id="{7DA09088-3BC4-581A-8033-EA059649C73A}"/>
                </a:ext>
              </a:extLst>
            </p:cNvPr>
            <p:cNvSpPr>
              <a:spLocks/>
            </p:cNvSpPr>
            <p:nvPr/>
          </p:nvSpPr>
          <p:spPr>
            <a:xfrm>
              <a:off x="1005405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75">
              <a:extLst>
                <a:ext uri="{FF2B5EF4-FFF2-40B4-BE49-F238E27FC236}">
                  <a16:creationId xmlns:a16="http://schemas.microsoft.com/office/drawing/2014/main" id="{8D079C41-9395-11BC-1A1D-B954F3643F40}"/>
                </a:ext>
              </a:extLst>
            </p:cNvPr>
            <p:cNvSpPr>
              <a:spLocks/>
            </p:cNvSpPr>
            <p:nvPr/>
          </p:nvSpPr>
          <p:spPr>
            <a:xfrm>
              <a:off x="33837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76">
              <a:extLst>
                <a:ext uri="{FF2B5EF4-FFF2-40B4-BE49-F238E27FC236}">
                  <a16:creationId xmlns:a16="http://schemas.microsoft.com/office/drawing/2014/main" id="{8E820EB2-4320-BFF2-4E26-CA8B9D165943}"/>
                </a:ext>
              </a:extLst>
            </p:cNvPr>
            <p:cNvSpPr>
              <a:spLocks/>
            </p:cNvSpPr>
            <p:nvPr/>
          </p:nvSpPr>
          <p:spPr>
            <a:xfrm>
              <a:off x="130994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77">
              <a:extLst>
                <a:ext uri="{FF2B5EF4-FFF2-40B4-BE49-F238E27FC236}">
                  <a16:creationId xmlns:a16="http://schemas.microsoft.com/office/drawing/2014/main" id="{227466AF-6CA6-4D6E-196D-67833A1AE067}"/>
                </a:ext>
              </a:extLst>
            </p:cNvPr>
            <p:cNvSpPr>
              <a:spLocks/>
            </p:cNvSpPr>
            <p:nvPr/>
          </p:nvSpPr>
          <p:spPr>
            <a:xfrm>
              <a:off x="228151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78">
              <a:extLst>
                <a:ext uri="{FF2B5EF4-FFF2-40B4-BE49-F238E27FC236}">
                  <a16:creationId xmlns:a16="http://schemas.microsoft.com/office/drawing/2014/main" id="{FC4622F8-7B34-A3A1-359F-1C13F49D1994}"/>
                </a:ext>
              </a:extLst>
            </p:cNvPr>
            <p:cNvSpPr>
              <a:spLocks/>
            </p:cNvSpPr>
            <p:nvPr/>
          </p:nvSpPr>
          <p:spPr>
            <a:xfrm>
              <a:off x="325307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79">
              <a:extLst>
                <a:ext uri="{FF2B5EF4-FFF2-40B4-BE49-F238E27FC236}">
                  <a16:creationId xmlns:a16="http://schemas.microsoft.com/office/drawing/2014/main" id="{72624793-22EC-4D5C-2676-3626C24BA10E}"/>
                </a:ext>
              </a:extLst>
            </p:cNvPr>
            <p:cNvSpPr>
              <a:spLocks/>
            </p:cNvSpPr>
            <p:nvPr/>
          </p:nvSpPr>
          <p:spPr>
            <a:xfrm>
              <a:off x="422464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80">
              <a:extLst>
                <a:ext uri="{FF2B5EF4-FFF2-40B4-BE49-F238E27FC236}">
                  <a16:creationId xmlns:a16="http://schemas.microsoft.com/office/drawing/2014/main" id="{FB93DAD7-B7E1-0CD4-CF8E-870411CCCA94}"/>
                </a:ext>
              </a:extLst>
            </p:cNvPr>
            <p:cNvSpPr>
              <a:spLocks/>
            </p:cNvSpPr>
            <p:nvPr/>
          </p:nvSpPr>
          <p:spPr>
            <a:xfrm>
              <a:off x="519621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81">
              <a:extLst>
                <a:ext uri="{FF2B5EF4-FFF2-40B4-BE49-F238E27FC236}">
                  <a16:creationId xmlns:a16="http://schemas.microsoft.com/office/drawing/2014/main" id="{58EBF50D-9D00-625A-F147-7B52CE7C25CB}"/>
                </a:ext>
              </a:extLst>
            </p:cNvPr>
            <p:cNvSpPr>
              <a:spLocks/>
            </p:cNvSpPr>
            <p:nvPr/>
          </p:nvSpPr>
          <p:spPr>
            <a:xfrm>
              <a:off x="6167782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82">
              <a:extLst>
                <a:ext uri="{FF2B5EF4-FFF2-40B4-BE49-F238E27FC236}">
                  <a16:creationId xmlns:a16="http://schemas.microsoft.com/office/drawing/2014/main" id="{9FC985B1-9812-4BF4-0825-F6A001453239}"/>
                </a:ext>
              </a:extLst>
            </p:cNvPr>
            <p:cNvSpPr>
              <a:spLocks/>
            </p:cNvSpPr>
            <p:nvPr/>
          </p:nvSpPr>
          <p:spPr>
            <a:xfrm>
              <a:off x="7139350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83">
              <a:extLst>
                <a:ext uri="{FF2B5EF4-FFF2-40B4-BE49-F238E27FC236}">
                  <a16:creationId xmlns:a16="http://schemas.microsoft.com/office/drawing/2014/main" id="{26EFDE93-E6FC-2B10-F00D-F17CFEA73D0B}"/>
                </a:ext>
              </a:extLst>
            </p:cNvPr>
            <p:cNvSpPr>
              <a:spLocks/>
            </p:cNvSpPr>
            <p:nvPr/>
          </p:nvSpPr>
          <p:spPr>
            <a:xfrm>
              <a:off x="8110918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84">
              <a:extLst>
                <a:ext uri="{FF2B5EF4-FFF2-40B4-BE49-F238E27FC236}">
                  <a16:creationId xmlns:a16="http://schemas.microsoft.com/office/drawing/2014/main" id="{7FDEFF49-182F-EBF0-34E7-BB465CFC2583}"/>
                </a:ext>
              </a:extLst>
            </p:cNvPr>
            <p:cNvSpPr>
              <a:spLocks/>
            </p:cNvSpPr>
            <p:nvPr/>
          </p:nvSpPr>
          <p:spPr>
            <a:xfrm>
              <a:off x="908248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85">
              <a:extLst>
                <a:ext uri="{FF2B5EF4-FFF2-40B4-BE49-F238E27FC236}">
                  <a16:creationId xmlns:a16="http://schemas.microsoft.com/office/drawing/2014/main" id="{2DDB7F12-1367-0A34-FEE9-3A7EAC9C416A}"/>
                </a:ext>
              </a:extLst>
            </p:cNvPr>
            <p:cNvSpPr>
              <a:spLocks/>
            </p:cNvSpPr>
            <p:nvPr/>
          </p:nvSpPr>
          <p:spPr>
            <a:xfrm>
              <a:off x="11025626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86">
              <a:extLst>
                <a:ext uri="{FF2B5EF4-FFF2-40B4-BE49-F238E27FC236}">
                  <a16:creationId xmlns:a16="http://schemas.microsoft.com/office/drawing/2014/main" id="{7A370E0C-A04C-E7FC-70B8-1A93AD5130BC}"/>
                </a:ext>
              </a:extLst>
            </p:cNvPr>
            <p:cNvSpPr>
              <a:spLocks/>
            </p:cNvSpPr>
            <p:nvPr/>
          </p:nvSpPr>
          <p:spPr>
            <a:xfrm>
              <a:off x="10054054" y="4290963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87">
              <a:extLst>
                <a:ext uri="{FF2B5EF4-FFF2-40B4-BE49-F238E27FC236}">
                  <a16:creationId xmlns:a16="http://schemas.microsoft.com/office/drawing/2014/main" id="{F42EF56D-88A5-0CB7-9823-F37836C66E1E}"/>
                </a:ext>
              </a:extLst>
            </p:cNvPr>
            <p:cNvSpPr>
              <a:spLocks/>
            </p:cNvSpPr>
            <p:nvPr/>
          </p:nvSpPr>
          <p:spPr>
            <a:xfrm>
              <a:off x="33837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88">
              <a:extLst>
                <a:ext uri="{FF2B5EF4-FFF2-40B4-BE49-F238E27FC236}">
                  <a16:creationId xmlns:a16="http://schemas.microsoft.com/office/drawing/2014/main" id="{6112877F-8A66-C889-15B0-5530E1C64B91}"/>
                </a:ext>
              </a:extLst>
            </p:cNvPr>
            <p:cNvSpPr>
              <a:spLocks/>
            </p:cNvSpPr>
            <p:nvPr/>
          </p:nvSpPr>
          <p:spPr>
            <a:xfrm>
              <a:off x="130994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89">
              <a:extLst>
                <a:ext uri="{FF2B5EF4-FFF2-40B4-BE49-F238E27FC236}">
                  <a16:creationId xmlns:a16="http://schemas.microsoft.com/office/drawing/2014/main" id="{AE2D5BCD-D8B9-BBB7-AC52-8CF0C9771259}"/>
                </a:ext>
              </a:extLst>
            </p:cNvPr>
            <p:cNvSpPr>
              <a:spLocks/>
            </p:cNvSpPr>
            <p:nvPr/>
          </p:nvSpPr>
          <p:spPr>
            <a:xfrm>
              <a:off x="228151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90">
              <a:extLst>
                <a:ext uri="{FF2B5EF4-FFF2-40B4-BE49-F238E27FC236}">
                  <a16:creationId xmlns:a16="http://schemas.microsoft.com/office/drawing/2014/main" id="{7F9BB859-74F8-4B36-5EB6-A494582448E9}"/>
                </a:ext>
              </a:extLst>
            </p:cNvPr>
            <p:cNvSpPr>
              <a:spLocks/>
            </p:cNvSpPr>
            <p:nvPr/>
          </p:nvSpPr>
          <p:spPr>
            <a:xfrm>
              <a:off x="325307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91">
              <a:extLst>
                <a:ext uri="{FF2B5EF4-FFF2-40B4-BE49-F238E27FC236}">
                  <a16:creationId xmlns:a16="http://schemas.microsoft.com/office/drawing/2014/main" id="{CD6F9DD9-CB01-F04F-F754-4F764E6B67C9}"/>
                </a:ext>
              </a:extLst>
            </p:cNvPr>
            <p:cNvSpPr>
              <a:spLocks/>
            </p:cNvSpPr>
            <p:nvPr/>
          </p:nvSpPr>
          <p:spPr>
            <a:xfrm>
              <a:off x="422464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92">
              <a:extLst>
                <a:ext uri="{FF2B5EF4-FFF2-40B4-BE49-F238E27FC236}">
                  <a16:creationId xmlns:a16="http://schemas.microsoft.com/office/drawing/2014/main" id="{DDBDA344-A4E9-2857-F160-3D1A9A66B865}"/>
                </a:ext>
              </a:extLst>
            </p:cNvPr>
            <p:cNvSpPr>
              <a:spLocks/>
            </p:cNvSpPr>
            <p:nvPr/>
          </p:nvSpPr>
          <p:spPr>
            <a:xfrm>
              <a:off x="519621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93">
              <a:extLst>
                <a:ext uri="{FF2B5EF4-FFF2-40B4-BE49-F238E27FC236}">
                  <a16:creationId xmlns:a16="http://schemas.microsoft.com/office/drawing/2014/main" id="{292724A7-F05A-7829-DE5D-A6C8EAC86F3A}"/>
                </a:ext>
              </a:extLst>
            </p:cNvPr>
            <p:cNvSpPr>
              <a:spLocks/>
            </p:cNvSpPr>
            <p:nvPr/>
          </p:nvSpPr>
          <p:spPr>
            <a:xfrm>
              <a:off x="6167782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94">
              <a:extLst>
                <a:ext uri="{FF2B5EF4-FFF2-40B4-BE49-F238E27FC236}">
                  <a16:creationId xmlns:a16="http://schemas.microsoft.com/office/drawing/2014/main" id="{563A5B2C-57E0-53CC-0EB7-9548E7006F01}"/>
                </a:ext>
              </a:extLst>
            </p:cNvPr>
            <p:cNvSpPr>
              <a:spLocks/>
            </p:cNvSpPr>
            <p:nvPr/>
          </p:nvSpPr>
          <p:spPr>
            <a:xfrm>
              <a:off x="7139350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95">
              <a:extLst>
                <a:ext uri="{FF2B5EF4-FFF2-40B4-BE49-F238E27FC236}">
                  <a16:creationId xmlns:a16="http://schemas.microsoft.com/office/drawing/2014/main" id="{8788BE77-4E16-D0FF-3188-A5657123C9CE}"/>
                </a:ext>
              </a:extLst>
            </p:cNvPr>
            <p:cNvSpPr>
              <a:spLocks/>
            </p:cNvSpPr>
            <p:nvPr/>
          </p:nvSpPr>
          <p:spPr>
            <a:xfrm>
              <a:off x="8110918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96">
              <a:extLst>
                <a:ext uri="{FF2B5EF4-FFF2-40B4-BE49-F238E27FC236}">
                  <a16:creationId xmlns:a16="http://schemas.microsoft.com/office/drawing/2014/main" id="{50D8211E-9FCF-C2EE-8C15-7E1B3621D085}"/>
                </a:ext>
              </a:extLst>
            </p:cNvPr>
            <p:cNvSpPr>
              <a:spLocks/>
            </p:cNvSpPr>
            <p:nvPr/>
          </p:nvSpPr>
          <p:spPr>
            <a:xfrm>
              <a:off x="908248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97">
              <a:extLst>
                <a:ext uri="{FF2B5EF4-FFF2-40B4-BE49-F238E27FC236}">
                  <a16:creationId xmlns:a16="http://schemas.microsoft.com/office/drawing/2014/main" id="{133A2FFB-E35C-AE96-3BAB-8C107F8AD710}"/>
                </a:ext>
              </a:extLst>
            </p:cNvPr>
            <p:cNvSpPr>
              <a:spLocks/>
            </p:cNvSpPr>
            <p:nvPr/>
          </p:nvSpPr>
          <p:spPr>
            <a:xfrm>
              <a:off x="11025626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98">
              <a:extLst>
                <a:ext uri="{FF2B5EF4-FFF2-40B4-BE49-F238E27FC236}">
                  <a16:creationId xmlns:a16="http://schemas.microsoft.com/office/drawing/2014/main" id="{CD4B46BD-3636-1D83-80EC-7A954291447E}"/>
                </a:ext>
              </a:extLst>
            </p:cNvPr>
            <p:cNvSpPr>
              <a:spLocks/>
            </p:cNvSpPr>
            <p:nvPr/>
          </p:nvSpPr>
          <p:spPr>
            <a:xfrm>
              <a:off x="10054054" y="5081606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105">
              <a:extLst>
                <a:ext uri="{FF2B5EF4-FFF2-40B4-BE49-F238E27FC236}">
                  <a16:creationId xmlns:a16="http://schemas.microsoft.com/office/drawing/2014/main" id="{D75C2535-E6DC-329B-68BB-5CD11AE560F8}"/>
                </a:ext>
              </a:extLst>
            </p:cNvPr>
            <p:cNvSpPr>
              <a:spLocks/>
            </p:cNvSpPr>
            <p:nvPr/>
          </p:nvSpPr>
          <p:spPr>
            <a:xfrm>
              <a:off x="33837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106">
              <a:extLst>
                <a:ext uri="{FF2B5EF4-FFF2-40B4-BE49-F238E27FC236}">
                  <a16:creationId xmlns:a16="http://schemas.microsoft.com/office/drawing/2014/main" id="{D1004276-7B18-EC96-1B6B-CBC48B4BD2C6}"/>
                </a:ext>
              </a:extLst>
            </p:cNvPr>
            <p:cNvSpPr>
              <a:spLocks/>
            </p:cNvSpPr>
            <p:nvPr/>
          </p:nvSpPr>
          <p:spPr>
            <a:xfrm>
              <a:off x="130994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107">
              <a:extLst>
                <a:ext uri="{FF2B5EF4-FFF2-40B4-BE49-F238E27FC236}">
                  <a16:creationId xmlns:a16="http://schemas.microsoft.com/office/drawing/2014/main" id="{A08B9E46-63BF-2DD6-F415-312323F80132}"/>
                </a:ext>
              </a:extLst>
            </p:cNvPr>
            <p:cNvSpPr>
              <a:spLocks/>
            </p:cNvSpPr>
            <p:nvPr/>
          </p:nvSpPr>
          <p:spPr>
            <a:xfrm>
              <a:off x="228151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108">
              <a:extLst>
                <a:ext uri="{FF2B5EF4-FFF2-40B4-BE49-F238E27FC236}">
                  <a16:creationId xmlns:a16="http://schemas.microsoft.com/office/drawing/2014/main" id="{50757E82-504D-2449-9679-00B106DE16CA}"/>
                </a:ext>
              </a:extLst>
            </p:cNvPr>
            <p:cNvSpPr>
              <a:spLocks/>
            </p:cNvSpPr>
            <p:nvPr/>
          </p:nvSpPr>
          <p:spPr>
            <a:xfrm>
              <a:off x="325307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109">
              <a:extLst>
                <a:ext uri="{FF2B5EF4-FFF2-40B4-BE49-F238E27FC236}">
                  <a16:creationId xmlns:a16="http://schemas.microsoft.com/office/drawing/2014/main" id="{26003E7B-BE7F-3B4B-27C8-CB59356567A6}"/>
                </a:ext>
              </a:extLst>
            </p:cNvPr>
            <p:cNvSpPr>
              <a:spLocks/>
            </p:cNvSpPr>
            <p:nvPr/>
          </p:nvSpPr>
          <p:spPr>
            <a:xfrm>
              <a:off x="422464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110">
              <a:extLst>
                <a:ext uri="{FF2B5EF4-FFF2-40B4-BE49-F238E27FC236}">
                  <a16:creationId xmlns:a16="http://schemas.microsoft.com/office/drawing/2014/main" id="{EAF3746B-3473-567F-862C-E9B50E218BDD}"/>
                </a:ext>
              </a:extLst>
            </p:cNvPr>
            <p:cNvSpPr>
              <a:spLocks/>
            </p:cNvSpPr>
            <p:nvPr/>
          </p:nvSpPr>
          <p:spPr>
            <a:xfrm>
              <a:off x="519621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111">
              <a:extLst>
                <a:ext uri="{FF2B5EF4-FFF2-40B4-BE49-F238E27FC236}">
                  <a16:creationId xmlns:a16="http://schemas.microsoft.com/office/drawing/2014/main" id="{8F3301D2-3542-FB0F-1D3C-45B19AE077DB}"/>
                </a:ext>
              </a:extLst>
            </p:cNvPr>
            <p:cNvSpPr>
              <a:spLocks/>
            </p:cNvSpPr>
            <p:nvPr/>
          </p:nvSpPr>
          <p:spPr>
            <a:xfrm>
              <a:off x="6167782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112">
              <a:extLst>
                <a:ext uri="{FF2B5EF4-FFF2-40B4-BE49-F238E27FC236}">
                  <a16:creationId xmlns:a16="http://schemas.microsoft.com/office/drawing/2014/main" id="{D0493A92-CB14-65EC-0D5D-3E3013026601}"/>
                </a:ext>
              </a:extLst>
            </p:cNvPr>
            <p:cNvSpPr>
              <a:spLocks/>
            </p:cNvSpPr>
            <p:nvPr/>
          </p:nvSpPr>
          <p:spPr>
            <a:xfrm>
              <a:off x="7139350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113">
              <a:extLst>
                <a:ext uri="{FF2B5EF4-FFF2-40B4-BE49-F238E27FC236}">
                  <a16:creationId xmlns:a16="http://schemas.microsoft.com/office/drawing/2014/main" id="{74059E71-EB55-3AF4-A62C-A80F3555975F}"/>
                </a:ext>
              </a:extLst>
            </p:cNvPr>
            <p:cNvSpPr>
              <a:spLocks/>
            </p:cNvSpPr>
            <p:nvPr/>
          </p:nvSpPr>
          <p:spPr>
            <a:xfrm>
              <a:off x="8110918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114">
              <a:extLst>
                <a:ext uri="{FF2B5EF4-FFF2-40B4-BE49-F238E27FC236}">
                  <a16:creationId xmlns:a16="http://schemas.microsoft.com/office/drawing/2014/main" id="{A14AE46F-81B4-C06C-1639-3896A19B6D8E}"/>
                </a:ext>
              </a:extLst>
            </p:cNvPr>
            <p:cNvSpPr>
              <a:spLocks/>
            </p:cNvSpPr>
            <p:nvPr/>
          </p:nvSpPr>
          <p:spPr>
            <a:xfrm>
              <a:off x="908248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115">
              <a:extLst>
                <a:ext uri="{FF2B5EF4-FFF2-40B4-BE49-F238E27FC236}">
                  <a16:creationId xmlns:a16="http://schemas.microsoft.com/office/drawing/2014/main" id="{DB46B0E2-2D7B-044E-9062-DF27BBE64861}"/>
                </a:ext>
              </a:extLst>
            </p:cNvPr>
            <p:cNvSpPr>
              <a:spLocks/>
            </p:cNvSpPr>
            <p:nvPr/>
          </p:nvSpPr>
          <p:spPr>
            <a:xfrm>
              <a:off x="11025626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116">
              <a:extLst>
                <a:ext uri="{FF2B5EF4-FFF2-40B4-BE49-F238E27FC236}">
                  <a16:creationId xmlns:a16="http://schemas.microsoft.com/office/drawing/2014/main" id="{99E38804-8D60-6A1E-4916-B6D8EF1826A0}"/>
                </a:ext>
              </a:extLst>
            </p:cNvPr>
            <p:cNvSpPr>
              <a:spLocks/>
            </p:cNvSpPr>
            <p:nvPr/>
          </p:nvSpPr>
          <p:spPr>
            <a:xfrm>
              <a:off x="10054054" y="5872252"/>
              <a:ext cx="828000" cy="324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125">
              <a:extLst>
                <a:ext uri="{FF2B5EF4-FFF2-40B4-BE49-F238E27FC236}">
                  <a16:creationId xmlns:a16="http://schemas.microsoft.com/office/drawing/2014/main" id="{3F27668C-CB01-E2A0-2232-595344317A37}"/>
                </a:ext>
              </a:extLst>
            </p:cNvPr>
            <p:cNvSpPr>
              <a:spLocks/>
            </p:cNvSpPr>
            <p:nvPr/>
          </p:nvSpPr>
          <p:spPr>
            <a:xfrm>
              <a:off x="338374" y="3500320"/>
              <a:ext cx="828000" cy="648000"/>
            </a:xfrm>
            <a:custGeom>
              <a:avLst/>
              <a:gdLst>
                <a:gd name="connsiteX0" fmla="*/ 0 w 824589"/>
                <a:gd name="connsiteY0" fmla="*/ 0 h 643327"/>
                <a:gd name="connsiteX1" fmla="*/ 824589 w 824589"/>
                <a:gd name="connsiteY1" fmla="*/ 0 h 643327"/>
                <a:gd name="connsiteX2" fmla="*/ 824589 w 824589"/>
                <a:gd name="connsiteY2" fmla="*/ 643327 h 643327"/>
                <a:gd name="connsiteX3" fmla="*/ 0 w 824589"/>
                <a:gd name="connsiteY3" fmla="*/ 643327 h 643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24589" h="643327">
                  <a:moveTo>
                    <a:pt x="0" y="0"/>
                  </a:moveTo>
                  <a:lnTo>
                    <a:pt x="824589" y="0"/>
                  </a:lnTo>
                  <a:lnTo>
                    <a:pt x="824589" y="643327"/>
                  </a:lnTo>
                  <a:lnTo>
                    <a:pt x="0" y="643327"/>
                  </a:lnTo>
                  <a:close/>
                </a:path>
              </a:pathLst>
            </a:custGeom>
            <a:solidFill>
              <a:srgbClr val="7030A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1" name="Заголовок 1">
            <a:extLst>
              <a:ext uri="{FF2B5EF4-FFF2-40B4-BE49-F238E27FC236}">
                <a16:creationId xmlns:a16="http://schemas.microsoft.com/office/drawing/2014/main" id="{4D71FE7F-5976-C315-0063-A52CA76C6106}"/>
              </a:ext>
            </a:extLst>
          </p:cNvPr>
          <p:cNvSpPr txBox="1">
            <a:spLocks/>
          </p:cNvSpPr>
          <p:nvPr/>
        </p:nvSpPr>
        <p:spPr>
          <a:xfrm>
            <a:off x="337045" y="285883"/>
            <a:ext cx="1162067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ГРАФИК ПРОЕКТА</a:t>
            </a:r>
          </a:p>
        </p:txBody>
      </p:sp>
      <p:sp>
        <p:nvSpPr>
          <p:cNvPr id="190" name="Прямоугольник 189">
            <a:extLst>
              <a:ext uri="{FF2B5EF4-FFF2-40B4-BE49-F238E27FC236}">
                <a16:creationId xmlns:a16="http://schemas.microsoft.com/office/drawing/2014/main" id="{6F78791A-20A6-E8C1-F600-37E579FE12C3}"/>
              </a:ext>
            </a:extLst>
          </p:cNvPr>
          <p:cNvSpPr/>
          <p:nvPr/>
        </p:nvSpPr>
        <p:spPr>
          <a:xfrm rot="2700000">
            <a:off x="8711328" y="5980547"/>
            <a:ext cx="73025" cy="71438"/>
          </a:xfrm>
          <a:prstGeom prst="rect">
            <a:avLst/>
          </a:prstGeom>
          <a:solidFill>
            <a:srgbClr val="0070B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43B7D83C-8E78-4E36-279E-512369722853}"/>
              </a:ext>
            </a:extLst>
          </p:cNvPr>
          <p:cNvSpPr txBox="1"/>
          <p:nvPr/>
        </p:nvSpPr>
        <p:spPr>
          <a:xfrm>
            <a:off x="8878016" y="5952866"/>
            <a:ext cx="95692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87" name="TextBox 186">
            <a:extLst>
              <a:ext uri="{FF2B5EF4-FFF2-40B4-BE49-F238E27FC236}">
                <a16:creationId xmlns:a16="http://schemas.microsoft.com/office/drawing/2014/main" id="{5F4BAB4B-3F11-484C-3929-410C4E0934F6}"/>
              </a:ext>
            </a:extLst>
          </p:cNvPr>
          <p:cNvSpPr txBox="1"/>
          <p:nvPr/>
        </p:nvSpPr>
        <p:spPr>
          <a:xfrm>
            <a:off x="2235287" y="5952866"/>
            <a:ext cx="13272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700"/>
            </a:lvl1pPr>
          </a:lstStyle>
          <a:p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FEE4A0C3-E7C5-C894-495D-7172E7CD5729}"/>
              </a:ext>
            </a:extLst>
          </p:cNvPr>
          <p:cNvSpPr/>
          <p:nvPr/>
        </p:nvSpPr>
        <p:spPr>
          <a:xfrm>
            <a:off x="1997163" y="5965190"/>
            <a:ext cx="179388" cy="73025"/>
          </a:xfrm>
          <a:prstGeom prst="rect">
            <a:avLst/>
          </a:prstGeom>
          <a:solidFill>
            <a:srgbClr val="0097D8"/>
          </a:solidFill>
          <a:ln w="127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rgbClr val="3C3C3C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E011106B-4DFC-8140-F6DD-DC725E5A19B8}"/>
              </a:ext>
            </a:extLst>
          </p:cNvPr>
          <p:cNvSpPr txBox="1"/>
          <p:nvPr/>
        </p:nvSpPr>
        <p:spPr>
          <a:xfrm>
            <a:off x="4830618" y="5952866"/>
            <a:ext cx="90194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4" name="Прямоугольник 193">
            <a:extLst>
              <a:ext uri="{FF2B5EF4-FFF2-40B4-BE49-F238E27FC236}">
                <a16:creationId xmlns:a16="http://schemas.microsoft.com/office/drawing/2014/main" id="{BE4FB025-98F8-0051-BA52-73AEB96927DE}"/>
              </a:ext>
            </a:extLst>
          </p:cNvPr>
          <p:cNvSpPr/>
          <p:nvPr/>
        </p:nvSpPr>
        <p:spPr>
          <a:xfrm>
            <a:off x="4595615" y="5965190"/>
            <a:ext cx="179388" cy="71438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F3809305-5120-C93E-EABB-9696AD829648}"/>
              </a:ext>
            </a:extLst>
          </p:cNvPr>
          <p:cNvSpPr txBox="1"/>
          <p:nvPr/>
        </p:nvSpPr>
        <p:spPr>
          <a:xfrm>
            <a:off x="3935923" y="5952866"/>
            <a:ext cx="73444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4D76F71A-5E23-CBFC-F8FE-992A8E7ED2B2}"/>
              </a:ext>
            </a:extLst>
          </p:cNvPr>
          <p:cNvSpPr/>
          <p:nvPr/>
        </p:nvSpPr>
        <p:spPr>
          <a:xfrm>
            <a:off x="3679541" y="5965190"/>
            <a:ext cx="179388" cy="71438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4FD0C5B6-2376-430B-8273-0E13583F30C3}"/>
              </a:ext>
            </a:extLst>
          </p:cNvPr>
          <p:cNvSpPr txBox="1"/>
          <p:nvPr/>
        </p:nvSpPr>
        <p:spPr>
          <a:xfrm>
            <a:off x="604606" y="5952866"/>
            <a:ext cx="108385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6" name="Прямоугольник 195">
            <a:extLst>
              <a:ext uri="{FF2B5EF4-FFF2-40B4-BE49-F238E27FC236}">
                <a16:creationId xmlns:a16="http://schemas.microsoft.com/office/drawing/2014/main" id="{2A42B9DB-A211-A114-209A-FC25021C2AE3}"/>
              </a:ext>
            </a:extLst>
          </p:cNvPr>
          <p:cNvSpPr/>
          <p:nvPr/>
        </p:nvSpPr>
        <p:spPr>
          <a:xfrm>
            <a:off x="341082" y="5965190"/>
            <a:ext cx="180975" cy="71438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2" name="Прямоугольник 191">
            <a:extLst>
              <a:ext uri="{FF2B5EF4-FFF2-40B4-BE49-F238E27FC236}">
                <a16:creationId xmlns:a16="http://schemas.microsoft.com/office/drawing/2014/main" id="{CD5D07B1-06D8-EA61-E430-1149452A9ACC}"/>
              </a:ext>
            </a:extLst>
          </p:cNvPr>
          <p:cNvSpPr/>
          <p:nvPr/>
        </p:nvSpPr>
        <p:spPr>
          <a:xfrm rot="2700000">
            <a:off x="7566843" y="5980314"/>
            <a:ext cx="73025" cy="73025"/>
          </a:xfrm>
          <a:prstGeom prst="rect">
            <a:avLst/>
          </a:prstGeom>
          <a:solidFill>
            <a:srgbClr val="00407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E10F74A-1B49-05DE-D516-FE883FB225BE}"/>
              </a:ext>
            </a:extLst>
          </p:cNvPr>
          <p:cNvSpPr txBox="1"/>
          <p:nvPr/>
        </p:nvSpPr>
        <p:spPr>
          <a:xfrm>
            <a:off x="7727181" y="5952866"/>
            <a:ext cx="69389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03AA62C0-8D63-1775-6473-1DDFF9EB2FE3}"/>
              </a:ext>
            </a:extLst>
          </p:cNvPr>
          <p:cNvSpPr txBox="1"/>
          <p:nvPr/>
        </p:nvSpPr>
        <p:spPr>
          <a:xfrm>
            <a:off x="11463863" y="5952866"/>
            <a:ext cx="72813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7304A60D-1A84-5241-D11D-251DBD96AC21}"/>
              </a:ext>
            </a:extLst>
          </p:cNvPr>
          <p:cNvSpPr txBox="1"/>
          <p:nvPr/>
        </p:nvSpPr>
        <p:spPr>
          <a:xfrm>
            <a:off x="10395364" y="5952866"/>
            <a:ext cx="62091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F01068D5-4DA1-9E42-5E51-DD1A91ECCA3F}"/>
              </a:ext>
            </a:extLst>
          </p:cNvPr>
          <p:cNvSpPr/>
          <p:nvPr/>
        </p:nvSpPr>
        <p:spPr>
          <a:xfrm>
            <a:off x="5885702" y="5965190"/>
            <a:ext cx="217488" cy="71438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BB89B3A4-E747-773E-1DD6-6999731CD006}"/>
              </a:ext>
            </a:extLst>
          </p:cNvPr>
          <p:cNvSpPr txBox="1"/>
          <p:nvPr/>
        </p:nvSpPr>
        <p:spPr>
          <a:xfrm>
            <a:off x="6165895" y="5952866"/>
            <a:ext cx="126369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id="{22E30C80-0A39-3014-BD4F-34321AF4F49B}"/>
              </a:ext>
            </a:extLst>
          </p:cNvPr>
          <p:cNvSpPr/>
          <p:nvPr/>
        </p:nvSpPr>
        <p:spPr>
          <a:xfrm>
            <a:off x="5878559" y="6129539"/>
            <a:ext cx="217488" cy="71438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6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6" name="Ромб 205">
            <a:extLst>
              <a:ext uri="{FF2B5EF4-FFF2-40B4-BE49-F238E27FC236}">
                <a16:creationId xmlns:a16="http://schemas.microsoft.com/office/drawing/2014/main" id="{B8E1A9CD-590D-B0BC-8F95-549922A815BC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0870640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7" name="Ромб 206">
            <a:extLst>
              <a:ext uri="{FF2B5EF4-FFF2-40B4-BE49-F238E27FC236}">
                <a16:creationId xmlns:a16="http://schemas.microsoft.com/office/drawing/2014/main" id="{78924049-AA2B-F3F5-88C7-08333438670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9961715" y="5046771"/>
            <a:ext cx="114300" cy="1143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8" name="Ромб 207">
            <a:extLst>
              <a:ext uri="{FF2B5EF4-FFF2-40B4-BE49-F238E27FC236}">
                <a16:creationId xmlns:a16="http://schemas.microsoft.com/office/drawing/2014/main" id="{78CA2109-2ADB-731A-80A1-405BE77D977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471590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09" name="Ромб 208">
            <a:extLst>
              <a:ext uri="{FF2B5EF4-FFF2-40B4-BE49-F238E27FC236}">
                <a16:creationId xmlns:a16="http://schemas.microsoft.com/office/drawing/2014/main" id="{763608BB-742E-2E43-AC11-13322E9BFE6A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943201" y="5046771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0" name="Ромб 209">
            <a:extLst>
              <a:ext uri="{FF2B5EF4-FFF2-40B4-BE49-F238E27FC236}">
                <a16:creationId xmlns:a16="http://schemas.microsoft.com/office/drawing/2014/main" id="{B8AF5C41-D4B8-AA84-12FE-A08FFCE5D3E8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2526181" y="5034149"/>
            <a:ext cx="114300" cy="114300"/>
          </a:xfrm>
          <a:prstGeom prst="diamond">
            <a:avLst/>
          </a:prstGeom>
          <a:solidFill>
            <a:srgbClr val="004C88"/>
          </a:solidFill>
          <a:ln w="9525" cap="flat" cmpd="sng" algn="ctr">
            <a:solidFill>
              <a:srgbClr val="004C88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1" name="Ромб 210">
            <a:extLst>
              <a:ext uri="{FF2B5EF4-FFF2-40B4-BE49-F238E27FC236}">
                <a16:creationId xmlns:a16="http://schemas.microsoft.com/office/drawing/2014/main" id="{78BB39FD-0FDF-E9C6-2D09-042ED27EB20F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897477" y="5047795"/>
            <a:ext cx="114300" cy="114300"/>
          </a:xfrm>
          <a:prstGeom prst="diamond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92EFA0D3-9CFC-4B8C-448E-124F867AF730}"/>
              </a:ext>
            </a:extLst>
          </p:cNvPr>
          <p:cNvSpPr/>
          <p:nvPr/>
        </p:nvSpPr>
        <p:spPr>
          <a:xfrm>
            <a:off x="11083364" y="5101443"/>
            <a:ext cx="66619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6B7FEF11-8F6E-FEB7-FC8A-37B9FA9250EB}"/>
              </a:ext>
            </a:extLst>
          </p:cNvPr>
          <p:cNvSpPr/>
          <p:nvPr/>
        </p:nvSpPr>
        <p:spPr>
          <a:xfrm>
            <a:off x="5173228" y="5108897"/>
            <a:ext cx="825324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4" name="Прямоугольник 213">
            <a:extLst>
              <a:ext uri="{FF2B5EF4-FFF2-40B4-BE49-F238E27FC236}">
                <a16:creationId xmlns:a16="http://schemas.microsoft.com/office/drawing/2014/main" id="{6F01EA19-F2D1-7197-676C-C8FFFA0C36EA}"/>
              </a:ext>
            </a:extLst>
          </p:cNvPr>
          <p:cNvSpPr/>
          <p:nvPr/>
        </p:nvSpPr>
        <p:spPr>
          <a:xfrm>
            <a:off x="1499942" y="5115215"/>
            <a:ext cx="742579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5" name="Прямоугольник 214">
            <a:extLst>
              <a:ext uri="{FF2B5EF4-FFF2-40B4-BE49-F238E27FC236}">
                <a16:creationId xmlns:a16="http://schemas.microsoft.com/office/drawing/2014/main" id="{6173E520-E1D0-92D2-FDB1-5F5E1E8F6E39}"/>
              </a:ext>
            </a:extLst>
          </p:cNvPr>
          <p:cNvSpPr/>
          <p:nvPr/>
        </p:nvSpPr>
        <p:spPr>
          <a:xfrm>
            <a:off x="9379142" y="5101443"/>
            <a:ext cx="64922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sp>
        <p:nvSpPr>
          <p:cNvPr id="216" name="Прямоугольник 215">
            <a:extLst>
              <a:ext uri="{FF2B5EF4-FFF2-40B4-BE49-F238E27FC236}">
                <a16:creationId xmlns:a16="http://schemas.microsoft.com/office/drawing/2014/main" id="{D2B0A1AB-5222-CDDF-4B61-485270C7A184}"/>
              </a:ext>
            </a:extLst>
          </p:cNvPr>
          <p:cNvSpPr/>
          <p:nvPr/>
        </p:nvSpPr>
        <p:spPr>
          <a:xfrm>
            <a:off x="2645161" y="5120166"/>
            <a:ext cx="672565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7" name="Прямоугольник 216">
            <a:extLst>
              <a:ext uri="{FF2B5EF4-FFF2-40B4-BE49-F238E27FC236}">
                <a16:creationId xmlns:a16="http://schemas.microsoft.com/office/drawing/2014/main" id="{D6773EDA-3AB5-BCB6-DBD9-6498C6A5DE61}"/>
              </a:ext>
            </a:extLst>
          </p:cNvPr>
          <p:cNvSpPr/>
          <p:nvPr/>
        </p:nvSpPr>
        <p:spPr>
          <a:xfrm>
            <a:off x="4054939" y="5122705"/>
            <a:ext cx="850784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т __.__.__</a:t>
            </a: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CAD8D07E-460F-D97B-372D-06EEDB7D45E7}"/>
              </a:ext>
            </a:extLst>
          </p:cNvPr>
          <p:cNvSpPr/>
          <p:nvPr/>
        </p:nvSpPr>
        <p:spPr>
          <a:xfrm>
            <a:off x="10303465" y="5146249"/>
            <a:ext cx="339725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</a:p>
        </p:txBody>
      </p:sp>
      <p:cxnSp>
        <p:nvCxnSpPr>
          <p:cNvPr id="219" name="Прямая соединительная линия 218">
            <a:extLst>
              <a:ext uri="{FF2B5EF4-FFF2-40B4-BE49-F238E27FC236}">
                <a16:creationId xmlns:a16="http://schemas.microsoft.com/office/drawing/2014/main" id="{0309EA8A-0956-6156-0456-BCFE8ECD1474}"/>
              </a:ext>
            </a:extLst>
          </p:cNvPr>
          <p:cNvCxnSpPr>
            <a:cxnSpLocks/>
          </p:cNvCxnSpPr>
          <p:nvPr/>
        </p:nvCxnSpPr>
        <p:spPr>
          <a:xfrm>
            <a:off x="10104786" y="5101721"/>
            <a:ext cx="720000" cy="0"/>
          </a:xfrm>
          <a:prstGeom prst="line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Прямоугольник 219">
            <a:extLst>
              <a:ext uri="{FF2B5EF4-FFF2-40B4-BE49-F238E27FC236}">
                <a16:creationId xmlns:a16="http://schemas.microsoft.com/office/drawing/2014/main" id="{33BC4583-96CB-6AF8-EE8E-792F847CFC20}"/>
              </a:ext>
            </a:extLst>
          </p:cNvPr>
          <p:cNvSpPr/>
          <p:nvPr/>
        </p:nvSpPr>
        <p:spPr>
          <a:xfrm>
            <a:off x="2005500" y="5111750"/>
            <a:ext cx="48361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800" dirty="0">
                <a:solidFill>
                  <a:srgbClr val="00459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+6 мес.</a:t>
            </a:r>
          </a:p>
        </p:txBody>
      </p:sp>
      <p:cxnSp>
        <p:nvCxnSpPr>
          <p:cNvPr id="221" name="Прямая соединительная линия 220">
            <a:extLst>
              <a:ext uri="{FF2B5EF4-FFF2-40B4-BE49-F238E27FC236}">
                <a16:creationId xmlns:a16="http://schemas.microsoft.com/office/drawing/2014/main" id="{411DB9EB-8631-3451-5DC8-2BD6B858A111}"/>
              </a:ext>
            </a:extLst>
          </p:cNvPr>
          <p:cNvCxnSpPr>
            <a:cxnSpLocks/>
          </p:cNvCxnSpPr>
          <p:nvPr/>
        </p:nvCxnSpPr>
        <p:spPr>
          <a:xfrm>
            <a:off x="2014735" y="5101443"/>
            <a:ext cx="475057" cy="0"/>
          </a:xfrm>
          <a:prstGeom prst="line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Прямоугольник 22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1825143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1882" y="1888583"/>
            <a:ext cx="1023721" cy="83857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31" name="Прямая соединительная линия 230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1994388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Прямоугольник 243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3883" y="1889640"/>
            <a:ext cx="288000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49" name="Прямоугольник 248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6479" y="1888584"/>
            <a:ext cx="302829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9" name="Прямоугольник 278">
            <a:extLst>
              <a:ext uri="{FF2B5EF4-FFF2-40B4-BE49-F238E27FC236}">
                <a16:creationId xmlns:a16="http://schemas.microsoft.com/office/drawing/2014/main" id="{DA9DF8C9-9EDB-12A0-EC56-398E3E5EDE99}"/>
              </a:ext>
            </a:extLst>
          </p:cNvPr>
          <p:cNvSpPr/>
          <p:nvPr/>
        </p:nvSpPr>
        <p:spPr>
          <a:xfrm>
            <a:off x="9334500" y="1899953"/>
            <a:ext cx="2297113" cy="1230313"/>
          </a:xfrm>
          <a:prstGeom prst="rect">
            <a:avLst/>
          </a:prstGeom>
          <a:solidFill>
            <a:srgbClr val="FFFFFF"/>
          </a:solidFill>
          <a:ln w="6350">
            <a:solidFill>
              <a:srgbClr val="ABABAB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Bef>
                <a:spcPts val="600"/>
              </a:spcBef>
            </a:pPr>
            <a:endParaRPr lang="ru-RU" sz="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80" name="TextBox 279">
            <a:extLst>
              <a:ext uri="{FF2B5EF4-FFF2-40B4-BE49-F238E27FC236}">
                <a16:creationId xmlns:a16="http://schemas.microsoft.com/office/drawing/2014/main" id="{58B8A7E7-D82B-6CD7-09DC-8D2B61C82D7E}"/>
              </a:ext>
            </a:extLst>
          </p:cNvPr>
          <p:cNvSpPr txBox="1"/>
          <p:nvPr/>
        </p:nvSpPr>
        <p:spPr>
          <a:xfrm>
            <a:off x="9426014" y="2044626"/>
            <a:ext cx="16573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800" dirty="0"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r>
              <a:rPr lang="ru-RU" sz="800" dirty="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+12 мес.):</a:t>
            </a:r>
          </a:p>
        </p:txBody>
      </p:sp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54B64406-480B-034D-4AE4-6333552AE1E8}"/>
              </a:ext>
            </a:extLst>
          </p:cNvPr>
          <p:cNvGrpSpPr/>
          <p:nvPr/>
        </p:nvGrpSpPr>
        <p:grpSpPr>
          <a:xfrm>
            <a:off x="9421017" y="2272371"/>
            <a:ext cx="2158208" cy="180000"/>
            <a:chOff x="9421017" y="2143947"/>
            <a:chExt cx="2158208" cy="180000"/>
          </a:xfrm>
        </p:grpSpPr>
        <p:sp>
          <p:nvSpPr>
            <p:cNvPr id="281" name="Прямоугольник 280">
              <a:extLst>
                <a:ext uri="{FF2B5EF4-FFF2-40B4-BE49-F238E27FC236}">
                  <a16:creationId xmlns:a16="http://schemas.microsoft.com/office/drawing/2014/main" id="{34CA6D91-A9F7-1EA9-8B00-4343E776BD77}"/>
                </a:ext>
              </a:extLst>
            </p:cNvPr>
            <p:cNvSpPr/>
            <p:nvPr/>
          </p:nvSpPr>
          <p:spPr>
            <a:xfrm>
              <a:off x="9666287" y="2172392"/>
              <a:ext cx="1912938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  <p:sp>
          <p:nvSpPr>
            <p:cNvPr id="282" name="Овал 281">
              <a:extLst>
                <a:ext uri="{FF2B5EF4-FFF2-40B4-BE49-F238E27FC236}">
                  <a16:creationId xmlns:a16="http://schemas.microsoft.com/office/drawing/2014/main" id="{0C99027C-D7E7-58FD-5632-4E7D95859484}"/>
                </a:ext>
              </a:extLst>
            </p:cNvPr>
            <p:cNvSpPr/>
            <p:nvPr/>
          </p:nvSpPr>
          <p:spPr>
            <a:xfrm>
              <a:off x="9421017" y="2143947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1</a:t>
              </a:r>
            </a:p>
          </p:txBody>
        </p:sp>
      </p:grp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id="{E3F381D9-3A80-B798-7E86-6F9DDDF4656B}"/>
              </a:ext>
            </a:extLst>
          </p:cNvPr>
          <p:cNvGrpSpPr/>
          <p:nvPr/>
        </p:nvGrpSpPr>
        <p:grpSpPr>
          <a:xfrm>
            <a:off x="9427464" y="2540738"/>
            <a:ext cx="2051749" cy="180000"/>
            <a:chOff x="9427464" y="2466568"/>
            <a:chExt cx="2051749" cy="180000"/>
          </a:xfrm>
        </p:grpSpPr>
        <p:sp>
          <p:nvSpPr>
            <p:cNvPr id="283" name="Овал 282">
              <a:extLst>
                <a:ext uri="{FF2B5EF4-FFF2-40B4-BE49-F238E27FC236}">
                  <a16:creationId xmlns:a16="http://schemas.microsoft.com/office/drawing/2014/main" id="{FBB30B2A-F2C9-0327-01AC-8BCE27BF82F8}"/>
                </a:ext>
              </a:extLst>
            </p:cNvPr>
            <p:cNvSpPr/>
            <p:nvPr/>
          </p:nvSpPr>
          <p:spPr>
            <a:xfrm>
              <a:off x="9427464" y="2466568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2</a:t>
              </a:r>
            </a:p>
          </p:txBody>
        </p:sp>
        <p:sp>
          <p:nvSpPr>
            <p:cNvPr id="284" name="Прямоугольник 283">
              <a:extLst>
                <a:ext uri="{FF2B5EF4-FFF2-40B4-BE49-F238E27FC236}">
                  <a16:creationId xmlns:a16="http://schemas.microsoft.com/office/drawing/2014/main" id="{BB64FEB0-C20D-C70E-D541-0E899A8D6DDE}"/>
                </a:ext>
              </a:extLst>
            </p:cNvPr>
            <p:cNvSpPr/>
            <p:nvPr/>
          </p:nvSpPr>
          <p:spPr>
            <a:xfrm>
              <a:off x="9694863" y="2495013"/>
              <a:ext cx="1784350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</p:grpSp>
      <p:grpSp>
        <p:nvGrpSpPr>
          <p:cNvPr id="287" name="Группа 286">
            <a:extLst>
              <a:ext uri="{FF2B5EF4-FFF2-40B4-BE49-F238E27FC236}">
                <a16:creationId xmlns:a16="http://schemas.microsoft.com/office/drawing/2014/main" id="{55A01680-1309-94F4-7770-47183FC2B558}"/>
              </a:ext>
            </a:extLst>
          </p:cNvPr>
          <p:cNvGrpSpPr/>
          <p:nvPr/>
        </p:nvGrpSpPr>
        <p:grpSpPr>
          <a:xfrm>
            <a:off x="9427464" y="2809104"/>
            <a:ext cx="2057096" cy="180000"/>
            <a:chOff x="9427464" y="2809104"/>
            <a:chExt cx="2057096" cy="180000"/>
          </a:xfrm>
        </p:grpSpPr>
        <p:sp>
          <p:nvSpPr>
            <p:cNvPr id="285" name="Овал 284">
              <a:extLst>
                <a:ext uri="{FF2B5EF4-FFF2-40B4-BE49-F238E27FC236}">
                  <a16:creationId xmlns:a16="http://schemas.microsoft.com/office/drawing/2014/main" id="{01F3AA44-1167-61B3-F1B0-2F129C2A14C2}"/>
                </a:ext>
              </a:extLst>
            </p:cNvPr>
            <p:cNvSpPr/>
            <p:nvPr/>
          </p:nvSpPr>
          <p:spPr>
            <a:xfrm>
              <a:off x="9427464" y="2809104"/>
              <a:ext cx="180000" cy="180000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40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3</a:t>
              </a:r>
              <a:endParaRPr lang="ru-RU" sz="800" dirty="0">
                <a:solidFill>
                  <a:srgbClr val="004077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86" name="Прямоугольник 285">
              <a:extLst>
                <a:ext uri="{FF2B5EF4-FFF2-40B4-BE49-F238E27FC236}">
                  <a16:creationId xmlns:a16="http://schemas.microsoft.com/office/drawing/2014/main" id="{0A819313-C554-75A4-B17A-97E3203031B2}"/>
                </a:ext>
              </a:extLst>
            </p:cNvPr>
            <p:cNvSpPr/>
            <p:nvPr/>
          </p:nvSpPr>
          <p:spPr>
            <a:xfrm>
              <a:off x="9700210" y="2837549"/>
              <a:ext cx="1784350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800" dirty="0">
                  <a:latin typeface="Verdana" panose="020B0604030504040204" pitchFamily="34" charset="0"/>
                  <a:ea typeface="Verdana" panose="020B0604030504040204" pitchFamily="34" charset="0"/>
                </a:rPr>
                <a:t>Текст 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+</a:t>
              </a:r>
              <a:r>
                <a:rPr lang="en-US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6</a:t>
              </a:r>
              <a:r>
                <a:rPr lang="ru-RU" sz="800" dirty="0">
                  <a:solidFill>
                    <a:srgbClr val="004077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 мес.</a:t>
              </a:r>
            </a:p>
          </p:txBody>
        </p:sp>
      </p:grpSp>
      <p:cxnSp>
        <p:nvCxnSpPr>
          <p:cNvPr id="241" name="Прямая соединительная линия 240">
            <a:extLst>
              <a:ext uri="{FF2B5EF4-FFF2-40B4-BE49-F238E27FC236}">
                <a16:creationId xmlns:a16="http://schemas.microsoft.com/office/drawing/2014/main" id="{F5BC9C47-14DB-6F50-914C-1C2AC2E1B8BD}"/>
              </a:ext>
            </a:extLst>
          </p:cNvPr>
          <p:cNvCxnSpPr>
            <a:cxnSpLocks/>
          </p:cNvCxnSpPr>
          <p:nvPr/>
        </p:nvCxnSpPr>
        <p:spPr>
          <a:xfrm>
            <a:off x="3997354" y="1776391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7" name="Прямая соединительная линия 266">
            <a:extLst>
              <a:ext uri="{FF2B5EF4-FFF2-40B4-BE49-F238E27FC236}">
                <a16:creationId xmlns:a16="http://schemas.microsoft.com/office/drawing/2014/main" id="{A39FE8ED-DB83-6F34-C714-E9288CE10E16}"/>
              </a:ext>
            </a:extLst>
          </p:cNvPr>
          <p:cNvCxnSpPr>
            <a:cxnSpLocks/>
          </p:cNvCxnSpPr>
          <p:nvPr/>
        </p:nvCxnSpPr>
        <p:spPr>
          <a:xfrm>
            <a:off x="5530146" y="1789443"/>
            <a:ext cx="0" cy="3312000"/>
          </a:xfrm>
          <a:prstGeom prst="line">
            <a:avLst/>
          </a:prstGeom>
          <a:ln w="12700">
            <a:solidFill>
              <a:srgbClr val="004C8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Прямая соединительная линия 289">
            <a:extLst>
              <a:ext uri="{FF2B5EF4-FFF2-40B4-BE49-F238E27FC236}">
                <a16:creationId xmlns:a16="http://schemas.microsoft.com/office/drawing/2014/main" id="{360BAC19-168E-C071-036F-9B83515C855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3603777" y="1766208"/>
            <a:ext cx="0" cy="3280563"/>
          </a:xfrm>
          <a:prstGeom prst="line">
            <a:avLst/>
          </a:prstGeom>
          <a:ln w="31750" cmpd="sng">
            <a:solidFill>
              <a:schemeClr val="accent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Прямоугольник 292">
            <a:extLst>
              <a:ext uri="{FF2B5EF4-FFF2-40B4-BE49-F238E27FC236}">
                <a16:creationId xmlns:a16="http://schemas.microsoft.com/office/drawing/2014/main" id="{93F2896A-2D4E-8206-B5E3-90F93A4A77B4}"/>
              </a:ext>
            </a:extLst>
          </p:cNvPr>
          <p:cNvSpPr/>
          <p:nvPr/>
        </p:nvSpPr>
        <p:spPr>
          <a:xfrm>
            <a:off x="11223364" y="5980547"/>
            <a:ext cx="179388" cy="7143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94" name="Прямоугольник 293">
            <a:extLst>
              <a:ext uri="{FF2B5EF4-FFF2-40B4-BE49-F238E27FC236}">
                <a16:creationId xmlns:a16="http://schemas.microsoft.com/office/drawing/2014/main" id="{BFB770E8-FAEE-68ED-1560-701725E28DE0}"/>
              </a:ext>
            </a:extLst>
          </p:cNvPr>
          <p:cNvSpPr/>
          <p:nvPr/>
        </p:nvSpPr>
        <p:spPr>
          <a:xfrm>
            <a:off x="10075979" y="5978471"/>
            <a:ext cx="215900" cy="71438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50291" y="5544480"/>
            <a:ext cx="5646914" cy="18957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. Комментарий №1 к графику</a:t>
            </a:r>
          </a:p>
        </p:txBody>
      </p:sp>
      <p:sp>
        <p:nvSpPr>
          <p:cNvPr id="295" name="Прямоугольник 294"/>
          <p:cNvSpPr/>
          <p:nvPr/>
        </p:nvSpPr>
        <p:spPr>
          <a:xfrm>
            <a:off x="6165895" y="5554893"/>
            <a:ext cx="5703138" cy="170562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Комментарий №2 к графику</a:t>
            </a:r>
          </a:p>
        </p:txBody>
      </p:sp>
      <p:sp>
        <p:nvSpPr>
          <p:cNvPr id="301" name="Ромб 300">
            <a:extLst>
              <a:ext uri="{FF2B5EF4-FFF2-40B4-BE49-F238E27FC236}">
                <a16:creationId xmlns:a16="http://schemas.microsoft.com/office/drawing/2014/main" id="{78BB39FD-0FDF-E9C6-2D09-042ED27EB20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2893628" y="1861884"/>
            <a:ext cx="114300" cy="114300"/>
          </a:xfrm>
          <a:prstGeom prst="diamond">
            <a:avLst/>
          </a:prstGeom>
          <a:solidFill>
            <a:srgbClr val="0040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0" name="Прямоугольник 309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2141349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14" name="Прямая соединительная линия 313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2310594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Прямоугольник 315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3883" y="2204789"/>
            <a:ext cx="303911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8" name="Прямоугольник 317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0571" y="2204790"/>
            <a:ext cx="308737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2" name="Прямоугольник 32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2451243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4" name="Прямоугольник 323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2984" y="2514684"/>
            <a:ext cx="1007800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26" name="Прямая соединительная линия 325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79737" y="2620488"/>
            <a:ext cx="947636" cy="0"/>
          </a:xfrm>
          <a:prstGeom prst="line">
            <a:avLst/>
          </a:prstGeom>
          <a:ln w="28575">
            <a:noFill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8" name="Прямоугольник 327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13014" y="2515739"/>
            <a:ext cx="278868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29" name="Прямоугольник 328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491660" y="2514684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1" name="Прямоугольник 330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2818622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77510" y="2878724"/>
            <a:ext cx="1032185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33" name="Прямая соединительная линия 332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94557" y="2987867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Прямоугольник 333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02791" y="2879783"/>
            <a:ext cx="282652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5" name="Прямоугольник 334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491660" y="2879784"/>
            <a:ext cx="317117" cy="8148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7" name="Прямоугольник 336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3110476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39" name="Прямая соединительная линия 338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3282102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Прямоугольник 342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129" y="3478956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45" name="Прямая соединительная линия 344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464" y="3648201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9" name="Прямоугольник 348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18703" y="3795090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51" name="Прямая соединительная линия 350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3038" y="3964335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5" name="Прямоугольник 354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18703" y="4153161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57" name="Прямая соединительная линия 356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3038" y="4322406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Прямоугольник 366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30222" y="4469875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8" name="Прямоугольник 367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145698" y="4533316"/>
            <a:ext cx="969906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69" name="Прямая соединительная линия 368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94557" y="4639120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" name="Прямоугольник 369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40707" y="4531035"/>
            <a:ext cx="288000" cy="82800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1" name="Прямоугольник 370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6480" y="4533316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2" name="Прямоугольник 371">
            <a:extLst>
              <a:ext uri="{FF2B5EF4-FFF2-40B4-BE49-F238E27FC236}">
                <a16:creationId xmlns:a16="http://schemas.microsoft.com/office/drawing/2014/main" id="{A86ECC4D-FB2C-3B70-8805-C73F8E1AE8DF}"/>
              </a:ext>
            </a:extLst>
          </p:cNvPr>
          <p:cNvSpPr/>
          <p:nvPr/>
        </p:nvSpPr>
        <p:spPr>
          <a:xfrm>
            <a:off x="1824314" y="4787115"/>
            <a:ext cx="579701" cy="45719"/>
          </a:xfrm>
          <a:prstGeom prst="rect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3" name="Прямоугольник 372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139790" y="4850556"/>
            <a:ext cx="969906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74" name="Прямая соединительная линия 373">
            <a:extLst>
              <a:ext uri="{FF2B5EF4-FFF2-40B4-BE49-F238E27FC236}">
                <a16:creationId xmlns:a16="http://schemas.microsoft.com/office/drawing/2014/main" id="{19CAF7CB-062B-9F99-5572-A3980404A82E}"/>
              </a:ext>
            </a:extLst>
          </p:cNvPr>
          <p:cNvCxnSpPr>
            <a:cxnSpLocks/>
          </p:cNvCxnSpPr>
          <p:nvPr/>
        </p:nvCxnSpPr>
        <p:spPr>
          <a:xfrm>
            <a:off x="1688649" y="4956360"/>
            <a:ext cx="947636" cy="0"/>
          </a:xfrm>
          <a:prstGeom prst="line">
            <a:avLst/>
          </a:prstGeom>
          <a:ln w="28575">
            <a:solidFill>
              <a:schemeClr val="tx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5" name="Прямоугольник 374">
            <a:extLst>
              <a:ext uri="{FF2B5EF4-FFF2-40B4-BE49-F238E27FC236}">
                <a16:creationId xmlns:a16="http://schemas.microsoft.com/office/drawing/2014/main" id="{E1C7D08E-0DCE-DFA4-B8C7-FECA17B408ED}"/>
              </a:ext>
            </a:extLst>
          </p:cNvPr>
          <p:cNvSpPr/>
          <p:nvPr/>
        </p:nvSpPr>
        <p:spPr>
          <a:xfrm>
            <a:off x="1814368" y="4848275"/>
            <a:ext cx="343878" cy="75179"/>
          </a:xfrm>
          <a:prstGeom prst="rect">
            <a:avLst/>
          </a:prstGeom>
          <a:solidFill>
            <a:srgbClr val="E7E2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6" name="Прямоугольник 375">
            <a:extLst>
              <a:ext uri="{FF2B5EF4-FFF2-40B4-BE49-F238E27FC236}">
                <a16:creationId xmlns:a16="http://schemas.microsoft.com/office/drawing/2014/main" id="{525D9A61-70B9-5C2C-A295-B32E93C0DF7C}"/>
              </a:ext>
            </a:extLst>
          </p:cNvPr>
          <p:cNvSpPr/>
          <p:nvPr/>
        </p:nvSpPr>
        <p:spPr>
          <a:xfrm>
            <a:off x="1500572" y="4850556"/>
            <a:ext cx="323742" cy="828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12" name="Прямоугольник 311">
            <a:extLst>
              <a:ext uri="{FF2B5EF4-FFF2-40B4-BE49-F238E27FC236}">
                <a16:creationId xmlns:a16="http://schemas.microsoft.com/office/drawing/2014/main" id="{C1266F09-F055-F220-1A6B-C93AEEC95C52}"/>
              </a:ext>
            </a:extLst>
          </p:cNvPr>
          <p:cNvSpPr/>
          <p:nvPr/>
        </p:nvSpPr>
        <p:spPr>
          <a:xfrm>
            <a:off x="2091883" y="2204790"/>
            <a:ext cx="1012202" cy="828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9" name="Группа 108"/>
          <p:cNvGrpSpPr/>
          <p:nvPr/>
        </p:nvGrpSpPr>
        <p:grpSpPr>
          <a:xfrm>
            <a:off x="1503179" y="3169243"/>
            <a:ext cx="1597605" cy="83016"/>
            <a:chOff x="1503179" y="3169243"/>
            <a:chExt cx="1597605" cy="83016"/>
          </a:xfrm>
        </p:grpSpPr>
        <p:sp>
          <p:nvSpPr>
            <p:cNvPr id="377" name="Прямоугольник 376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8" name="Прямоугольник 377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79" name="Прямоугольник 378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0" name="Группа 379"/>
          <p:cNvGrpSpPr/>
          <p:nvPr/>
        </p:nvGrpSpPr>
        <p:grpSpPr>
          <a:xfrm>
            <a:off x="1503179" y="3537843"/>
            <a:ext cx="1597605" cy="83016"/>
            <a:chOff x="1503179" y="3169243"/>
            <a:chExt cx="1597605" cy="83016"/>
          </a:xfrm>
        </p:grpSpPr>
        <p:sp>
          <p:nvSpPr>
            <p:cNvPr id="381" name="Прямоугольник 380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2" name="Прямоугольник 381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3" name="Прямоугольник 382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84" name="Группа 383"/>
          <p:cNvGrpSpPr/>
          <p:nvPr/>
        </p:nvGrpSpPr>
        <p:grpSpPr>
          <a:xfrm>
            <a:off x="1498571" y="3855663"/>
            <a:ext cx="1597605" cy="83016"/>
            <a:chOff x="1503179" y="3169243"/>
            <a:chExt cx="1597605" cy="83016"/>
          </a:xfrm>
        </p:grpSpPr>
        <p:sp>
          <p:nvSpPr>
            <p:cNvPr id="385" name="Прямоугольник 384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87" name="Прямоугольник 386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268" name="Группа 267"/>
          <p:cNvGrpSpPr/>
          <p:nvPr/>
        </p:nvGrpSpPr>
        <p:grpSpPr>
          <a:xfrm>
            <a:off x="1500572" y="4207947"/>
            <a:ext cx="1597605" cy="83016"/>
            <a:chOff x="1503179" y="3169243"/>
            <a:chExt cx="1597605" cy="83016"/>
          </a:xfrm>
        </p:grpSpPr>
        <p:sp>
          <p:nvSpPr>
            <p:cNvPr id="270" name="Прямоугольник 269">
              <a:extLst>
                <a:ext uri="{FF2B5EF4-FFF2-40B4-BE49-F238E27FC236}">
                  <a16:creationId xmlns:a16="http://schemas.microsoft.com/office/drawing/2014/main" id="{C1266F09-F055-F220-1A6B-C93AEEC95C52}"/>
                </a:ext>
              </a:extLst>
            </p:cNvPr>
            <p:cNvSpPr/>
            <p:nvPr/>
          </p:nvSpPr>
          <p:spPr>
            <a:xfrm>
              <a:off x="2108354" y="3169459"/>
              <a:ext cx="992430" cy="82800"/>
            </a:xfrm>
            <a:prstGeom prst="rect">
              <a:avLst/>
            </a:prstGeom>
            <a:solidFill>
              <a:srgbClr val="28BE4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1" name="Прямоугольник 270">
              <a:extLst>
                <a:ext uri="{FF2B5EF4-FFF2-40B4-BE49-F238E27FC236}">
                  <a16:creationId xmlns:a16="http://schemas.microsoft.com/office/drawing/2014/main" id="{E1C7D08E-0DCE-DFA4-B8C7-FECA17B408ED}"/>
                </a:ext>
              </a:extLst>
            </p:cNvPr>
            <p:cNvSpPr/>
            <p:nvPr/>
          </p:nvSpPr>
          <p:spPr>
            <a:xfrm>
              <a:off x="1814309" y="3169243"/>
              <a:ext cx="300873" cy="82800"/>
            </a:xfrm>
            <a:prstGeom prst="rect">
              <a:avLst/>
            </a:prstGeom>
            <a:solidFill>
              <a:srgbClr val="E7E2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272" name="Прямоугольник 271">
              <a:extLst>
                <a:ext uri="{FF2B5EF4-FFF2-40B4-BE49-F238E27FC236}">
                  <a16:creationId xmlns:a16="http://schemas.microsoft.com/office/drawing/2014/main" id="{525D9A61-70B9-5C2C-A295-B32E93C0DF7C}"/>
                </a:ext>
              </a:extLst>
            </p:cNvPr>
            <p:cNvSpPr/>
            <p:nvPr/>
          </p:nvSpPr>
          <p:spPr>
            <a:xfrm>
              <a:off x="1503179" y="3169243"/>
              <a:ext cx="317117" cy="82800"/>
            </a:xfrm>
            <a:prstGeom prst="rect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6B3EBB7F-1D98-20C6-7C9A-5750538EBEEA}"/>
              </a:ext>
            </a:extLst>
          </p:cNvPr>
          <p:cNvCxnSpPr>
            <a:cxnSpLocks/>
          </p:cNvCxnSpPr>
          <p:nvPr/>
        </p:nvCxnSpPr>
        <p:spPr>
          <a:xfrm>
            <a:off x="2576893" y="1736198"/>
            <a:ext cx="5025" cy="3282413"/>
          </a:xfrm>
          <a:prstGeom prst="line">
            <a:avLst/>
          </a:prstGeom>
          <a:ln w="12700">
            <a:solidFill>
              <a:srgbClr val="00459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Прямая соединительная линия 297">
            <a:extLst>
              <a:ext uri="{FF2B5EF4-FFF2-40B4-BE49-F238E27FC236}">
                <a16:creationId xmlns:a16="http://schemas.microsoft.com/office/drawing/2014/main" id="{6B3EBB7F-1D98-20C6-7C9A-5750538EBEEA}"/>
              </a:ext>
            </a:extLst>
          </p:cNvPr>
          <p:cNvCxnSpPr>
            <a:cxnSpLocks/>
          </p:cNvCxnSpPr>
          <p:nvPr/>
        </p:nvCxnSpPr>
        <p:spPr>
          <a:xfrm>
            <a:off x="1948598" y="1736198"/>
            <a:ext cx="4629" cy="3279578"/>
          </a:xfrm>
          <a:prstGeom prst="line">
            <a:avLst/>
          </a:prstGeom>
          <a:ln w="12700">
            <a:solidFill>
              <a:schemeClr val="bg2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C3C9E2-1CC0-9D4E-593A-8379713ED7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869558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9FDB8BF0-1E6B-3B40-8710-4293A178CA1F}"/>
              </a:ext>
            </a:extLst>
          </p:cNvPr>
          <p:cNvSpPr txBox="1"/>
          <p:nvPr/>
        </p:nvSpPr>
        <p:spPr>
          <a:xfrm>
            <a:off x="337045" y="280307"/>
            <a:ext cx="1023171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id="{2A2520CE-B58F-A334-E52B-8774668CE547}"/>
              </a:ext>
            </a:extLst>
          </p:cNvPr>
          <p:cNvSpPr/>
          <p:nvPr/>
        </p:nvSpPr>
        <p:spPr>
          <a:xfrm>
            <a:off x="337043" y="1916774"/>
            <a:ext cx="11500436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F487012-C4A8-39DB-16F4-411E9A722A14}"/>
              </a:ext>
            </a:extLst>
          </p:cNvPr>
          <p:cNvCxnSpPr>
            <a:cxnSpLocks/>
          </p:cNvCxnSpPr>
          <p:nvPr/>
        </p:nvCxnSpPr>
        <p:spPr>
          <a:xfrm>
            <a:off x="322227" y="1140330"/>
            <a:ext cx="1151525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Прямоугольник с двумя скругленными соседними углами 140">
            <a:extLst>
              <a:ext uri="{FF2B5EF4-FFF2-40B4-BE49-F238E27FC236}">
                <a16:creationId xmlns:a16="http://schemas.microsoft.com/office/drawing/2014/main" id="{4DF1DD22-259A-F4DF-411E-7A56ED2EF3F2}"/>
              </a:ext>
            </a:extLst>
          </p:cNvPr>
          <p:cNvSpPr/>
          <p:nvPr/>
        </p:nvSpPr>
        <p:spPr>
          <a:xfrm>
            <a:off x="34500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</a:t>
            </a:r>
          </a:p>
        </p:txBody>
      </p:sp>
      <p:sp>
        <p:nvSpPr>
          <p:cNvPr id="143" name="Прямоугольник с двумя скругленными соседними углами 142">
            <a:extLst>
              <a:ext uri="{FF2B5EF4-FFF2-40B4-BE49-F238E27FC236}">
                <a16:creationId xmlns:a16="http://schemas.microsoft.com/office/drawing/2014/main" id="{5163077E-F133-34CC-62C0-8F0432EAC4ED}"/>
              </a:ext>
            </a:extLst>
          </p:cNvPr>
          <p:cNvSpPr/>
          <p:nvPr/>
        </p:nvSpPr>
        <p:spPr>
          <a:xfrm>
            <a:off x="1314505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2</a:t>
            </a:r>
          </a:p>
        </p:txBody>
      </p:sp>
      <p:sp>
        <p:nvSpPr>
          <p:cNvPr id="144" name="Прямоугольник с двумя скругленными соседними углами 143">
            <a:extLst>
              <a:ext uri="{FF2B5EF4-FFF2-40B4-BE49-F238E27FC236}">
                <a16:creationId xmlns:a16="http://schemas.microsoft.com/office/drawing/2014/main" id="{3B8D496C-225E-4EEC-82F4-8B28599DF7FD}"/>
              </a:ext>
            </a:extLst>
          </p:cNvPr>
          <p:cNvSpPr/>
          <p:nvPr/>
        </p:nvSpPr>
        <p:spPr>
          <a:xfrm>
            <a:off x="2284002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3</a:t>
            </a:r>
          </a:p>
        </p:txBody>
      </p:sp>
      <p:sp>
        <p:nvSpPr>
          <p:cNvPr id="145" name="Прямоугольник с двумя скругленными соседними углами 144">
            <a:extLst>
              <a:ext uri="{FF2B5EF4-FFF2-40B4-BE49-F238E27FC236}">
                <a16:creationId xmlns:a16="http://schemas.microsoft.com/office/drawing/2014/main" id="{27D5B05A-51E9-4C7B-759E-3ADB0B067C21}"/>
              </a:ext>
            </a:extLst>
          </p:cNvPr>
          <p:cNvSpPr/>
          <p:nvPr/>
        </p:nvSpPr>
        <p:spPr>
          <a:xfrm>
            <a:off x="3253499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4</a:t>
            </a:r>
          </a:p>
        </p:txBody>
      </p:sp>
      <p:sp>
        <p:nvSpPr>
          <p:cNvPr id="146" name="Прямоугольник с двумя скругленными соседними углами 145">
            <a:extLst>
              <a:ext uri="{FF2B5EF4-FFF2-40B4-BE49-F238E27FC236}">
                <a16:creationId xmlns:a16="http://schemas.microsoft.com/office/drawing/2014/main" id="{3BBEBAEC-DD47-9ABD-A87D-D782FC84CB49}"/>
              </a:ext>
            </a:extLst>
          </p:cNvPr>
          <p:cNvSpPr/>
          <p:nvPr/>
        </p:nvSpPr>
        <p:spPr>
          <a:xfrm>
            <a:off x="4222996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5</a:t>
            </a:r>
          </a:p>
        </p:txBody>
      </p:sp>
      <p:sp>
        <p:nvSpPr>
          <p:cNvPr id="147" name="Прямоугольник с двумя скругленными соседними углами 146">
            <a:extLst>
              <a:ext uri="{FF2B5EF4-FFF2-40B4-BE49-F238E27FC236}">
                <a16:creationId xmlns:a16="http://schemas.microsoft.com/office/drawing/2014/main" id="{71D79DC6-BFE7-F0EE-2D74-635C9EF2D06E}"/>
              </a:ext>
            </a:extLst>
          </p:cNvPr>
          <p:cNvSpPr/>
          <p:nvPr/>
        </p:nvSpPr>
        <p:spPr>
          <a:xfrm>
            <a:off x="5192493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6</a:t>
            </a:r>
          </a:p>
        </p:txBody>
      </p:sp>
      <p:sp>
        <p:nvSpPr>
          <p:cNvPr id="148" name="Прямоугольник с двумя скругленными соседними углами 147">
            <a:extLst>
              <a:ext uri="{FF2B5EF4-FFF2-40B4-BE49-F238E27FC236}">
                <a16:creationId xmlns:a16="http://schemas.microsoft.com/office/drawing/2014/main" id="{5C7FDE5F-C23E-8573-AE0D-095796F13C05}"/>
              </a:ext>
            </a:extLst>
          </p:cNvPr>
          <p:cNvSpPr/>
          <p:nvPr/>
        </p:nvSpPr>
        <p:spPr>
          <a:xfrm>
            <a:off x="6161990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7</a:t>
            </a:r>
          </a:p>
        </p:txBody>
      </p:sp>
      <p:sp>
        <p:nvSpPr>
          <p:cNvPr id="149" name="Прямоугольник с двумя скругленными соседними углами 148">
            <a:extLst>
              <a:ext uri="{FF2B5EF4-FFF2-40B4-BE49-F238E27FC236}">
                <a16:creationId xmlns:a16="http://schemas.microsoft.com/office/drawing/2014/main" id="{7024886E-46C1-90D3-FE81-3A57C0546C71}"/>
              </a:ext>
            </a:extLst>
          </p:cNvPr>
          <p:cNvSpPr/>
          <p:nvPr/>
        </p:nvSpPr>
        <p:spPr>
          <a:xfrm>
            <a:off x="8100984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9</a:t>
            </a:r>
          </a:p>
        </p:txBody>
      </p:sp>
      <p:sp>
        <p:nvSpPr>
          <p:cNvPr id="150" name="Прямоугольник с двумя скругленными соседними углами 149">
            <a:extLst>
              <a:ext uri="{FF2B5EF4-FFF2-40B4-BE49-F238E27FC236}">
                <a16:creationId xmlns:a16="http://schemas.microsoft.com/office/drawing/2014/main" id="{2AB239A3-ACDB-6CC6-4154-530CAA47F92A}"/>
              </a:ext>
            </a:extLst>
          </p:cNvPr>
          <p:cNvSpPr/>
          <p:nvPr/>
        </p:nvSpPr>
        <p:spPr>
          <a:xfrm>
            <a:off x="1003997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1</a:t>
            </a:r>
          </a:p>
        </p:txBody>
      </p:sp>
      <p:sp>
        <p:nvSpPr>
          <p:cNvPr id="151" name="Прямоугольник с двумя скругленными соседними углами 150">
            <a:extLst>
              <a:ext uri="{FF2B5EF4-FFF2-40B4-BE49-F238E27FC236}">
                <a16:creationId xmlns:a16="http://schemas.microsoft.com/office/drawing/2014/main" id="{6B16FD2A-EEDD-4D9B-3B7A-A50CE52C286A}"/>
              </a:ext>
            </a:extLst>
          </p:cNvPr>
          <p:cNvSpPr/>
          <p:nvPr/>
        </p:nvSpPr>
        <p:spPr>
          <a:xfrm>
            <a:off x="11009478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2</a:t>
            </a:r>
          </a:p>
        </p:txBody>
      </p:sp>
      <p:sp>
        <p:nvSpPr>
          <p:cNvPr id="152" name="Прямоугольник с двумя скругленными соседними углами 151">
            <a:extLst>
              <a:ext uri="{FF2B5EF4-FFF2-40B4-BE49-F238E27FC236}">
                <a16:creationId xmlns:a16="http://schemas.microsoft.com/office/drawing/2014/main" id="{970FF4C1-2FB9-A42F-0FCC-0CFF565CCE64}"/>
              </a:ext>
            </a:extLst>
          </p:cNvPr>
          <p:cNvSpPr/>
          <p:nvPr/>
        </p:nvSpPr>
        <p:spPr>
          <a:xfrm>
            <a:off x="7131487" y="1140330"/>
            <a:ext cx="936951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8</a:t>
            </a:r>
          </a:p>
        </p:txBody>
      </p:sp>
      <p:sp>
        <p:nvSpPr>
          <p:cNvPr id="153" name="Прямоугольник с двумя скругленными соседними углами 152">
            <a:extLst>
              <a:ext uri="{FF2B5EF4-FFF2-40B4-BE49-F238E27FC236}">
                <a16:creationId xmlns:a16="http://schemas.microsoft.com/office/drawing/2014/main" id="{CAA8E327-752A-CF3A-8E61-CE804A71AA3D}"/>
              </a:ext>
            </a:extLst>
          </p:cNvPr>
          <p:cNvSpPr/>
          <p:nvPr/>
        </p:nvSpPr>
        <p:spPr>
          <a:xfrm>
            <a:off x="9070481" y="1140330"/>
            <a:ext cx="936951" cy="44794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0</a:t>
            </a: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51965E70-A68B-EE2B-D170-E9A736BD5719}"/>
              </a:ext>
            </a:extLst>
          </p:cNvPr>
          <p:cNvSpPr/>
          <p:nvPr/>
        </p:nvSpPr>
        <p:spPr>
          <a:xfrm>
            <a:off x="33991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  <a:r>
              <a:rPr lang="en-GB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8499197-70F1-D35E-1949-2B5E8852EDFA}"/>
              </a:ext>
            </a:extLst>
          </p:cNvPr>
          <p:cNvSpPr/>
          <p:nvPr/>
        </p:nvSpPr>
        <p:spPr>
          <a:xfrm>
            <a:off x="908386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A77AEF23-F49C-0924-1854-8FF568CCC48B}"/>
              </a:ext>
            </a:extLst>
          </p:cNvPr>
          <p:cNvSpPr/>
          <p:nvPr/>
        </p:nvSpPr>
        <p:spPr>
          <a:xfrm>
            <a:off x="1302188" y="4764810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1BC5C4F-1344-FA05-74C5-B6206920DA02}"/>
              </a:ext>
            </a:extLst>
          </p:cNvPr>
          <p:cNvSpPr/>
          <p:nvPr/>
        </p:nvSpPr>
        <p:spPr>
          <a:xfrm>
            <a:off x="7131488" y="4764810"/>
            <a:ext cx="1809312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50CE173-DC7D-B50E-9E3D-8EC15E4DD48C}"/>
              </a:ext>
            </a:extLst>
          </p:cNvPr>
          <p:cNvCxnSpPr>
            <a:cxnSpLocks/>
            <a:stCxn id="174" idx="3"/>
            <a:endCxn id="178" idx="1"/>
          </p:cNvCxnSpPr>
          <p:nvPr/>
        </p:nvCxnSpPr>
        <p:spPr>
          <a:xfrm>
            <a:off x="3100379" y="5480531"/>
            <a:ext cx="4031109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FA8F9AE0-C1C2-89F8-114B-5C874F0190D4}"/>
              </a:ext>
            </a:extLst>
          </p:cNvPr>
          <p:cNvSpPr/>
          <p:nvPr/>
        </p:nvSpPr>
        <p:spPr>
          <a:xfrm>
            <a:off x="4216838" y="4764810"/>
            <a:ext cx="1807725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02CA0BA-7B9D-C380-E964-38218826DC5C}"/>
              </a:ext>
            </a:extLst>
          </p:cNvPr>
          <p:cNvCxnSpPr>
            <a:stCxn id="166" idx="3"/>
            <a:endCxn id="172" idx="1"/>
          </p:cNvCxnSpPr>
          <p:nvPr/>
        </p:nvCxnSpPr>
        <p:spPr>
          <a:xfrm>
            <a:off x="2138104" y="3427868"/>
            <a:ext cx="6945759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9D8E280F-ADF9-B021-1FCD-D48B8518E949}"/>
              </a:ext>
            </a:extLst>
          </p:cNvPr>
          <p:cNvSpPr/>
          <p:nvPr/>
        </p:nvSpPr>
        <p:spPr>
          <a:xfrm>
            <a:off x="325456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3FCB751C-7AE7-19E1-9472-7C37CDB35677}"/>
              </a:ext>
            </a:extLst>
          </p:cNvPr>
          <p:cNvSpPr/>
          <p:nvPr/>
        </p:nvSpPr>
        <p:spPr>
          <a:xfrm>
            <a:off x="6169213" y="2712147"/>
            <a:ext cx="179819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en-GB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</a:t>
            </a:r>
          </a:p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" name="Соединительная линия уступом 2">
            <a:extLst>
              <a:ext uri="{FF2B5EF4-FFF2-40B4-BE49-F238E27FC236}">
                <a16:creationId xmlns:a16="http://schemas.microsoft.com/office/drawing/2014/main" id="{9C0AFBF7-FA56-36C0-BB37-6E8780F6F01D}"/>
              </a:ext>
            </a:extLst>
          </p:cNvPr>
          <p:cNvCxnSpPr>
            <a:stCxn id="172" idx="3"/>
            <a:endCxn id="174" idx="1"/>
          </p:cNvCxnSpPr>
          <p:nvPr/>
        </p:nvCxnSpPr>
        <p:spPr>
          <a:xfrm flipH="1">
            <a:off x="1302188" y="3427868"/>
            <a:ext cx="9579866" cy="2052663"/>
          </a:xfrm>
          <a:prstGeom prst="bentConnector5">
            <a:avLst>
              <a:gd name="adj1" fmla="val -10089"/>
              <a:gd name="adj2" fmla="val 50000"/>
              <a:gd name="adj3" fmla="val 110089"/>
            </a:avLst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26D7AC-065D-E0FB-A414-82E6B3D5A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3154501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Прямоугольник 153">
            <a:extLst>
              <a:ext uri="{FF2B5EF4-FFF2-40B4-BE49-F238E27FC236}">
                <a16:creationId xmlns:a16="http://schemas.microsoft.com/office/drawing/2014/main" id="{2A0B9529-AF0B-4135-4999-8C57916A2062}"/>
              </a:ext>
            </a:extLst>
          </p:cNvPr>
          <p:cNvSpPr/>
          <p:nvPr/>
        </p:nvSpPr>
        <p:spPr>
          <a:xfrm>
            <a:off x="33704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id="{51965E70-A68B-EE2B-D170-E9A736BD5719}"/>
              </a:ext>
            </a:extLst>
          </p:cNvPr>
          <p:cNvSpPr/>
          <p:nvPr/>
        </p:nvSpPr>
        <p:spPr>
          <a:xfrm>
            <a:off x="1173010" y="2716873"/>
            <a:ext cx="1935112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7" name="Прямоугольник 166">
            <a:extLst>
              <a:ext uri="{FF2B5EF4-FFF2-40B4-BE49-F238E27FC236}">
                <a16:creationId xmlns:a16="http://schemas.microsoft.com/office/drawing/2014/main" id="{D5F361F1-EC1C-C677-93D7-07640B34FA6F}"/>
              </a:ext>
            </a:extLst>
          </p:cNvPr>
          <p:cNvSpPr/>
          <p:nvPr/>
        </p:nvSpPr>
        <p:spPr>
          <a:xfrm>
            <a:off x="325169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9D8E280F-ADF9-B021-1FCD-D48B8518E949}"/>
              </a:ext>
            </a:extLst>
          </p:cNvPr>
          <p:cNvSpPr/>
          <p:nvPr/>
        </p:nvSpPr>
        <p:spPr>
          <a:xfrm>
            <a:off x="4081500" y="2716873"/>
            <a:ext cx="194127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9" name="Прямоугольник 168">
            <a:extLst>
              <a:ext uri="{FF2B5EF4-FFF2-40B4-BE49-F238E27FC236}">
                <a16:creationId xmlns:a16="http://schemas.microsoft.com/office/drawing/2014/main" id="{6B05227E-7378-2662-4C4F-C9C86EFA28BF}"/>
              </a:ext>
            </a:extLst>
          </p:cNvPr>
          <p:cNvSpPr/>
          <p:nvPr/>
        </p:nvSpPr>
        <p:spPr>
          <a:xfrm>
            <a:off x="616634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3FCB751C-7AE7-19E1-9472-7C37CDB35677}"/>
              </a:ext>
            </a:extLst>
          </p:cNvPr>
          <p:cNvSpPr/>
          <p:nvPr/>
        </p:nvSpPr>
        <p:spPr>
          <a:xfrm>
            <a:off x="7002310" y="2716873"/>
            <a:ext cx="193511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Прямоугольник 170">
            <a:extLst>
              <a:ext uri="{FF2B5EF4-FFF2-40B4-BE49-F238E27FC236}">
                <a16:creationId xmlns:a16="http://schemas.microsoft.com/office/drawing/2014/main" id="{F0257813-EB9A-0196-773B-C1AAB8A61DD8}"/>
              </a:ext>
            </a:extLst>
          </p:cNvPr>
          <p:cNvSpPr/>
          <p:nvPr/>
        </p:nvSpPr>
        <p:spPr>
          <a:xfrm>
            <a:off x="9080994" y="2716873"/>
            <a:ext cx="835966" cy="1431443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8499197-70F1-D35E-1949-2B5E8852EDFA}"/>
              </a:ext>
            </a:extLst>
          </p:cNvPr>
          <p:cNvSpPr/>
          <p:nvPr/>
        </p:nvSpPr>
        <p:spPr>
          <a:xfrm>
            <a:off x="9916960" y="2716873"/>
            <a:ext cx="1935111" cy="14314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C8404412-5B9E-8B59-8B49-FBCE4FDADD8F}"/>
              </a:ext>
            </a:extLst>
          </p:cNvPr>
          <p:cNvSpPr/>
          <p:nvPr/>
        </p:nvSpPr>
        <p:spPr>
          <a:xfrm>
            <a:off x="33704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A77AEF23-F49C-0924-1854-8FF568CCC48B}"/>
              </a:ext>
            </a:extLst>
          </p:cNvPr>
          <p:cNvSpPr/>
          <p:nvPr/>
        </p:nvSpPr>
        <p:spPr>
          <a:xfrm>
            <a:off x="1173010" y="4288498"/>
            <a:ext cx="1935112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3FB075D5-0B02-9C25-62DE-24B68ECA2348}"/>
              </a:ext>
            </a:extLst>
          </p:cNvPr>
          <p:cNvSpPr/>
          <p:nvPr/>
        </p:nvSpPr>
        <p:spPr>
          <a:xfrm>
            <a:off x="325169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</a:t>
            </a:r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FA8F9AE0-C1C2-89F8-114B-5C874F0190D4}"/>
              </a:ext>
            </a:extLst>
          </p:cNvPr>
          <p:cNvSpPr/>
          <p:nvPr/>
        </p:nvSpPr>
        <p:spPr>
          <a:xfrm>
            <a:off x="4081500" y="4288498"/>
            <a:ext cx="1941271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044F0EDE-8229-C819-0B2B-209EECD0367B}"/>
              </a:ext>
            </a:extLst>
          </p:cNvPr>
          <p:cNvSpPr/>
          <p:nvPr/>
        </p:nvSpPr>
        <p:spPr>
          <a:xfrm>
            <a:off x="6166344" y="4288498"/>
            <a:ext cx="835966" cy="144555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>
              <a:spcBef>
                <a:spcPts val="600"/>
              </a:spcBef>
            </a:pPr>
            <a:r>
              <a:rPr lang="ru-RU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</a:t>
            </a:r>
          </a:p>
        </p:txBody>
      </p:sp>
      <p:sp>
        <p:nvSpPr>
          <p:cNvPr id="178" name="Прямоугольник 177">
            <a:extLst>
              <a:ext uri="{FF2B5EF4-FFF2-40B4-BE49-F238E27FC236}">
                <a16:creationId xmlns:a16="http://schemas.microsoft.com/office/drawing/2014/main" id="{91BC5C4F-1344-FA05-74C5-B6206920DA02}"/>
              </a:ext>
            </a:extLst>
          </p:cNvPr>
          <p:cNvSpPr/>
          <p:nvPr/>
        </p:nvSpPr>
        <p:spPr>
          <a:xfrm>
            <a:off x="7002310" y="4288498"/>
            <a:ext cx="1935111" cy="144555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RU" sz="1200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1498D8F7-6B2E-A3D7-1793-735C0180601A}"/>
              </a:ext>
            </a:extLst>
          </p:cNvPr>
          <p:cNvSpPr txBox="1"/>
          <p:nvPr/>
        </p:nvSpPr>
        <p:spPr>
          <a:xfrm>
            <a:off x="1723942" y="2102275"/>
            <a:ext cx="99489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000">
              <a:spcBef>
                <a:spcPts val="600"/>
              </a:spcBef>
              <a:buClr>
                <a:schemeClr val="tx1"/>
              </a:buClr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беспечение эффективности проводимых в компании изменений с сохранением непрерывности операционной деятельности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BA4A3B0-2E53-A7CD-8C87-72C99DFCD6E1}"/>
              </a:ext>
            </a:extLst>
          </p:cNvPr>
          <p:cNvSpPr txBox="1"/>
          <p:nvPr/>
        </p:nvSpPr>
        <p:spPr>
          <a:xfrm>
            <a:off x="337045" y="280307"/>
            <a:ext cx="993400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0F989B37-7888-5413-12F1-C837D80EA48C}"/>
              </a:ext>
            </a:extLst>
          </p:cNvPr>
          <p:cNvSpPr/>
          <p:nvPr/>
        </p:nvSpPr>
        <p:spPr>
          <a:xfrm>
            <a:off x="337043" y="1916774"/>
            <a:ext cx="11500436" cy="648000"/>
          </a:xfrm>
          <a:prstGeom prst="rect">
            <a:avLst/>
          </a:prstGeom>
          <a:solidFill>
            <a:srgbClr val="28BE4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ТЕКСТ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C9AFA628-CBFD-4344-A0E3-E359700798B1}"/>
              </a:ext>
            </a:extLst>
          </p:cNvPr>
          <p:cNvCxnSpPr>
            <a:cxnSpLocks/>
          </p:cNvCxnSpPr>
          <p:nvPr/>
        </p:nvCxnSpPr>
        <p:spPr>
          <a:xfrm>
            <a:off x="322227" y="1140330"/>
            <a:ext cx="11515252" cy="0"/>
          </a:xfrm>
          <a:prstGeom prst="line">
            <a:avLst/>
          </a:prstGeom>
          <a:ln w="12700">
            <a:solidFill>
              <a:srgbClr val="7E7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с двумя скругленными соседними углами 34">
            <a:extLst>
              <a:ext uri="{FF2B5EF4-FFF2-40B4-BE49-F238E27FC236}">
                <a16:creationId xmlns:a16="http://schemas.microsoft.com/office/drawing/2014/main" id="{9C0B8AC1-B76D-0542-976C-7FA6249E08C7}"/>
              </a:ext>
            </a:extLst>
          </p:cNvPr>
          <p:cNvSpPr/>
          <p:nvPr/>
        </p:nvSpPr>
        <p:spPr>
          <a:xfrm>
            <a:off x="353445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</a:t>
            </a:r>
          </a:p>
        </p:txBody>
      </p:sp>
      <p:sp>
        <p:nvSpPr>
          <p:cNvPr id="36" name="Прямоугольник с двумя скругленными соседними углами 35">
            <a:extLst>
              <a:ext uri="{FF2B5EF4-FFF2-40B4-BE49-F238E27FC236}">
                <a16:creationId xmlns:a16="http://schemas.microsoft.com/office/drawing/2014/main" id="{5D2BC9A9-0DF1-C645-A175-9315EE9C1642}"/>
              </a:ext>
            </a:extLst>
          </p:cNvPr>
          <p:cNvSpPr/>
          <p:nvPr/>
        </p:nvSpPr>
        <p:spPr>
          <a:xfrm>
            <a:off x="1322942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2</a:t>
            </a:r>
          </a:p>
        </p:txBody>
      </p:sp>
      <p:sp>
        <p:nvSpPr>
          <p:cNvPr id="52" name="Прямоугольник с двумя скругленными соседними углами 51">
            <a:extLst>
              <a:ext uri="{FF2B5EF4-FFF2-40B4-BE49-F238E27FC236}">
                <a16:creationId xmlns:a16="http://schemas.microsoft.com/office/drawing/2014/main" id="{8D74897B-A1EC-334D-B764-9B4A4992E551}"/>
              </a:ext>
            </a:extLst>
          </p:cNvPr>
          <p:cNvSpPr/>
          <p:nvPr/>
        </p:nvSpPr>
        <p:spPr>
          <a:xfrm>
            <a:off x="229243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3</a:t>
            </a:r>
          </a:p>
        </p:txBody>
      </p:sp>
      <p:sp>
        <p:nvSpPr>
          <p:cNvPr id="53" name="Прямоугольник с двумя скругленными соседними углами 52">
            <a:extLst>
              <a:ext uri="{FF2B5EF4-FFF2-40B4-BE49-F238E27FC236}">
                <a16:creationId xmlns:a16="http://schemas.microsoft.com/office/drawing/2014/main" id="{5B6662DD-E9ED-2041-BF4F-038C9F249BFF}"/>
              </a:ext>
            </a:extLst>
          </p:cNvPr>
          <p:cNvSpPr/>
          <p:nvPr/>
        </p:nvSpPr>
        <p:spPr>
          <a:xfrm>
            <a:off x="3261936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4</a:t>
            </a:r>
          </a:p>
        </p:txBody>
      </p:sp>
      <p:sp>
        <p:nvSpPr>
          <p:cNvPr id="54" name="Прямоугольник с двумя скругленными соседними углами 53">
            <a:extLst>
              <a:ext uri="{FF2B5EF4-FFF2-40B4-BE49-F238E27FC236}">
                <a16:creationId xmlns:a16="http://schemas.microsoft.com/office/drawing/2014/main" id="{FE661A81-E2E1-6643-887B-1919DCA10A9C}"/>
              </a:ext>
            </a:extLst>
          </p:cNvPr>
          <p:cNvSpPr/>
          <p:nvPr/>
        </p:nvSpPr>
        <p:spPr>
          <a:xfrm>
            <a:off x="4231433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5</a:t>
            </a:r>
          </a:p>
        </p:txBody>
      </p:sp>
      <p:sp>
        <p:nvSpPr>
          <p:cNvPr id="55" name="Прямоугольник с двумя скругленными соседними углами 54">
            <a:extLst>
              <a:ext uri="{FF2B5EF4-FFF2-40B4-BE49-F238E27FC236}">
                <a16:creationId xmlns:a16="http://schemas.microsoft.com/office/drawing/2014/main" id="{08C7D807-6E85-B24A-89BF-B041B950C0BE}"/>
              </a:ext>
            </a:extLst>
          </p:cNvPr>
          <p:cNvSpPr/>
          <p:nvPr/>
        </p:nvSpPr>
        <p:spPr>
          <a:xfrm>
            <a:off x="5200930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6</a:t>
            </a:r>
          </a:p>
        </p:txBody>
      </p:sp>
      <p:sp>
        <p:nvSpPr>
          <p:cNvPr id="56" name="Прямоугольник с двумя скругленными соседними углами 55">
            <a:extLst>
              <a:ext uri="{FF2B5EF4-FFF2-40B4-BE49-F238E27FC236}">
                <a16:creationId xmlns:a16="http://schemas.microsoft.com/office/drawing/2014/main" id="{3BF295E0-8753-2044-80D3-F60CBE3C15E9}"/>
              </a:ext>
            </a:extLst>
          </p:cNvPr>
          <p:cNvSpPr/>
          <p:nvPr/>
        </p:nvSpPr>
        <p:spPr>
          <a:xfrm>
            <a:off x="6170427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7</a:t>
            </a:r>
          </a:p>
        </p:txBody>
      </p:sp>
      <p:sp>
        <p:nvSpPr>
          <p:cNvPr id="57" name="Прямоугольник с двумя скругленными соседними углами 56">
            <a:extLst>
              <a:ext uri="{FF2B5EF4-FFF2-40B4-BE49-F238E27FC236}">
                <a16:creationId xmlns:a16="http://schemas.microsoft.com/office/drawing/2014/main" id="{ED844876-3E94-F940-9AF5-03B5ECFA3EA3}"/>
              </a:ext>
            </a:extLst>
          </p:cNvPr>
          <p:cNvSpPr/>
          <p:nvPr/>
        </p:nvSpPr>
        <p:spPr>
          <a:xfrm>
            <a:off x="8109421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9</a:t>
            </a:r>
          </a:p>
        </p:txBody>
      </p:sp>
      <p:sp>
        <p:nvSpPr>
          <p:cNvPr id="58" name="Прямоугольник с двумя скругленными соседними углами 57">
            <a:extLst>
              <a:ext uri="{FF2B5EF4-FFF2-40B4-BE49-F238E27FC236}">
                <a16:creationId xmlns:a16="http://schemas.microsoft.com/office/drawing/2014/main" id="{7B3CA2CD-90B4-8E4F-B7F2-5F13BEDFA140}"/>
              </a:ext>
            </a:extLst>
          </p:cNvPr>
          <p:cNvSpPr/>
          <p:nvPr/>
        </p:nvSpPr>
        <p:spPr>
          <a:xfrm>
            <a:off x="1003997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1</a:t>
            </a:r>
          </a:p>
        </p:txBody>
      </p:sp>
      <p:sp>
        <p:nvSpPr>
          <p:cNvPr id="59" name="Прямоугольник с двумя скругленными соседними углами 58">
            <a:extLst>
              <a:ext uri="{FF2B5EF4-FFF2-40B4-BE49-F238E27FC236}">
                <a16:creationId xmlns:a16="http://schemas.microsoft.com/office/drawing/2014/main" id="{5D40E1A1-6B8D-DF4F-9DA1-BDE09AA4D57C}"/>
              </a:ext>
            </a:extLst>
          </p:cNvPr>
          <p:cNvSpPr/>
          <p:nvPr/>
        </p:nvSpPr>
        <p:spPr>
          <a:xfrm>
            <a:off x="11009479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2</a:t>
            </a:r>
          </a:p>
        </p:txBody>
      </p:sp>
      <p:sp>
        <p:nvSpPr>
          <p:cNvPr id="60" name="Прямоугольник с двумя скругленными соседними углами 59">
            <a:extLst>
              <a:ext uri="{FF2B5EF4-FFF2-40B4-BE49-F238E27FC236}">
                <a16:creationId xmlns:a16="http://schemas.microsoft.com/office/drawing/2014/main" id="{8A29EE95-BEFF-5747-9B00-399FF9824701}"/>
              </a:ext>
            </a:extLst>
          </p:cNvPr>
          <p:cNvSpPr/>
          <p:nvPr/>
        </p:nvSpPr>
        <p:spPr>
          <a:xfrm>
            <a:off x="7139924" y="1140330"/>
            <a:ext cx="842592" cy="447942"/>
          </a:xfrm>
          <a:prstGeom prst="round2SameRect">
            <a:avLst>
              <a:gd name="adj1" fmla="val 0"/>
              <a:gd name="adj2" fmla="val 343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rgbClr val="7E7E7E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8</a:t>
            </a:r>
          </a:p>
        </p:txBody>
      </p:sp>
      <p:sp>
        <p:nvSpPr>
          <p:cNvPr id="61" name="Прямоугольник с двумя скругленными соседними углами 60">
            <a:extLst>
              <a:ext uri="{FF2B5EF4-FFF2-40B4-BE49-F238E27FC236}">
                <a16:creationId xmlns:a16="http://schemas.microsoft.com/office/drawing/2014/main" id="{68068E7B-DE8E-354A-8F40-771D7E38915A}"/>
              </a:ext>
            </a:extLst>
          </p:cNvPr>
          <p:cNvSpPr/>
          <p:nvPr/>
        </p:nvSpPr>
        <p:spPr>
          <a:xfrm>
            <a:off x="9070482" y="1140330"/>
            <a:ext cx="828000" cy="447942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 Narrow" panose="020B0604020202020204" pitchFamily="34" charset="0"/>
              </a:rPr>
              <a:t>ЭЛЕМЕНТ 1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E2E048-B986-A011-282C-EE3B687FEA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8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352089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ДОРОЖНАЯ КАРТА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215A44-F434-43F4-056E-062631C8D9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r>
              <a:rPr lang="ru-RU"/>
              <a:t>ГАЗПРОМ НЕФТЬ   </a:t>
            </a:r>
            <a:fld id="{D58DDE06-DF15-0A4F-A85A-4EB38848D8EB}" type="slidenum">
              <a:rPr lang="ru-RU" smtClean="0"/>
              <a:pPr/>
              <a:t>8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24545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30FB06-7F6B-38D6-F4C9-27A296F8C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C1B438-975F-4242-C1FB-BE1B3AB0D8F6}"/>
              </a:ext>
            </a:extLst>
          </p:cNvPr>
          <p:cNvSpPr txBox="1"/>
          <p:nvPr/>
        </p:nvSpPr>
        <p:spPr>
          <a:xfrm>
            <a:off x="337044" y="277209"/>
            <a:ext cx="477721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ЗАГОЛОВОК</a:t>
            </a:r>
          </a:p>
        </p:txBody>
      </p:sp>
      <p:sp>
        <p:nvSpPr>
          <p:cNvPr id="4" name="Прямоугольник 115">
            <a:extLst>
              <a:ext uri="{FF2B5EF4-FFF2-40B4-BE49-F238E27FC236}">
                <a16:creationId xmlns:a16="http://schemas.microsoft.com/office/drawing/2014/main" id="{CFFB91EB-ADD6-F55F-1BD4-E1BA63E84209}"/>
              </a:ext>
            </a:extLst>
          </p:cNvPr>
          <p:cNvSpPr/>
          <p:nvPr/>
        </p:nvSpPr>
        <p:spPr>
          <a:xfrm>
            <a:off x="3393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116">
            <a:extLst>
              <a:ext uri="{FF2B5EF4-FFF2-40B4-BE49-F238E27FC236}">
                <a16:creationId xmlns:a16="http://schemas.microsoft.com/office/drawing/2014/main" id="{BD0EAB07-9252-7A17-154B-A3C0FBF9DB79}"/>
              </a:ext>
            </a:extLst>
          </p:cNvPr>
          <p:cNvSpPr/>
          <p:nvPr/>
        </p:nvSpPr>
        <p:spPr>
          <a:xfrm>
            <a:off x="3393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117">
            <a:extLst>
              <a:ext uri="{FF2B5EF4-FFF2-40B4-BE49-F238E27FC236}">
                <a16:creationId xmlns:a16="http://schemas.microsoft.com/office/drawing/2014/main" id="{B04BA9C4-C052-4C28-CB63-2EA72F5AEF53}"/>
              </a:ext>
            </a:extLst>
          </p:cNvPr>
          <p:cNvSpPr/>
          <p:nvPr/>
        </p:nvSpPr>
        <p:spPr>
          <a:xfrm>
            <a:off x="3393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118">
            <a:extLst>
              <a:ext uri="{FF2B5EF4-FFF2-40B4-BE49-F238E27FC236}">
                <a16:creationId xmlns:a16="http://schemas.microsoft.com/office/drawing/2014/main" id="{077C2811-F10C-7A4E-FFBF-47724830F8F6}"/>
              </a:ext>
            </a:extLst>
          </p:cNvPr>
          <p:cNvSpPr/>
          <p:nvPr/>
        </p:nvSpPr>
        <p:spPr>
          <a:xfrm>
            <a:off x="42255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Прямоугольник 119">
            <a:extLst>
              <a:ext uri="{FF2B5EF4-FFF2-40B4-BE49-F238E27FC236}">
                <a16:creationId xmlns:a16="http://schemas.microsoft.com/office/drawing/2014/main" id="{046EF1CA-95A1-05CE-2C38-4661E2C71FF5}"/>
              </a:ext>
            </a:extLst>
          </p:cNvPr>
          <p:cNvSpPr/>
          <p:nvPr/>
        </p:nvSpPr>
        <p:spPr>
          <a:xfrm>
            <a:off x="42255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120">
            <a:extLst>
              <a:ext uri="{FF2B5EF4-FFF2-40B4-BE49-F238E27FC236}">
                <a16:creationId xmlns:a16="http://schemas.microsoft.com/office/drawing/2014/main" id="{43D77624-A146-C722-88AA-559BF7D5B2E8}"/>
              </a:ext>
            </a:extLst>
          </p:cNvPr>
          <p:cNvSpPr/>
          <p:nvPr/>
        </p:nvSpPr>
        <p:spPr>
          <a:xfrm>
            <a:off x="42255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121">
            <a:extLst>
              <a:ext uri="{FF2B5EF4-FFF2-40B4-BE49-F238E27FC236}">
                <a16:creationId xmlns:a16="http://schemas.microsoft.com/office/drawing/2014/main" id="{F14FA88D-63E8-9AC3-8BE6-FCBE8C3CF813}"/>
              </a:ext>
            </a:extLst>
          </p:cNvPr>
          <p:cNvSpPr/>
          <p:nvPr/>
        </p:nvSpPr>
        <p:spPr>
          <a:xfrm>
            <a:off x="8111778" y="4303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122">
            <a:extLst>
              <a:ext uri="{FF2B5EF4-FFF2-40B4-BE49-F238E27FC236}">
                <a16:creationId xmlns:a16="http://schemas.microsoft.com/office/drawing/2014/main" id="{8BE3673C-A3D1-2BD6-5B08-7C04FF571C42}"/>
              </a:ext>
            </a:extLst>
          </p:cNvPr>
          <p:cNvSpPr/>
          <p:nvPr/>
        </p:nvSpPr>
        <p:spPr>
          <a:xfrm>
            <a:off x="8111778" y="27031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Прямоугольник 123">
            <a:extLst>
              <a:ext uri="{FF2B5EF4-FFF2-40B4-BE49-F238E27FC236}">
                <a16:creationId xmlns:a16="http://schemas.microsoft.com/office/drawing/2014/main" id="{E1D4E53F-0C98-0D1C-E2DC-F0CD2F48DF4E}"/>
              </a:ext>
            </a:extLst>
          </p:cNvPr>
          <p:cNvSpPr/>
          <p:nvPr/>
        </p:nvSpPr>
        <p:spPr>
          <a:xfrm>
            <a:off x="8111778" y="1128391"/>
            <a:ext cx="3740400" cy="14386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b"/>
          <a:lstStyle/>
          <a:p>
            <a:pPr eaLnBrk="0" fontAlgn="base" hangingPunct="0">
              <a:spcAft>
                <a:spcPts val="200"/>
              </a:spcAft>
              <a:buClr>
                <a:schemeClr val="accent1"/>
              </a:buClr>
              <a:buSzPct val="90000"/>
            </a:pPr>
            <a:r>
              <a:rPr lang="ru-RU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ст</a:t>
            </a:r>
            <a:endParaRPr lang="ru-DE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6" name="Рисунок 8">
            <a:extLst>
              <a:ext uri="{FF2B5EF4-FFF2-40B4-BE49-F238E27FC236}">
                <a16:creationId xmlns:a16="http://schemas.microsoft.com/office/drawing/2014/main" id="{DE281071-FF4B-9601-3413-9B1A2EDC4BB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049" y="2860414"/>
            <a:ext cx="436675" cy="350164"/>
          </a:xfrm>
          <a:prstGeom prst="rect">
            <a:avLst/>
          </a:prstGeom>
        </p:spPr>
      </p:pic>
      <p:pic>
        <p:nvPicPr>
          <p:cNvPr id="17" name="Рисунок 10">
            <a:extLst>
              <a:ext uri="{FF2B5EF4-FFF2-40B4-BE49-F238E27FC236}">
                <a16:creationId xmlns:a16="http://schemas.microsoft.com/office/drawing/2014/main" id="{3F802871-3357-5DEC-6CCB-5DDD0AA7407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7576" y="2803148"/>
            <a:ext cx="247549" cy="464697"/>
          </a:xfrm>
          <a:prstGeom prst="rect">
            <a:avLst/>
          </a:prstGeom>
        </p:spPr>
      </p:pic>
      <p:pic>
        <p:nvPicPr>
          <p:cNvPr id="18" name="Рисунок 12">
            <a:extLst>
              <a:ext uri="{FF2B5EF4-FFF2-40B4-BE49-F238E27FC236}">
                <a16:creationId xmlns:a16="http://schemas.microsoft.com/office/drawing/2014/main" id="{8A10EC83-7746-0271-B2EC-AA1C280F07F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82138" y="4447953"/>
            <a:ext cx="415596" cy="353451"/>
          </a:xfrm>
          <a:prstGeom prst="rect">
            <a:avLst/>
          </a:prstGeom>
        </p:spPr>
      </p:pic>
      <p:pic>
        <p:nvPicPr>
          <p:cNvPr id="19" name="Рисунок 14">
            <a:extLst>
              <a:ext uri="{FF2B5EF4-FFF2-40B4-BE49-F238E27FC236}">
                <a16:creationId xmlns:a16="http://schemas.microsoft.com/office/drawing/2014/main" id="{16CB9B94-8416-5EEE-60E7-7FD782983EE9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74567" y="4447953"/>
            <a:ext cx="411712" cy="353451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BBE60CBE-3712-184D-8D83-3EF53D196CB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grayscl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8397" y="1236762"/>
            <a:ext cx="540432" cy="48600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57DDDDF-8A06-2440-9C02-C2439FF782AB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1483" y="4447953"/>
            <a:ext cx="300920" cy="37440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331D3429-F38E-6641-96BF-0252C37F64CE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282138" y="2789393"/>
            <a:ext cx="419450" cy="4932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452B27CE-5939-B84D-B969-D648435BBC41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296963" y="1227762"/>
            <a:ext cx="385946" cy="5040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430D1006-22F8-5349-B292-EC016453EFE6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359750" y="1276362"/>
            <a:ext cx="539010" cy="40680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240344" y="587786"/>
            <a:ext cx="1564717" cy="40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0642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A7EC1F1-AF1C-471C-926E-239F5C6A6C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808110"/>
              </p:ext>
            </p:extLst>
          </p:nvPr>
        </p:nvGraphicFramePr>
        <p:xfrm>
          <a:off x="338712" y="1129865"/>
          <a:ext cx="11514916" cy="506638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643960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431101713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49152997"/>
                    </a:ext>
                  </a:extLst>
                </a:gridCol>
                <a:gridCol w="609877">
                  <a:extLst>
                    <a:ext uri="{9D8B030D-6E8A-4147-A177-3AD203B41FA5}">
                      <a16:colId xmlns:a16="http://schemas.microsoft.com/office/drawing/2014/main" val="1882632848"/>
                    </a:ext>
                  </a:extLst>
                </a:gridCol>
                <a:gridCol w="637954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648586">
                  <a:extLst>
                    <a:ext uri="{9D8B030D-6E8A-4147-A177-3AD203B41FA5}">
                      <a16:colId xmlns:a16="http://schemas.microsoft.com/office/drawing/2014/main" val="4219950431"/>
                    </a:ext>
                  </a:extLst>
                </a:gridCol>
                <a:gridCol w="680484">
                  <a:extLst>
                    <a:ext uri="{9D8B030D-6E8A-4147-A177-3AD203B41FA5}">
                      <a16:colId xmlns:a16="http://schemas.microsoft.com/office/drawing/2014/main" val="2292875932"/>
                    </a:ext>
                  </a:extLst>
                </a:gridCol>
                <a:gridCol w="637953">
                  <a:extLst>
                    <a:ext uri="{9D8B030D-6E8A-4147-A177-3AD203B41FA5}">
                      <a16:colId xmlns:a16="http://schemas.microsoft.com/office/drawing/2014/main" val="2470622257"/>
                    </a:ext>
                  </a:extLst>
                </a:gridCol>
                <a:gridCol w="648586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680484">
                  <a:extLst>
                    <a:ext uri="{9D8B030D-6E8A-4147-A177-3AD203B41FA5}">
                      <a16:colId xmlns:a16="http://schemas.microsoft.com/office/drawing/2014/main" val="488805498"/>
                    </a:ext>
                  </a:extLst>
                </a:gridCol>
                <a:gridCol w="703380">
                  <a:extLst>
                    <a:ext uri="{9D8B030D-6E8A-4147-A177-3AD203B41FA5}">
                      <a16:colId xmlns:a16="http://schemas.microsoft.com/office/drawing/2014/main" val="419619525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11765507"/>
                    </a:ext>
                  </a:extLst>
                </a:gridCol>
              </a:tblGrid>
              <a:tr h="62283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b="0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ы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ЯН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Й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К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1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0656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 1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2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3</a:t>
                      </a: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489075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276419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96C72B7-33CA-4AC0-A1F4-F3F557012726}"/>
              </a:ext>
            </a:extLst>
          </p:cNvPr>
          <p:cNvSpPr/>
          <p:nvPr/>
        </p:nvSpPr>
        <p:spPr>
          <a:xfrm>
            <a:off x="4347555" y="2097346"/>
            <a:ext cx="1562418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D293A21-C679-4D71-B1B2-F7086A83B610}"/>
              </a:ext>
            </a:extLst>
          </p:cNvPr>
          <p:cNvSpPr/>
          <p:nvPr/>
        </p:nvSpPr>
        <p:spPr>
          <a:xfrm>
            <a:off x="5548557" y="2834370"/>
            <a:ext cx="3960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EB1FF5C-9F4E-4B37-926A-EF686B51A355}"/>
              </a:ext>
            </a:extLst>
          </p:cNvPr>
          <p:cNvSpPr/>
          <p:nvPr/>
        </p:nvSpPr>
        <p:spPr>
          <a:xfrm>
            <a:off x="7893395" y="3373342"/>
            <a:ext cx="1615162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4F0AB33F-6BE0-47D8-B18D-13C51345FB25}"/>
              </a:ext>
            </a:extLst>
          </p:cNvPr>
          <p:cNvCxnSpPr>
            <a:cxnSpLocks/>
          </p:cNvCxnSpPr>
          <p:nvPr/>
        </p:nvCxnSpPr>
        <p:spPr>
          <a:xfrm>
            <a:off x="6604042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FB5F08A4-93F8-46DF-BC1E-707AABFA9C71}"/>
              </a:ext>
            </a:extLst>
          </p:cNvPr>
          <p:cNvCxnSpPr>
            <a:cxnSpLocks/>
          </p:cNvCxnSpPr>
          <p:nvPr/>
        </p:nvCxnSpPr>
        <p:spPr>
          <a:xfrm>
            <a:off x="7251742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FD882B9F-6FCB-4B7D-A6CC-8661E84A8726}"/>
              </a:ext>
            </a:extLst>
          </p:cNvPr>
          <p:cNvCxnSpPr>
            <a:cxnSpLocks/>
          </p:cNvCxnSpPr>
          <p:nvPr/>
        </p:nvCxnSpPr>
        <p:spPr>
          <a:xfrm>
            <a:off x="7893395" y="2780370"/>
            <a:ext cx="0" cy="14400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34CC56-D618-4867-8F36-2EC73E3AE77C}"/>
              </a:ext>
            </a:extLst>
          </p:cNvPr>
          <p:cNvSpPr txBox="1"/>
          <p:nvPr/>
        </p:nvSpPr>
        <p:spPr>
          <a:xfrm>
            <a:off x="6444506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690427-0A64-48D2-A039-A0F811ADF9AC}"/>
              </a:ext>
            </a:extLst>
          </p:cNvPr>
          <p:cNvSpPr txBox="1"/>
          <p:nvPr/>
        </p:nvSpPr>
        <p:spPr>
          <a:xfrm>
            <a:off x="7092206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852EDF-D25D-4584-AF14-1E06D8B22D8F}"/>
              </a:ext>
            </a:extLst>
          </p:cNvPr>
          <p:cNvSpPr txBox="1"/>
          <p:nvPr/>
        </p:nvSpPr>
        <p:spPr>
          <a:xfrm>
            <a:off x="7733859" y="2594549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</a:rPr>
              <a:t>III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0F77BA-BA43-49DB-87B2-30400A8C534E}"/>
              </a:ext>
            </a:extLst>
          </p:cNvPr>
          <p:cNvSpPr txBox="1"/>
          <p:nvPr/>
        </p:nvSpPr>
        <p:spPr>
          <a:xfrm>
            <a:off x="6125435" y="2044220"/>
            <a:ext cx="828000" cy="1711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ероприятие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198E129D-C3FE-B7F8-53A0-CACD13FA0A7B}"/>
              </a:ext>
            </a:extLst>
          </p:cNvPr>
          <p:cNvSpPr txBox="1"/>
          <p:nvPr/>
        </p:nvSpPr>
        <p:spPr>
          <a:xfrm>
            <a:off x="337045" y="280307"/>
            <a:ext cx="893454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ФОРМЛЕНИЕ КАЛЕНДАРЯ / ДИАГРАММЫ ГАНТА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74465FA2-0F6C-5F29-FC30-38E4B0958234}"/>
              </a:ext>
            </a:extLst>
          </p:cNvPr>
          <p:cNvSpPr/>
          <p:nvPr/>
        </p:nvSpPr>
        <p:spPr>
          <a:xfrm>
            <a:off x="5873397" y="2044220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353607B1-3913-D6DD-28E8-DC688653020C}"/>
              </a:ext>
            </a:extLst>
          </p:cNvPr>
          <p:cNvSpPr/>
          <p:nvPr/>
        </p:nvSpPr>
        <p:spPr>
          <a:xfrm>
            <a:off x="9407874" y="3319342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6296E1-72DF-6D34-13FC-8BAEC3DF6C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135746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BA7EC1F1-AF1C-471C-926E-239F5C6A6C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8951898"/>
              </p:ext>
            </p:extLst>
          </p:nvPr>
        </p:nvGraphicFramePr>
        <p:xfrm>
          <a:off x="338712" y="1129865"/>
          <a:ext cx="11514916" cy="5066384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643960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431101713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49152997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88263284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219950431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29287593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2470622257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88805498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4196195252"/>
                    </a:ext>
                  </a:extLst>
                </a:gridCol>
                <a:gridCol w="655913">
                  <a:extLst>
                    <a:ext uri="{9D8B030D-6E8A-4147-A177-3AD203B41FA5}">
                      <a16:colId xmlns:a16="http://schemas.microsoft.com/office/drawing/2014/main" val="111765507"/>
                    </a:ext>
                  </a:extLst>
                </a:gridCol>
              </a:tblGrid>
              <a:tr h="62283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cap="all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ы</a:t>
                      </a:r>
                    </a:p>
                  </a:txBody>
                  <a:tcPr marL="144000" marR="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ЯН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ФЕВ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ПР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МАЙ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ЮЛ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АВГ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СЕН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ОКТ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НОЯ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200" b="0" i="0" cap="none" baseline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ДЕК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70656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ект 1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4000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2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роект 3</a:t>
                      </a:r>
                    </a:p>
                  </a:txBody>
                  <a:tcPr marL="144000" marR="144000" marT="7200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E7E7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00B05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265680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FFC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4438133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5217902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489075"/>
                  </a:ext>
                </a:extLst>
              </a:tr>
              <a:tr h="6228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72000" marB="72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dirty="0">
                        <a:solidFill>
                          <a:srgbClr val="C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0276419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E234CC56-D618-4867-8F36-2EC73E3AE77C}"/>
              </a:ext>
            </a:extLst>
          </p:cNvPr>
          <p:cNvSpPr txBox="1"/>
          <p:nvPr/>
        </p:nvSpPr>
        <p:spPr>
          <a:xfrm>
            <a:off x="6444506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3690427-0A64-48D2-A039-A0F811ADF9AC}"/>
              </a:ext>
            </a:extLst>
          </p:cNvPr>
          <p:cNvSpPr txBox="1"/>
          <p:nvPr/>
        </p:nvSpPr>
        <p:spPr>
          <a:xfrm>
            <a:off x="7092206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852EDF-D25D-4584-AF14-1E06D8B22D8F}"/>
              </a:ext>
            </a:extLst>
          </p:cNvPr>
          <p:cNvSpPr txBox="1"/>
          <p:nvPr/>
        </p:nvSpPr>
        <p:spPr>
          <a:xfrm>
            <a:off x="7733859" y="2693405"/>
            <a:ext cx="319071" cy="15696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Этап </a:t>
            </a: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II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0F77BA-BA43-49DB-87B2-30400A8C534E}"/>
              </a:ext>
            </a:extLst>
          </p:cNvPr>
          <p:cNvSpPr txBox="1"/>
          <p:nvPr/>
        </p:nvSpPr>
        <p:spPr>
          <a:xfrm>
            <a:off x="6125435" y="2044220"/>
            <a:ext cx="828000" cy="1711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Мероприятие</a:t>
            </a:r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id="{74465FA2-0F6C-5F29-FC30-38E4B0958234}"/>
              </a:ext>
            </a:extLst>
          </p:cNvPr>
          <p:cNvSpPr/>
          <p:nvPr/>
        </p:nvSpPr>
        <p:spPr>
          <a:xfrm>
            <a:off x="5873397" y="2044220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353607B1-3913-D6DD-28E8-DC688653020C}"/>
              </a:ext>
            </a:extLst>
          </p:cNvPr>
          <p:cNvSpPr/>
          <p:nvPr/>
        </p:nvSpPr>
        <p:spPr>
          <a:xfrm>
            <a:off x="9815650" y="3319342"/>
            <a:ext cx="144000" cy="144000"/>
          </a:xfrm>
          <a:prstGeom prst="ellipse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009F11-0D25-3320-770E-2C679B4800A1}"/>
              </a:ext>
            </a:extLst>
          </p:cNvPr>
          <p:cNvSpPr txBox="1"/>
          <p:nvPr/>
        </p:nvSpPr>
        <p:spPr>
          <a:xfrm>
            <a:off x="337044" y="280307"/>
            <a:ext cx="9622605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ФОРМЛЕНИЕ КАЛЕНДАРЯ / ДИАГРАММЫ ГАНТА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D7EE306-5DD2-A9C7-F2BC-390DCCC81C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078496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D45577C2-B874-27A5-07D3-D7560422646C}"/>
              </a:ext>
            </a:extLst>
          </p:cNvPr>
          <p:cNvSpPr txBox="1"/>
          <p:nvPr/>
        </p:nvSpPr>
        <p:spPr>
          <a:xfrm>
            <a:off x="337044" y="283185"/>
            <a:ext cx="10635756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ДОРОЖНАЯ КАРТА</a:t>
            </a:r>
          </a:p>
        </p:txBody>
      </p:sp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36EA5718-8031-82FE-6AE3-531F5A224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2227066"/>
              </p:ext>
            </p:extLst>
          </p:nvPr>
        </p:nvGraphicFramePr>
        <p:xfrm>
          <a:off x="338712" y="1129864"/>
          <a:ext cx="11518320" cy="521426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967080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</a:tblGrid>
              <a:tr h="361885">
                <a:tc>
                  <a:txBody>
                    <a:bodyPr/>
                    <a:lstStyle/>
                    <a:p>
                      <a:pPr algn="ctr"/>
                      <a:endParaRPr lang="ru-RU" sz="1200" b="0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2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0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3</a:t>
                      </a: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rgbClr val="004596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УК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ИК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1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РАЗДЕЛ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5849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8961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57580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41858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6163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2659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381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01476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3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780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0809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368130"/>
                  </a:ext>
                </a:extLst>
              </a:tr>
            </a:tbl>
          </a:graphicData>
        </a:graphic>
      </p:graphicFrame>
      <p:sp>
        <p:nvSpPr>
          <p:cNvPr id="140" name="TextBox 139">
            <a:extLst>
              <a:ext uri="{FF2B5EF4-FFF2-40B4-BE49-F238E27FC236}">
                <a16:creationId xmlns:a16="http://schemas.microsoft.com/office/drawing/2014/main" id="{6755A4A3-E4BB-CFD0-65AD-BFD739DAD7D1}"/>
              </a:ext>
            </a:extLst>
          </p:cNvPr>
          <p:cNvSpPr txBox="1"/>
          <p:nvPr/>
        </p:nvSpPr>
        <p:spPr>
          <a:xfrm>
            <a:off x="6744810" y="243092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1BE9E90-D88C-0962-98A1-9B2C021C1884}"/>
              </a:ext>
            </a:extLst>
          </p:cNvPr>
          <p:cNvSpPr txBox="1"/>
          <p:nvPr/>
        </p:nvSpPr>
        <p:spPr>
          <a:xfrm>
            <a:off x="4403912" y="2751513"/>
            <a:ext cx="36564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К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E6590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0CE75F3-07BD-71AE-3F4B-77DB3C3E95A1}"/>
              </a:ext>
            </a:extLst>
          </p:cNvPr>
          <p:cNvSpPr txBox="1"/>
          <p:nvPr/>
        </p:nvSpPr>
        <p:spPr>
          <a:xfrm>
            <a:off x="4954484" y="3639945"/>
            <a:ext cx="36564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К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E6590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1D1132F-B4E4-B719-4DF2-B6B5FF4768A0}"/>
              </a:ext>
            </a:extLst>
          </p:cNvPr>
          <p:cNvSpPr txBox="1"/>
          <p:nvPr/>
        </p:nvSpPr>
        <p:spPr>
          <a:xfrm>
            <a:off x="4426092" y="5318772"/>
            <a:ext cx="36564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758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К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E7580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80FB448-23DE-285F-ACAC-7C6DECFC23EB}"/>
              </a:ext>
            </a:extLst>
          </p:cNvPr>
          <p:cNvSpPr txBox="1"/>
          <p:nvPr/>
        </p:nvSpPr>
        <p:spPr>
          <a:xfrm>
            <a:off x="5512698" y="6207521"/>
            <a:ext cx="36564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E65907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К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E65907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Ромб 177">
            <a:extLst>
              <a:ext uri="{FF2B5EF4-FFF2-40B4-BE49-F238E27FC236}">
                <a16:creationId xmlns:a16="http://schemas.microsoft.com/office/drawing/2014/main" id="{C7EEFBE8-CCBF-CBA3-2DC4-3F70583E7CD2}"/>
              </a:ext>
            </a:extLst>
          </p:cNvPr>
          <p:cNvSpPr/>
          <p:nvPr/>
        </p:nvSpPr>
        <p:spPr>
          <a:xfrm>
            <a:off x="6291697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Ромб 178">
            <a:extLst>
              <a:ext uri="{FF2B5EF4-FFF2-40B4-BE49-F238E27FC236}">
                <a16:creationId xmlns:a16="http://schemas.microsoft.com/office/drawing/2014/main" id="{516F1A69-54FD-0051-161F-6FC635348E47}"/>
              </a:ext>
            </a:extLst>
          </p:cNvPr>
          <p:cNvSpPr/>
          <p:nvPr/>
        </p:nvSpPr>
        <p:spPr>
          <a:xfrm>
            <a:off x="6822639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0" name="Ромб 179">
            <a:extLst>
              <a:ext uri="{FF2B5EF4-FFF2-40B4-BE49-F238E27FC236}">
                <a16:creationId xmlns:a16="http://schemas.microsoft.com/office/drawing/2014/main" id="{94B41656-80DD-9627-78E8-84525346BBE6}"/>
              </a:ext>
            </a:extLst>
          </p:cNvPr>
          <p:cNvSpPr/>
          <p:nvPr/>
        </p:nvSpPr>
        <p:spPr>
          <a:xfrm>
            <a:off x="9143052" y="4125399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1" name="Ромб 180">
            <a:extLst>
              <a:ext uri="{FF2B5EF4-FFF2-40B4-BE49-F238E27FC236}">
                <a16:creationId xmlns:a16="http://schemas.microsoft.com/office/drawing/2014/main" id="{9EAC7924-4266-7DAC-9081-3A0511DB9693}"/>
              </a:ext>
            </a:extLst>
          </p:cNvPr>
          <p:cNvSpPr/>
          <p:nvPr/>
        </p:nvSpPr>
        <p:spPr>
          <a:xfrm>
            <a:off x="9143052" y="4499025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2" name="Ромб 181">
            <a:extLst>
              <a:ext uri="{FF2B5EF4-FFF2-40B4-BE49-F238E27FC236}">
                <a16:creationId xmlns:a16="http://schemas.microsoft.com/office/drawing/2014/main" id="{917FE764-DEF8-B7AF-E1B8-EF40B9BB2806}"/>
              </a:ext>
            </a:extLst>
          </p:cNvPr>
          <p:cNvSpPr/>
          <p:nvPr/>
        </p:nvSpPr>
        <p:spPr>
          <a:xfrm>
            <a:off x="6822639" y="4841029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3" name="Ромб 182">
            <a:extLst>
              <a:ext uri="{FF2B5EF4-FFF2-40B4-BE49-F238E27FC236}">
                <a16:creationId xmlns:a16="http://schemas.microsoft.com/office/drawing/2014/main" id="{92343A92-25F8-C422-1CE2-A3378CAE511E}"/>
              </a:ext>
            </a:extLst>
          </p:cNvPr>
          <p:cNvSpPr/>
          <p:nvPr/>
        </p:nvSpPr>
        <p:spPr>
          <a:xfrm>
            <a:off x="7304420" y="4841029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AFACACD4-78D0-8240-9262-4C75E0B2A1AA}"/>
              </a:ext>
            </a:extLst>
          </p:cNvPr>
          <p:cNvSpPr/>
          <p:nvPr/>
        </p:nvSpPr>
        <p:spPr>
          <a:xfrm>
            <a:off x="5913442" y="2697395"/>
            <a:ext cx="4752000" cy="360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Ромб 170">
            <a:extLst>
              <a:ext uri="{FF2B5EF4-FFF2-40B4-BE49-F238E27FC236}">
                <a16:creationId xmlns:a16="http://schemas.microsoft.com/office/drawing/2014/main" id="{2B52B1F2-2AF8-1290-4FE1-0E29AC5ECF99}"/>
              </a:ext>
            </a:extLst>
          </p:cNvPr>
          <p:cNvSpPr/>
          <p:nvPr/>
        </p:nvSpPr>
        <p:spPr>
          <a:xfrm>
            <a:off x="6744810" y="2643395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Ромб 171">
            <a:extLst>
              <a:ext uri="{FF2B5EF4-FFF2-40B4-BE49-F238E27FC236}">
                <a16:creationId xmlns:a16="http://schemas.microsoft.com/office/drawing/2014/main" id="{BFDCE7C2-AA5E-530B-361B-B309FE803BED}"/>
              </a:ext>
            </a:extLst>
          </p:cNvPr>
          <p:cNvSpPr/>
          <p:nvPr/>
        </p:nvSpPr>
        <p:spPr>
          <a:xfrm>
            <a:off x="7952377" y="2643395"/>
            <a:ext cx="144000" cy="144000"/>
          </a:xfrm>
          <a:prstGeom prst="diamond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E73BD61-1A3F-FE0A-9BF6-66B6D96E7CE3}"/>
              </a:ext>
            </a:extLst>
          </p:cNvPr>
          <p:cNvSpPr/>
          <p:nvPr/>
        </p:nvSpPr>
        <p:spPr>
          <a:xfrm>
            <a:off x="2353662" y="3100988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F4D54D5-9750-356C-E516-99AE258FDCFB}"/>
              </a:ext>
            </a:extLst>
          </p:cNvPr>
          <p:cNvSpPr/>
          <p:nvPr/>
        </p:nvSpPr>
        <p:spPr>
          <a:xfrm>
            <a:off x="2353662" y="3441950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27DD081-2473-BB9B-87EF-E6CFB69A2C82}"/>
              </a:ext>
            </a:extLst>
          </p:cNvPr>
          <p:cNvSpPr/>
          <p:nvPr/>
        </p:nvSpPr>
        <p:spPr>
          <a:xfrm>
            <a:off x="2353662" y="4185869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6F029FF0-D72E-1EA4-F7B3-A5337478BE7E}"/>
              </a:ext>
            </a:extLst>
          </p:cNvPr>
          <p:cNvSpPr/>
          <p:nvPr/>
        </p:nvSpPr>
        <p:spPr>
          <a:xfrm>
            <a:off x="4119064" y="4557827"/>
            <a:ext cx="7704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CFE50676-AAE5-8A7D-BCFB-6902DF37EA33}"/>
              </a:ext>
            </a:extLst>
          </p:cNvPr>
          <p:cNvSpPr/>
          <p:nvPr/>
        </p:nvSpPr>
        <p:spPr>
          <a:xfrm>
            <a:off x="2353662" y="5627212"/>
            <a:ext cx="709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E1C4B686-7D72-5727-8EF5-5A3DE1E18D24}"/>
              </a:ext>
            </a:extLst>
          </p:cNvPr>
          <p:cNvSpPr/>
          <p:nvPr/>
        </p:nvSpPr>
        <p:spPr>
          <a:xfrm>
            <a:off x="4721272" y="5999172"/>
            <a:ext cx="4752000" cy="36000"/>
          </a:xfrm>
          <a:prstGeom prst="rect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8" name="Группа 157">
            <a:extLst>
              <a:ext uri="{FF2B5EF4-FFF2-40B4-BE49-F238E27FC236}">
                <a16:creationId xmlns:a16="http://schemas.microsoft.com/office/drawing/2014/main" id="{99169A6E-9952-A320-CCB9-7267FB36E4E5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5561349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A20125F4-E63A-B843-72ED-AAE53C5D939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CACE9514-D133-B94A-BEC5-36FD9DB8848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1" name="Прямая соединительная линия 160">
                <a:extLst>
                  <a:ext uri="{FF2B5EF4-FFF2-40B4-BE49-F238E27FC236}">
                    <a16:creationId xmlns:a16="http://schemas.microsoft.com/office/drawing/2014/main" id="{5555F9D5-E0E2-AC9D-7F6E-A6A6A7EE6B8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Прямая соединительная линия 161">
                <a:extLst>
                  <a:ext uri="{FF2B5EF4-FFF2-40B4-BE49-F238E27FC236}">
                    <a16:creationId xmlns:a16="http://schemas.microsoft.com/office/drawing/2014/main" id="{2A974358-FF0E-6B34-ADE6-00B934341A96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C074BA8A-A4AA-3FEA-A374-B119056B1D9F}"/>
              </a:ext>
            </a:extLst>
          </p:cNvPr>
          <p:cNvGrpSpPr>
            <a:grpSpLocks noChangeAspect="1"/>
          </p:cNvGrpSpPr>
          <p:nvPr/>
        </p:nvGrpSpPr>
        <p:grpSpPr>
          <a:xfrm>
            <a:off x="5605521" y="5934102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62" name="Овал 61">
              <a:extLst>
                <a:ext uri="{FF2B5EF4-FFF2-40B4-BE49-F238E27FC236}">
                  <a16:creationId xmlns:a16="http://schemas.microsoft.com/office/drawing/2014/main" id="{A0CCBF63-A290-69FB-D6F7-948BA15EADA8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63" name="Группа 62">
              <a:extLst>
                <a:ext uri="{FF2B5EF4-FFF2-40B4-BE49-F238E27FC236}">
                  <a16:creationId xmlns:a16="http://schemas.microsoft.com/office/drawing/2014/main" id="{331DEF1A-A2ED-B731-5713-3418E69DC535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64" name="Прямая соединительная линия 63">
                <a:extLst>
                  <a:ext uri="{FF2B5EF4-FFF2-40B4-BE49-F238E27FC236}">
                    <a16:creationId xmlns:a16="http://schemas.microsoft.com/office/drawing/2014/main" id="{FC83EAB0-FB02-22AC-3CA4-59398D4F28D9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Прямая соединительная линия 64">
                <a:extLst>
                  <a:ext uri="{FF2B5EF4-FFF2-40B4-BE49-F238E27FC236}">
                    <a16:creationId xmlns:a16="http://schemas.microsoft.com/office/drawing/2014/main" id="{18B5080C-A197-CC07-AE58-EC4BDB3C4D14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4" name="Ромб 183">
            <a:extLst>
              <a:ext uri="{FF2B5EF4-FFF2-40B4-BE49-F238E27FC236}">
                <a16:creationId xmlns:a16="http://schemas.microsoft.com/office/drawing/2014/main" id="{8B9DF6D4-FAB0-482C-D4F3-4FEEDC4570FD}"/>
              </a:ext>
            </a:extLst>
          </p:cNvPr>
          <p:cNvSpPr/>
          <p:nvPr/>
        </p:nvSpPr>
        <p:spPr>
          <a:xfrm>
            <a:off x="6280122" y="5577087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5" name="Ромб 184">
            <a:extLst>
              <a:ext uri="{FF2B5EF4-FFF2-40B4-BE49-F238E27FC236}">
                <a16:creationId xmlns:a16="http://schemas.microsoft.com/office/drawing/2014/main" id="{5496530C-2A5F-0A64-D2BD-F89698E69751}"/>
              </a:ext>
            </a:extLst>
          </p:cNvPr>
          <p:cNvSpPr/>
          <p:nvPr/>
        </p:nvSpPr>
        <p:spPr>
          <a:xfrm>
            <a:off x="7383077" y="5577087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6" name="Ромб 185">
            <a:extLst>
              <a:ext uri="{FF2B5EF4-FFF2-40B4-BE49-F238E27FC236}">
                <a16:creationId xmlns:a16="http://schemas.microsoft.com/office/drawing/2014/main" id="{DA0150FC-D267-CC9F-64B2-E0000F0354C5}"/>
              </a:ext>
            </a:extLst>
          </p:cNvPr>
          <p:cNvSpPr/>
          <p:nvPr/>
        </p:nvSpPr>
        <p:spPr>
          <a:xfrm>
            <a:off x="6822639" y="5944366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3" name="Ромб 172">
            <a:extLst>
              <a:ext uri="{FF2B5EF4-FFF2-40B4-BE49-F238E27FC236}">
                <a16:creationId xmlns:a16="http://schemas.microsoft.com/office/drawing/2014/main" id="{47666390-E38C-0773-E314-3D78FD39EAC7}"/>
              </a:ext>
            </a:extLst>
          </p:cNvPr>
          <p:cNvSpPr/>
          <p:nvPr/>
        </p:nvSpPr>
        <p:spPr>
          <a:xfrm>
            <a:off x="5839413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Ромб 173">
            <a:extLst>
              <a:ext uri="{FF2B5EF4-FFF2-40B4-BE49-F238E27FC236}">
                <a16:creationId xmlns:a16="http://schemas.microsoft.com/office/drawing/2014/main" id="{AF3A726B-D6BB-DF6E-64B0-283469BDBEE6}"/>
              </a:ext>
            </a:extLst>
          </p:cNvPr>
          <p:cNvSpPr/>
          <p:nvPr/>
        </p:nvSpPr>
        <p:spPr>
          <a:xfrm>
            <a:off x="6291697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Ромб 174">
            <a:extLst>
              <a:ext uri="{FF2B5EF4-FFF2-40B4-BE49-F238E27FC236}">
                <a16:creationId xmlns:a16="http://schemas.microsoft.com/office/drawing/2014/main" id="{C8CAA8A8-A26C-95ED-2291-CB227A1E994C}"/>
              </a:ext>
            </a:extLst>
          </p:cNvPr>
          <p:cNvSpPr/>
          <p:nvPr/>
        </p:nvSpPr>
        <p:spPr>
          <a:xfrm>
            <a:off x="7383077" y="3043851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6" name="Ромб 175">
            <a:extLst>
              <a:ext uri="{FF2B5EF4-FFF2-40B4-BE49-F238E27FC236}">
                <a16:creationId xmlns:a16="http://schemas.microsoft.com/office/drawing/2014/main" id="{592D5D2C-B6B6-BA0F-6883-378DCAC0CC07}"/>
              </a:ext>
            </a:extLst>
          </p:cNvPr>
          <p:cNvSpPr/>
          <p:nvPr/>
        </p:nvSpPr>
        <p:spPr>
          <a:xfrm>
            <a:off x="6291697" y="3390552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Ромб 176">
            <a:extLst>
              <a:ext uri="{FF2B5EF4-FFF2-40B4-BE49-F238E27FC236}">
                <a16:creationId xmlns:a16="http://schemas.microsoft.com/office/drawing/2014/main" id="{0D767DD2-22F3-DBC5-7459-18FBC6AAD928}"/>
              </a:ext>
            </a:extLst>
          </p:cNvPr>
          <p:cNvSpPr/>
          <p:nvPr/>
        </p:nvSpPr>
        <p:spPr>
          <a:xfrm>
            <a:off x="7383077" y="3390552"/>
            <a:ext cx="144000" cy="144000"/>
          </a:xfrm>
          <a:prstGeom prst="diamond">
            <a:avLst/>
          </a:prstGeom>
          <a:solidFill>
            <a:srgbClr val="E6590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92B341D8-6775-7D08-75C3-4E57AE5694B3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3022686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67" name="Овал 66">
              <a:extLst>
                <a:ext uri="{FF2B5EF4-FFF2-40B4-BE49-F238E27FC236}">
                  <a16:creationId xmlns:a16="http://schemas.microsoft.com/office/drawing/2014/main" id="{5085C058-733A-511B-D59B-37FFC37214F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68" name="Группа 67">
              <a:extLst>
                <a:ext uri="{FF2B5EF4-FFF2-40B4-BE49-F238E27FC236}">
                  <a16:creationId xmlns:a16="http://schemas.microsoft.com/office/drawing/2014/main" id="{9517E7D6-CE9E-9087-0F49-A6218CB9EA23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69" name="Прямая соединительная линия 68">
                <a:extLst>
                  <a:ext uri="{FF2B5EF4-FFF2-40B4-BE49-F238E27FC236}">
                    <a16:creationId xmlns:a16="http://schemas.microsoft.com/office/drawing/2014/main" id="{30ADDF52-37C9-1087-B62C-4404D7F63D5A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Прямая соединительная линия 69">
                <a:extLst>
                  <a:ext uri="{FF2B5EF4-FFF2-40B4-BE49-F238E27FC236}">
                    <a16:creationId xmlns:a16="http://schemas.microsoft.com/office/drawing/2014/main" id="{6FA5314D-B0EE-8D22-963D-EE1373E1F77D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28E01F67-7B26-4511-445C-5293D7369941}"/>
              </a:ext>
            </a:extLst>
          </p:cNvPr>
          <p:cNvGrpSpPr>
            <a:grpSpLocks noChangeAspect="1"/>
          </p:cNvGrpSpPr>
          <p:nvPr/>
        </p:nvGrpSpPr>
        <p:grpSpPr>
          <a:xfrm>
            <a:off x="5047490" y="3370976"/>
            <a:ext cx="180000" cy="180000"/>
            <a:chOff x="4634746" y="4381523"/>
            <a:chExt cx="346095" cy="346095"/>
          </a:xfrm>
          <a:solidFill>
            <a:srgbClr val="E75807"/>
          </a:solidFill>
        </p:grpSpPr>
        <p:sp>
          <p:nvSpPr>
            <p:cNvPr id="72" name="Овал 71">
              <a:extLst>
                <a:ext uri="{FF2B5EF4-FFF2-40B4-BE49-F238E27FC236}">
                  <a16:creationId xmlns:a16="http://schemas.microsoft.com/office/drawing/2014/main" id="{4CDD4C18-DB4E-F490-B6C4-2C028C082305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solidFill>
              <a:srgbClr val="E6590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73" name="Группа 72">
              <a:extLst>
                <a:ext uri="{FF2B5EF4-FFF2-40B4-BE49-F238E27FC236}">
                  <a16:creationId xmlns:a16="http://schemas.microsoft.com/office/drawing/2014/main" id="{D7C3210E-2749-9006-6890-500E526A3A5A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74" name="Прямая соединительная линия 73">
                <a:extLst>
                  <a:ext uri="{FF2B5EF4-FFF2-40B4-BE49-F238E27FC236}">
                    <a16:creationId xmlns:a16="http://schemas.microsoft.com/office/drawing/2014/main" id="{CD300844-769D-A41D-67CE-F2FE4E27E4B0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Прямая соединительная линия 74">
                <a:extLst>
                  <a:ext uri="{FF2B5EF4-FFF2-40B4-BE49-F238E27FC236}">
                    <a16:creationId xmlns:a16="http://schemas.microsoft.com/office/drawing/2014/main" id="{EA531FED-0467-5E25-AEBD-CA66CEE01FB0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E982FE2F-4D40-F01A-8DD9-E6315A2523DC}"/>
              </a:ext>
            </a:extLst>
          </p:cNvPr>
          <p:cNvSpPr/>
          <p:nvPr/>
        </p:nvSpPr>
        <p:spPr>
          <a:xfrm>
            <a:off x="6480396" y="4894186"/>
            <a:ext cx="5364000" cy="36000"/>
          </a:xfrm>
          <a:prstGeom prst="rect">
            <a:avLst/>
          </a:prstGeom>
          <a:solidFill>
            <a:srgbClr val="7F7F7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9864EA3-3400-82C9-BC4E-5FCFF9BE4F91}"/>
              </a:ext>
            </a:extLst>
          </p:cNvPr>
          <p:cNvSpPr txBox="1"/>
          <p:nvPr/>
        </p:nvSpPr>
        <p:spPr>
          <a:xfrm>
            <a:off x="7948921" y="243092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949EE8D-B6F6-ED98-3B01-3B5A2C19B166}"/>
              </a:ext>
            </a:extLst>
          </p:cNvPr>
          <p:cNvSpPr txBox="1"/>
          <p:nvPr/>
        </p:nvSpPr>
        <p:spPr>
          <a:xfrm>
            <a:off x="6331133" y="284711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E0DF6B0-B79D-CC65-210A-1129AF68EE7C}"/>
              </a:ext>
            </a:extLst>
          </p:cNvPr>
          <p:cNvSpPr txBox="1"/>
          <p:nvPr/>
        </p:nvSpPr>
        <p:spPr>
          <a:xfrm>
            <a:off x="7386926" y="284711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13601AA-C3D1-479F-CC05-686992836F0F}"/>
              </a:ext>
            </a:extLst>
          </p:cNvPr>
          <p:cNvSpPr txBox="1"/>
          <p:nvPr/>
        </p:nvSpPr>
        <p:spPr>
          <a:xfrm>
            <a:off x="6331133" y="35883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DFD365C-BB7C-1767-0768-278E2EF1BA3D}"/>
              </a:ext>
            </a:extLst>
          </p:cNvPr>
          <p:cNvSpPr txBox="1"/>
          <p:nvPr/>
        </p:nvSpPr>
        <p:spPr>
          <a:xfrm>
            <a:off x="7386926" y="35883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910F25F-759F-A9FF-8D93-A9759C2E1FF4}"/>
              </a:ext>
            </a:extLst>
          </p:cNvPr>
          <p:cNvSpPr txBox="1"/>
          <p:nvPr/>
        </p:nvSpPr>
        <p:spPr>
          <a:xfrm>
            <a:off x="5833017" y="3199639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B1C71BE-FCDF-5229-4330-5DCF48E768B3}"/>
              </a:ext>
            </a:extLst>
          </p:cNvPr>
          <p:cNvSpPr txBox="1"/>
          <p:nvPr/>
        </p:nvSpPr>
        <p:spPr>
          <a:xfrm>
            <a:off x="6331133" y="392475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7D2BB46-7CA7-5C8E-7262-B5D2CB9D02A8}"/>
              </a:ext>
            </a:extLst>
          </p:cNvPr>
          <p:cNvSpPr txBox="1"/>
          <p:nvPr/>
        </p:nvSpPr>
        <p:spPr>
          <a:xfrm>
            <a:off x="6816788" y="432227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F31FE909-D89D-5A88-F893-3F7845374E9F}"/>
              </a:ext>
            </a:extLst>
          </p:cNvPr>
          <p:cNvSpPr txBox="1"/>
          <p:nvPr/>
        </p:nvSpPr>
        <p:spPr>
          <a:xfrm>
            <a:off x="9164868" y="3924750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30BB9498-7428-808C-FFFE-3E7278C1A670}"/>
              </a:ext>
            </a:extLst>
          </p:cNvPr>
          <p:cNvSpPr txBox="1"/>
          <p:nvPr/>
        </p:nvSpPr>
        <p:spPr>
          <a:xfrm>
            <a:off x="6816788" y="4666579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07BE491-AB14-146B-A725-0B511D694495}"/>
              </a:ext>
            </a:extLst>
          </p:cNvPr>
          <p:cNvSpPr txBox="1"/>
          <p:nvPr/>
        </p:nvSpPr>
        <p:spPr>
          <a:xfrm>
            <a:off x="7304420" y="5037493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44D8632-6823-FC32-FD6D-C51365423789}"/>
              </a:ext>
            </a:extLst>
          </p:cNvPr>
          <p:cNvSpPr txBox="1"/>
          <p:nvPr/>
        </p:nvSpPr>
        <p:spPr>
          <a:xfrm>
            <a:off x="6280122" y="54035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14D7DA5-C501-C832-958D-13614545DF7F}"/>
              </a:ext>
            </a:extLst>
          </p:cNvPr>
          <p:cNvSpPr txBox="1"/>
          <p:nvPr/>
        </p:nvSpPr>
        <p:spPr>
          <a:xfrm>
            <a:off x="7384645" y="54035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FD984C5-28D7-256D-891F-4841CA925848}"/>
              </a:ext>
            </a:extLst>
          </p:cNvPr>
          <p:cNvSpPr txBox="1"/>
          <p:nvPr/>
        </p:nvSpPr>
        <p:spPr>
          <a:xfrm>
            <a:off x="6816788" y="5772488"/>
            <a:ext cx="2111586" cy="12311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2803BF9-8A08-8664-440C-17BBA8AED5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9534794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0A7BB45-5791-6394-1314-54B8A48BA3E5}"/>
              </a:ext>
            </a:extLst>
          </p:cNvPr>
          <p:cNvSpPr txBox="1"/>
          <p:nvPr/>
        </p:nvSpPr>
        <p:spPr>
          <a:xfrm>
            <a:off x="337044" y="287648"/>
            <a:ext cx="2916034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ТАЙМЛАЙН</a:t>
            </a:r>
          </a:p>
        </p:txBody>
      </p:sp>
      <p:graphicFrame>
        <p:nvGraphicFramePr>
          <p:cNvPr id="118" name="Table 3">
            <a:extLst>
              <a:ext uri="{FF2B5EF4-FFF2-40B4-BE49-F238E27FC236}">
                <a16:creationId xmlns:a16="http://schemas.microsoft.com/office/drawing/2014/main" id="{CFECE23B-A57C-7E1C-2D01-8E0FDD9A3F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7171325"/>
              </p:ext>
            </p:extLst>
          </p:nvPr>
        </p:nvGraphicFramePr>
        <p:xfrm>
          <a:off x="338712" y="1129864"/>
          <a:ext cx="11514915" cy="45997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302983">
                  <a:extLst>
                    <a:ext uri="{9D8B030D-6E8A-4147-A177-3AD203B41FA5}">
                      <a16:colId xmlns:a16="http://schemas.microsoft.com/office/drawing/2014/main" val="115533348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4218946747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130242841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3953590497"/>
                    </a:ext>
                  </a:extLst>
                </a:gridCol>
                <a:gridCol w="2302983">
                  <a:extLst>
                    <a:ext uri="{9D8B030D-6E8A-4147-A177-3AD203B41FA5}">
                      <a16:colId xmlns:a16="http://schemas.microsoft.com/office/drawing/2014/main" val="1052788600"/>
                    </a:ext>
                  </a:extLst>
                </a:gridCol>
              </a:tblGrid>
              <a:tr h="94222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 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  <a:endParaRPr lang="en-GB" sz="1400" b="1" i="0" cap="all" baseline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r>
                        <a:rPr lang="ru-RU" sz="1400" b="1" i="0" cap="all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КВ</a:t>
                      </a:r>
                    </a:p>
                  </a:txBody>
                  <a:tcPr marL="144000" marR="144000" marT="144000" marB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725324"/>
                  </a:ext>
                </a:extLst>
              </a:tr>
              <a:tr h="19473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5.02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  <a:endParaRPr kumimoji="0" lang="en-GB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3.04.20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09.07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5.01.20</a:t>
                      </a:r>
                      <a:r>
                        <a:rPr lang="en-GB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17101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27.04.202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noProof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 …</a:t>
                      </a: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144000" marR="144000" marT="144000" marB="144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698823"/>
                  </a:ext>
                </a:extLst>
              </a:tr>
            </a:tbl>
          </a:graphicData>
        </a:graphic>
      </p:graphicFrame>
      <p:sp>
        <p:nvSpPr>
          <p:cNvPr id="141" name="Блок-схема: процесс 17">
            <a:extLst>
              <a:ext uri="{FF2B5EF4-FFF2-40B4-BE49-F238E27FC236}">
                <a16:creationId xmlns:a16="http://schemas.microsoft.com/office/drawing/2014/main" id="{9DF9F1D4-D76E-5E18-DEF2-4ABB04985B7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36423" y="6359002"/>
            <a:ext cx="1585368" cy="431368"/>
          </a:xfrm>
          <a:prstGeom prst="flowChartProcess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59" rIns="121917" bIns="60959" rtlCol="0" anchor="t"/>
          <a:lstStyle/>
          <a:p>
            <a:pPr>
              <a:spcBef>
                <a:spcPts val="600"/>
              </a:spcBef>
            </a:pPr>
            <a:r>
              <a:rPr lang="ru-RU" sz="800" dirty="0">
                <a:solidFill>
                  <a:srgbClr val="7F7F7F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*Какая-то сноска</a:t>
            </a:r>
            <a:endParaRPr lang="ru-RU" sz="800" dirty="0">
              <a:solidFill>
                <a:srgbClr val="7F7F7F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92BB21D5-C1A0-4008-BF41-D3D95CE8F0A7}"/>
              </a:ext>
            </a:extLst>
          </p:cNvPr>
          <p:cNvCxnSpPr>
            <a:cxnSpLocks/>
          </p:cNvCxnSpPr>
          <p:nvPr/>
        </p:nvCxnSpPr>
        <p:spPr>
          <a:xfrm>
            <a:off x="336423" y="2052897"/>
            <a:ext cx="11517204" cy="0"/>
          </a:xfrm>
          <a:prstGeom prst="straightConnector1">
            <a:avLst/>
          </a:prstGeom>
          <a:ln w="12700">
            <a:solidFill>
              <a:srgbClr val="00459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вал 14">
            <a:extLst>
              <a:ext uri="{FF2B5EF4-FFF2-40B4-BE49-F238E27FC236}">
                <a16:creationId xmlns:a16="http://schemas.microsoft.com/office/drawing/2014/main" id="{3DB9430F-1B02-4CB0-89D6-C93E2A3CBAA6}"/>
              </a:ext>
            </a:extLst>
          </p:cNvPr>
          <p:cNvSpPr>
            <a:spLocks noChangeAspect="1"/>
          </p:cNvSpPr>
          <p:nvPr/>
        </p:nvSpPr>
        <p:spPr>
          <a:xfrm>
            <a:off x="2727529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CE55E4AB-401B-A9B0-1704-7F40D9A2BD91}"/>
              </a:ext>
            </a:extLst>
          </p:cNvPr>
          <p:cNvSpPr>
            <a:spLocks noChangeAspect="1"/>
          </p:cNvSpPr>
          <p:nvPr/>
        </p:nvSpPr>
        <p:spPr>
          <a:xfrm>
            <a:off x="5007351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3368A829-172F-5DFA-0ECE-17972E4A46BA}"/>
              </a:ext>
            </a:extLst>
          </p:cNvPr>
          <p:cNvSpPr>
            <a:spLocks noChangeAspect="1"/>
          </p:cNvSpPr>
          <p:nvPr/>
        </p:nvSpPr>
        <p:spPr>
          <a:xfrm>
            <a:off x="7311887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0DF992A3-147F-91F9-F4DB-576463FE97CA}"/>
              </a:ext>
            </a:extLst>
          </p:cNvPr>
          <p:cNvSpPr>
            <a:spLocks noChangeAspect="1"/>
          </p:cNvSpPr>
          <p:nvPr/>
        </p:nvSpPr>
        <p:spPr>
          <a:xfrm>
            <a:off x="9579351" y="2016897"/>
            <a:ext cx="72000" cy="72000"/>
          </a:xfrm>
          <a:prstGeom prst="ellipse">
            <a:avLst/>
          </a:prstGeom>
          <a:solidFill>
            <a:srgbClr val="0045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2F0046-6AEA-AFF3-A292-1219CE9EB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0146184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TextBox 114">
            <a:extLst>
              <a:ext uri="{FF2B5EF4-FFF2-40B4-BE49-F238E27FC236}">
                <a16:creationId xmlns:a16="http://schemas.microsoft.com/office/drawing/2014/main" id="{D45577C2-B874-27A5-07D3-D7560422646C}"/>
              </a:ext>
            </a:extLst>
          </p:cNvPr>
          <p:cNvSpPr txBox="1"/>
          <p:nvPr/>
        </p:nvSpPr>
        <p:spPr>
          <a:xfrm>
            <a:off x="337044" y="297035"/>
            <a:ext cx="10635756" cy="3416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sz="2400" b="1" dirty="0">
                <a:latin typeface="Verdana" panose="020B0604030504040204" pitchFamily="34" charset="0"/>
                <a:ea typeface="Verdana" panose="020B0604030504040204" pitchFamily="34" charset="0"/>
              </a:rPr>
              <a:t>ОБЩАЯ ДОРОЖНАЯ КАРТА</a:t>
            </a:r>
          </a:p>
        </p:txBody>
      </p:sp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36EA5718-8031-82FE-6AE3-531F5A224D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891793"/>
              </p:ext>
            </p:extLst>
          </p:nvPr>
        </p:nvGraphicFramePr>
        <p:xfrm>
          <a:off x="338712" y="1129864"/>
          <a:ext cx="11518320" cy="506639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967080">
                  <a:extLst>
                    <a:ext uri="{9D8B030D-6E8A-4147-A177-3AD203B41FA5}">
                      <a16:colId xmlns:a16="http://schemas.microsoft.com/office/drawing/2014/main" val="2544104784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97344160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570647762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3827317735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4774725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156515771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4107199650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9284635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62578306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0759618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03200093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622826033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47788122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3237511819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172293008"/>
                    </a:ext>
                  </a:extLst>
                </a:gridCol>
                <a:gridCol w="596953">
                  <a:extLst>
                    <a:ext uri="{9D8B030D-6E8A-4147-A177-3AD203B41FA5}">
                      <a16:colId xmlns:a16="http://schemas.microsoft.com/office/drawing/2014/main" val="2182917241"/>
                    </a:ext>
                  </a:extLst>
                </a:gridCol>
                <a:gridCol w="596952">
                  <a:extLst>
                    <a:ext uri="{9D8B030D-6E8A-4147-A177-3AD203B41FA5}">
                      <a16:colId xmlns:a16="http://schemas.microsoft.com/office/drawing/2014/main" val="2846007701"/>
                    </a:ext>
                  </a:extLst>
                </a:gridCol>
              </a:tblGrid>
              <a:tr h="361885">
                <a:tc>
                  <a:txBody>
                    <a:bodyPr/>
                    <a:lstStyle/>
                    <a:p>
                      <a:pPr algn="ctr"/>
                      <a:endParaRPr lang="ru-RU" sz="1200" b="1" i="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0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1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2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b="1" i="0" dirty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23</a:t>
                      </a:r>
                    </a:p>
                  </a:txBody>
                  <a:tcPr marL="144000" marR="144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BE4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780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</a:t>
                      </a:r>
                      <a:r>
                        <a:rPr lang="ru-RU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 кв</a:t>
                      </a:r>
                      <a:r>
                        <a:rPr lang="en-GB" sz="1200" b="0" i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</a:t>
                      </a:r>
                      <a:endParaRPr lang="ru-RU" sz="1200" b="0" i="0" dirty="0">
                        <a:solidFill>
                          <a:schemeClr val="tx2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47871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endParaRPr lang="ru-RU" sz="14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144000" marR="6858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30846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1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ОДРАЗДЕЛ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175849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8961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575805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241858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966163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2659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2173810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01476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i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ПОДРАЗДЕЛ 3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7802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1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008094"/>
                  </a:ext>
                </a:extLst>
              </a:tr>
              <a:tr h="361885">
                <a:tc>
                  <a:txBody>
                    <a:bodyPr/>
                    <a:lstStyle/>
                    <a:p>
                      <a:pPr algn="l"/>
                      <a:r>
                        <a:rPr lang="ru-RU" sz="12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Продукт 2</a:t>
                      </a:r>
                    </a:p>
                  </a:txBody>
                  <a:tcPr marL="144000" marR="144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2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68580" marR="685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1368130"/>
                  </a:ext>
                </a:extLst>
              </a:tr>
            </a:tbl>
          </a:graphicData>
        </a:graphic>
      </p:graphicFrame>
      <p:sp>
        <p:nvSpPr>
          <p:cNvPr id="141" name="TextBox 140">
            <a:extLst>
              <a:ext uri="{FF2B5EF4-FFF2-40B4-BE49-F238E27FC236}">
                <a16:creationId xmlns:a16="http://schemas.microsoft.com/office/drawing/2014/main" id="{C1BE9E90-D88C-0962-98A1-9B2C021C1884}"/>
              </a:ext>
            </a:extLst>
          </p:cNvPr>
          <p:cNvSpPr txBox="1"/>
          <p:nvPr/>
        </p:nvSpPr>
        <p:spPr>
          <a:xfrm>
            <a:off x="4403912" y="2682615"/>
            <a:ext cx="550572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9AF3FE9-0DB4-A9C6-7506-EC3BABDAD2F8}"/>
              </a:ext>
            </a:extLst>
          </p:cNvPr>
          <p:cNvSpPr txBox="1"/>
          <p:nvPr/>
        </p:nvSpPr>
        <p:spPr>
          <a:xfrm>
            <a:off x="2394482" y="3716312"/>
            <a:ext cx="211158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2CA9280E-12E4-3F54-C38D-28C4EB38BE31}"/>
              </a:ext>
            </a:extLst>
          </p:cNvPr>
          <p:cNvSpPr txBox="1"/>
          <p:nvPr/>
        </p:nvSpPr>
        <p:spPr>
          <a:xfrm>
            <a:off x="2905369" y="5906845"/>
            <a:ext cx="211158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00CE75F3-07BD-71AE-3F4B-77DB3C3E95A1}"/>
              </a:ext>
            </a:extLst>
          </p:cNvPr>
          <p:cNvSpPr txBox="1"/>
          <p:nvPr/>
        </p:nvSpPr>
        <p:spPr>
          <a:xfrm>
            <a:off x="4954484" y="3717271"/>
            <a:ext cx="5582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28BE46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1D1132F-B4E4-B719-4DF2-B6B5FF4768A0}"/>
              </a:ext>
            </a:extLst>
          </p:cNvPr>
          <p:cNvSpPr txBox="1"/>
          <p:nvPr/>
        </p:nvSpPr>
        <p:spPr>
          <a:xfrm>
            <a:off x="4426092" y="5212669"/>
            <a:ext cx="620889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D80FB448-23DE-285F-ACAC-7C6DECFC23EB}"/>
              </a:ext>
            </a:extLst>
          </p:cNvPr>
          <p:cNvSpPr txBox="1"/>
          <p:nvPr/>
        </p:nvSpPr>
        <p:spPr>
          <a:xfrm>
            <a:off x="5512698" y="6232998"/>
            <a:ext cx="625343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ctr">
              <a:tabLst>
                <a:tab pos="3859213" algn="l"/>
              </a:tabLst>
              <a:defRPr/>
            </a:pPr>
            <a:r>
              <a:rPr lang="ru-RU" sz="1200" dirty="0">
                <a:solidFill>
                  <a:srgbClr val="28BE46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кст</a:t>
            </a:r>
          </a:p>
        </p:txBody>
      </p:sp>
      <p:sp>
        <p:nvSpPr>
          <p:cNvPr id="2" name="Пятиугольник 1">
            <a:extLst>
              <a:ext uri="{FF2B5EF4-FFF2-40B4-BE49-F238E27FC236}">
                <a16:creationId xmlns:a16="http://schemas.microsoft.com/office/drawing/2014/main" id="{34A943AB-6039-2D13-3F86-ACF55C02019E}"/>
              </a:ext>
            </a:extLst>
          </p:cNvPr>
          <p:cNvSpPr/>
          <p:nvPr/>
        </p:nvSpPr>
        <p:spPr>
          <a:xfrm>
            <a:off x="5887310" y="2607391"/>
            <a:ext cx="4762761" cy="320898"/>
          </a:xfrm>
          <a:prstGeom prst="homePlat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5" name="Пятиугольник 54">
            <a:extLst>
              <a:ext uri="{FF2B5EF4-FFF2-40B4-BE49-F238E27FC236}">
                <a16:creationId xmlns:a16="http://schemas.microsoft.com/office/drawing/2014/main" id="{A2C5EA77-920F-C65D-4501-88C02DE473E2}"/>
              </a:ext>
            </a:extLst>
          </p:cNvPr>
          <p:cNvSpPr/>
          <p:nvPr/>
        </p:nvSpPr>
        <p:spPr>
          <a:xfrm>
            <a:off x="6497557" y="4761112"/>
            <a:ext cx="5355731" cy="320898"/>
          </a:xfrm>
          <a:prstGeom prst="homePlate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2" name="Ромб 181">
            <a:extLst>
              <a:ext uri="{FF2B5EF4-FFF2-40B4-BE49-F238E27FC236}">
                <a16:creationId xmlns:a16="http://schemas.microsoft.com/office/drawing/2014/main" id="{917FE764-DEF8-B7AF-E1B8-EF40B9BB2806}"/>
              </a:ext>
            </a:extLst>
          </p:cNvPr>
          <p:cNvSpPr/>
          <p:nvPr/>
        </p:nvSpPr>
        <p:spPr>
          <a:xfrm>
            <a:off x="6822639" y="485260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3" name="Ромб 182">
            <a:extLst>
              <a:ext uri="{FF2B5EF4-FFF2-40B4-BE49-F238E27FC236}">
                <a16:creationId xmlns:a16="http://schemas.microsoft.com/office/drawing/2014/main" id="{92343A92-25F8-C422-1CE2-A3378CAE511E}"/>
              </a:ext>
            </a:extLst>
          </p:cNvPr>
          <p:cNvSpPr/>
          <p:nvPr/>
        </p:nvSpPr>
        <p:spPr>
          <a:xfrm>
            <a:off x="7304420" y="485260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1" name="Ромб 170">
            <a:extLst>
              <a:ext uri="{FF2B5EF4-FFF2-40B4-BE49-F238E27FC236}">
                <a16:creationId xmlns:a16="http://schemas.microsoft.com/office/drawing/2014/main" id="{2B52B1F2-2AF8-1290-4FE1-0E29AC5ECF99}"/>
              </a:ext>
            </a:extLst>
          </p:cNvPr>
          <p:cNvSpPr/>
          <p:nvPr/>
        </p:nvSpPr>
        <p:spPr>
          <a:xfrm>
            <a:off x="6744810" y="268988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2" name="Ромб 171">
            <a:extLst>
              <a:ext uri="{FF2B5EF4-FFF2-40B4-BE49-F238E27FC236}">
                <a16:creationId xmlns:a16="http://schemas.microsoft.com/office/drawing/2014/main" id="{BFDCE7C2-AA5E-530B-361B-B309FE803BED}"/>
              </a:ext>
            </a:extLst>
          </p:cNvPr>
          <p:cNvSpPr/>
          <p:nvPr/>
        </p:nvSpPr>
        <p:spPr>
          <a:xfrm>
            <a:off x="7952377" y="268988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6" name="Пятиугольник 55">
            <a:extLst>
              <a:ext uri="{FF2B5EF4-FFF2-40B4-BE49-F238E27FC236}">
                <a16:creationId xmlns:a16="http://schemas.microsoft.com/office/drawing/2014/main" id="{7EE0077E-237E-8EC1-06A8-0780F947F443}"/>
              </a:ext>
            </a:extLst>
          </p:cNvPr>
          <p:cNvSpPr/>
          <p:nvPr/>
        </p:nvSpPr>
        <p:spPr>
          <a:xfrm>
            <a:off x="2316262" y="2954631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48" name="Группа 147">
            <a:extLst>
              <a:ext uri="{FF2B5EF4-FFF2-40B4-BE49-F238E27FC236}">
                <a16:creationId xmlns:a16="http://schemas.microsoft.com/office/drawing/2014/main" id="{14F28D53-A26D-D47F-96FB-B302924F307E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3037090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49" name="Овал 148">
              <a:extLst>
                <a:ext uri="{FF2B5EF4-FFF2-40B4-BE49-F238E27FC236}">
                  <a16:creationId xmlns:a16="http://schemas.microsoft.com/office/drawing/2014/main" id="{8892AE3F-A7E0-DBC5-CBE5-D8A08D1B0FB5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50" name="Группа 149">
              <a:extLst>
                <a:ext uri="{FF2B5EF4-FFF2-40B4-BE49-F238E27FC236}">
                  <a16:creationId xmlns:a16="http://schemas.microsoft.com/office/drawing/2014/main" id="{6285FA5E-E4B7-B864-2534-CC81A1F9D691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51" name="Прямая соединительная линия 150">
                <a:extLst>
                  <a:ext uri="{FF2B5EF4-FFF2-40B4-BE49-F238E27FC236}">
                    <a16:creationId xmlns:a16="http://schemas.microsoft.com/office/drawing/2014/main" id="{69E288CF-7F4C-A5BD-B32C-7041854C2D78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Прямая соединительная линия 151">
                <a:extLst>
                  <a:ext uri="{FF2B5EF4-FFF2-40B4-BE49-F238E27FC236}">
                    <a16:creationId xmlns:a16="http://schemas.microsoft.com/office/drawing/2014/main" id="{F39609E3-B115-5D49-3F12-206F2A8D871E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3" name="Ромб 172">
            <a:extLst>
              <a:ext uri="{FF2B5EF4-FFF2-40B4-BE49-F238E27FC236}">
                <a16:creationId xmlns:a16="http://schemas.microsoft.com/office/drawing/2014/main" id="{47666390-E38C-0773-E314-3D78FD39EAC7}"/>
              </a:ext>
            </a:extLst>
          </p:cNvPr>
          <p:cNvSpPr/>
          <p:nvPr/>
        </p:nvSpPr>
        <p:spPr>
          <a:xfrm>
            <a:off x="5839413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4" name="Ромб 173">
            <a:extLst>
              <a:ext uri="{FF2B5EF4-FFF2-40B4-BE49-F238E27FC236}">
                <a16:creationId xmlns:a16="http://schemas.microsoft.com/office/drawing/2014/main" id="{AF3A726B-D6BB-DF6E-64B0-283469BDBEE6}"/>
              </a:ext>
            </a:extLst>
          </p:cNvPr>
          <p:cNvSpPr/>
          <p:nvPr/>
        </p:nvSpPr>
        <p:spPr>
          <a:xfrm>
            <a:off x="6291697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5" name="Ромб 174">
            <a:extLst>
              <a:ext uri="{FF2B5EF4-FFF2-40B4-BE49-F238E27FC236}">
                <a16:creationId xmlns:a16="http://schemas.microsoft.com/office/drawing/2014/main" id="{C8CAA8A8-A26C-95ED-2291-CB227A1E994C}"/>
              </a:ext>
            </a:extLst>
          </p:cNvPr>
          <p:cNvSpPr/>
          <p:nvPr/>
        </p:nvSpPr>
        <p:spPr>
          <a:xfrm>
            <a:off x="7383077" y="3043851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7" name="Пятиугольник 56">
            <a:extLst>
              <a:ext uri="{FF2B5EF4-FFF2-40B4-BE49-F238E27FC236}">
                <a16:creationId xmlns:a16="http://schemas.microsoft.com/office/drawing/2014/main" id="{C4E16708-4D46-4B2F-6668-DEB8B33CDF15}"/>
              </a:ext>
            </a:extLst>
          </p:cNvPr>
          <p:cNvSpPr/>
          <p:nvPr/>
        </p:nvSpPr>
        <p:spPr>
          <a:xfrm>
            <a:off x="2316262" y="3301870"/>
            <a:ext cx="6481956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3" name="Группа 152">
            <a:extLst>
              <a:ext uri="{FF2B5EF4-FFF2-40B4-BE49-F238E27FC236}">
                <a16:creationId xmlns:a16="http://schemas.microsoft.com/office/drawing/2014/main" id="{64E4732C-A7F1-19CD-4A29-DFBA9AD33DA1}"/>
              </a:ext>
            </a:extLst>
          </p:cNvPr>
          <p:cNvGrpSpPr>
            <a:grpSpLocks noChangeAspect="1"/>
          </p:cNvGrpSpPr>
          <p:nvPr/>
        </p:nvGrpSpPr>
        <p:grpSpPr>
          <a:xfrm>
            <a:off x="5046981" y="3382586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54" name="Овал 153">
              <a:extLst>
                <a:ext uri="{FF2B5EF4-FFF2-40B4-BE49-F238E27FC236}">
                  <a16:creationId xmlns:a16="http://schemas.microsoft.com/office/drawing/2014/main" id="{A70C03D3-A99C-889D-6733-9426EAA156C7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55" name="Группа 154">
              <a:extLst>
                <a:ext uri="{FF2B5EF4-FFF2-40B4-BE49-F238E27FC236}">
                  <a16:creationId xmlns:a16="http://schemas.microsoft.com/office/drawing/2014/main" id="{5EC6A930-E716-1B12-F5B6-FAC38021AC7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56" name="Прямая соединительная линия 155">
                <a:extLst>
                  <a:ext uri="{FF2B5EF4-FFF2-40B4-BE49-F238E27FC236}">
                    <a16:creationId xmlns:a16="http://schemas.microsoft.com/office/drawing/2014/main" id="{21C024E7-697D-E415-1A55-D5FE6783E6E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Прямая соединительная линия 156">
                <a:extLst>
                  <a:ext uri="{FF2B5EF4-FFF2-40B4-BE49-F238E27FC236}">
                    <a16:creationId xmlns:a16="http://schemas.microsoft.com/office/drawing/2014/main" id="{66434A38-BA8E-57B3-ED1E-A9297475D998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6" name="Ромб 175">
            <a:extLst>
              <a:ext uri="{FF2B5EF4-FFF2-40B4-BE49-F238E27FC236}">
                <a16:creationId xmlns:a16="http://schemas.microsoft.com/office/drawing/2014/main" id="{592D5D2C-B6B6-BA0F-6883-378DCAC0CC07}"/>
              </a:ext>
            </a:extLst>
          </p:cNvPr>
          <p:cNvSpPr/>
          <p:nvPr/>
        </p:nvSpPr>
        <p:spPr>
          <a:xfrm>
            <a:off x="6291697" y="340764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7" name="Ромб 176">
            <a:extLst>
              <a:ext uri="{FF2B5EF4-FFF2-40B4-BE49-F238E27FC236}">
                <a16:creationId xmlns:a16="http://schemas.microsoft.com/office/drawing/2014/main" id="{0D767DD2-22F3-DBC5-7459-18FBC6AAD928}"/>
              </a:ext>
            </a:extLst>
          </p:cNvPr>
          <p:cNvSpPr/>
          <p:nvPr/>
        </p:nvSpPr>
        <p:spPr>
          <a:xfrm>
            <a:off x="7383077" y="3407644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8" name="Пятиугольник 57">
            <a:extLst>
              <a:ext uri="{FF2B5EF4-FFF2-40B4-BE49-F238E27FC236}">
                <a16:creationId xmlns:a16="http://schemas.microsoft.com/office/drawing/2014/main" id="{99BE3B66-E8EA-BD90-60CC-CAA89057D781}"/>
              </a:ext>
            </a:extLst>
          </p:cNvPr>
          <p:cNvSpPr/>
          <p:nvPr/>
        </p:nvSpPr>
        <p:spPr>
          <a:xfrm>
            <a:off x="2316262" y="4054226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8" name="Ромб 177">
            <a:extLst>
              <a:ext uri="{FF2B5EF4-FFF2-40B4-BE49-F238E27FC236}">
                <a16:creationId xmlns:a16="http://schemas.microsoft.com/office/drawing/2014/main" id="{C7EEFBE8-CCBF-CBA3-2DC4-3F70583E7CD2}"/>
              </a:ext>
            </a:extLst>
          </p:cNvPr>
          <p:cNvSpPr/>
          <p:nvPr/>
        </p:nvSpPr>
        <p:spPr>
          <a:xfrm>
            <a:off x="6291697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9" name="Ромб 178">
            <a:extLst>
              <a:ext uri="{FF2B5EF4-FFF2-40B4-BE49-F238E27FC236}">
                <a16:creationId xmlns:a16="http://schemas.microsoft.com/office/drawing/2014/main" id="{516F1A69-54FD-0051-161F-6FC635348E47}"/>
              </a:ext>
            </a:extLst>
          </p:cNvPr>
          <p:cNvSpPr/>
          <p:nvPr/>
        </p:nvSpPr>
        <p:spPr>
          <a:xfrm>
            <a:off x="6822639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0" name="Ромб 179">
            <a:extLst>
              <a:ext uri="{FF2B5EF4-FFF2-40B4-BE49-F238E27FC236}">
                <a16:creationId xmlns:a16="http://schemas.microsoft.com/office/drawing/2014/main" id="{94B41656-80DD-9627-78E8-84525346BBE6}"/>
              </a:ext>
            </a:extLst>
          </p:cNvPr>
          <p:cNvSpPr/>
          <p:nvPr/>
        </p:nvSpPr>
        <p:spPr>
          <a:xfrm>
            <a:off x="9143052" y="4125399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9" name="Пятиугольник 58">
            <a:extLst>
              <a:ext uri="{FF2B5EF4-FFF2-40B4-BE49-F238E27FC236}">
                <a16:creationId xmlns:a16="http://schemas.microsoft.com/office/drawing/2014/main" id="{5C86BC5C-9248-BFB4-2E68-04599D3934C7}"/>
              </a:ext>
            </a:extLst>
          </p:cNvPr>
          <p:cNvSpPr/>
          <p:nvPr/>
        </p:nvSpPr>
        <p:spPr>
          <a:xfrm>
            <a:off x="4119064" y="4407669"/>
            <a:ext cx="773422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1" name="Ромб 180">
            <a:extLst>
              <a:ext uri="{FF2B5EF4-FFF2-40B4-BE49-F238E27FC236}">
                <a16:creationId xmlns:a16="http://schemas.microsoft.com/office/drawing/2014/main" id="{9EAC7924-4266-7DAC-9081-3A0511DB9693}"/>
              </a:ext>
            </a:extLst>
          </p:cNvPr>
          <p:cNvSpPr/>
          <p:nvPr/>
        </p:nvSpPr>
        <p:spPr>
          <a:xfrm>
            <a:off x="9143052" y="4499025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0" name="Пятиугольник 59">
            <a:extLst>
              <a:ext uri="{FF2B5EF4-FFF2-40B4-BE49-F238E27FC236}">
                <a16:creationId xmlns:a16="http://schemas.microsoft.com/office/drawing/2014/main" id="{009058E1-631F-6CE1-37C7-AB6016C1AD44}"/>
              </a:ext>
            </a:extLst>
          </p:cNvPr>
          <p:cNvSpPr/>
          <p:nvPr/>
        </p:nvSpPr>
        <p:spPr>
          <a:xfrm>
            <a:off x="2316262" y="5489487"/>
            <a:ext cx="7163404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58" name="Группа 157">
            <a:extLst>
              <a:ext uri="{FF2B5EF4-FFF2-40B4-BE49-F238E27FC236}">
                <a16:creationId xmlns:a16="http://schemas.microsoft.com/office/drawing/2014/main" id="{99169A6E-9952-A320-CCB9-7267FB36E4E5}"/>
              </a:ext>
            </a:extLst>
          </p:cNvPr>
          <p:cNvGrpSpPr>
            <a:grpSpLocks noChangeAspect="1"/>
          </p:cNvGrpSpPr>
          <p:nvPr/>
        </p:nvGrpSpPr>
        <p:grpSpPr>
          <a:xfrm>
            <a:off x="4506068" y="5559936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A20125F4-E63A-B843-72ED-AAE53C5D939C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CACE9514-D133-B94A-BEC5-36FD9DB8848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1" name="Прямая соединительная линия 160">
                <a:extLst>
                  <a:ext uri="{FF2B5EF4-FFF2-40B4-BE49-F238E27FC236}">
                    <a16:creationId xmlns:a16="http://schemas.microsoft.com/office/drawing/2014/main" id="{5555F9D5-E0E2-AC9D-7F6E-A6A6A7EE6B8D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Прямая соединительная линия 161">
                <a:extLst>
                  <a:ext uri="{FF2B5EF4-FFF2-40B4-BE49-F238E27FC236}">
                    <a16:creationId xmlns:a16="http://schemas.microsoft.com/office/drawing/2014/main" id="{2A974358-FF0E-6B34-ADE6-00B934341A96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4" name="Ромб 183">
            <a:extLst>
              <a:ext uri="{FF2B5EF4-FFF2-40B4-BE49-F238E27FC236}">
                <a16:creationId xmlns:a16="http://schemas.microsoft.com/office/drawing/2014/main" id="{8B9DF6D4-FAB0-482C-D4F3-4FEEDC4570FD}"/>
              </a:ext>
            </a:extLst>
          </p:cNvPr>
          <p:cNvSpPr/>
          <p:nvPr/>
        </p:nvSpPr>
        <p:spPr>
          <a:xfrm>
            <a:off x="6291697" y="557793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5" name="Ромб 184">
            <a:extLst>
              <a:ext uri="{FF2B5EF4-FFF2-40B4-BE49-F238E27FC236}">
                <a16:creationId xmlns:a16="http://schemas.microsoft.com/office/drawing/2014/main" id="{5496530C-2A5F-0A64-D2BD-F89698E69751}"/>
              </a:ext>
            </a:extLst>
          </p:cNvPr>
          <p:cNvSpPr/>
          <p:nvPr/>
        </p:nvSpPr>
        <p:spPr>
          <a:xfrm>
            <a:off x="7383077" y="557793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1" name="Пятиугольник 60">
            <a:extLst>
              <a:ext uri="{FF2B5EF4-FFF2-40B4-BE49-F238E27FC236}">
                <a16:creationId xmlns:a16="http://schemas.microsoft.com/office/drawing/2014/main" id="{580090CC-49A0-62BE-E5A1-8ABE0520F389}"/>
              </a:ext>
            </a:extLst>
          </p:cNvPr>
          <p:cNvSpPr/>
          <p:nvPr/>
        </p:nvSpPr>
        <p:spPr>
          <a:xfrm>
            <a:off x="4686068" y="5836727"/>
            <a:ext cx="4793598" cy="320898"/>
          </a:xfrm>
          <a:prstGeom prst="homePlate">
            <a:avLst/>
          </a:prstGeom>
          <a:solidFill>
            <a:srgbClr val="0097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63" name="Группа 162">
            <a:extLst>
              <a:ext uri="{FF2B5EF4-FFF2-40B4-BE49-F238E27FC236}">
                <a16:creationId xmlns:a16="http://schemas.microsoft.com/office/drawing/2014/main" id="{C458C799-6867-324C-3E13-494D3F4EDEC8}"/>
              </a:ext>
            </a:extLst>
          </p:cNvPr>
          <p:cNvGrpSpPr>
            <a:grpSpLocks noChangeAspect="1"/>
          </p:cNvGrpSpPr>
          <p:nvPr/>
        </p:nvGrpSpPr>
        <p:grpSpPr>
          <a:xfrm>
            <a:off x="5606100" y="5906845"/>
            <a:ext cx="180000" cy="180000"/>
            <a:chOff x="4634746" y="4381523"/>
            <a:chExt cx="346095" cy="346095"/>
          </a:xfrm>
          <a:solidFill>
            <a:srgbClr val="F2F2F2"/>
          </a:solidFill>
        </p:grpSpPr>
        <p:sp>
          <p:nvSpPr>
            <p:cNvPr id="164" name="Овал 163">
              <a:extLst>
                <a:ext uri="{FF2B5EF4-FFF2-40B4-BE49-F238E27FC236}">
                  <a16:creationId xmlns:a16="http://schemas.microsoft.com/office/drawing/2014/main" id="{273FB464-FBB2-7BE4-0B91-70202CFAD4FF}"/>
                </a:ext>
              </a:extLst>
            </p:cNvPr>
            <p:cNvSpPr/>
            <p:nvPr/>
          </p:nvSpPr>
          <p:spPr>
            <a:xfrm>
              <a:off x="4634746" y="4381523"/>
              <a:ext cx="346095" cy="34609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grpSp>
          <p:nvGrpSpPr>
            <p:cNvPr id="165" name="Группа 164">
              <a:extLst>
                <a:ext uri="{FF2B5EF4-FFF2-40B4-BE49-F238E27FC236}">
                  <a16:creationId xmlns:a16="http://schemas.microsoft.com/office/drawing/2014/main" id="{109CAEF1-C5F1-215D-5D15-A97E2B5E5BDB}"/>
                </a:ext>
              </a:extLst>
            </p:cNvPr>
            <p:cNvGrpSpPr/>
            <p:nvPr/>
          </p:nvGrpSpPr>
          <p:grpSpPr>
            <a:xfrm>
              <a:off x="4729088" y="4490516"/>
              <a:ext cx="157410" cy="128109"/>
              <a:chOff x="4737494" y="4488716"/>
              <a:chExt cx="157410" cy="128109"/>
            </a:xfrm>
            <a:grpFill/>
          </p:grpSpPr>
          <p:cxnSp>
            <p:nvCxnSpPr>
              <p:cNvPr id="166" name="Прямая соединительная линия 165">
                <a:extLst>
                  <a:ext uri="{FF2B5EF4-FFF2-40B4-BE49-F238E27FC236}">
                    <a16:creationId xmlns:a16="http://schemas.microsoft.com/office/drawing/2014/main" id="{757C67E1-1EF4-17ED-C1A3-CC792741604C}"/>
                  </a:ext>
                </a:extLst>
              </p:cNvPr>
              <p:cNvCxnSpPr>
                <a:cxnSpLocks/>
              </p:cNvCxnSpPr>
              <p:nvPr/>
            </p:nvCxnSpPr>
            <p:spPr>
              <a:xfrm rot="-660000" flipV="1">
                <a:off x="4786904" y="4488716"/>
                <a:ext cx="108000" cy="126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7" name="Прямая соединительная линия 166">
                <a:extLst>
                  <a:ext uri="{FF2B5EF4-FFF2-40B4-BE49-F238E27FC236}">
                    <a16:creationId xmlns:a16="http://schemas.microsoft.com/office/drawing/2014/main" id="{D55C1C2D-DF09-383B-D326-C441DA5888B5}"/>
                  </a:ext>
                </a:extLst>
              </p:cNvPr>
              <p:cNvCxnSpPr>
                <a:cxnSpLocks/>
              </p:cNvCxnSpPr>
              <p:nvPr/>
            </p:nvCxnSpPr>
            <p:spPr>
              <a:xfrm rot="1260000" flipH="1" flipV="1">
                <a:off x="4737494" y="4562825"/>
                <a:ext cx="72000" cy="54000"/>
              </a:xfrm>
              <a:prstGeom prst="line">
                <a:avLst/>
              </a:prstGeom>
              <a:grpFill/>
              <a:ln w="19050" cap="rnd">
                <a:solidFill>
                  <a:srgbClr val="E7580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86" name="Ромб 185">
            <a:extLst>
              <a:ext uri="{FF2B5EF4-FFF2-40B4-BE49-F238E27FC236}">
                <a16:creationId xmlns:a16="http://schemas.microsoft.com/office/drawing/2014/main" id="{DA0150FC-D267-CC9F-64B2-E0000F0354C5}"/>
              </a:ext>
            </a:extLst>
          </p:cNvPr>
          <p:cNvSpPr/>
          <p:nvPr/>
        </p:nvSpPr>
        <p:spPr>
          <a:xfrm>
            <a:off x="6822639" y="5944366"/>
            <a:ext cx="144000" cy="144000"/>
          </a:xfrm>
          <a:prstGeom prst="diamond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D7FD34C-D106-2D5D-308D-639FB69A019E}"/>
              </a:ext>
            </a:extLst>
          </p:cNvPr>
          <p:cNvSpPr txBox="1"/>
          <p:nvPr/>
        </p:nvSpPr>
        <p:spPr>
          <a:xfrm>
            <a:off x="6744810" y="2395702"/>
            <a:ext cx="78226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BC97430-729E-294A-C608-6429A876301A}"/>
              </a:ext>
            </a:extLst>
          </p:cNvPr>
          <p:cNvSpPr txBox="1"/>
          <p:nvPr/>
        </p:nvSpPr>
        <p:spPr>
          <a:xfrm>
            <a:off x="7948921" y="239570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698CBC2-D820-F9CD-3F54-9EDFE9003325}"/>
              </a:ext>
            </a:extLst>
          </p:cNvPr>
          <p:cNvSpPr txBox="1"/>
          <p:nvPr/>
        </p:nvSpPr>
        <p:spPr>
          <a:xfrm>
            <a:off x="7686031" y="3047852"/>
            <a:ext cx="78842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2601BD0-DB6D-8416-DA16-09453EEB0AA0}"/>
              </a:ext>
            </a:extLst>
          </p:cNvPr>
          <p:cNvSpPr txBox="1"/>
          <p:nvPr/>
        </p:nvSpPr>
        <p:spPr>
          <a:xfrm>
            <a:off x="6543031" y="3059282"/>
            <a:ext cx="84004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E7A7540-807E-AC43-9ECE-FB57EDF380D2}"/>
              </a:ext>
            </a:extLst>
          </p:cNvPr>
          <p:cNvSpPr txBox="1"/>
          <p:nvPr/>
        </p:nvSpPr>
        <p:spPr>
          <a:xfrm>
            <a:off x="4999981" y="3059282"/>
            <a:ext cx="79610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1661801-2D79-0D71-F3FD-841D259CCD8D}"/>
              </a:ext>
            </a:extLst>
          </p:cNvPr>
          <p:cNvSpPr txBox="1"/>
          <p:nvPr/>
        </p:nvSpPr>
        <p:spPr>
          <a:xfrm>
            <a:off x="6543031" y="3412972"/>
            <a:ext cx="76138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6155650-7DCC-3E0E-3850-94A7AF3BD2A5}"/>
              </a:ext>
            </a:extLst>
          </p:cNvPr>
          <p:cNvSpPr txBox="1"/>
          <p:nvPr/>
        </p:nvSpPr>
        <p:spPr>
          <a:xfrm>
            <a:off x="6263278" y="384621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766D5103-7E68-B0B2-20F3-68995E6B18D6}"/>
              </a:ext>
            </a:extLst>
          </p:cNvPr>
          <p:cNvSpPr txBox="1"/>
          <p:nvPr/>
        </p:nvSpPr>
        <p:spPr>
          <a:xfrm>
            <a:off x="7686031" y="341297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A04A40A-98FA-71C7-1E80-7426BB89FF55}"/>
              </a:ext>
            </a:extLst>
          </p:cNvPr>
          <p:cNvSpPr txBox="1"/>
          <p:nvPr/>
        </p:nvSpPr>
        <p:spPr>
          <a:xfrm>
            <a:off x="7103466" y="41441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8F43489C-4D27-B2FE-2AEE-EDDB18BCFE40}"/>
              </a:ext>
            </a:extLst>
          </p:cNvPr>
          <p:cNvSpPr txBox="1"/>
          <p:nvPr/>
        </p:nvSpPr>
        <p:spPr>
          <a:xfrm>
            <a:off x="9594278" y="4144184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33DF95A-6997-EC95-6171-8400F5CA3EE4}"/>
              </a:ext>
            </a:extLst>
          </p:cNvPr>
          <p:cNvSpPr txBox="1"/>
          <p:nvPr/>
        </p:nvSpPr>
        <p:spPr>
          <a:xfrm>
            <a:off x="9408997" y="447596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5837251-816C-2D32-6E3F-DDFB730C2811}"/>
              </a:ext>
            </a:extLst>
          </p:cNvPr>
          <p:cNvSpPr txBox="1"/>
          <p:nvPr/>
        </p:nvSpPr>
        <p:spPr>
          <a:xfrm>
            <a:off x="7553350" y="4863966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A76CDD7-C41F-E1C8-D80C-3CBEB76EEEB4}"/>
              </a:ext>
            </a:extLst>
          </p:cNvPr>
          <p:cNvSpPr txBox="1"/>
          <p:nvPr/>
        </p:nvSpPr>
        <p:spPr>
          <a:xfrm>
            <a:off x="5742769" y="486518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6F5F-9637-E3FF-425B-501DEADF0413}"/>
              </a:ext>
            </a:extLst>
          </p:cNvPr>
          <p:cNvSpPr txBox="1"/>
          <p:nvPr/>
        </p:nvSpPr>
        <p:spPr>
          <a:xfrm>
            <a:off x="7637347" y="557324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180EBE2-3576-A370-DCBE-3FA87D758082}"/>
              </a:ext>
            </a:extLst>
          </p:cNvPr>
          <p:cNvSpPr txBox="1"/>
          <p:nvPr/>
        </p:nvSpPr>
        <p:spPr>
          <a:xfrm>
            <a:off x="7065847" y="5927572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EE1A76A-7ADD-DCC9-E266-B736B227B10F}"/>
              </a:ext>
            </a:extLst>
          </p:cNvPr>
          <p:cNvSpPr txBox="1"/>
          <p:nvPr/>
        </p:nvSpPr>
        <p:spPr>
          <a:xfrm>
            <a:off x="6291697" y="5287557"/>
            <a:ext cx="2111586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859213" algn="l"/>
              </a:tabLst>
              <a:defRPr/>
            </a:pPr>
            <a:r>
              <a:rPr kumimoji="0" lang="ru-RU" sz="8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ментарий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2962A6-24BD-B40A-7DCD-BE3B02336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4850585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E74BD2F4-1D42-AD4C-B02D-D455C1994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545F682-E377-FD47-B077-E08FF846F7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СТРУКТУРНЫЕ СЛАЙДЫ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24589-D186-D9EF-A20D-B65EE042D7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9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4838302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>
            <a:extLst>
              <a:ext uri="{FF2B5EF4-FFF2-40B4-BE49-F238E27FC236}">
                <a16:creationId xmlns:a16="http://schemas.microsoft.com/office/drawing/2014/main" id="{E98F0463-DCFD-324D-B6DE-7DF8147593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РАЗДЕЛИТЕЛЬНЫЕ СЛАЙДЫ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B5D814-2058-99AB-27D2-E014FCD977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9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4238889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DC2F69FF-B27C-44D3-9B42-CAB5115D1A53}"/>
              </a:ext>
            </a:extLst>
          </p:cNvPr>
          <p:cNvSpPr txBox="1"/>
          <p:nvPr/>
        </p:nvSpPr>
        <p:spPr>
          <a:xfrm>
            <a:off x="325469" y="309952"/>
            <a:ext cx="9586881" cy="34240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ДЕРЖАНИЕ</a:t>
            </a:r>
          </a:p>
        </p:txBody>
      </p:sp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D1E92C2F-29A0-814B-B91C-C9F16A7ED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1470163"/>
              </p:ext>
            </p:extLst>
          </p:nvPr>
        </p:nvGraphicFramePr>
        <p:xfrm>
          <a:off x="346761" y="1183095"/>
          <a:ext cx="11506865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90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6171655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4325119">
                  <a:extLst>
                    <a:ext uri="{9D8B030D-6E8A-4147-A177-3AD203B41FA5}">
                      <a16:colId xmlns:a16="http://schemas.microsoft.com/office/drawing/2014/main" val="215975615"/>
                    </a:ext>
                  </a:extLst>
                </a:gridCol>
                <a:gridCol w="606801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8463767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948528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36947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17291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.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A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819521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2E0A6F-0070-46CE-87FD-13487EEFD2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294568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2">
            <a:extLst>
              <a:ext uri="{FF2B5EF4-FFF2-40B4-BE49-F238E27FC236}">
                <a16:creationId xmlns:a16="http://schemas.microsoft.com/office/drawing/2014/main" id="{D1E92C2F-29A0-814B-B91C-C9F16A7EDC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70832"/>
              </p:ext>
            </p:extLst>
          </p:nvPr>
        </p:nvGraphicFramePr>
        <p:xfrm>
          <a:off x="346760" y="1092632"/>
          <a:ext cx="5683337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171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4173957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905209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2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1547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6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317271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0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6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81854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7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4469413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8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304147"/>
                  </a:ext>
                </a:extLst>
              </a:tr>
            </a:tbl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DC2F69FF-B27C-44D3-9B42-CAB5115D1A53}"/>
              </a:ext>
            </a:extLst>
          </p:cNvPr>
          <p:cNvSpPr txBox="1"/>
          <p:nvPr/>
        </p:nvSpPr>
        <p:spPr>
          <a:xfrm>
            <a:off x="325469" y="304376"/>
            <a:ext cx="9586881" cy="34240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ОДЕРЖАНИЕ</a:t>
            </a:r>
          </a:p>
        </p:txBody>
      </p:sp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BD73F081-9314-81FE-F1E7-228856F8C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523471"/>
              </p:ext>
            </p:extLst>
          </p:nvPr>
        </p:nvGraphicFramePr>
        <p:xfrm>
          <a:off x="6173702" y="1092632"/>
          <a:ext cx="5683336" cy="5215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171">
                  <a:extLst>
                    <a:ext uri="{9D8B030D-6E8A-4147-A177-3AD203B41FA5}">
                      <a16:colId xmlns:a16="http://schemas.microsoft.com/office/drawing/2014/main" val="3156788018"/>
                    </a:ext>
                  </a:extLst>
                </a:gridCol>
                <a:gridCol w="4173956">
                  <a:extLst>
                    <a:ext uri="{9D8B030D-6E8A-4147-A177-3AD203B41FA5}">
                      <a16:colId xmlns:a16="http://schemas.microsoft.com/office/drawing/2014/main" val="4168110159"/>
                    </a:ext>
                  </a:extLst>
                </a:gridCol>
                <a:gridCol w="905209">
                  <a:extLst>
                    <a:ext uri="{9D8B030D-6E8A-4147-A177-3AD203B41FA5}">
                      <a16:colId xmlns:a16="http://schemas.microsoft.com/office/drawing/2014/main" val="950950174"/>
                    </a:ext>
                  </a:extLst>
                </a:gridCol>
              </a:tblGrid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2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8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924899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271482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4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97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3915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05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50143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US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25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550062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33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88594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8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46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1547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9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</a:t>
                      </a:r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58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3172715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6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1818546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  <a:endParaRPr kumimoji="0" lang="ru-RU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+mn-cs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71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4469413"/>
                  </a:ext>
                </a:extLst>
              </a:tr>
              <a:tr h="474107">
                <a:tc>
                  <a:txBody>
                    <a:bodyPr/>
                    <a:lstStyle/>
                    <a:p>
                      <a:pPr algn="ct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2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+mn-cs"/>
                        </a:rPr>
                        <a:t>Текст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300" b="0" i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80</a:t>
                      </a:r>
                      <a:endParaRPr lang="ru-RU" sz="1300" b="0" i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5E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0304147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D8157B3-447D-912E-3593-3ABF932F70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8DDE06-DF15-0A4F-A85A-4EB38848D8EB}" type="slidenum">
              <a:rPr lang="ru-RU" smtClean="0"/>
              <a:pPr/>
              <a:t>9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8810440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DF23BE8-89B2-CE4D-97F0-3761D50D3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C74B9BE-684A-2E4F-8589-997E7F13FD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4B5C352-D18C-9A4A-B640-4689CEB8F7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0F26AB-4108-10DC-657B-FE725DBEED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4421" y="6307809"/>
            <a:ext cx="3222009" cy="365125"/>
          </a:xfrm>
        </p:spPr>
        <p:txBody>
          <a:bodyPr/>
          <a:lstStyle/>
          <a:p>
            <a:fld id="{D58DDE06-DF15-0A4F-A85A-4EB38848D8EB}" type="slidenum">
              <a:rPr lang="ru-RU" smtClean="0"/>
              <a:pPr/>
              <a:t>9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7927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42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 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w52LAkf9.bBYvqi6xH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OMRdVJEAVfQlruVkiq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K5YN_DxSw7PcHSmZS9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1x1FmDlR6ccB8XXoPh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ugAmqhZy0ZozCe65gb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_uI8RMx54F.9jczGN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srQACXDFSuuXX8GFzn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kZ7.hgN0yVRN3AG90A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kZ7.hgN0yVRN3AG90A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WXt2dIu.x3CzFUWkLF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1V8lTQp2FKVjBkADwp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NasrD9i_o1JhS4BBPv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IQ9zZql12LocVPggF8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BQO9NY9YDo7yiAur25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wCAX8WRkzVppySBhu9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wMctP6_OrGgJY45gPl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EVLW4arHhhbXLmqqu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dWTfa2Q9okHHomCsC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wMctP6_OrGgJY45gPl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EVLW4arHhhbXLmqqu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ULD9YYZ0yegoRDzEHo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Ux.96KSLweNrqGaPz2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ndYtwAPVWX.8LXXlzl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Ux.96KSLweNrqGaPz2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TZaJGNqn0w0HSUK4knwA"/>
</p:tagLst>
</file>

<file path=ppt/theme/theme1.xml><?xml version="1.0" encoding="utf-8"?>
<a:theme xmlns:a="http://schemas.openxmlformats.org/drawingml/2006/main" name="1_gpn_report">
  <a:themeElements>
    <a:clrScheme name="ТПУ">
      <a:dk1>
        <a:sysClr val="windowText" lastClr="000000"/>
      </a:dk1>
      <a:lt1>
        <a:sysClr val="window" lastClr="FFFFFF"/>
      </a:lt1>
      <a:dk2>
        <a:srgbClr val="323F4F"/>
      </a:dk2>
      <a:lt2>
        <a:srgbClr val="E7E6E6"/>
      </a:lt2>
      <a:accent1>
        <a:srgbClr val="80BF44"/>
      </a:accent1>
      <a:accent2>
        <a:srgbClr val="209740"/>
      </a:accent2>
      <a:accent3>
        <a:srgbClr val="1768B0"/>
      </a:accent3>
      <a:accent4>
        <a:srgbClr val="B2D88E"/>
      </a:accent4>
      <a:accent5>
        <a:srgbClr val="5F9031"/>
      </a:accent5>
      <a:accent6>
        <a:srgbClr val="59A5E9"/>
      </a:accent6>
      <a:hlink>
        <a:srgbClr val="1768B0"/>
      </a:hlink>
      <a:folHlink>
        <a:srgbClr val="954F72"/>
      </a:folHlink>
    </a:clrScheme>
    <a:fontScheme name="Custom 3">
      <a:majorFont>
        <a:latin typeface="GPN_DIN Condensed Bold"/>
        <a:ea typeface=""/>
        <a:cs typeface=""/>
      </a:majorFont>
      <a:minorFont>
        <a:latin typeface="GPN_DIN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36000" rtlCol="0">
        <a:noAutofit/>
      </a:bodyPr>
      <a:lstStyle>
        <a:defPPr algn="l">
          <a:lnSpc>
            <a:spcPct val="80000"/>
          </a:lnSpc>
          <a:spcBef>
            <a:spcPts val="300"/>
          </a:spcBef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{9D854FC7-7458-1F40-A3F9-44DCFCDFE30B}tf16401378</Template>
  <TotalTime>0</TotalTime>
  <Words>3740</Words>
  <Application>Microsoft Office PowerPoint</Application>
  <PresentationFormat>Широкоэкранный</PresentationFormat>
  <Paragraphs>2470</Paragraphs>
  <Slides>130</Slides>
  <Notes>4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0</vt:i4>
      </vt:variant>
    </vt:vector>
  </HeadingPairs>
  <TitlesOfParts>
    <vt:vector size="149" baseType="lpstr">
      <vt:lpstr>Arial</vt:lpstr>
      <vt:lpstr>Arial Narrow</vt:lpstr>
      <vt:lpstr>Calibri</vt:lpstr>
      <vt:lpstr>DIN Pro Cond</vt:lpstr>
      <vt:lpstr>DIN Pro Cond Medium</vt:lpstr>
      <vt:lpstr>DIN Pro Regular</vt:lpstr>
      <vt:lpstr>DINPro-Bold</vt:lpstr>
      <vt:lpstr>GPN_DIN Bold</vt:lpstr>
      <vt:lpstr>GPN_DIN Condensed</vt:lpstr>
      <vt:lpstr>GPN_DIN Condensed Bold</vt:lpstr>
      <vt:lpstr>GPN_DIN Condensed Regular</vt:lpstr>
      <vt:lpstr>GPN_DIN Regular</vt:lpstr>
      <vt:lpstr>Poppins Medium</vt:lpstr>
      <vt:lpstr>Tahoma</vt:lpstr>
      <vt:lpstr>Verdana</vt:lpstr>
      <vt:lpstr>Wingdings</vt:lpstr>
      <vt:lpstr>мукв</vt:lpstr>
      <vt:lpstr>1_gpn_report</vt:lpstr>
      <vt:lpstr>Слайд think-cell</vt:lpstr>
      <vt:lpstr>БИБЛИОТЕКА СЛАЙД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lastModifiedBy/>
  <cp:revision>1</cp:revision>
  <dcterms:created xsi:type="dcterms:W3CDTF">2022-11-17T18:59:49Z</dcterms:created>
  <dcterms:modified xsi:type="dcterms:W3CDTF">2023-03-20T08:56:09Z</dcterms:modified>
</cp:coreProperties>
</file>